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2" r:id="rId4"/>
    <p:sldMasterId id="2147483710" r:id="rId5"/>
  </p:sldMasterIdLst>
  <p:notesMasterIdLst>
    <p:notesMasterId r:id="rId18"/>
  </p:notesMasterIdLst>
  <p:handoutMasterIdLst>
    <p:handoutMasterId r:id="rId19"/>
  </p:handoutMasterIdLst>
  <p:sldIdLst>
    <p:sldId id="256" r:id="rId6"/>
    <p:sldId id="347" r:id="rId7"/>
    <p:sldId id="346" r:id="rId8"/>
    <p:sldId id="345" r:id="rId9"/>
    <p:sldId id="348" r:id="rId10"/>
    <p:sldId id="343" r:id="rId11"/>
    <p:sldId id="341" r:id="rId12"/>
    <p:sldId id="342" r:id="rId13"/>
    <p:sldId id="353" r:id="rId14"/>
    <p:sldId id="350" r:id="rId15"/>
    <p:sldId id="349" r:id="rId16"/>
    <p:sldId id="344" r:id="rId17"/>
  </p:sldIdLst>
  <p:sldSz cx="9906000" cy="6858000" type="A4"/>
  <p:notesSz cx="6797675" cy="9982200"/>
  <p:custDataLst>
    <p:tags r:id="rId20"/>
  </p:custDataLst>
  <p:defaultTextStyle>
    <a:defPPr>
      <a:defRPr lang="de-DE"/>
    </a:defPPr>
    <a:lvl1pPr marL="0" algn="l" defTabSz="804581" rtl="0" eaLnBrk="1" latinLnBrk="0" hangingPunct="1">
      <a:defRPr sz="1584" kern="1200">
        <a:solidFill>
          <a:schemeClr val="tx1"/>
        </a:solidFill>
        <a:latin typeface="+mn-lt"/>
        <a:ea typeface="+mn-ea"/>
        <a:cs typeface="+mn-cs"/>
      </a:defRPr>
    </a:lvl1pPr>
    <a:lvl2pPr marL="402290" algn="l" defTabSz="804581" rtl="0" eaLnBrk="1" latinLnBrk="0" hangingPunct="1">
      <a:defRPr sz="1584" kern="1200">
        <a:solidFill>
          <a:schemeClr val="tx1"/>
        </a:solidFill>
        <a:latin typeface="+mn-lt"/>
        <a:ea typeface="+mn-ea"/>
        <a:cs typeface="+mn-cs"/>
      </a:defRPr>
    </a:lvl2pPr>
    <a:lvl3pPr marL="804581" algn="l" defTabSz="804581" rtl="0" eaLnBrk="1" latinLnBrk="0" hangingPunct="1">
      <a:defRPr sz="1584" kern="1200">
        <a:solidFill>
          <a:schemeClr val="tx1"/>
        </a:solidFill>
        <a:latin typeface="+mn-lt"/>
        <a:ea typeface="+mn-ea"/>
        <a:cs typeface="+mn-cs"/>
      </a:defRPr>
    </a:lvl3pPr>
    <a:lvl4pPr marL="1206871" algn="l" defTabSz="804581" rtl="0" eaLnBrk="1" latinLnBrk="0" hangingPunct="1">
      <a:defRPr sz="1584" kern="1200">
        <a:solidFill>
          <a:schemeClr val="tx1"/>
        </a:solidFill>
        <a:latin typeface="+mn-lt"/>
        <a:ea typeface="+mn-ea"/>
        <a:cs typeface="+mn-cs"/>
      </a:defRPr>
    </a:lvl4pPr>
    <a:lvl5pPr marL="1609161" algn="l" defTabSz="804581" rtl="0" eaLnBrk="1" latinLnBrk="0" hangingPunct="1">
      <a:defRPr sz="1584" kern="1200">
        <a:solidFill>
          <a:schemeClr val="tx1"/>
        </a:solidFill>
        <a:latin typeface="+mn-lt"/>
        <a:ea typeface="+mn-ea"/>
        <a:cs typeface="+mn-cs"/>
      </a:defRPr>
    </a:lvl5pPr>
    <a:lvl6pPr marL="2011451" algn="l" defTabSz="804581" rtl="0" eaLnBrk="1" latinLnBrk="0" hangingPunct="1">
      <a:defRPr sz="1584" kern="1200">
        <a:solidFill>
          <a:schemeClr val="tx1"/>
        </a:solidFill>
        <a:latin typeface="+mn-lt"/>
        <a:ea typeface="+mn-ea"/>
        <a:cs typeface="+mn-cs"/>
      </a:defRPr>
    </a:lvl6pPr>
    <a:lvl7pPr marL="2413742" algn="l" defTabSz="804581" rtl="0" eaLnBrk="1" latinLnBrk="0" hangingPunct="1">
      <a:defRPr sz="1584" kern="1200">
        <a:solidFill>
          <a:schemeClr val="tx1"/>
        </a:solidFill>
        <a:latin typeface="+mn-lt"/>
        <a:ea typeface="+mn-ea"/>
        <a:cs typeface="+mn-cs"/>
      </a:defRPr>
    </a:lvl7pPr>
    <a:lvl8pPr marL="2816032" algn="l" defTabSz="804581" rtl="0" eaLnBrk="1" latinLnBrk="0" hangingPunct="1">
      <a:defRPr sz="1584" kern="1200">
        <a:solidFill>
          <a:schemeClr val="tx1"/>
        </a:solidFill>
        <a:latin typeface="+mn-lt"/>
        <a:ea typeface="+mn-ea"/>
        <a:cs typeface="+mn-cs"/>
      </a:defRPr>
    </a:lvl8pPr>
    <a:lvl9pPr marL="3218322" algn="l" defTabSz="804581" rtl="0" eaLnBrk="1" latinLnBrk="0" hangingPunct="1">
      <a:defRPr sz="1584" kern="1200">
        <a:solidFill>
          <a:schemeClr val="tx1"/>
        </a:solidFill>
        <a:latin typeface="+mn-lt"/>
        <a:ea typeface="+mn-ea"/>
        <a:cs typeface="+mn-cs"/>
      </a:defRPr>
    </a:lvl9pPr>
  </p:defaultTextStyle>
  <p:extLst>
    <p:ext uri="{521415D9-36F7-43E2-AB2F-B90AF26B5E84}">
      <p14:sectionLst xmlns:p14="http://schemas.microsoft.com/office/powerpoint/2010/main">
        <p14:section name="Front Page" id="{356EBAAE-5672-4C0F-96BB-C7EB4146940E}">
          <p14:sldIdLst>
            <p14:sldId id="256"/>
          </p14:sldIdLst>
        </p14:section>
        <p14:section name="DEG" id="{FCFA1059-3106-4BD5-875D-A2EFDCE79069}">
          <p14:sldIdLst>
            <p14:sldId id="347"/>
            <p14:sldId id="346"/>
            <p14:sldId id="345"/>
          </p14:sldIdLst>
        </p14:section>
        <p14:section name="Connect4Impact" id="{258186A2-A078-4F9F-84D3-48A75D5CCF16}">
          <p14:sldIdLst>
            <p14:sldId id="348"/>
          </p14:sldIdLst>
        </p14:section>
        <p14:section name="Abschnitt ohne Titel" id="{0EB3FD42-ACFD-45A7-9016-B63C1F4AA920}">
          <p14:sldIdLst>
            <p14:sldId id="343"/>
            <p14:sldId id="341"/>
            <p14:sldId id="342"/>
          </p14:sldIdLst>
        </p14:section>
        <p14:section name="Schluss" id="{A0AEF569-E7D6-4D9A-8B75-6461D452E933}">
          <p14:sldIdLst>
            <p14:sldId id="353"/>
          </p14:sldIdLst>
        </p14:section>
        <p14:section name="Backup" id="{1AFCCE20-DD61-4972-A18A-5DFA32A2C022}">
          <p14:sldIdLst>
            <p14:sldId id="350"/>
            <p14:sldId id="349"/>
            <p14:sldId id="344"/>
          </p14:sldIdLst>
        </p14:section>
      </p14:sectionLst>
    </p:ext>
    <p:ext uri="{EFAFB233-063F-42B5-8137-9DF3F51BA10A}">
      <p15:sldGuideLst xmlns:p15="http://schemas.microsoft.com/office/powerpoint/2012/main">
        <p15:guide id="4" orient="horz" pos="890" userDrawn="1">
          <p15:clr>
            <a:srgbClr val="A4A3A4"/>
          </p15:clr>
        </p15:guide>
        <p15:guide id="5" orient="horz" pos="4020" userDrawn="1">
          <p15:clr>
            <a:srgbClr val="A4A3A4"/>
          </p15:clr>
        </p15:guide>
        <p15:guide id="7" pos="217" userDrawn="1">
          <p15:clr>
            <a:srgbClr val="A4A3A4"/>
          </p15:clr>
        </p15:guide>
        <p15:guide id="8" pos="6023" userDrawn="1">
          <p15:clr>
            <a:srgbClr val="A4A3A4"/>
          </p15:clr>
        </p15:guide>
        <p15:guide id="9" orient="horz" pos="222" userDrawn="1">
          <p15:clr>
            <a:srgbClr val="A4A3A4"/>
          </p15:clr>
        </p15:guide>
        <p15:guide id="10" pos="4662" userDrawn="1">
          <p15:clr>
            <a:srgbClr val="A4A3A4"/>
          </p15:clr>
        </p15:guide>
        <p15:guide id="11" pos="4526" userDrawn="1">
          <p15:clr>
            <a:srgbClr val="A4A3A4"/>
          </p15:clr>
        </p15:guide>
        <p15:guide id="12" pos="3165" userDrawn="1">
          <p15:clr>
            <a:srgbClr val="A4A3A4"/>
          </p15:clr>
        </p15:guide>
        <p15:guide id="13" pos="3053" userDrawn="1">
          <p15:clr>
            <a:srgbClr val="A4A3A4"/>
          </p15:clr>
        </p15:guide>
        <p15:guide id="14" pos="1714" userDrawn="1">
          <p15:clr>
            <a:srgbClr val="A4A3A4"/>
          </p15:clr>
        </p15:guide>
        <p15:guide id="15" pos="157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mers, Yannik" initials="LY" lastIdx="1" clrIdx="0"/>
  <p:cmAuthor id="3" name="Krupp, Marc" initials="KM" lastIdx="22" clrIdx="1">
    <p:extLst>
      <p:ext uri="{19B8F6BF-5375-455C-9EA6-DF929625EA0E}">
        <p15:presenceInfo xmlns:p15="http://schemas.microsoft.com/office/powerpoint/2012/main" userId="S-1-5-21-2000478354-1060284298-1202660629-42108" providerId="AD"/>
      </p:ext>
    </p:extLst>
  </p:cmAuthor>
  <p:cmAuthor id="4" name="Schon, Marie-Christine" initials="SM" lastIdx="24" clrIdx="2">
    <p:extLst>
      <p:ext uri="{19B8F6BF-5375-455C-9EA6-DF929625EA0E}">
        <p15:presenceInfo xmlns:p15="http://schemas.microsoft.com/office/powerpoint/2012/main" userId="S-1-5-21-2000478354-1060284298-1202660629-42260" providerId="AD"/>
      </p:ext>
    </p:extLst>
  </p:cmAuthor>
  <p:cmAuthor id="5" name="Karges, Florian" initials="KF" lastIdx="39" clrIdx="3">
    <p:extLst>
      <p:ext uri="{19B8F6BF-5375-455C-9EA6-DF929625EA0E}">
        <p15:presenceInfo xmlns:p15="http://schemas.microsoft.com/office/powerpoint/2012/main" userId="S-1-5-21-2000478354-1060284298-1202660629-363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9DC2"/>
    <a:srgbClr val="5B9BD5"/>
    <a:srgbClr val="FFFFFF"/>
    <a:srgbClr val="F1F7FB"/>
    <a:srgbClr val="DDECF4"/>
    <a:srgbClr val="FFCC00"/>
    <a:srgbClr val="003399"/>
    <a:srgbClr val="539DC4"/>
    <a:srgbClr val="AABA01"/>
    <a:srgbClr val="4A52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9" autoAdjust="0"/>
    <p:restoredTop sz="86939" autoAdjust="0"/>
  </p:normalViewPr>
  <p:slideViewPr>
    <p:cSldViewPr showGuides="1">
      <p:cViewPr varScale="1">
        <p:scale>
          <a:sx n="60" d="100"/>
          <a:sy n="60" d="100"/>
        </p:scale>
        <p:origin x="1388" y="40"/>
      </p:cViewPr>
      <p:guideLst>
        <p:guide orient="horz" pos="890"/>
        <p:guide orient="horz" pos="4020"/>
        <p:guide pos="217"/>
        <p:guide pos="6023"/>
        <p:guide orient="horz" pos="222"/>
        <p:guide pos="4662"/>
        <p:guide pos="4526"/>
        <p:guide pos="3165"/>
        <p:guide pos="3053"/>
        <p:guide pos="1714"/>
        <p:guide pos="1578"/>
      </p:guideLst>
    </p:cSldViewPr>
  </p:slideViewPr>
  <p:outlineViewPr>
    <p:cViewPr>
      <p:scale>
        <a:sx n="33" d="100"/>
        <a:sy n="33" d="100"/>
      </p:scale>
      <p:origin x="0" y="-15696"/>
    </p:cViewPr>
  </p:outlineViewPr>
  <p:notesTextViewPr>
    <p:cViewPr>
      <p:scale>
        <a:sx n="105" d="100"/>
        <a:sy n="105" d="100"/>
      </p:scale>
      <p:origin x="0" y="0"/>
    </p:cViewPr>
  </p:notesTextViewPr>
  <p:sorterViewPr>
    <p:cViewPr varScale="1">
      <p:scale>
        <a:sx n="100" d="100"/>
        <a:sy n="100" d="100"/>
      </p:scale>
      <p:origin x="0" y="-1168"/>
    </p:cViewPr>
  </p:sorterViewPr>
  <p:notesViewPr>
    <p:cSldViewPr showGuides="1">
      <p:cViewPr varScale="1">
        <p:scale>
          <a:sx n="112" d="100"/>
          <a:sy n="112" d="100"/>
        </p:scale>
        <p:origin x="4134" y="12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sz="1260" b="1" dirty="0"/>
              <a:t>Top 5 Target Countries</a:t>
            </a:r>
          </a:p>
          <a:p>
            <a:pPr>
              <a:defRPr/>
            </a:pPr>
            <a:r>
              <a:rPr lang="en-US" sz="1000" dirty="0"/>
              <a:t>in terms of total financing committed</a:t>
            </a:r>
          </a:p>
        </c:rich>
      </c:tx>
      <c:layout>
        <c:manualLayout>
          <c:xMode val="edge"/>
          <c:yMode val="edge"/>
          <c:x val="0.30109290988301601"/>
          <c:y val="2.0559341116184297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ru-RU"/>
        </a:p>
      </c:txPr>
    </c:title>
    <c:autoTitleDeleted val="0"/>
    <c:plotArea>
      <c:layout>
        <c:manualLayout>
          <c:layoutTarget val="inner"/>
          <c:xMode val="edge"/>
          <c:yMode val="edge"/>
          <c:x val="0.44278347785610161"/>
          <c:y val="0.32112601545507913"/>
          <c:w val="0.4997627465281646"/>
          <c:h val="0.53637997177012364"/>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outh Africa</c:v>
                </c:pt>
                <c:pt idx="1">
                  <c:v>Ghana</c:v>
                </c:pt>
                <c:pt idx="2">
                  <c:v>Tunisia</c:v>
                </c:pt>
                <c:pt idx="3">
                  <c:v>Kenya</c:v>
                </c:pt>
                <c:pt idx="4">
                  <c:v>Morocco</c:v>
                </c:pt>
              </c:strCache>
            </c:strRef>
          </c:cat>
          <c:val>
            <c:numRef>
              <c:f>Sheet1!$B$2:$B$6</c:f>
              <c:numCache>
                <c:formatCode>_-* #,##0_-;\-* #,##0_-;_-* "-"??_-;_-@_-</c:formatCode>
                <c:ptCount val="5"/>
                <c:pt idx="0">
                  <c:v>10</c:v>
                </c:pt>
                <c:pt idx="1">
                  <c:v>10</c:v>
                </c:pt>
                <c:pt idx="2">
                  <c:v>10</c:v>
                </c:pt>
                <c:pt idx="3">
                  <c:v>4</c:v>
                </c:pt>
                <c:pt idx="4">
                  <c:v>4</c:v>
                </c:pt>
              </c:numCache>
            </c:numRef>
          </c:val>
          <c:extLst>
            <c:ext xmlns:c16="http://schemas.microsoft.com/office/drawing/2014/chart" uri="{C3380CC4-5D6E-409C-BE32-E72D297353CC}">
              <c16:uniqueId val="{00000000-1995-49A6-AFE1-22F7C67E8070}"/>
            </c:ext>
          </c:extLst>
        </c:ser>
        <c:dLbls>
          <c:showLegendKey val="0"/>
          <c:showVal val="0"/>
          <c:showCatName val="0"/>
          <c:showSerName val="0"/>
          <c:showPercent val="0"/>
          <c:showBubbleSize val="0"/>
        </c:dLbls>
        <c:gapWidth val="182"/>
        <c:axId val="232529432"/>
        <c:axId val="232530744"/>
      </c:barChart>
      <c:catAx>
        <c:axId val="2325294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ru-RU"/>
          </a:p>
        </c:txPr>
        <c:crossAx val="232530744"/>
        <c:crosses val="autoZero"/>
        <c:auto val="1"/>
        <c:lblAlgn val="ctr"/>
        <c:lblOffset val="100"/>
        <c:noMultiLvlLbl val="0"/>
      </c:catAx>
      <c:valAx>
        <c:axId val="232530744"/>
        <c:scaling>
          <c:orientation val="minMax"/>
        </c:scaling>
        <c:delete val="0"/>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ru-RU"/>
          </a:p>
        </c:txPr>
        <c:crossAx val="23252943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37E0B93-BA14-4836-A0C1-4504AF33149A}"/>
              </a:ext>
            </a:extLst>
          </p:cNvPr>
          <p:cNvSpPr>
            <a:spLocks noGrp="1"/>
          </p:cNvSpPr>
          <p:nvPr>
            <p:ph type="hdr" sz="quarter"/>
          </p:nvPr>
        </p:nvSpPr>
        <p:spPr>
          <a:xfrm>
            <a:off x="2" y="0"/>
            <a:ext cx="2945659" cy="500844"/>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98319A94-965C-47FF-9B96-1BAB2F893537}"/>
              </a:ext>
            </a:extLst>
          </p:cNvPr>
          <p:cNvSpPr>
            <a:spLocks noGrp="1"/>
          </p:cNvSpPr>
          <p:nvPr>
            <p:ph type="dt" sz="quarter" idx="1"/>
          </p:nvPr>
        </p:nvSpPr>
        <p:spPr>
          <a:xfrm>
            <a:off x="3850445" y="0"/>
            <a:ext cx="2945659" cy="500844"/>
          </a:xfrm>
          <a:prstGeom prst="rect">
            <a:avLst/>
          </a:prstGeom>
        </p:spPr>
        <p:txBody>
          <a:bodyPr vert="horz" lIns="91440" tIns="45720" rIns="91440" bIns="45720" rtlCol="0"/>
          <a:lstStyle>
            <a:lvl1pPr algn="r">
              <a:defRPr sz="1200"/>
            </a:lvl1pPr>
          </a:lstStyle>
          <a:p>
            <a:fld id="{57EECD7F-E5B6-4B40-9E0B-628FCC195BC8}" type="datetimeFigureOut">
              <a:rPr lang="de-DE" smtClean="0"/>
              <a:t>13.11.2023</a:t>
            </a:fld>
            <a:endParaRPr lang="de-DE" dirty="0"/>
          </a:p>
        </p:txBody>
      </p:sp>
      <p:sp>
        <p:nvSpPr>
          <p:cNvPr id="4" name="Fußzeilenplatzhalter 3">
            <a:extLst>
              <a:ext uri="{FF2B5EF4-FFF2-40B4-BE49-F238E27FC236}">
                <a16:creationId xmlns:a16="http://schemas.microsoft.com/office/drawing/2014/main" id="{AE726ECF-A882-4FB8-A516-36BCC07FF15F}"/>
              </a:ext>
            </a:extLst>
          </p:cNvPr>
          <p:cNvSpPr>
            <a:spLocks noGrp="1"/>
          </p:cNvSpPr>
          <p:nvPr>
            <p:ph type="ftr" sz="quarter" idx="2"/>
          </p:nvPr>
        </p:nvSpPr>
        <p:spPr>
          <a:xfrm>
            <a:off x="2" y="9481359"/>
            <a:ext cx="2945659" cy="500843"/>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6CA88AC3-AD15-445F-9FFA-ED2AF02E6D24}"/>
              </a:ext>
            </a:extLst>
          </p:cNvPr>
          <p:cNvSpPr>
            <a:spLocks noGrp="1"/>
          </p:cNvSpPr>
          <p:nvPr>
            <p:ph type="sldNum" sz="quarter" idx="3"/>
          </p:nvPr>
        </p:nvSpPr>
        <p:spPr>
          <a:xfrm>
            <a:off x="3850445" y="9481359"/>
            <a:ext cx="2945659" cy="500843"/>
          </a:xfrm>
          <a:prstGeom prst="rect">
            <a:avLst/>
          </a:prstGeom>
        </p:spPr>
        <p:txBody>
          <a:bodyPr vert="horz" lIns="91440" tIns="45720" rIns="91440" bIns="45720" rtlCol="0" anchor="b"/>
          <a:lstStyle>
            <a:lvl1pPr algn="r">
              <a:defRPr sz="1200"/>
            </a:lvl1pPr>
          </a:lstStyle>
          <a:p>
            <a:fld id="{E14F6A95-CC10-4109-BE20-552F51C647B3}" type="slidenum">
              <a:rPr lang="de-DE" smtClean="0"/>
              <a:t>‹#›</a:t>
            </a:fld>
            <a:endParaRPr lang="de-DE" dirty="0"/>
          </a:p>
        </p:txBody>
      </p:sp>
    </p:spTree>
    <p:extLst>
      <p:ext uri="{BB962C8B-B14F-4D97-AF65-F5344CB8AC3E}">
        <p14:creationId xmlns:p14="http://schemas.microsoft.com/office/powerpoint/2010/main" val="15777143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2945659" cy="50084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0445" y="0"/>
            <a:ext cx="2945659" cy="500844"/>
          </a:xfrm>
          <a:prstGeom prst="rect">
            <a:avLst/>
          </a:prstGeom>
        </p:spPr>
        <p:txBody>
          <a:bodyPr vert="horz" lIns="91440" tIns="45720" rIns="91440" bIns="45720" rtlCol="0"/>
          <a:lstStyle>
            <a:lvl1pPr algn="r">
              <a:defRPr sz="1200"/>
            </a:lvl1pPr>
          </a:lstStyle>
          <a:p>
            <a:fld id="{A16BC527-A945-41A0-A295-3A1AFDBBE427}" type="datetimeFigureOut">
              <a:rPr lang="de-DE" smtClean="0"/>
              <a:t>13.11.2023</a:t>
            </a:fld>
            <a:endParaRPr lang="de-DE" dirty="0"/>
          </a:p>
        </p:txBody>
      </p:sp>
      <p:sp>
        <p:nvSpPr>
          <p:cNvPr id="4" name="Folienbildplatzhalter 3"/>
          <p:cNvSpPr>
            <a:spLocks noGrp="1" noRot="1" noChangeAspect="1"/>
          </p:cNvSpPr>
          <p:nvPr>
            <p:ph type="sldImg" idx="2"/>
          </p:nvPr>
        </p:nvSpPr>
        <p:spPr>
          <a:xfrm>
            <a:off x="968375" y="1249363"/>
            <a:ext cx="4860925" cy="33670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768" y="4803933"/>
            <a:ext cx="5438140" cy="3930491"/>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2" y="9481359"/>
            <a:ext cx="2945659" cy="500843"/>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0445" y="9481359"/>
            <a:ext cx="2945659" cy="500843"/>
          </a:xfrm>
          <a:prstGeom prst="rect">
            <a:avLst/>
          </a:prstGeom>
        </p:spPr>
        <p:txBody>
          <a:bodyPr vert="horz" lIns="91440" tIns="45720" rIns="91440" bIns="45720" rtlCol="0" anchor="b"/>
          <a:lstStyle>
            <a:lvl1pPr algn="r">
              <a:defRPr sz="1200"/>
            </a:lvl1pPr>
          </a:lstStyle>
          <a:p>
            <a:fld id="{8BE94A0B-B183-45F9-8022-C2EDCC55F51C}" type="slidenum">
              <a:rPr lang="de-DE" smtClean="0"/>
              <a:t>‹#›</a:t>
            </a:fld>
            <a:endParaRPr lang="de-DE" dirty="0"/>
          </a:p>
        </p:txBody>
      </p:sp>
    </p:spTree>
    <p:extLst>
      <p:ext uri="{BB962C8B-B14F-4D97-AF65-F5344CB8AC3E}">
        <p14:creationId xmlns:p14="http://schemas.microsoft.com/office/powerpoint/2010/main" val="3353622804"/>
      </p:ext>
    </p:extLst>
  </p:cSld>
  <p:clrMap bg1="lt1" tx1="dk1" bg2="lt2" tx2="dk2" accent1="accent1" accent2="accent2" accent3="accent3" accent4="accent4" accent5="accent5" accent6="accent6" hlink="hlink" folHlink="folHlink"/>
  <p:notesStyle>
    <a:lvl1pPr marL="171450" indent="-171450" algn="l" defTabSz="804581" rtl="0" eaLnBrk="1" latinLnBrk="0" hangingPunct="1">
      <a:buSzPct val="110000"/>
      <a:buFont typeface="Symbol" panose="05050102010706020507" pitchFamily="18" charset="2"/>
      <a:buChar char="-"/>
      <a:defRPr sz="1100" kern="1200">
        <a:solidFill>
          <a:schemeClr val="tx1"/>
        </a:solidFill>
        <a:latin typeface="+mn-lt"/>
        <a:ea typeface="+mn-ea"/>
        <a:cs typeface="+mn-cs"/>
      </a:defRPr>
    </a:lvl1pPr>
    <a:lvl2pPr marL="573740" indent="-171450" algn="l" defTabSz="804581" rtl="0" eaLnBrk="1" latinLnBrk="0" hangingPunct="1">
      <a:buSzPct val="110000"/>
      <a:buFont typeface="Symbol" panose="05050102010706020507" pitchFamily="18" charset="2"/>
      <a:buChar char="-"/>
      <a:defRPr sz="1100" kern="1200">
        <a:solidFill>
          <a:schemeClr val="tx1"/>
        </a:solidFill>
        <a:latin typeface="+mn-lt"/>
        <a:ea typeface="+mn-ea"/>
        <a:cs typeface="+mn-cs"/>
      </a:defRPr>
    </a:lvl2pPr>
    <a:lvl3pPr marL="976031" indent="-171450" algn="l" defTabSz="804581" rtl="0" eaLnBrk="1" latinLnBrk="0" hangingPunct="1">
      <a:buSzPct val="110000"/>
      <a:buFont typeface="Symbol" panose="05050102010706020507" pitchFamily="18" charset="2"/>
      <a:buChar char="-"/>
      <a:defRPr sz="1100" kern="1200">
        <a:solidFill>
          <a:schemeClr val="tx1"/>
        </a:solidFill>
        <a:latin typeface="+mn-lt"/>
        <a:ea typeface="+mn-ea"/>
        <a:cs typeface="+mn-cs"/>
      </a:defRPr>
    </a:lvl3pPr>
    <a:lvl4pPr marL="1378321" indent="-171450" algn="l" defTabSz="804581" rtl="0" eaLnBrk="1" latinLnBrk="0" hangingPunct="1">
      <a:buSzPct val="110000"/>
      <a:buFont typeface="Symbol" panose="05050102010706020507" pitchFamily="18" charset="2"/>
      <a:buChar char="-"/>
      <a:defRPr sz="1100" kern="1200">
        <a:solidFill>
          <a:schemeClr val="tx1"/>
        </a:solidFill>
        <a:latin typeface="+mn-lt"/>
        <a:ea typeface="+mn-ea"/>
        <a:cs typeface="+mn-cs"/>
      </a:defRPr>
    </a:lvl4pPr>
    <a:lvl5pPr marL="1780611" indent="-171450" algn="l" defTabSz="804581" rtl="0" eaLnBrk="1" latinLnBrk="0" hangingPunct="1">
      <a:buSzPct val="110000"/>
      <a:buFont typeface="Symbol" panose="05050102010706020507" pitchFamily="18" charset="2"/>
      <a:buChar char="-"/>
      <a:defRPr sz="1100" kern="1200">
        <a:solidFill>
          <a:schemeClr val="tx1"/>
        </a:solidFill>
        <a:latin typeface="+mn-lt"/>
        <a:ea typeface="+mn-ea"/>
        <a:cs typeface="+mn-cs"/>
      </a:defRPr>
    </a:lvl5pPr>
    <a:lvl6pPr marL="2011451" algn="l" defTabSz="804581" rtl="0" eaLnBrk="1" latinLnBrk="0" hangingPunct="1">
      <a:defRPr sz="1056" kern="1200">
        <a:solidFill>
          <a:schemeClr val="tx1"/>
        </a:solidFill>
        <a:latin typeface="+mn-lt"/>
        <a:ea typeface="+mn-ea"/>
        <a:cs typeface="+mn-cs"/>
      </a:defRPr>
    </a:lvl6pPr>
    <a:lvl7pPr marL="2413742" algn="l" defTabSz="804581" rtl="0" eaLnBrk="1" latinLnBrk="0" hangingPunct="1">
      <a:defRPr sz="1056" kern="1200">
        <a:solidFill>
          <a:schemeClr val="tx1"/>
        </a:solidFill>
        <a:latin typeface="+mn-lt"/>
        <a:ea typeface="+mn-ea"/>
        <a:cs typeface="+mn-cs"/>
      </a:defRPr>
    </a:lvl7pPr>
    <a:lvl8pPr marL="2816032" algn="l" defTabSz="804581" rtl="0" eaLnBrk="1" latinLnBrk="0" hangingPunct="1">
      <a:defRPr sz="1056" kern="1200">
        <a:solidFill>
          <a:schemeClr val="tx1"/>
        </a:solidFill>
        <a:latin typeface="+mn-lt"/>
        <a:ea typeface="+mn-ea"/>
        <a:cs typeface="+mn-cs"/>
      </a:defRPr>
    </a:lvl8pPr>
    <a:lvl9pPr marL="3218322" algn="l" defTabSz="804581" rtl="0" eaLnBrk="1" latinLnBrk="0" hangingPunct="1">
      <a:defRPr sz="105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endParaRPr lang="en-GB" dirty="0"/>
          </a:p>
        </p:txBody>
      </p:sp>
      <p:sp>
        <p:nvSpPr>
          <p:cNvPr id="4" name="Foliennummernplatzhalter 3"/>
          <p:cNvSpPr>
            <a:spLocks noGrp="1"/>
          </p:cNvSpPr>
          <p:nvPr>
            <p:ph type="sldNum" sz="quarter" idx="10"/>
          </p:nvPr>
        </p:nvSpPr>
        <p:spPr/>
        <p:txBody>
          <a:bodyPr/>
          <a:lstStyle/>
          <a:p>
            <a:fld id="{8BE94A0B-B183-45F9-8022-C2EDCC55F51C}" type="slidenum">
              <a:rPr lang="de-DE" smtClean="0"/>
              <a:t>3</a:t>
            </a:fld>
            <a:endParaRPr lang="de-DE"/>
          </a:p>
        </p:txBody>
      </p:sp>
    </p:spTree>
    <p:extLst>
      <p:ext uri="{BB962C8B-B14F-4D97-AF65-F5344CB8AC3E}">
        <p14:creationId xmlns:p14="http://schemas.microsoft.com/office/powerpoint/2010/main" val="1738787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E94A0B-B183-45F9-8022-C2EDCC55F51C}" type="slidenum">
              <a:rPr lang="de-DE" smtClean="0"/>
              <a:t>4</a:t>
            </a:fld>
            <a:endParaRPr lang="de-DE" dirty="0"/>
          </a:p>
        </p:txBody>
      </p:sp>
    </p:spTree>
    <p:extLst>
      <p:ext uri="{BB962C8B-B14F-4D97-AF65-F5344CB8AC3E}">
        <p14:creationId xmlns:p14="http://schemas.microsoft.com/office/powerpoint/2010/main" val="4019603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100" dirty="0">
                <a:solidFill>
                  <a:schemeClr val="tx1"/>
                </a:solidFill>
              </a:rPr>
              <a:t>after 53 successfully provided financings, the programme will be expanded globally</a:t>
            </a:r>
          </a:p>
          <a:p>
            <a:endParaRPr lang="de-DE" dirty="0"/>
          </a:p>
        </p:txBody>
      </p:sp>
      <p:sp>
        <p:nvSpPr>
          <p:cNvPr id="4" name="Foliennummernplatzhalter 3"/>
          <p:cNvSpPr>
            <a:spLocks noGrp="1"/>
          </p:cNvSpPr>
          <p:nvPr>
            <p:ph type="sldNum" sz="quarter" idx="10"/>
          </p:nvPr>
        </p:nvSpPr>
        <p:spPr/>
        <p:txBody>
          <a:bodyPr/>
          <a:lstStyle/>
          <a:p>
            <a:fld id="{8BE94A0B-B183-45F9-8022-C2EDCC55F51C}" type="slidenum">
              <a:rPr lang="de-DE" smtClean="0"/>
              <a:t>6</a:t>
            </a:fld>
            <a:endParaRPr lang="de-DE" dirty="0"/>
          </a:p>
        </p:txBody>
      </p:sp>
    </p:spTree>
    <p:extLst>
      <p:ext uri="{BB962C8B-B14F-4D97-AF65-F5344CB8AC3E}">
        <p14:creationId xmlns:p14="http://schemas.microsoft.com/office/powerpoint/2010/main" val="1059870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oher</a:t>
            </a:r>
            <a:r>
              <a:rPr lang="de-DE" baseline="0" dirty="0"/>
              <a:t> Bestand Deutscher FDI in Ukraine: Höchster Bestand in einem BMZ Partnerland im Europäischen Raum (Quelle: Deutsche Bundesbank)</a:t>
            </a:r>
          </a:p>
          <a:p>
            <a:r>
              <a:rPr lang="de-DE" dirty="0"/>
              <a:t>Global FDI zeigt den</a:t>
            </a:r>
            <a:r>
              <a:rPr lang="de-DE" baseline="0" dirty="0"/>
              <a:t> rapiden Rückgang durch den Krieg. In vielen Schwellen- und Entwicklungsländern kann nach Krisen (z.B. Covid-19) ein deutlicher Wiederanstieg beobachtet werden. (Quelle: GIZ Studie)</a:t>
            </a:r>
          </a:p>
          <a:p>
            <a:pPr marL="171450" marR="0" lvl="0" indent="-171450" algn="l" defTabSz="804581" rtl="0" eaLnBrk="1" fontAlgn="auto" latinLnBrk="0" hangingPunct="1">
              <a:lnSpc>
                <a:spcPct val="100000"/>
              </a:lnSpc>
              <a:spcBef>
                <a:spcPts val="0"/>
              </a:spcBef>
              <a:spcAft>
                <a:spcPts val="0"/>
              </a:spcAft>
              <a:buClrTx/>
              <a:buSzPct val="110000"/>
              <a:buFont typeface="Symbol" panose="05050102010706020507" pitchFamily="18" charset="2"/>
              <a:buChar char="-"/>
              <a:tabLst/>
              <a:defRPr/>
            </a:pPr>
            <a:r>
              <a:rPr lang="en-US" sz="1100" b="0" i="0" kern="1200" baseline="0" noProof="0" dirty="0">
                <a:solidFill>
                  <a:schemeClr val="tx1"/>
                </a:solidFill>
                <a:latin typeface="+mn-lt"/>
                <a:ea typeface="ＭＳ Ｐゴシック" pitchFamily="-107" charset="-128"/>
                <a:cs typeface="ＭＳ Ｐゴシック" pitchFamily="-107" charset="-128"/>
              </a:rPr>
              <a:t>E.g. Bayer is investing EUR 60m in its seed plant near Kiev (1.5k jobs)</a:t>
            </a:r>
          </a:p>
          <a:p>
            <a:pPr marL="171450" marR="0" lvl="0" indent="-171450" algn="l" defTabSz="804581" rtl="0" eaLnBrk="1" fontAlgn="auto" latinLnBrk="0" hangingPunct="1">
              <a:lnSpc>
                <a:spcPct val="100000"/>
              </a:lnSpc>
              <a:spcBef>
                <a:spcPts val="0"/>
              </a:spcBef>
              <a:spcAft>
                <a:spcPts val="0"/>
              </a:spcAft>
              <a:buClrTx/>
              <a:buSzPct val="110000"/>
              <a:buFont typeface="Symbol" panose="05050102010706020507" pitchFamily="18" charset="2"/>
              <a:buChar char="-"/>
              <a:tabLst/>
              <a:defRPr/>
            </a:pPr>
            <a:r>
              <a:rPr lang="en-US" sz="1100" b="0" i="0" kern="1200" baseline="0" noProof="0" dirty="0" err="1">
                <a:solidFill>
                  <a:schemeClr val="tx1"/>
                </a:solidFill>
                <a:latin typeface="+mn-lt"/>
                <a:ea typeface="ＭＳ Ｐゴシック" pitchFamily="-107" charset="-128"/>
                <a:cs typeface="ＭＳ Ｐゴシック" pitchFamily="-107" charset="-128"/>
              </a:rPr>
              <a:t>Insb</a:t>
            </a:r>
            <a:r>
              <a:rPr lang="en-US" sz="1100" b="0" i="0" kern="1200" baseline="0" noProof="0" dirty="0">
                <a:solidFill>
                  <a:schemeClr val="tx1"/>
                </a:solidFill>
                <a:latin typeface="+mn-lt"/>
                <a:ea typeface="ＭＳ Ｐゴシック" pitchFamily="-107" charset="-128"/>
                <a:cs typeface="ＭＳ Ｐゴシック" pitchFamily="-107" charset="-128"/>
              </a:rPr>
              <a:t>. </a:t>
            </a:r>
            <a:r>
              <a:rPr lang="en-US" sz="1100" b="0" i="0" kern="1200" baseline="0" noProof="0" dirty="0" err="1">
                <a:solidFill>
                  <a:schemeClr val="tx1"/>
                </a:solidFill>
                <a:latin typeface="+mn-lt"/>
                <a:ea typeface="ＭＳ Ｐゴシック" pitchFamily="-107" charset="-128"/>
                <a:cs typeface="ＭＳ Ｐゴシック" pitchFamily="-107" charset="-128"/>
              </a:rPr>
              <a:t>Kriegsrisiken</a:t>
            </a:r>
            <a:r>
              <a:rPr lang="en-US" sz="1100" b="0" i="0" kern="1200" baseline="0" noProof="0" dirty="0">
                <a:solidFill>
                  <a:schemeClr val="tx1"/>
                </a:solidFill>
                <a:latin typeface="+mn-lt"/>
                <a:ea typeface="ＭＳ Ｐゴシック" pitchFamily="-107" charset="-128"/>
                <a:cs typeface="ＭＳ Ｐゴシック" pitchFamily="-107" charset="-128"/>
              </a:rPr>
              <a:t> und </a:t>
            </a:r>
            <a:r>
              <a:rPr lang="en-US" sz="1100" b="0" i="0" kern="1200" baseline="0" noProof="0" dirty="0" err="1">
                <a:solidFill>
                  <a:schemeClr val="tx1"/>
                </a:solidFill>
                <a:latin typeface="+mn-lt"/>
                <a:ea typeface="ＭＳ Ｐゴシック" pitchFamily="-107" charset="-128"/>
                <a:cs typeface="ＭＳ Ｐゴシック" pitchFamily="-107" charset="-128"/>
              </a:rPr>
              <a:t>Konvertierungs</a:t>
            </a:r>
            <a:r>
              <a:rPr lang="en-US" sz="1100" b="0" i="0" kern="1200" baseline="0" noProof="0" dirty="0">
                <a:solidFill>
                  <a:schemeClr val="tx1"/>
                </a:solidFill>
                <a:latin typeface="+mn-lt"/>
                <a:ea typeface="ＭＳ Ｐゴシック" pitchFamily="-107" charset="-128"/>
                <a:cs typeface="ＭＳ Ｐゴシック" pitchFamily="-107" charset="-128"/>
              </a:rPr>
              <a:t>- und </a:t>
            </a:r>
            <a:r>
              <a:rPr lang="en-US" sz="1100" b="0" i="0" kern="1200" baseline="0" noProof="0" dirty="0" err="1">
                <a:solidFill>
                  <a:schemeClr val="tx1"/>
                </a:solidFill>
                <a:latin typeface="+mn-lt"/>
                <a:ea typeface="ＭＳ Ｐゴシック" pitchFamily="-107" charset="-128"/>
                <a:cs typeface="ＭＳ Ｐゴシック" pitchFamily="-107" charset="-128"/>
              </a:rPr>
              <a:t>Transferrisiken</a:t>
            </a:r>
            <a:endParaRPr lang="en-US" sz="1100" b="0" i="0" kern="1200" baseline="0" noProof="0" dirty="0">
              <a:solidFill>
                <a:schemeClr val="tx1"/>
              </a:solidFill>
              <a:latin typeface="+mn-lt"/>
              <a:ea typeface="ＭＳ Ｐゴシック" pitchFamily="-107" charset="-128"/>
              <a:cs typeface="ＭＳ Ｐゴシック" pitchFamily="-107" charset="-128"/>
            </a:endParaRPr>
          </a:p>
          <a:p>
            <a:endParaRPr lang="de-DE" baseline="0" dirty="0"/>
          </a:p>
        </p:txBody>
      </p:sp>
      <p:sp>
        <p:nvSpPr>
          <p:cNvPr id="4" name="Foliennummernplatzhalter 3"/>
          <p:cNvSpPr>
            <a:spLocks noGrp="1"/>
          </p:cNvSpPr>
          <p:nvPr>
            <p:ph type="sldNum" sz="quarter" idx="10"/>
          </p:nvPr>
        </p:nvSpPr>
        <p:spPr/>
        <p:txBody>
          <a:bodyPr/>
          <a:lstStyle/>
          <a:p>
            <a:fld id="{8BE94A0B-B183-45F9-8022-C2EDCC55F51C}" type="slidenum">
              <a:rPr lang="de-DE" smtClean="0"/>
              <a:t>7</a:t>
            </a:fld>
            <a:endParaRPr lang="de-DE" dirty="0"/>
          </a:p>
        </p:txBody>
      </p:sp>
    </p:spTree>
    <p:extLst>
      <p:ext uri="{BB962C8B-B14F-4D97-AF65-F5344CB8AC3E}">
        <p14:creationId xmlns:p14="http://schemas.microsoft.com/office/powerpoint/2010/main" val="3614041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p:txBody>
          <a:bodyPr/>
          <a:lstStyle>
            <a:lvl1pPr defTabSz="915988" eaLnBrk="0" hangingPunct="0">
              <a:defRPr sz="1600">
                <a:solidFill>
                  <a:schemeClr val="bg1"/>
                </a:solidFill>
                <a:latin typeface="Franklin Gothic Book" pitchFamily="34" charset="0"/>
                <a:ea typeface="ＭＳ Ｐゴシック" pitchFamily="34" charset="-128"/>
              </a:defRPr>
            </a:lvl1pPr>
            <a:lvl2pPr marL="742950" indent="-285750" defTabSz="915988" eaLnBrk="0" hangingPunct="0">
              <a:defRPr sz="1600">
                <a:solidFill>
                  <a:schemeClr val="bg1"/>
                </a:solidFill>
                <a:latin typeface="Franklin Gothic Book" pitchFamily="34" charset="0"/>
                <a:ea typeface="ＭＳ Ｐゴシック" pitchFamily="34" charset="-128"/>
              </a:defRPr>
            </a:lvl2pPr>
            <a:lvl3pPr marL="1143000" indent="-228600" defTabSz="915988" eaLnBrk="0" hangingPunct="0">
              <a:defRPr sz="1600">
                <a:solidFill>
                  <a:schemeClr val="bg1"/>
                </a:solidFill>
                <a:latin typeface="Franklin Gothic Book" pitchFamily="34" charset="0"/>
                <a:ea typeface="ＭＳ Ｐゴシック" pitchFamily="34" charset="-128"/>
              </a:defRPr>
            </a:lvl3pPr>
            <a:lvl4pPr marL="1600200" indent="-228600" defTabSz="915988" eaLnBrk="0" hangingPunct="0">
              <a:defRPr sz="1600">
                <a:solidFill>
                  <a:schemeClr val="bg1"/>
                </a:solidFill>
                <a:latin typeface="Franklin Gothic Book" pitchFamily="34" charset="0"/>
                <a:ea typeface="ＭＳ Ｐゴシック" pitchFamily="34" charset="-128"/>
              </a:defRPr>
            </a:lvl4pPr>
            <a:lvl5pPr marL="2057400" indent="-228600" defTabSz="915988" eaLnBrk="0" hangingPunct="0">
              <a:defRPr sz="1600">
                <a:solidFill>
                  <a:schemeClr val="bg1"/>
                </a:solidFill>
                <a:latin typeface="Franklin Gothic Book" pitchFamily="34" charset="0"/>
                <a:ea typeface="ＭＳ Ｐゴシック" pitchFamily="34" charset="-128"/>
              </a:defRPr>
            </a:lvl5pPr>
            <a:lvl6pPr marL="2514600" indent="-228600" defTabSz="915988" eaLnBrk="0" fontAlgn="base" hangingPunct="0">
              <a:spcBef>
                <a:spcPct val="0"/>
              </a:spcBef>
              <a:spcAft>
                <a:spcPct val="0"/>
              </a:spcAft>
              <a:defRPr sz="1600">
                <a:solidFill>
                  <a:schemeClr val="bg1"/>
                </a:solidFill>
                <a:latin typeface="Franklin Gothic Book" pitchFamily="34" charset="0"/>
                <a:ea typeface="ＭＳ Ｐゴシック" pitchFamily="34" charset="-128"/>
              </a:defRPr>
            </a:lvl6pPr>
            <a:lvl7pPr marL="2971800" indent="-228600" defTabSz="915988" eaLnBrk="0" fontAlgn="base" hangingPunct="0">
              <a:spcBef>
                <a:spcPct val="0"/>
              </a:spcBef>
              <a:spcAft>
                <a:spcPct val="0"/>
              </a:spcAft>
              <a:defRPr sz="1600">
                <a:solidFill>
                  <a:schemeClr val="bg1"/>
                </a:solidFill>
                <a:latin typeface="Franklin Gothic Book" pitchFamily="34" charset="0"/>
                <a:ea typeface="ＭＳ Ｐゴシック" pitchFamily="34" charset="-128"/>
              </a:defRPr>
            </a:lvl7pPr>
            <a:lvl8pPr marL="3429000" indent="-228600" defTabSz="915988" eaLnBrk="0" fontAlgn="base" hangingPunct="0">
              <a:spcBef>
                <a:spcPct val="0"/>
              </a:spcBef>
              <a:spcAft>
                <a:spcPct val="0"/>
              </a:spcAft>
              <a:defRPr sz="1600">
                <a:solidFill>
                  <a:schemeClr val="bg1"/>
                </a:solidFill>
                <a:latin typeface="Franklin Gothic Book" pitchFamily="34" charset="0"/>
                <a:ea typeface="ＭＳ Ｐゴシック" pitchFamily="34" charset="-128"/>
              </a:defRPr>
            </a:lvl8pPr>
            <a:lvl9pPr marL="3886200" indent="-228600" defTabSz="915988" eaLnBrk="0" fontAlgn="base" hangingPunct="0">
              <a:spcBef>
                <a:spcPct val="0"/>
              </a:spcBef>
              <a:spcAft>
                <a:spcPct val="0"/>
              </a:spcAft>
              <a:defRPr sz="1600">
                <a:solidFill>
                  <a:schemeClr val="bg1"/>
                </a:solidFill>
                <a:latin typeface="Franklin Gothic Book" pitchFamily="34" charset="0"/>
                <a:ea typeface="ＭＳ Ｐゴシック" pitchFamily="34" charset="-128"/>
              </a:defRPr>
            </a:lvl9pPr>
          </a:lstStyle>
          <a:p>
            <a:pPr eaLnBrk="1" hangingPunct="1">
              <a:defRPr/>
            </a:pPr>
            <a:fld id="{DFF22C99-7C56-41B0-A163-A9A4659AE2B3}" type="slidenum">
              <a:rPr lang="de-DE" sz="1000" smtClean="0">
                <a:solidFill>
                  <a:schemeClr val="tx1"/>
                </a:solidFill>
                <a:latin typeface="Times New Roman" pitchFamily="18" charset="0"/>
              </a:rPr>
              <a:pPr eaLnBrk="1" hangingPunct="1">
                <a:defRPr/>
              </a:pPr>
              <a:t>8</a:t>
            </a:fld>
            <a:endParaRPr lang="de-DE" sz="1000">
              <a:solidFill>
                <a:schemeClr val="tx1"/>
              </a:solidFill>
              <a:latin typeface="Times New Roman" pitchFamily="18" charset="0"/>
            </a:endParaRPr>
          </a:p>
        </p:txBody>
      </p:sp>
      <p:sp>
        <p:nvSpPr>
          <p:cNvPr id="69635" name="Rectangle 2"/>
          <p:cNvSpPr>
            <a:spLocks noGrp="1" noRot="1" noChangeAspect="1" noChangeArrowheads="1" noTextEdit="1"/>
          </p:cNvSpPr>
          <p:nvPr>
            <p:ph type="sldImg"/>
          </p:nvPr>
        </p:nvSpPr>
        <p:spPr>
          <a:xfrm>
            <a:off x="3141663" y="511175"/>
            <a:ext cx="3706812" cy="2566988"/>
          </a:xfrm>
          <a:ln/>
        </p:spPr>
      </p:sp>
      <p:sp>
        <p:nvSpPr>
          <p:cNvPr id="69636" name="Rectangle 3"/>
          <p:cNvSpPr>
            <a:spLocks noGrp="1" noChangeArrowheads="1"/>
          </p:cNvSpPr>
          <p:nvPr>
            <p:ph type="body" idx="1"/>
          </p:nvPr>
        </p:nvSpPr>
        <p:spPr>
          <a:noFill/>
        </p:spPr>
        <p:txBody>
          <a:bodyPr/>
          <a:lstStyle/>
          <a:p>
            <a:pPr eaLnBrk="1" hangingPunct="1"/>
            <a:endParaRPr lang="en-US" baseline="0" dirty="0">
              <a:ea typeface="ＭＳ Ｐゴシック" pitchFamily="34" charset="-128"/>
              <a:cs typeface="Arial" pitchFamily="34" charset="0"/>
            </a:endParaRPr>
          </a:p>
        </p:txBody>
      </p:sp>
    </p:spTree>
    <p:extLst>
      <p:ext uri="{BB962C8B-B14F-4D97-AF65-F5344CB8AC3E}">
        <p14:creationId xmlns:p14="http://schemas.microsoft.com/office/powerpoint/2010/main" val="1490310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endParaRPr lang="de-DE" dirty="0"/>
          </a:p>
        </p:txBody>
      </p:sp>
      <p:sp>
        <p:nvSpPr>
          <p:cNvPr id="4" name="Foliennummernplatzhalter 3"/>
          <p:cNvSpPr>
            <a:spLocks noGrp="1"/>
          </p:cNvSpPr>
          <p:nvPr>
            <p:ph type="sldNum" sz="quarter" idx="10"/>
          </p:nvPr>
        </p:nvSpPr>
        <p:spPr/>
        <p:txBody>
          <a:bodyPr/>
          <a:lstStyle/>
          <a:p>
            <a:fld id="{8BE94A0B-B183-45F9-8022-C2EDCC55F51C}" type="slidenum">
              <a:rPr lang="de-DE" smtClean="0"/>
              <a:t>10</a:t>
            </a:fld>
            <a:endParaRPr lang="de-DE" dirty="0"/>
          </a:p>
        </p:txBody>
      </p:sp>
    </p:spTree>
    <p:extLst>
      <p:ext uri="{BB962C8B-B14F-4D97-AF65-F5344CB8AC3E}">
        <p14:creationId xmlns:p14="http://schemas.microsoft.com/office/powerpoint/2010/main" val="2506751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folgsprogramm</a:t>
            </a:r>
            <a:r>
              <a:rPr lang="de-DE" baseline="0" dirty="0"/>
              <a:t> </a:t>
            </a:r>
            <a:r>
              <a:rPr lang="de-DE" baseline="0" dirty="0" err="1"/>
              <a:t>AfricaConnect</a:t>
            </a:r>
            <a:r>
              <a:rPr lang="de-DE" baseline="0" dirty="0"/>
              <a:t> als Basis.</a:t>
            </a:r>
          </a:p>
          <a:p>
            <a:r>
              <a:rPr lang="de-DE" baseline="0" dirty="0"/>
              <a:t>UKR Deal ist hier schon mit drin, da Pilotvorhaben</a:t>
            </a:r>
            <a:endParaRPr lang="de-DE" dirty="0"/>
          </a:p>
        </p:txBody>
      </p:sp>
      <p:sp>
        <p:nvSpPr>
          <p:cNvPr id="4" name="Foliennummernplatzhalter 3"/>
          <p:cNvSpPr>
            <a:spLocks noGrp="1"/>
          </p:cNvSpPr>
          <p:nvPr>
            <p:ph type="sldNum" sz="quarter" idx="10"/>
          </p:nvPr>
        </p:nvSpPr>
        <p:spPr/>
        <p:txBody>
          <a:bodyPr/>
          <a:lstStyle/>
          <a:p>
            <a:fld id="{8BE94A0B-B183-45F9-8022-C2EDCC55F51C}" type="slidenum">
              <a:rPr lang="de-DE" smtClean="0"/>
              <a:t>11</a:t>
            </a:fld>
            <a:endParaRPr lang="de-DE" dirty="0"/>
          </a:p>
        </p:txBody>
      </p:sp>
    </p:spTree>
    <p:extLst>
      <p:ext uri="{BB962C8B-B14F-4D97-AF65-F5344CB8AC3E}">
        <p14:creationId xmlns:p14="http://schemas.microsoft.com/office/powerpoint/2010/main" val="4031858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emf"/><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7.jpg"/><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11" name="Grafik 4">
            <a:extLst>
              <a:ext uri="{FF2B5EF4-FFF2-40B4-BE49-F238E27FC236}">
                <a16:creationId xmlns:a16="http://schemas.microsoft.com/office/drawing/2014/main" id="{C4C2C7E3-40C7-402B-893E-71C9F484A1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44" y="0"/>
            <a:ext cx="9904056" cy="6858000"/>
          </a:xfrm>
          <a:prstGeom prst="rect">
            <a:avLst/>
          </a:prstGeom>
        </p:spPr>
      </p:pic>
      <p:sp>
        <p:nvSpPr>
          <p:cNvPr id="14" name="Freihandform 20">
            <a:extLst>
              <a:ext uri="{FF2B5EF4-FFF2-40B4-BE49-F238E27FC236}">
                <a16:creationId xmlns:a16="http://schemas.microsoft.com/office/drawing/2014/main" id="{1A900AE6-AB8B-47DC-9025-5992CFC12528}"/>
              </a:ext>
            </a:extLst>
          </p:cNvPr>
          <p:cNvSpPr/>
          <p:nvPr userDrawn="1"/>
        </p:nvSpPr>
        <p:spPr>
          <a:xfrm>
            <a:off x="2903537" y="3384699"/>
            <a:ext cx="7002463" cy="3473302"/>
          </a:xfrm>
          <a:custGeom>
            <a:avLst/>
            <a:gdLst>
              <a:gd name="connsiteX0" fmla="*/ 194526 w 7009089"/>
              <a:gd name="connsiteY0" fmla="*/ 0 h 3489877"/>
              <a:gd name="connsiteX1" fmla="*/ 7009089 w 7009089"/>
              <a:gd name="connsiteY1" fmla="*/ 0 h 3489877"/>
              <a:gd name="connsiteX2" fmla="*/ 7009089 w 7009089"/>
              <a:gd name="connsiteY2" fmla="*/ 3489877 h 3489877"/>
              <a:gd name="connsiteX3" fmla="*/ 0 w 7009089"/>
              <a:gd name="connsiteY3" fmla="*/ 3489877 h 3489877"/>
              <a:gd name="connsiteX4" fmla="*/ 0 w 7009089"/>
              <a:gd name="connsiteY4" fmla="*/ 194526 h 3489877"/>
              <a:gd name="connsiteX5" fmla="*/ 194526 w 7009089"/>
              <a:gd name="connsiteY5" fmla="*/ 0 h 348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9089" h="3489877">
                <a:moveTo>
                  <a:pt x="194526" y="0"/>
                </a:moveTo>
                <a:lnTo>
                  <a:pt x="7009089" y="0"/>
                </a:lnTo>
                <a:lnTo>
                  <a:pt x="7009089" y="3489877"/>
                </a:lnTo>
                <a:lnTo>
                  <a:pt x="0" y="3489877"/>
                </a:lnTo>
                <a:lnTo>
                  <a:pt x="0" y="194526"/>
                </a:lnTo>
                <a:cubicBezTo>
                  <a:pt x="0" y="87092"/>
                  <a:pt x="87092" y="0"/>
                  <a:pt x="19452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B0753127-A316-4DEA-A243-37CD08025AE0}"/>
              </a:ext>
            </a:extLst>
          </p:cNvPr>
          <p:cNvSpPr>
            <a:spLocks noGrp="1"/>
          </p:cNvSpPr>
          <p:nvPr>
            <p:ph type="ctrTitle"/>
          </p:nvPr>
        </p:nvSpPr>
        <p:spPr bwMode="gray">
          <a:xfrm>
            <a:off x="3408020" y="3678921"/>
            <a:ext cx="6316560" cy="1447430"/>
          </a:xfrm>
        </p:spPr>
        <p:txBody>
          <a:bodyPr anchor="t"/>
          <a:lstStyle>
            <a:lvl1pPr marL="0" indent="447675" algn="l">
              <a:defRPr sz="3000"/>
            </a:lvl1pPr>
          </a:lstStyle>
          <a:p>
            <a:r>
              <a:rPr lang="de-DE"/>
              <a:t>Mastertitelformat bearbeiten</a:t>
            </a:r>
            <a:endParaRPr lang="de-DE" dirty="0"/>
          </a:p>
        </p:txBody>
      </p:sp>
      <p:sp>
        <p:nvSpPr>
          <p:cNvPr id="3" name="Untertitel 2">
            <a:extLst>
              <a:ext uri="{FF2B5EF4-FFF2-40B4-BE49-F238E27FC236}">
                <a16:creationId xmlns:a16="http://schemas.microsoft.com/office/drawing/2014/main" id="{50D01F54-E3E9-4D6D-94DD-FB5979320586}"/>
              </a:ext>
            </a:extLst>
          </p:cNvPr>
          <p:cNvSpPr>
            <a:spLocks noGrp="1"/>
          </p:cNvSpPr>
          <p:nvPr>
            <p:ph type="subTitle" idx="1" hasCustomPrompt="1"/>
          </p:nvPr>
        </p:nvSpPr>
        <p:spPr bwMode="gray">
          <a:xfrm>
            <a:off x="3408019" y="5247063"/>
            <a:ext cx="6316560" cy="623859"/>
          </a:xfrm>
        </p:spPr>
        <p:txBody>
          <a:bodyPr/>
          <a:lstStyle>
            <a:lvl1pPr marL="0" indent="0" algn="l">
              <a:lnSpc>
                <a:spcPct val="11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Abteilung, Name</a:t>
            </a:r>
            <a:br>
              <a:rPr lang="de-DE" dirty="0"/>
            </a:br>
            <a:r>
              <a:rPr lang="de-DE" dirty="0"/>
              <a:t>Ort, XX Monat Jahr</a:t>
            </a:r>
          </a:p>
        </p:txBody>
      </p:sp>
      <p:grpSp>
        <p:nvGrpSpPr>
          <p:cNvPr id="20" name="Gruppieren 19">
            <a:extLst>
              <a:ext uri="{FF2B5EF4-FFF2-40B4-BE49-F238E27FC236}">
                <a16:creationId xmlns:a16="http://schemas.microsoft.com/office/drawing/2014/main" id="{7A8C9341-99E8-40CF-9CE5-28510F054CA7}"/>
              </a:ext>
            </a:extLst>
          </p:cNvPr>
          <p:cNvGrpSpPr/>
          <p:nvPr userDrawn="1"/>
        </p:nvGrpSpPr>
        <p:grpSpPr bwMode="gray">
          <a:xfrm>
            <a:off x="3231158" y="3720795"/>
            <a:ext cx="541108" cy="338136"/>
            <a:chOff x="1273175" y="1606550"/>
            <a:chExt cx="9653588" cy="6032500"/>
          </a:xfrm>
          <a:solidFill>
            <a:schemeClr val="accent2"/>
          </a:solidFill>
        </p:grpSpPr>
        <p:sp>
          <p:nvSpPr>
            <p:cNvPr id="21" name="Freeform 5">
              <a:extLst>
                <a:ext uri="{FF2B5EF4-FFF2-40B4-BE49-F238E27FC236}">
                  <a16:creationId xmlns:a16="http://schemas.microsoft.com/office/drawing/2014/main" id="{D36E4CC9-C077-4A39-9AB5-F5A4180FF250}"/>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2" name="Freeform 6">
              <a:extLst>
                <a:ext uri="{FF2B5EF4-FFF2-40B4-BE49-F238E27FC236}">
                  <a16:creationId xmlns:a16="http://schemas.microsoft.com/office/drawing/2014/main" id="{159FA4CE-3FC6-4245-8567-538E0031F3DE}"/>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3" name="Freeform 7">
              <a:extLst>
                <a:ext uri="{FF2B5EF4-FFF2-40B4-BE49-F238E27FC236}">
                  <a16:creationId xmlns:a16="http://schemas.microsoft.com/office/drawing/2014/main" id="{13D99495-70E2-417E-95CC-2332F288B9D7}"/>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pic>
        <p:nvPicPr>
          <p:cNvPr id="15" name="Grafik 10">
            <a:extLst>
              <a:ext uri="{FF2B5EF4-FFF2-40B4-BE49-F238E27FC236}">
                <a16:creationId xmlns:a16="http://schemas.microsoft.com/office/drawing/2014/main" id="{CB153E4D-F4D0-433D-BACF-2D33641EE2D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7689314" y="6006976"/>
            <a:ext cx="1818695" cy="450527"/>
          </a:xfrm>
          <a:prstGeom prst="rect">
            <a:avLst/>
          </a:prstGeom>
        </p:spPr>
      </p:pic>
      <p:pic>
        <p:nvPicPr>
          <p:cNvPr id="12" name="Picture 1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408018" y="5991633"/>
            <a:ext cx="1525237" cy="465869"/>
          </a:xfrm>
          <a:prstGeom prst="rect">
            <a:avLst/>
          </a:prstGeom>
        </p:spPr>
      </p:pic>
    </p:spTree>
    <p:extLst>
      <p:ext uri="{BB962C8B-B14F-4D97-AF65-F5344CB8AC3E}">
        <p14:creationId xmlns:p14="http://schemas.microsoft.com/office/powerpoint/2010/main" val="195189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4497091" cy="4789925"/>
          </a:xfrm>
          <a:noFill/>
        </p:spPr>
        <p:txBody>
          <a:bodyPr anchor="ctr"/>
          <a:lstStyle>
            <a:lvl1pPr marL="0" indent="0" algn="ctr">
              <a:buNone/>
              <a:defRPr/>
            </a:lvl1pPr>
          </a:lstStyle>
          <a:p>
            <a:r>
              <a:rPr lang="de-DE" dirty="0"/>
              <a:t>Bild durch Klicken auf Symbol hinzufügen</a:t>
            </a:r>
          </a:p>
        </p:txBody>
      </p:sp>
      <p:sp>
        <p:nvSpPr>
          <p:cNvPr id="4" name="Bildplatzhalter 8">
            <a:extLst>
              <a:ext uri="{FF2B5EF4-FFF2-40B4-BE49-F238E27FC236}">
                <a16:creationId xmlns:a16="http://schemas.microsoft.com/office/drawing/2014/main" id="{F7895F72-12DE-43C1-A37A-EA75A21EA4A4}"/>
              </a:ext>
            </a:extLst>
          </p:cNvPr>
          <p:cNvSpPr>
            <a:spLocks noGrp="1"/>
          </p:cNvSpPr>
          <p:nvPr>
            <p:ph type="pic" sz="quarter" idx="14"/>
          </p:nvPr>
        </p:nvSpPr>
        <p:spPr bwMode="gray">
          <a:xfrm>
            <a:off x="5064422" y="1412875"/>
            <a:ext cx="4497091" cy="4789925"/>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BFB4171F-EB70-4599-BA3B-B839C7FFDA34}"/>
              </a:ext>
            </a:extLst>
          </p:cNvPr>
          <p:cNvSpPr>
            <a:spLocks noGrp="1"/>
          </p:cNvSpPr>
          <p:nvPr>
            <p:ph type="dt" sz="half" idx="15"/>
          </p:nvPr>
        </p:nvSpPr>
        <p:spPr bwMode="gray"/>
        <p:txBody>
          <a:bodyPr/>
          <a:lstStyle/>
          <a:p>
            <a:endParaRPr lang="de-DE" dirty="0"/>
          </a:p>
        </p:txBody>
      </p:sp>
      <p:sp>
        <p:nvSpPr>
          <p:cNvPr id="8" name="Foliennummernplatzhalter 7">
            <a:extLst>
              <a:ext uri="{FF2B5EF4-FFF2-40B4-BE49-F238E27FC236}">
                <a16:creationId xmlns:a16="http://schemas.microsoft.com/office/drawing/2014/main" id="{DD395116-B4DF-4C65-86EF-D98CA4BA6281}"/>
              </a:ext>
            </a:extLst>
          </p:cNvPr>
          <p:cNvSpPr>
            <a:spLocks noGrp="1"/>
          </p:cNvSpPr>
          <p:nvPr>
            <p:ph type="sldNum" sz="quarter" idx="17"/>
          </p:nvPr>
        </p:nvSpPr>
        <p:spPr bwMode="gray"/>
        <p:txBody>
          <a:bodyPr/>
          <a:lstStyle/>
          <a:p>
            <a:fld id="{5678FFC5-4430-43BC-9807-D0C6EB405569}" type="slidenum">
              <a:rPr lang="de-DE" smtClean="0"/>
              <a:pPr/>
              <a:t>‹#›</a:t>
            </a:fld>
            <a:endParaRPr lang="de-DE" dirty="0"/>
          </a:p>
        </p:txBody>
      </p:sp>
      <p:sp>
        <p:nvSpPr>
          <p:cNvPr id="9" name="Textplatzhalter 8">
            <a:extLst>
              <a:ext uri="{FF2B5EF4-FFF2-40B4-BE49-F238E27FC236}">
                <a16:creationId xmlns:a16="http://schemas.microsoft.com/office/drawing/2014/main" id="{0289CD2F-7262-4377-9CA8-410D53F1AA23}"/>
              </a:ext>
            </a:extLst>
          </p:cNvPr>
          <p:cNvSpPr>
            <a:spLocks noGrp="1"/>
          </p:cNvSpPr>
          <p:nvPr>
            <p:ph type="body" sz="quarter" idx="18"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EBE10CD9-8859-463A-8368-BCE572843408}"/>
              </a:ext>
            </a:extLst>
          </p:cNvPr>
          <p:cNvSpPr>
            <a:spLocks noGrp="1"/>
          </p:cNvSpPr>
          <p:nvPr>
            <p:ph type="body" sz="quarter" idx="19"/>
          </p:nvPr>
        </p:nvSpPr>
        <p:spPr>
          <a:xfrm>
            <a:off x="500402" y="676800"/>
            <a:ext cx="9072858"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5" name="Fußzeilenplatzhalter 4"/>
          <p:cNvSpPr>
            <a:spLocks noGrp="1"/>
          </p:cNvSpPr>
          <p:nvPr>
            <p:ph type="ftr" sz="quarter" idx="20"/>
          </p:nvPr>
        </p:nvSpPr>
        <p:spPr/>
        <p:txBody>
          <a:bodyPr/>
          <a:lstStyle/>
          <a:p>
            <a:r>
              <a:rPr lang="de-DE"/>
              <a:t>DEG-Unternehmenspräsentation</a:t>
            </a:r>
          </a:p>
        </p:txBody>
      </p:sp>
    </p:spTree>
    <p:extLst>
      <p:ext uri="{BB962C8B-B14F-4D97-AF65-F5344CB8AC3E}">
        <p14:creationId xmlns:p14="http://schemas.microsoft.com/office/powerpoint/2010/main" val="1994831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6" name="Textplatzhalter 8">
            <a:extLst>
              <a:ext uri="{FF2B5EF4-FFF2-40B4-BE49-F238E27FC236}">
                <a16:creationId xmlns:a16="http://schemas.microsoft.com/office/drawing/2014/main" id="{C1AD9F2A-0B80-47A0-A099-2BC51A092EA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7" name="Textplatzhalter 8">
            <a:extLst>
              <a:ext uri="{FF2B5EF4-FFF2-40B4-BE49-F238E27FC236}">
                <a16:creationId xmlns:a16="http://schemas.microsoft.com/office/drawing/2014/main" id="{DFAD501C-EF85-4FDB-9C84-740225F3EF15}"/>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5"/>
          </p:nvPr>
        </p:nvSpPr>
        <p:spPr/>
        <p:txBody>
          <a:bodyPr/>
          <a:lstStyle/>
          <a:p>
            <a:r>
              <a:rPr lang="de-DE"/>
              <a:t>DEG-Unternehmenspräsentation</a:t>
            </a:r>
          </a:p>
        </p:txBody>
      </p:sp>
    </p:spTree>
    <p:extLst>
      <p:ext uri="{BB962C8B-B14F-4D97-AF65-F5344CB8AC3E}">
        <p14:creationId xmlns:p14="http://schemas.microsoft.com/office/powerpoint/2010/main" val="14433282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Bilder recht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6" name="Textplatzhalter 8">
            <a:extLst>
              <a:ext uri="{FF2B5EF4-FFF2-40B4-BE49-F238E27FC236}">
                <a16:creationId xmlns:a16="http://schemas.microsoft.com/office/drawing/2014/main" id="{C1AD9F2A-0B80-47A0-A099-2BC51A092EA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7" name="Textplatzhalter 8">
            <a:extLst>
              <a:ext uri="{FF2B5EF4-FFF2-40B4-BE49-F238E27FC236}">
                <a16:creationId xmlns:a16="http://schemas.microsoft.com/office/drawing/2014/main" id="{DFAD501C-EF85-4FDB-9C84-740225F3EF15}"/>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9" name="Bildplatzhalter 8">
            <a:extLst>
              <a:ext uri="{FF2B5EF4-FFF2-40B4-BE49-F238E27FC236}">
                <a16:creationId xmlns:a16="http://schemas.microsoft.com/office/drawing/2014/main" id="{F7895F72-12DE-43C1-A37A-EA75A21EA4A4}"/>
              </a:ext>
            </a:extLst>
          </p:cNvPr>
          <p:cNvSpPr>
            <a:spLocks noGrp="1" noChangeAspect="1"/>
          </p:cNvSpPr>
          <p:nvPr>
            <p:ph type="pic" sz="quarter" idx="23" hasCustomPrompt="1"/>
          </p:nvPr>
        </p:nvSpPr>
        <p:spPr bwMode="gray">
          <a:xfrm>
            <a:off x="5060950" y="1870248"/>
            <a:ext cx="2124075" cy="1584000"/>
          </a:xfrm>
          <a:noFill/>
        </p:spPr>
        <p:txBody>
          <a:bodyPr anchor="ctr"/>
          <a:lstStyle>
            <a:lvl1pPr marL="0" indent="0" algn="ctr">
              <a:buNone/>
              <a:defRPr/>
            </a:lvl1pPr>
          </a:lstStyle>
          <a:p>
            <a:r>
              <a:rPr lang="de-DE" dirty="0"/>
              <a:t>Bild durch Klicken auf Symbol hinzufügen     </a:t>
            </a:r>
          </a:p>
        </p:txBody>
      </p:sp>
      <p:sp>
        <p:nvSpPr>
          <p:cNvPr id="11" name="Bildplatzhalter 8">
            <a:extLst>
              <a:ext uri="{FF2B5EF4-FFF2-40B4-BE49-F238E27FC236}">
                <a16:creationId xmlns:a16="http://schemas.microsoft.com/office/drawing/2014/main" id="{F7895F72-12DE-43C1-A37A-EA75A21EA4A4}"/>
              </a:ext>
            </a:extLst>
          </p:cNvPr>
          <p:cNvSpPr>
            <a:spLocks noGrp="1" noChangeAspect="1"/>
          </p:cNvSpPr>
          <p:nvPr>
            <p:ph type="pic" sz="quarter" idx="25" hasCustomPrompt="1"/>
          </p:nvPr>
        </p:nvSpPr>
        <p:spPr bwMode="gray">
          <a:xfrm>
            <a:off x="5060950" y="3741911"/>
            <a:ext cx="2124075" cy="1584000"/>
          </a:xfrm>
          <a:noFill/>
        </p:spPr>
        <p:txBody>
          <a:bodyPr anchor="ctr"/>
          <a:lstStyle>
            <a:lvl1pPr marL="0" indent="0" algn="ctr">
              <a:buNone/>
              <a:defRPr/>
            </a:lvl1pPr>
          </a:lstStyle>
          <a:p>
            <a:r>
              <a:rPr lang="de-DE" dirty="0"/>
              <a:t>Bild durch Klicken auf Symbol hinzufügen     </a:t>
            </a:r>
          </a:p>
        </p:txBody>
      </p:sp>
      <p:sp>
        <p:nvSpPr>
          <p:cNvPr id="13" name="Bildplatzhalter 8">
            <a:extLst>
              <a:ext uri="{FF2B5EF4-FFF2-40B4-BE49-F238E27FC236}">
                <a16:creationId xmlns:a16="http://schemas.microsoft.com/office/drawing/2014/main" id="{F7895F72-12DE-43C1-A37A-EA75A21EA4A4}"/>
              </a:ext>
            </a:extLst>
          </p:cNvPr>
          <p:cNvSpPr>
            <a:spLocks noGrp="1" noChangeAspect="1"/>
          </p:cNvSpPr>
          <p:nvPr>
            <p:ph type="pic" sz="quarter" idx="26" hasCustomPrompt="1"/>
          </p:nvPr>
        </p:nvSpPr>
        <p:spPr bwMode="gray">
          <a:xfrm>
            <a:off x="7401272" y="1870248"/>
            <a:ext cx="2124075" cy="1584000"/>
          </a:xfrm>
          <a:noFill/>
        </p:spPr>
        <p:txBody>
          <a:bodyPr anchor="ctr"/>
          <a:lstStyle>
            <a:lvl1pPr marL="0" indent="0" algn="ctr">
              <a:buNone/>
              <a:defRPr/>
            </a:lvl1pPr>
          </a:lstStyle>
          <a:p>
            <a:r>
              <a:rPr lang="de-DE" dirty="0"/>
              <a:t>Bild durch Klicken auf Symbol hinzufügen     </a:t>
            </a:r>
          </a:p>
        </p:txBody>
      </p:sp>
      <p:sp>
        <p:nvSpPr>
          <p:cNvPr id="14" name="Bildplatzhalter 8">
            <a:extLst>
              <a:ext uri="{FF2B5EF4-FFF2-40B4-BE49-F238E27FC236}">
                <a16:creationId xmlns:a16="http://schemas.microsoft.com/office/drawing/2014/main" id="{F7895F72-12DE-43C1-A37A-EA75A21EA4A4}"/>
              </a:ext>
            </a:extLst>
          </p:cNvPr>
          <p:cNvSpPr>
            <a:spLocks noGrp="1" noChangeAspect="1"/>
          </p:cNvSpPr>
          <p:nvPr>
            <p:ph type="pic" sz="quarter" idx="27" hasCustomPrompt="1"/>
          </p:nvPr>
        </p:nvSpPr>
        <p:spPr bwMode="gray">
          <a:xfrm>
            <a:off x="7401272" y="3741911"/>
            <a:ext cx="2124075" cy="1584000"/>
          </a:xfrm>
          <a:noFill/>
        </p:spPr>
        <p:txBody>
          <a:bodyPr anchor="ctr"/>
          <a:lstStyle>
            <a:lvl1pPr marL="0" indent="0" algn="ctr">
              <a:buNone/>
              <a:defRPr/>
            </a:lvl1pPr>
          </a:lstStyle>
          <a:p>
            <a:r>
              <a:rPr lang="de-DE" dirty="0"/>
              <a:t>Bild durch Klicken auf Symbol hinzufügen     </a:t>
            </a:r>
          </a:p>
        </p:txBody>
      </p:sp>
      <p:sp>
        <p:nvSpPr>
          <p:cNvPr id="4" name="Fußzeilenplatzhalter 3"/>
          <p:cNvSpPr>
            <a:spLocks noGrp="1"/>
          </p:cNvSpPr>
          <p:nvPr>
            <p:ph type="ftr" sz="quarter" idx="28"/>
          </p:nvPr>
        </p:nvSpPr>
        <p:spPr/>
        <p:txBody>
          <a:bodyPr/>
          <a:lstStyle/>
          <a:p>
            <a:r>
              <a:rPr lang="de-DE"/>
              <a:t>DEG-Unternehmenspräsentation</a:t>
            </a:r>
          </a:p>
        </p:txBody>
      </p:sp>
    </p:spTree>
    <p:extLst>
      <p:ext uri="{BB962C8B-B14F-4D97-AF65-F5344CB8AC3E}">
        <p14:creationId xmlns:p14="http://schemas.microsoft.com/office/powerpoint/2010/main" val="2062926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und Diagramm (rechts)">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7" y="1368000"/>
            <a:ext cx="4500563"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5072696" y="1620000"/>
            <a:ext cx="4488817" cy="4582800"/>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5060950" y="1368000"/>
            <a:ext cx="450056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11652540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und Diagramm (links)">
    <p:spTree>
      <p:nvGrpSpPr>
        <p:cNvPr id="1" name=""/>
        <p:cNvGrpSpPr/>
        <p:nvPr/>
      </p:nvGrpSpPr>
      <p:grpSpPr>
        <a:xfrm>
          <a:off x="0" y="0"/>
          <a:ext cx="0" cy="0"/>
          <a:chOff x="0" y="0"/>
          <a:chExt cx="0" cy="0"/>
        </a:xfrm>
      </p:grpSpPr>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344487" y="1620000"/>
            <a:ext cx="4500563" cy="4582799"/>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5060950" y="1368000"/>
            <a:ext cx="4500563"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3244701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Diagramm">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7" y="1620000"/>
            <a:ext cx="9217025" cy="4580775"/>
          </a:xfrm>
        </p:spPr>
        <p:txBody>
          <a:bodyPr anchor="ctr"/>
          <a:lstStyle>
            <a:lvl1pPr marL="0" indent="0" algn="ctr">
              <a:buNone/>
              <a:defRPr/>
            </a:lvl1pPr>
          </a:lstStyle>
          <a:p>
            <a:r>
              <a:rPr lang="de-DE" dirty="0"/>
              <a:t>Diagramm durch Klicken auf Symbol hinzufügen</a:t>
            </a:r>
          </a:p>
        </p:txBody>
      </p:sp>
      <p:sp>
        <p:nvSpPr>
          <p:cNvPr id="10" name="Textplatzhalter 8">
            <a:extLst>
              <a:ext uri="{FF2B5EF4-FFF2-40B4-BE49-F238E27FC236}">
                <a16:creationId xmlns:a16="http://schemas.microsoft.com/office/drawing/2014/main" id="{D4A89282-8B33-45B9-8BD4-5C1BE0F60C9C}"/>
              </a:ext>
            </a:extLst>
          </p:cNvPr>
          <p:cNvSpPr>
            <a:spLocks noGrp="1"/>
          </p:cNvSpPr>
          <p:nvPr>
            <p:ph type="body" sz="quarter" idx="13" hasCustomPrompt="1"/>
          </p:nvPr>
        </p:nvSpPr>
        <p:spPr>
          <a:xfrm>
            <a:off x="344488"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7D97AADF-437A-4900-B8E7-081F5D878D9E}"/>
              </a:ext>
            </a:extLst>
          </p:cNvPr>
          <p:cNvSpPr>
            <a:spLocks noGrp="1"/>
          </p:cNvSpPr>
          <p:nvPr>
            <p:ph type="body" sz="quarter" idx="16"/>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6">
            <a:extLst>
              <a:ext uri="{FF2B5EF4-FFF2-40B4-BE49-F238E27FC236}">
                <a16:creationId xmlns:a16="http://schemas.microsoft.com/office/drawing/2014/main" id="{A5DEAF36-B708-449D-BF50-903D616031A9}"/>
              </a:ext>
            </a:extLst>
          </p:cNvPr>
          <p:cNvSpPr>
            <a:spLocks noGrp="1"/>
          </p:cNvSpPr>
          <p:nvPr>
            <p:ph type="body" sz="quarter" idx="17" hasCustomPrompt="1"/>
          </p:nvPr>
        </p:nvSpPr>
        <p:spPr>
          <a:xfrm>
            <a:off x="344488" y="1368000"/>
            <a:ext cx="9217025"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8"/>
          </p:nvPr>
        </p:nvSpPr>
        <p:spPr/>
        <p:txBody>
          <a:bodyPr/>
          <a:lstStyle/>
          <a:p>
            <a:r>
              <a:rPr lang="de-DE"/>
              <a:t>DEG-Unternehmenspräsentation</a:t>
            </a:r>
          </a:p>
        </p:txBody>
      </p:sp>
    </p:spTree>
    <p:extLst>
      <p:ext uri="{BB962C8B-B14F-4D97-AF65-F5344CB8AC3E}">
        <p14:creationId xmlns:p14="http://schemas.microsoft.com/office/powerpoint/2010/main" val="10924987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8" y="1620000"/>
            <a:ext cx="4500562" cy="45807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1" y="1620000"/>
            <a:ext cx="4500562" cy="4580775"/>
          </a:xfrm>
        </p:spPr>
        <p:txBody>
          <a:bodyPr anchor="ctr"/>
          <a:lstStyle>
            <a:lvl1pPr marL="0" indent="0" algn="ctr">
              <a:buNone/>
              <a:defRPr/>
            </a:lvl1pPr>
          </a:lstStyle>
          <a:p>
            <a:r>
              <a:rPr lang="de-DE" dirty="0"/>
              <a:t>Diagramm durch Klicken auf Symbol hinzufügen</a:t>
            </a:r>
          </a:p>
        </p:txBody>
      </p:sp>
      <p:sp>
        <p:nvSpPr>
          <p:cNvPr id="14" name="Textplatzhalter 8">
            <a:extLst>
              <a:ext uri="{FF2B5EF4-FFF2-40B4-BE49-F238E27FC236}">
                <a16:creationId xmlns:a16="http://schemas.microsoft.com/office/drawing/2014/main" id="{1EA0F3E1-D742-4DA0-B74B-A037A9673EB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556C389-B714-47EE-9D21-BE82CC21CF9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6">
            <a:extLst>
              <a:ext uri="{FF2B5EF4-FFF2-40B4-BE49-F238E27FC236}">
                <a16:creationId xmlns:a16="http://schemas.microsoft.com/office/drawing/2014/main" id="{68B61E78-AF51-4675-BACD-74BC50875F0F}"/>
              </a:ext>
            </a:extLst>
          </p:cNvPr>
          <p:cNvSpPr>
            <a:spLocks noGrp="1"/>
          </p:cNvSpPr>
          <p:nvPr>
            <p:ph type="body" sz="quarter" idx="19"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D9AED4B9-F4C2-48D8-A92C-2F82B5C38BC8}"/>
              </a:ext>
            </a:extLst>
          </p:cNvPr>
          <p:cNvSpPr>
            <a:spLocks noGrp="1"/>
          </p:cNvSpPr>
          <p:nvPr>
            <p:ph type="body" sz="quarter" idx="20" hasCustomPrompt="1"/>
          </p:nvPr>
        </p:nvSpPr>
        <p:spPr>
          <a:xfrm>
            <a:off x="5060951"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2077190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52764" y="1620000"/>
            <a:ext cx="4492286" cy="20968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2" y="1620000"/>
            <a:ext cx="4500561" cy="2096875"/>
          </a:xfrm>
        </p:spPr>
        <p:txBody>
          <a:bodyPr anchor="ctr"/>
          <a:lstStyle>
            <a:lvl1pPr marL="0" indent="0" algn="ctr">
              <a:buNone/>
              <a:defRPr/>
            </a:lvl1pPr>
          </a:lstStyle>
          <a:p>
            <a:r>
              <a:rPr lang="de-DE" dirty="0"/>
              <a:t>Diagramm durch Klicken auf Symbol hinzufügen</a:t>
            </a:r>
          </a:p>
        </p:txBody>
      </p:sp>
      <p:sp>
        <p:nvSpPr>
          <p:cNvPr id="17" name="Diagrammplatzhalter 8">
            <a:extLst>
              <a:ext uri="{FF2B5EF4-FFF2-40B4-BE49-F238E27FC236}">
                <a16:creationId xmlns:a16="http://schemas.microsoft.com/office/drawing/2014/main" id="{E6EBF416-55D6-4AA1-A000-4EA1500328C5}"/>
              </a:ext>
            </a:extLst>
          </p:cNvPr>
          <p:cNvSpPr>
            <a:spLocks noGrp="1"/>
          </p:cNvSpPr>
          <p:nvPr>
            <p:ph type="chart" sz="quarter" idx="19"/>
          </p:nvPr>
        </p:nvSpPr>
        <p:spPr bwMode="gray">
          <a:xfrm>
            <a:off x="352764" y="4166861"/>
            <a:ext cx="4492286" cy="2033913"/>
          </a:xfrm>
        </p:spPr>
        <p:txBody>
          <a:bodyPr anchor="ctr"/>
          <a:lstStyle>
            <a:lvl1pPr marL="0" indent="0" algn="ctr">
              <a:buNone/>
              <a:defRPr/>
            </a:lvl1pPr>
          </a:lstStyle>
          <a:p>
            <a:r>
              <a:rPr lang="de-DE" dirty="0"/>
              <a:t>Diagramm durch Klicken auf Symbol hinzufügen</a:t>
            </a:r>
          </a:p>
        </p:txBody>
      </p:sp>
      <p:sp>
        <p:nvSpPr>
          <p:cNvPr id="19" name="Diagrammplatzhalter 8">
            <a:extLst>
              <a:ext uri="{FF2B5EF4-FFF2-40B4-BE49-F238E27FC236}">
                <a16:creationId xmlns:a16="http://schemas.microsoft.com/office/drawing/2014/main" id="{2D9E13FC-C3BE-4880-95FF-E8F557742CCD}"/>
              </a:ext>
            </a:extLst>
          </p:cNvPr>
          <p:cNvSpPr>
            <a:spLocks noGrp="1"/>
          </p:cNvSpPr>
          <p:nvPr>
            <p:ph type="chart" sz="quarter" idx="21"/>
          </p:nvPr>
        </p:nvSpPr>
        <p:spPr bwMode="gray">
          <a:xfrm>
            <a:off x="5060950" y="4166861"/>
            <a:ext cx="4508837" cy="2033913"/>
          </a:xfrm>
        </p:spPr>
        <p:txBody>
          <a:bodyPr anchor="ctr"/>
          <a:lstStyle>
            <a:lvl1pPr marL="0" indent="0" algn="ctr">
              <a:buNone/>
              <a:defRPr/>
            </a:lvl1pPr>
          </a:lstStyle>
          <a:p>
            <a:r>
              <a:rPr lang="de-DE" dirty="0"/>
              <a:t>Diagramm durch Klicken auf Symbol hinzufügen</a:t>
            </a:r>
          </a:p>
        </p:txBody>
      </p:sp>
      <p:sp>
        <p:nvSpPr>
          <p:cNvPr id="21" name="Textplatzhalter 8">
            <a:extLst>
              <a:ext uri="{FF2B5EF4-FFF2-40B4-BE49-F238E27FC236}">
                <a16:creationId xmlns:a16="http://schemas.microsoft.com/office/drawing/2014/main" id="{049BA0BF-C18F-4DB1-B409-7AA3355CE0BC}"/>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5" name="Textplatzhalter 8">
            <a:extLst>
              <a:ext uri="{FF2B5EF4-FFF2-40B4-BE49-F238E27FC236}">
                <a16:creationId xmlns:a16="http://schemas.microsoft.com/office/drawing/2014/main" id="{CD6655E5-0992-40D0-8FA0-9157664AC066}"/>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6">
            <a:extLst>
              <a:ext uri="{FF2B5EF4-FFF2-40B4-BE49-F238E27FC236}">
                <a16:creationId xmlns:a16="http://schemas.microsoft.com/office/drawing/2014/main" id="{ECDAC40F-D27B-49C7-98F7-75AAB5B8872D}"/>
              </a:ext>
            </a:extLst>
          </p:cNvPr>
          <p:cNvSpPr>
            <a:spLocks noGrp="1"/>
          </p:cNvSpPr>
          <p:nvPr>
            <p:ph type="body" sz="quarter" idx="23"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2C277437-7B64-4A17-B527-9BA8E9CDD6C2}"/>
              </a:ext>
            </a:extLst>
          </p:cNvPr>
          <p:cNvSpPr>
            <a:spLocks noGrp="1"/>
          </p:cNvSpPr>
          <p:nvPr>
            <p:ph type="body" sz="quarter" idx="18" hasCustomPrompt="1"/>
          </p:nvPr>
        </p:nvSpPr>
        <p:spPr>
          <a:xfrm>
            <a:off x="5060930" y="1368000"/>
            <a:ext cx="450058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4" name="Textplatzhalter 6">
            <a:extLst>
              <a:ext uri="{FF2B5EF4-FFF2-40B4-BE49-F238E27FC236}">
                <a16:creationId xmlns:a16="http://schemas.microsoft.com/office/drawing/2014/main" id="{402B411A-C88C-430C-A64D-2CC4DCC73750}"/>
              </a:ext>
            </a:extLst>
          </p:cNvPr>
          <p:cNvSpPr>
            <a:spLocks noGrp="1"/>
          </p:cNvSpPr>
          <p:nvPr>
            <p:ph type="body" sz="quarter" idx="24" hasCustomPrompt="1"/>
          </p:nvPr>
        </p:nvSpPr>
        <p:spPr>
          <a:xfrm>
            <a:off x="344488" y="3912837"/>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6" name="Textplatzhalter 6">
            <a:extLst>
              <a:ext uri="{FF2B5EF4-FFF2-40B4-BE49-F238E27FC236}">
                <a16:creationId xmlns:a16="http://schemas.microsoft.com/office/drawing/2014/main" id="{D2237C74-3717-4FC6-BB89-754621C3D4D5}"/>
              </a:ext>
            </a:extLst>
          </p:cNvPr>
          <p:cNvSpPr>
            <a:spLocks noGrp="1"/>
          </p:cNvSpPr>
          <p:nvPr>
            <p:ph type="body" sz="quarter" idx="25" hasCustomPrompt="1"/>
          </p:nvPr>
        </p:nvSpPr>
        <p:spPr>
          <a:xfrm>
            <a:off x="5069227" y="3912837"/>
            <a:ext cx="4500560"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6"/>
          </p:nvPr>
        </p:nvSpPr>
        <p:spPr/>
        <p:txBody>
          <a:bodyPr/>
          <a:lstStyle/>
          <a:p>
            <a:r>
              <a:rPr lang="de-DE"/>
              <a:t>DEG-Unternehmenspräsentation</a:t>
            </a:r>
          </a:p>
        </p:txBody>
      </p:sp>
    </p:spTree>
    <p:extLst>
      <p:ext uri="{BB962C8B-B14F-4D97-AF65-F5344CB8AC3E}">
        <p14:creationId xmlns:p14="http://schemas.microsoft.com/office/powerpoint/2010/main" val="17310871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7"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8" y="1846676"/>
            <a:ext cx="4500562" cy="4356124"/>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6"/>
            <a:ext cx="4500563" cy="4356124"/>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2350105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Textfeld 1 Bild">
    <p:spTree>
      <p:nvGrpSpPr>
        <p:cNvPr id="1" name=""/>
        <p:cNvGrpSpPr/>
        <p:nvPr/>
      </p:nvGrpSpPr>
      <p:grpSpPr>
        <a:xfrm>
          <a:off x="0" y="0"/>
          <a:ext cx="0" cy="0"/>
          <a:chOff x="0" y="0"/>
          <a:chExt cx="0" cy="0"/>
        </a:xfrm>
      </p:grpSpPr>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7"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8" y="1846676"/>
            <a:ext cx="4500562" cy="4319174"/>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10" name="Bildplatzhalter 9"/>
          <p:cNvSpPr>
            <a:spLocks noGrp="1"/>
          </p:cNvSpPr>
          <p:nvPr>
            <p:ph type="pic" sz="quarter" idx="22"/>
          </p:nvPr>
        </p:nvSpPr>
        <p:spPr>
          <a:xfrm>
            <a:off x="5060950" y="1412875"/>
            <a:ext cx="4500563" cy="4752975"/>
          </a:xfrm>
        </p:spPr>
        <p:txBody>
          <a:bodyPr/>
          <a:lstStyle/>
          <a:p>
            <a:endParaRPr lang="en-GB" dirty="0"/>
          </a:p>
        </p:txBody>
      </p:sp>
      <p:sp>
        <p:nvSpPr>
          <p:cNvPr id="5" name="Datumsplatzhalter 4"/>
          <p:cNvSpPr>
            <a:spLocks noGrp="1"/>
          </p:cNvSpPr>
          <p:nvPr>
            <p:ph type="dt" sz="half" idx="23"/>
          </p:nvPr>
        </p:nvSpPr>
        <p:spPr/>
        <p:txBody>
          <a:bodyPr/>
          <a:lstStyle/>
          <a:p>
            <a:endParaRPr lang="de-DE" dirty="0"/>
          </a:p>
        </p:txBody>
      </p:sp>
      <p:sp>
        <p:nvSpPr>
          <p:cNvPr id="6" name="Fußzeilenplatzhalter 5"/>
          <p:cNvSpPr>
            <a:spLocks noGrp="1"/>
          </p:cNvSpPr>
          <p:nvPr>
            <p:ph type="ftr" sz="quarter" idx="24"/>
          </p:nvPr>
        </p:nvSpPr>
        <p:spPr/>
        <p:txBody>
          <a:bodyPr/>
          <a:lstStyle/>
          <a:p>
            <a:r>
              <a:rPr lang="de-DE"/>
              <a:t>DEG-Unternehmenspräsentation</a:t>
            </a:r>
          </a:p>
        </p:txBody>
      </p:sp>
      <p:sp>
        <p:nvSpPr>
          <p:cNvPr id="9" name="Foliennummernplatzhalter 8"/>
          <p:cNvSpPr>
            <a:spLocks noGrp="1"/>
          </p:cNvSpPr>
          <p:nvPr>
            <p:ph type="sldNum" sz="quarter" idx="25"/>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15018504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794724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rotWithShape="1">
          <a:blip r:embed="rId5">
            <a:extLst>
              <a:ext uri="{28A0092B-C50C-407E-A947-70E740481C1C}">
                <a14:useLocalDpi xmlns:a14="http://schemas.microsoft.com/office/drawing/2010/main" val="0"/>
              </a:ext>
            </a:extLst>
          </a:blip>
          <a:srcRect l="1552" r="7876"/>
          <a:stretch/>
        </p:blipFill>
        <p:spPr>
          <a:xfrm>
            <a:off x="-15552" y="0"/>
            <a:ext cx="9937104" cy="6858000"/>
          </a:xfrm>
          <a:prstGeom prst="rect">
            <a:avLst/>
          </a:prstGeom>
        </p:spPr>
      </p:pic>
      <p:sp>
        <p:nvSpPr>
          <p:cNvPr id="14" name="Freihandform 20">
            <a:extLst>
              <a:ext uri="{FF2B5EF4-FFF2-40B4-BE49-F238E27FC236}">
                <a16:creationId xmlns:a16="http://schemas.microsoft.com/office/drawing/2014/main" id="{1A900AE6-AB8B-47DC-9025-5992CFC12528}"/>
              </a:ext>
            </a:extLst>
          </p:cNvPr>
          <p:cNvSpPr/>
          <p:nvPr userDrawn="1"/>
        </p:nvSpPr>
        <p:spPr>
          <a:xfrm>
            <a:off x="2903537" y="3384699"/>
            <a:ext cx="7002463" cy="3473302"/>
          </a:xfrm>
          <a:custGeom>
            <a:avLst/>
            <a:gdLst>
              <a:gd name="connsiteX0" fmla="*/ 194526 w 7009089"/>
              <a:gd name="connsiteY0" fmla="*/ 0 h 3489877"/>
              <a:gd name="connsiteX1" fmla="*/ 7009089 w 7009089"/>
              <a:gd name="connsiteY1" fmla="*/ 0 h 3489877"/>
              <a:gd name="connsiteX2" fmla="*/ 7009089 w 7009089"/>
              <a:gd name="connsiteY2" fmla="*/ 3489877 h 3489877"/>
              <a:gd name="connsiteX3" fmla="*/ 0 w 7009089"/>
              <a:gd name="connsiteY3" fmla="*/ 3489877 h 3489877"/>
              <a:gd name="connsiteX4" fmla="*/ 0 w 7009089"/>
              <a:gd name="connsiteY4" fmla="*/ 194526 h 3489877"/>
              <a:gd name="connsiteX5" fmla="*/ 194526 w 7009089"/>
              <a:gd name="connsiteY5" fmla="*/ 0 h 348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9089" h="3489877">
                <a:moveTo>
                  <a:pt x="194526" y="0"/>
                </a:moveTo>
                <a:lnTo>
                  <a:pt x="7009089" y="0"/>
                </a:lnTo>
                <a:lnTo>
                  <a:pt x="7009089" y="3489877"/>
                </a:lnTo>
                <a:lnTo>
                  <a:pt x="0" y="3489877"/>
                </a:lnTo>
                <a:lnTo>
                  <a:pt x="0" y="194526"/>
                </a:lnTo>
                <a:cubicBezTo>
                  <a:pt x="0" y="87092"/>
                  <a:pt x="87092" y="0"/>
                  <a:pt x="19452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B0753127-A316-4DEA-A243-37CD08025AE0}"/>
              </a:ext>
            </a:extLst>
          </p:cNvPr>
          <p:cNvSpPr>
            <a:spLocks noGrp="1"/>
          </p:cNvSpPr>
          <p:nvPr>
            <p:ph type="ctrTitle"/>
          </p:nvPr>
        </p:nvSpPr>
        <p:spPr bwMode="gray">
          <a:xfrm>
            <a:off x="3408020" y="3678921"/>
            <a:ext cx="6316560" cy="1447430"/>
          </a:xfrm>
        </p:spPr>
        <p:txBody>
          <a:bodyPr vert="horz" anchor="t"/>
          <a:lstStyle>
            <a:lvl1pPr marL="0" indent="447675" algn="l">
              <a:defRPr sz="3000"/>
            </a:lvl1pPr>
          </a:lstStyle>
          <a:p>
            <a:r>
              <a:rPr lang="de-DE"/>
              <a:t>Mastertitelformat bearbeiten</a:t>
            </a:r>
            <a:endParaRPr lang="de-DE" dirty="0"/>
          </a:p>
        </p:txBody>
      </p:sp>
      <p:sp>
        <p:nvSpPr>
          <p:cNvPr id="3" name="Untertitel 2">
            <a:extLst>
              <a:ext uri="{FF2B5EF4-FFF2-40B4-BE49-F238E27FC236}">
                <a16:creationId xmlns:a16="http://schemas.microsoft.com/office/drawing/2014/main" id="{50D01F54-E3E9-4D6D-94DD-FB5979320586}"/>
              </a:ext>
            </a:extLst>
          </p:cNvPr>
          <p:cNvSpPr>
            <a:spLocks noGrp="1"/>
          </p:cNvSpPr>
          <p:nvPr>
            <p:ph type="subTitle" idx="1" hasCustomPrompt="1"/>
          </p:nvPr>
        </p:nvSpPr>
        <p:spPr bwMode="gray">
          <a:xfrm>
            <a:off x="3408019" y="5247063"/>
            <a:ext cx="6316560" cy="623859"/>
          </a:xfrm>
        </p:spPr>
        <p:txBody>
          <a:bodyPr/>
          <a:lstStyle>
            <a:lvl1pPr marL="0" indent="0" algn="l">
              <a:lnSpc>
                <a:spcPct val="11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Abteilung, Name</a:t>
            </a:r>
            <a:br>
              <a:rPr lang="de-DE" dirty="0"/>
            </a:br>
            <a:r>
              <a:rPr lang="de-DE" dirty="0"/>
              <a:t>Ort, XX Monat Jahr</a:t>
            </a:r>
          </a:p>
        </p:txBody>
      </p:sp>
      <p:grpSp>
        <p:nvGrpSpPr>
          <p:cNvPr id="20" name="Gruppieren 19">
            <a:extLst>
              <a:ext uri="{FF2B5EF4-FFF2-40B4-BE49-F238E27FC236}">
                <a16:creationId xmlns:a16="http://schemas.microsoft.com/office/drawing/2014/main" id="{7A8C9341-99E8-40CF-9CE5-28510F054CA7}"/>
              </a:ext>
            </a:extLst>
          </p:cNvPr>
          <p:cNvGrpSpPr/>
          <p:nvPr userDrawn="1"/>
        </p:nvGrpSpPr>
        <p:grpSpPr bwMode="gray">
          <a:xfrm>
            <a:off x="3231158" y="3720795"/>
            <a:ext cx="541108" cy="338136"/>
            <a:chOff x="1273175" y="1606550"/>
            <a:chExt cx="9653588" cy="6032500"/>
          </a:xfrm>
          <a:solidFill>
            <a:schemeClr val="accent2"/>
          </a:solidFill>
        </p:grpSpPr>
        <p:sp>
          <p:nvSpPr>
            <p:cNvPr id="21" name="Freeform 5">
              <a:extLst>
                <a:ext uri="{FF2B5EF4-FFF2-40B4-BE49-F238E27FC236}">
                  <a16:creationId xmlns:a16="http://schemas.microsoft.com/office/drawing/2014/main" id="{D36E4CC9-C077-4A39-9AB5-F5A4180FF250}"/>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2" name="Freeform 6">
              <a:extLst>
                <a:ext uri="{FF2B5EF4-FFF2-40B4-BE49-F238E27FC236}">
                  <a16:creationId xmlns:a16="http://schemas.microsoft.com/office/drawing/2014/main" id="{159FA4CE-3FC6-4245-8567-538E0031F3DE}"/>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3" name="Freeform 7">
              <a:extLst>
                <a:ext uri="{FF2B5EF4-FFF2-40B4-BE49-F238E27FC236}">
                  <a16:creationId xmlns:a16="http://schemas.microsoft.com/office/drawing/2014/main" id="{13D99495-70E2-417E-95CC-2332F288B9D7}"/>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pic>
        <p:nvPicPr>
          <p:cNvPr id="15" name="Grafik 10">
            <a:extLst>
              <a:ext uri="{FF2B5EF4-FFF2-40B4-BE49-F238E27FC236}">
                <a16:creationId xmlns:a16="http://schemas.microsoft.com/office/drawing/2014/main" id="{CB153E4D-F4D0-433D-BACF-2D33641EE2D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7689314" y="6006976"/>
            <a:ext cx="1818695" cy="450527"/>
          </a:xfrm>
          <a:prstGeom prst="rect">
            <a:avLst/>
          </a:prstGeom>
        </p:spPr>
      </p:pic>
      <p:pic>
        <p:nvPicPr>
          <p:cNvPr id="4" name="Grafik 3"/>
          <p:cNvPicPr>
            <a:picLocks noChangeAspect="1"/>
          </p:cNvPicPr>
          <p:nvPr userDrawn="1"/>
        </p:nvPicPr>
        <p:blipFill>
          <a:blip r:embed="rId7"/>
          <a:stretch>
            <a:fillRect/>
          </a:stretch>
        </p:blipFill>
        <p:spPr>
          <a:xfrm>
            <a:off x="3408018" y="5857935"/>
            <a:ext cx="1582953" cy="725520"/>
          </a:xfrm>
          <a:prstGeom prst="rect">
            <a:avLst/>
          </a:prstGeom>
        </p:spPr>
      </p:pic>
      <p:sp>
        <p:nvSpPr>
          <p:cNvPr id="8" name="Rechteck 7"/>
          <p:cNvSpPr/>
          <p:nvPr userDrawn="1"/>
        </p:nvSpPr>
        <p:spPr>
          <a:xfrm>
            <a:off x="4160912" y="6271182"/>
            <a:ext cx="720080" cy="22019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12392684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Bild rechts">
    <p:spTree>
      <p:nvGrpSpPr>
        <p:cNvPr id="1" name=""/>
        <p:cNvGrpSpPr/>
        <p:nvPr/>
      </p:nvGrpSpPr>
      <p:grpSpPr>
        <a:xfrm>
          <a:off x="0" y="0"/>
          <a:ext cx="0" cy="0"/>
          <a:chOff x="0" y="0"/>
          <a:chExt cx="0" cy="0"/>
        </a:xfrm>
      </p:grpSpPr>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8" name="Foliennummernplatzhalter 7"/>
          <p:cNvSpPr>
            <a:spLocks noGrp="1"/>
          </p:cNvSpPr>
          <p:nvPr>
            <p:ph type="sldNum" sz="quarter" idx="21"/>
          </p:nvPr>
        </p:nvSpPr>
        <p:spPr/>
        <p:txBody>
          <a:bodyPr/>
          <a:lstStyle/>
          <a:p>
            <a:fld id="{5678FFC5-4430-43BC-9807-D0C6EB405569}" type="slidenum">
              <a:rPr lang="de-DE" smtClean="0"/>
              <a:pPr/>
              <a:t>‹#›</a:t>
            </a:fld>
            <a:endParaRPr lang="de-DE" dirty="0"/>
          </a:p>
        </p:txBody>
      </p:sp>
      <p:sp>
        <p:nvSpPr>
          <p:cNvPr id="10" name="Bildplatzhalter 9"/>
          <p:cNvSpPr>
            <a:spLocks noGrp="1"/>
          </p:cNvSpPr>
          <p:nvPr>
            <p:ph type="pic" sz="quarter" idx="22"/>
          </p:nvPr>
        </p:nvSpPr>
        <p:spPr>
          <a:xfrm>
            <a:off x="5060950" y="1412875"/>
            <a:ext cx="4500563" cy="4752975"/>
          </a:xfrm>
        </p:spPr>
        <p:txBody>
          <a:bodyPr/>
          <a:lstStyle/>
          <a:p>
            <a:endParaRPr lang="en-GB" dirty="0"/>
          </a:p>
        </p:txBody>
      </p:sp>
      <p:sp>
        <p:nvSpPr>
          <p:cNvPr id="3" name="Fußzeilenplatzhalter 2"/>
          <p:cNvSpPr>
            <a:spLocks noGrp="1"/>
          </p:cNvSpPr>
          <p:nvPr>
            <p:ph type="ftr" sz="quarter" idx="23"/>
          </p:nvPr>
        </p:nvSpPr>
        <p:spPr/>
        <p:txBody>
          <a:bodyPr/>
          <a:lstStyle/>
          <a:p>
            <a:r>
              <a:rPr lang="de-DE"/>
              <a:t>DEG-Unternehmenspräsentation</a:t>
            </a:r>
          </a:p>
        </p:txBody>
      </p:sp>
      <p:pic>
        <p:nvPicPr>
          <p:cNvPr id="9" name="Grafik 8"/>
          <p:cNvPicPr>
            <a:picLocks noChangeAspect="1"/>
          </p:cNvPicPr>
          <p:nvPr userDrawn="1"/>
        </p:nvPicPr>
        <p:blipFill>
          <a:blip r:embed="rId2"/>
          <a:stretch>
            <a:fillRect/>
          </a:stretch>
        </p:blipFill>
        <p:spPr>
          <a:xfrm>
            <a:off x="8121352" y="6390945"/>
            <a:ext cx="1019028" cy="467055"/>
          </a:xfrm>
          <a:prstGeom prst="rect">
            <a:avLst/>
          </a:prstGeom>
        </p:spPr>
      </p:pic>
      <p:sp>
        <p:nvSpPr>
          <p:cNvPr id="12" name="Rechteck 11"/>
          <p:cNvSpPr/>
          <p:nvPr userDrawn="1"/>
        </p:nvSpPr>
        <p:spPr>
          <a:xfrm>
            <a:off x="8615881" y="6661420"/>
            <a:ext cx="432048"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589045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rfolgsgeschichten rechts">
    <p:spTree>
      <p:nvGrpSpPr>
        <p:cNvPr id="1" name=""/>
        <p:cNvGrpSpPr/>
        <p:nvPr/>
      </p:nvGrpSpPr>
      <p:grpSpPr>
        <a:xfrm>
          <a:off x="0" y="0"/>
          <a:ext cx="0" cy="0"/>
          <a:chOff x="0" y="0"/>
          <a:chExt cx="0" cy="0"/>
        </a:xfrm>
      </p:grpSpPr>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Datumsplatzhalter 3"/>
          <p:cNvSpPr>
            <a:spLocks noGrp="1"/>
          </p:cNvSpPr>
          <p:nvPr>
            <p:ph type="dt" sz="half" idx="19"/>
          </p:nvPr>
        </p:nvSpPr>
        <p:spPr/>
        <p:txBody>
          <a:bodyPr/>
          <a:lstStyle/>
          <a:p>
            <a:endParaRPr lang="de-DE" dirty="0"/>
          </a:p>
        </p:txBody>
      </p:sp>
      <p:sp>
        <p:nvSpPr>
          <p:cNvPr id="8" name="Foliennummernplatzhalter 7"/>
          <p:cNvSpPr>
            <a:spLocks noGrp="1"/>
          </p:cNvSpPr>
          <p:nvPr>
            <p:ph type="sldNum" sz="quarter" idx="21"/>
          </p:nvPr>
        </p:nvSpPr>
        <p:spPr/>
        <p:txBody>
          <a:bodyPr/>
          <a:lstStyle/>
          <a:p>
            <a:fld id="{5678FFC5-4430-43BC-9807-D0C6EB405569}" type="slidenum">
              <a:rPr lang="de-DE" smtClean="0"/>
              <a:pPr/>
              <a:t>‹#›</a:t>
            </a:fld>
            <a:endParaRPr lang="de-DE" dirty="0"/>
          </a:p>
        </p:txBody>
      </p:sp>
      <p:sp>
        <p:nvSpPr>
          <p:cNvPr id="12" name="Bildplatzhalter 5"/>
          <p:cNvSpPr>
            <a:spLocks noGrp="1"/>
          </p:cNvSpPr>
          <p:nvPr>
            <p:ph type="pic" sz="quarter" idx="24"/>
          </p:nvPr>
        </p:nvSpPr>
        <p:spPr>
          <a:xfrm>
            <a:off x="5060949" y="4638377"/>
            <a:ext cx="4500565" cy="1527473"/>
          </a:xfrm>
        </p:spPr>
        <p:txBody>
          <a:bodyPr/>
          <a:lstStyle/>
          <a:p>
            <a:endParaRPr lang="en-GB" dirty="0"/>
          </a:p>
        </p:txBody>
      </p:sp>
      <p:sp>
        <p:nvSpPr>
          <p:cNvPr id="13" name="Bildplatzhalter 7"/>
          <p:cNvSpPr>
            <a:spLocks noGrp="1"/>
          </p:cNvSpPr>
          <p:nvPr>
            <p:ph type="pic" sz="quarter" idx="25"/>
          </p:nvPr>
        </p:nvSpPr>
        <p:spPr>
          <a:xfrm>
            <a:off x="5187312" y="1433513"/>
            <a:ext cx="1872803" cy="1872803"/>
          </a:xfrm>
          <a:prstGeom prst="ellipse">
            <a:avLst/>
          </a:prstGeom>
        </p:spPr>
        <p:txBody>
          <a:bodyPr/>
          <a:lstStyle/>
          <a:p>
            <a:endParaRPr lang="en-GB" dirty="0"/>
          </a:p>
        </p:txBody>
      </p:sp>
      <p:sp>
        <p:nvSpPr>
          <p:cNvPr id="14" name="Textplatzhalter 10"/>
          <p:cNvSpPr>
            <a:spLocks noGrp="1"/>
          </p:cNvSpPr>
          <p:nvPr>
            <p:ph type="body" sz="quarter" idx="26"/>
          </p:nvPr>
        </p:nvSpPr>
        <p:spPr>
          <a:xfrm>
            <a:off x="7400925" y="3314436"/>
            <a:ext cx="2160589" cy="936625"/>
          </a:xfrm>
        </p:spPr>
        <p:txBody>
          <a:bodyPr/>
          <a:lstStyle>
            <a:lvl1pPr marL="0" indent="0">
              <a:buFontTx/>
              <a:buNone/>
              <a:defRPr sz="1200" b="1" i="0" baseline="0"/>
            </a:lvl1pPr>
            <a:lvl2pPr marL="182562" indent="0">
              <a:buFontTx/>
              <a:buNone/>
              <a:defRPr sz="1200" baseline="0"/>
            </a:lvl2pPr>
            <a:lvl3pPr marL="358775" indent="0">
              <a:buFontTx/>
              <a:buNone/>
              <a:defRPr sz="1000" baseline="0"/>
            </a:lvl3pPr>
            <a:lvl4pPr marL="541338" indent="0">
              <a:buFontTx/>
              <a:buNone/>
              <a:defRPr sz="1000" baseline="0"/>
            </a:lvl4pPr>
            <a:lvl5pPr marL="715962" indent="0">
              <a:buFontTx/>
              <a:buNone/>
              <a:defRPr sz="1000" baseline="0"/>
            </a:lvl5pPr>
          </a:lstStyle>
          <a:p>
            <a:pPr lvl="0"/>
            <a:r>
              <a:rPr lang="de-DE"/>
              <a:t>Mastertextformat bearbeiten</a:t>
            </a:r>
          </a:p>
          <a:p>
            <a:pPr lvl="1"/>
            <a:r>
              <a:rPr lang="de-DE"/>
              <a:t>Zweite Ebene</a:t>
            </a:r>
            <a:endParaRPr lang="en-GB"/>
          </a:p>
        </p:txBody>
      </p:sp>
      <p:sp>
        <p:nvSpPr>
          <p:cNvPr id="16" name="Textplatzhalter 8"/>
          <p:cNvSpPr>
            <a:spLocks noGrp="1"/>
          </p:cNvSpPr>
          <p:nvPr>
            <p:ph type="body" sz="quarter" idx="27"/>
          </p:nvPr>
        </p:nvSpPr>
        <p:spPr bwMode="gray">
          <a:xfrm>
            <a:off x="7400925" y="1433512"/>
            <a:ext cx="2160588" cy="1574003"/>
          </a:xfrm>
          <a:custGeom>
            <a:avLst/>
            <a:gdLst>
              <a:gd name="connsiteX0" fmla="*/ 0 w 2339974"/>
              <a:gd name="connsiteY0" fmla="*/ 0 h 1007914"/>
              <a:gd name="connsiteX1" fmla="*/ 389996 w 2339974"/>
              <a:gd name="connsiteY1" fmla="*/ 0 h 1007914"/>
              <a:gd name="connsiteX2" fmla="*/ 389996 w 2339974"/>
              <a:gd name="connsiteY2" fmla="*/ 0 h 1007914"/>
              <a:gd name="connsiteX3" fmla="*/ 974989 w 2339974"/>
              <a:gd name="connsiteY3" fmla="*/ 0 h 1007914"/>
              <a:gd name="connsiteX4" fmla="*/ 2339974 w 2339974"/>
              <a:gd name="connsiteY4" fmla="*/ 0 h 1007914"/>
              <a:gd name="connsiteX5" fmla="*/ 2339974 w 2339974"/>
              <a:gd name="connsiteY5" fmla="*/ 587950 h 1007914"/>
              <a:gd name="connsiteX6" fmla="*/ 2339974 w 2339974"/>
              <a:gd name="connsiteY6" fmla="*/ 587950 h 1007914"/>
              <a:gd name="connsiteX7" fmla="*/ 2339974 w 2339974"/>
              <a:gd name="connsiteY7" fmla="*/ 839928 h 1007914"/>
              <a:gd name="connsiteX8" fmla="*/ 2339974 w 2339974"/>
              <a:gd name="connsiteY8" fmla="*/ 1007914 h 1007914"/>
              <a:gd name="connsiteX9" fmla="*/ 974989 w 2339974"/>
              <a:gd name="connsiteY9" fmla="*/ 1007914 h 1007914"/>
              <a:gd name="connsiteX10" fmla="*/ 685800 w 2339974"/>
              <a:gd name="connsiteY10" fmla="*/ 1223033 h 1007914"/>
              <a:gd name="connsiteX11" fmla="*/ 389996 w 2339974"/>
              <a:gd name="connsiteY11" fmla="*/ 1007914 h 1007914"/>
              <a:gd name="connsiteX12" fmla="*/ 0 w 2339974"/>
              <a:gd name="connsiteY12" fmla="*/ 1007914 h 1007914"/>
              <a:gd name="connsiteX13" fmla="*/ 0 w 2339974"/>
              <a:gd name="connsiteY13" fmla="*/ 839928 h 1007914"/>
              <a:gd name="connsiteX14" fmla="*/ 0 w 2339974"/>
              <a:gd name="connsiteY14" fmla="*/ 587950 h 1007914"/>
              <a:gd name="connsiteX15" fmla="*/ 0 w 2339974"/>
              <a:gd name="connsiteY15" fmla="*/ 587950 h 1007914"/>
              <a:gd name="connsiteX16" fmla="*/ 0 w 2339974"/>
              <a:gd name="connsiteY16" fmla="*/ 0 h 1007914"/>
              <a:gd name="connsiteX0" fmla="*/ 0 w 2339974"/>
              <a:gd name="connsiteY0" fmla="*/ 0 h 1223033"/>
              <a:gd name="connsiteX1" fmla="*/ 389996 w 2339974"/>
              <a:gd name="connsiteY1" fmla="*/ 0 h 1223033"/>
              <a:gd name="connsiteX2" fmla="*/ 389996 w 2339974"/>
              <a:gd name="connsiteY2" fmla="*/ 0 h 1223033"/>
              <a:gd name="connsiteX3" fmla="*/ 974989 w 2339974"/>
              <a:gd name="connsiteY3" fmla="*/ 0 h 1223033"/>
              <a:gd name="connsiteX4" fmla="*/ 2339974 w 2339974"/>
              <a:gd name="connsiteY4" fmla="*/ 0 h 1223033"/>
              <a:gd name="connsiteX5" fmla="*/ 2339974 w 2339974"/>
              <a:gd name="connsiteY5" fmla="*/ 587950 h 1223033"/>
              <a:gd name="connsiteX6" fmla="*/ 2339974 w 2339974"/>
              <a:gd name="connsiteY6" fmla="*/ 587950 h 1223033"/>
              <a:gd name="connsiteX7" fmla="*/ 2339974 w 2339974"/>
              <a:gd name="connsiteY7" fmla="*/ 839928 h 1223033"/>
              <a:gd name="connsiteX8" fmla="*/ 2339974 w 2339974"/>
              <a:gd name="connsiteY8" fmla="*/ 1007914 h 1223033"/>
              <a:gd name="connsiteX9" fmla="*/ 974989 w 2339974"/>
              <a:gd name="connsiteY9" fmla="*/ 1007914 h 1223033"/>
              <a:gd name="connsiteX10" fmla="*/ 685800 w 2339974"/>
              <a:gd name="connsiteY10" fmla="*/ 1223033 h 1223033"/>
              <a:gd name="connsiteX11" fmla="*/ 241447 w 2339974"/>
              <a:gd name="connsiteY11" fmla="*/ 1007914 h 1223033"/>
              <a:gd name="connsiteX12" fmla="*/ 0 w 2339974"/>
              <a:gd name="connsiteY12" fmla="*/ 1007914 h 1223033"/>
              <a:gd name="connsiteX13" fmla="*/ 0 w 2339974"/>
              <a:gd name="connsiteY13" fmla="*/ 839928 h 1223033"/>
              <a:gd name="connsiteX14" fmla="*/ 0 w 2339974"/>
              <a:gd name="connsiteY14" fmla="*/ 587950 h 1223033"/>
              <a:gd name="connsiteX15" fmla="*/ 0 w 2339974"/>
              <a:gd name="connsiteY15" fmla="*/ 587950 h 1223033"/>
              <a:gd name="connsiteX16" fmla="*/ 0 w 2339974"/>
              <a:gd name="connsiteY16" fmla="*/ 0 h 1223033"/>
              <a:gd name="connsiteX0" fmla="*/ 0 w 2339974"/>
              <a:gd name="connsiteY0" fmla="*/ 0 h 1223033"/>
              <a:gd name="connsiteX1" fmla="*/ 389996 w 2339974"/>
              <a:gd name="connsiteY1" fmla="*/ 0 h 1223033"/>
              <a:gd name="connsiteX2" fmla="*/ 389996 w 2339974"/>
              <a:gd name="connsiteY2" fmla="*/ 0 h 1223033"/>
              <a:gd name="connsiteX3" fmla="*/ 974989 w 2339974"/>
              <a:gd name="connsiteY3" fmla="*/ 0 h 1223033"/>
              <a:gd name="connsiteX4" fmla="*/ 2339974 w 2339974"/>
              <a:gd name="connsiteY4" fmla="*/ 0 h 1223033"/>
              <a:gd name="connsiteX5" fmla="*/ 2339974 w 2339974"/>
              <a:gd name="connsiteY5" fmla="*/ 587950 h 1223033"/>
              <a:gd name="connsiteX6" fmla="*/ 2339974 w 2339974"/>
              <a:gd name="connsiteY6" fmla="*/ 587950 h 1223033"/>
              <a:gd name="connsiteX7" fmla="*/ 2339974 w 2339974"/>
              <a:gd name="connsiteY7" fmla="*/ 839928 h 1223033"/>
              <a:gd name="connsiteX8" fmla="*/ 2339974 w 2339974"/>
              <a:gd name="connsiteY8" fmla="*/ 1007914 h 1223033"/>
              <a:gd name="connsiteX9" fmla="*/ 737311 w 2339974"/>
              <a:gd name="connsiteY9" fmla="*/ 1014516 h 1223033"/>
              <a:gd name="connsiteX10" fmla="*/ 685800 w 2339974"/>
              <a:gd name="connsiteY10" fmla="*/ 1223033 h 1223033"/>
              <a:gd name="connsiteX11" fmla="*/ 241447 w 2339974"/>
              <a:gd name="connsiteY11" fmla="*/ 1007914 h 1223033"/>
              <a:gd name="connsiteX12" fmla="*/ 0 w 2339974"/>
              <a:gd name="connsiteY12" fmla="*/ 1007914 h 1223033"/>
              <a:gd name="connsiteX13" fmla="*/ 0 w 2339974"/>
              <a:gd name="connsiteY13" fmla="*/ 839928 h 1223033"/>
              <a:gd name="connsiteX14" fmla="*/ 0 w 2339974"/>
              <a:gd name="connsiteY14" fmla="*/ 587950 h 1223033"/>
              <a:gd name="connsiteX15" fmla="*/ 0 w 2339974"/>
              <a:gd name="connsiteY15" fmla="*/ 587950 h 1223033"/>
              <a:gd name="connsiteX16" fmla="*/ 0 w 2339974"/>
              <a:gd name="connsiteY16" fmla="*/ 0 h 1223033"/>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737311 w 2339974"/>
              <a:gd name="connsiteY9" fmla="*/ 1014516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704301 w 2339974"/>
              <a:gd name="connsiteY9" fmla="*/ 1011215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681193 w 2339974"/>
              <a:gd name="connsiteY9" fmla="*/ 1011215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677892 w 2339974"/>
              <a:gd name="connsiteY9" fmla="*/ 1001311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671290 w 2339974"/>
              <a:gd name="connsiteY9" fmla="*/ 1004612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06528"/>
              <a:gd name="connsiteX1" fmla="*/ 389996 w 2339974"/>
              <a:gd name="connsiteY1" fmla="*/ 0 h 1206528"/>
              <a:gd name="connsiteX2" fmla="*/ 389996 w 2339974"/>
              <a:gd name="connsiteY2" fmla="*/ 0 h 1206528"/>
              <a:gd name="connsiteX3" fmla="*/ 974989 w 2339974"/>
              <a:gd name="connsiteY3" fmla="*/ 0 h 1206528"/>
              <a:gd name="connsiteX4" fmla="*/ 2339974 w 2339974"/>
              <a:gd name="connsiteY4" fmla="*/ 0 h 1206528"/>
              <a:gd name="connsiteX5" fmla="*/ 2339974 w 2339974"/>
              <a:gd name="connsiteY5" fmla="*/ 587950 h 1206528"/>
              <a:gd name="connsiteX6" fmla="*/ 2339974 w 2339974"/>
              <a:gd name="connsiteY6" fmla="*/ 587950 h 1206528"/>
              <a:gd name="connsiteX7" fmla="*/ 2339974 w 2339974"/>
              <a:gd name="connsiteY7" fmla="*/ 839928 h 1206528"/>
              <a:gd name="connsiteX8" fmla="*/ 2339974 w 2339974"/>
              <a:gd name="connsiteY8" fmla="*/ 1007914 h 1206528"/>
              <a:gd name="connsiteX9" fmla="*/ 671290 w 2339974"/>
              <a:gd name="connsiteY9" fmla="*/ 1004612 h 1206528"/>
              <a:gd name="connsiteX10" fmla="*/ 458025 w 2339974"/>
              <a:gd name="connsiteY10" fmla="*/ 1206528 h 1206528"/>
              <a:gd name="connsiteX11" fmla="*/ 241447 w 2339974"/>
              <a:gd name="connsiteY11" fmla="*/ 1007914 h 1206528"/>
              <a:gd name="connsiteX12" fmla="*/ 0 w 2339974"/>
              <a:gd name="connsiteY12" fmla="*/ 1007914 h 1206528"/>
              <a:gd name="connsiteX13" fmla="*/ 0 w 2339974"/>
              <a:gd name="connsiteY13" fmla="*/ 839928 h 1206528"/>
              <a:gd name="connsiteX14" fmla="*/ 0 w 2339974"/>
              <a:gd name="connsiteY14" fmla="*/ 587950 h 1206528"/>
              <a:gd name="connsiteX15" fmla="*/ 0 w 2339974"/>
              <a:gd name="connsiteY15" fmla="*/ 587950 h 1206528"/>
              <a:gd name="connsiteX16" fmla="*/ 0 w 2339974"/>
              <a:gd name="connsiteY16" fmla="*/ 0 h 1206528"/>
              <a:gd name="connsiteX0" fmla="*/ 0 w 2339974"/>
              <a:gd name="connsiteY0" fmla="*/ 0 h 1180119"/>
              <a:gd name="connsiteX1" fmla="*/ 389996 w 2339974"/>
              <a:gd name="connsiteY1" fmla="*/ 0 h 1180119"/>
              <a:gd name="connsiteX2" fmla="*/ 389996 w 2339974"/>
              <a:gd name="connsiteY2" fmla="*/ 0 h 1180119"/>
              <a:gd name="connsiteX3" fmla="*/ 974989 w 2339974"/>
              <a:gd name="connsiteY3" fmla="*/ 0 h 1180119"/>
              <a:gd name="connsiteX4" fmla="*/ 2339974 w 2339974"/>
              <a:gd name="connsiteY4" fmla="*/ 0 h 1180119"/>
              <a:gd name="connsiteX5" fmla="*/ 2339974 w 2339974"/>
              <a:gd name="connsiteY5" fmla="*/ 587950 h 1180119"/>
              <a:gd name="connsiteX6" fmla="*/ 2339974 w 2339974"/>
              <a:gd name="connsiteY6" fmla="*/ 587950 h 1180119"/>
              <a:gd name="connsiteX7" fmla="*/ 2339974 w 2339974"/>
              <a:gd name="connsiteY7" fmla="*/ 839928 h 1180119"/>
              <a:gd name="connsiteX8" fmla="*/ 2339974 w 2339974"/>
              <a:gd name="connsiteY8" fmla="*/ 1007914 h 1180119"/>
              <a:gd name="connsiteX9" fmla="*/ 671290 w 2339974"/>
              <a:gd name="connsiteY9" fmla="*/ 1004612 h 1180119"/>
              <a:gd name="connsiteX10" fmla="*/ 451422 w 2339974"/>
              <a:gd name="connsiteY10" fmla="*/ 1180119 h 1180119"/>
              <a:gd name="connsiteX11" fmla="*/ 241447 w 2339974"/>
              <a:gd name="connsiteY11" fmla="*/ 1007914 h 1180119"/>
              <a:gd name="connsiteX12" fmla="*/ 0 w 2339974"/>
              <a:gd name="connsiteY12" fmla="*/ 1007914 h 1180119"/>
              <a:gd name="connsiteX13" fmla="*/ 0 w 2339974"/>
              <a:gd name="connsiteY13" fmla="*/ 839928 h 1180119"/>
              <a:gd name="connsiteX14" fmla="*/ 0 w 2339974"/>
              <a:gd name="connsiteY14" fmla="*/ 587950 h 1180119"/>
              <a:gd name="connsiteX15" fmla="*/ 0 w 2339974"/>
              <a:gd name="connsiteY15" fmla="*/ 587950 h 1180119"/>
              <a:gd name="connsiteX16" fmla="*/ 0 w 2339974"/>
              <a:gd name="connsiteY16" fmla="*/ 0 h 1180119"/>
              <a:gd name="connsiteX0" fmla="*/ 0 w 2339974"/>
              <a:gd name="connsiteY0" fmla="*/ 0 h 1183420"/>
              <a:gd name="connsiteX1" fmla="*/ 389996 w 2339974"/>
              <a:gd name="connsiteY1" fmla="*/ 0 h 1183420"/>
              <a:gd name="connsiteX2" fmla="*/ 389996 w 2339974"/>
              <a:gd name="connsiteY2" fmla="*/ 0 h 1183420"/>
              <a:gd name="connsiteX3" fmla="*/ 974989 w 2339974"/>
              <a:gd name="connsiteY3" fmla="*/ 0 h 1183420"/>
              <a:gd name="connsiteX4" fmla="*/ 2339974 w 2339974"/>
              <a:gd name="connsiteY4" fmla="*/ 0 h 1183420"/>
              <a:gd name="connsiteX5" fmla="*/ 2339974 w 2339974"/>
              <a:gd name="connsiteY5" fmla="*/ 587950 h 1183420"/>
              <a:gd name="connsiteX6" fmla="*/ 2339974 w 2339974"/>
              <a:gd name="connsiteY6" fmla="*/ 587950 h 1183420"/>
              <a:gd name="connsiteX7" fmla="*/ 2339974 w 2339974"/>
              <a:gd name="connsiteY7" fmla="*/ 839928 h 1183420"/>
              <a:gd name="connsiteX8" fmla="*/ 2339974 w 2339974"/>
              <a:gd name="connsiteY8" fmla="*/ 1007914 h 1183420"/>
              <a:gd name="connsiteX9" fmla="*/ 671290 w 2339974"/>
              <a:gd name="connsiteY9" fmla="*/ 1004612 h 1183420"/>
              <a:gd name="connsiteX10" fmla="*/ 458024 w 2339974"/>
              <a:gd name="connsiteY10" fmla="*/ 1183420 h 1183420"/>
              <a:gd name="connsiteX11" fmla="*/ 241447 w 2339974"/>
              <a:gd name="connsiteY11" fmla="*/ 1007914 h 1183420"/>
              <a:gd name="connsiteX12" fmla="*/ 0 w 2339974"/>
              <a:gd name="connsiteY12" fmla="*/ 1007914 h 1183420"/>
              <a:gd name="connsiteX13" fmla="*/ 0 w 2339974"/>
              <a:gd name="connsiteY13" fmla="*/ 839928 h 1183420"/>
              <a:gd name="connsiteX14" fmla="*/ 0 w 2339974"/>
              <a:gd name="connsiteY14" fmla="*/ 587950 h 1183420"/>
              <a:gd name="connsiteX15" fmla="*/ 0 w 2339974"/>
              <a:gd name="connsiteY15" fmla="*/ 587950 h 1183420"/>
              <a:gd name="connsiteX16" fmla="*/ 0 w 2339974"/>
              <a:gd name="connsiteY16" fmla="*/ 0 h 1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39974" h="1183420">
                <a:moveTo>
                  <a:pt x="0" y="0"/>
                </a:moveTo>
                <a:lnTo>
                  <a:pt x="389996" y="0"/>
                </a:lnTo>
                <a:lnTo>
                  <a:pt x="389996" y="0"/>
                </a:lnTo>
                <a:lnTo>
                  <a:pt x="974989" y="0"/>
                </a:lnTo>
                <a:lnTo>
                  <a:pt x="2339974" y="0"/>
                </a:lnTo>
                <a:lnTo>
                  <a:pt x="2339974" y="587950"/>
                </a:lnTo>
                <a:lnTo>
                  <a:pt x="2339974" y="587950"/>
                </a:lnTo>
                <a:lnTo>
                  <a:pt x="2339974" y="839928"/>
                </a:lnTo>
                <a:lnTo>
                  <a:pt x="2339974" y="1007914"/>
                </a:lnTo>
                <a:lnTo>
                  <a:pt x="671290" y="1004612"/>
                </a:lnTo>
                <a:lnTo>
                  <a:pt x="458024" y="1183420"/>
                </a:lnTo>
                <a:lnTo>
                  <a:pt x="241447" y="1007914"/>
                </a:lnTo>
                <a:lnTo>
                  <a:pt x="0" y="1007914"/>
                </a:lnTo>
                <a:lnTo>
                  <a:pt x="0" y="839928"/>
                </a:lnTo>
                <a:lnTo>
                  <a:pt x="0" y="587950"/>
                </a:lnTo>
                <a:lnTo>
                  <a:pt x="0" y="587950"/>
                </a:lnTo>
                <a:lnTo>
                  <a:pt x="0" y="0"/>
                </a:lnTo>
                <a:close/>
              </a:path>
            </a:pathLst>
          </a:custGeom>
          <a:solidFill>
            <a:schemeClr val="accent2"/>
          </a:solidFill>
        </p:spPr>
        <p:txBody>
          <a:bodyPr lIns="108000" tIns="108000" rIns="108000" bIns="108000"/>
          <a:lstStyle>
            <a:lvl1pPr marL="0" indent="0">
              <a:buFontTx/>
              <a:buNone/>
              <a:defRPr sz="1200">
                <a:solidFill>
                  <a:schemeClr val="bg1"/>
                </a:solidFill>
              </a:defRPr>
            </a:lvl1pPr>
          </a:lstStyle>
          <a:p>
            <a:pPr lvl="0"/>
            <a:r>
              <a:rPr lang="de-DE"/>
              <a:t>Mastertextformat bearbeiten</a:t>
            </a:r>
            <a:endParaRPr lang="en-GB"/>
          </a:p>
        </p:txBody>
      </p:sp>
      <p:sp>
        <p:nvSpPr>
          <p:cNvPr id="3" name="Fußzeilenplatzhalter 2"/>
          <p:cNvSpPr>
            <a:spLocks noGrp="1"/>
          </p:cNvSpPr>
          <p:nvPr>
            <p:ph type="ftr" sz="quarter" idx="28"/>
          </p:nvPr>
        </p:nvSpPr>
        <p:spPr/>
        <p:txBody>
          <a:bodyPr/>
          <a:lstStyle/>
          <a:p>
            <a:r>
              <a:rPr lang="de-DE"/>
              <a:t>DEG-Unternehmenspräsentation</a:t>
            </a:r>
          </a:p>
        </p:txBody>
      </p:sp>
    </p:spTree>
    <p:extLst>
      <p:ext uri="{BB962C8B-B14F-4D97-AF65-F5344CB8AC3E}">
        <p14:creationId xmlns:p14="http://schemas.microsoft.com/office/powerpoint/2010/main" val="7953161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2930400" cy="435409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6631112"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6631112" y="1846675"/>
            <a:ext cx="2930400" cy="435409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extplatzhalter 11">
            <a:extLst>
              <a:ext uri="{FF2B5EF4-FFF2-40B4-BE49-F238E27FC236}">
                <a16:creationId xmlns:a16="http://schemas.microsoft.com/office/drawing/2014/main" id="{10AD9F27-6901-4908-874B-42E964215658}"/>
              </a:ext>
            </a:extLst>
          </p:cNvPr>
          <p:cNvSpPr>
            <a:spLocks noGrp="1"/>
          </p:cNvSpPr>
          <p:nvPr>
            <p:ph type="body" sz="quarter" idx="18"/>
          </p:nvPr>
        </p:nvSpPr>
        <p:spPr bwMode="gray">
          <a:xfrm>
            <a:off x="3487801"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4" name="Textplatzhalter 14">
            <a:extLst>
              <a:ext uri="{FF2B5EF4-FFF2-40B4-BE49-F238E27FC236}">
                <a16:creationId xmlns:a16="http://schemas.microsoft.com/office/drawing/2014/main" id="{05FBB124-C4A9-42B4-9A81-C861B74F84D6}"/>
              </a:ext>
            </a:extLst>
          </p:cNvPr>
          <p:cNvSpPr>
            <a:spLocks noGrp="1"/>
          </p:cNvSpPr>
          <p:nvPr>
            <p:ph type="body" sz="quarter" idx="19"/>
          </p:nvPr>
        </p:nvSpPr>
        <p:spPr>
          <a:xfrm>
            <a:off x="3487801" y="1846675"/>
            <a:ext cx="2930400" cy="435409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8">
            <a:extLst>
              <a:ext uri="{FF2B5EF4-FFF2-40B4-BE49-F238E27FC236}">
                <a16:creationId xmlns:a16="http://schemas.microsoft.com/office/drawing/2014/main" id="{E359570D-9F33-45EF-BD5B-914B9D7D1201}"/>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9" name="Textplatzhalter 8">
            <a:extLst>
              <a:ext uri="{FF2B5EF4-FFF2-40B4-BE49-F238E27FC236}">
                <a16:creationId xmlns:a16="http://schemas.microsoft.com/office/drawing/2014/main" id="{A6F5B586-8F75-475C-984D-1DAA5C3AC167}"/>
              </a:ext>
            </a:extLst>
          </p:cNvPr>
          <p:cNvSpPr>
            <a:spLocks noGrp="1"/>
          </p:cNvSpPr>
          <p:nvPr>
            <p:ph type="body" sz="quarter" idx="20"/>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654959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4500561" cy="187357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5"/>
            <a:ext cx="4500561" cy="187357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10" name="Textplatzhalter 8">
            <a:extLst>
              <a:ext uri="{FF2B5EF4-FFF2-40B4-BE49-F238E27FC236}">
                <a16:creationId xmlns:a16="http://schemas.microsoft.com/office/drawing/2014/main" id="{0AC01A1E-6BAF-4C91-BB04-8E2B9F69F269}"/>
              </a:ext>
            </a:extLst>
          </p:cNvPr>
          <p:cNvSpPr>
            <a:spLocks noGrp="1"/>
          </p:cNvSpPr>
          <p:nvPr>
            <p:ph type="body" sz="quarter" idx="13" hasCustomPrompt="1"/>
          </p:nvPr>
        </p:nvSpPr>
        <p:spPr>
          <a:xfrm>
            <a:off x="344489" y="6202800"/>
            <a:ext cx="9217022"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8" name="Textplatzhalter 11">
            <a:extLst>
              <a:ext uri="{FF2B5EF4-FFF2-40B4-BE49-F238E27FC236}">
                <a16:creationId xmlns:a16="http://schemas.microsoft.com/office/drawing/2014/main" id="{C6245A26-34FE-4E41-AD20-0A9373AD5777}"/>
              </a:ext>
            </a:extLst>
          </p:cNvPr>
          <p:cNvSpPr>
            <a:spLocks noGrp="1"/>
          </p:cNvSpPr>
          <p:nvPr>
            <p:ph type="body" sz="quarter" idx="18"/>
          </p:nvPr>
        </p:nvSpPr>
        <p:spPr bwMode="gray">
          <a:xfrm>
            <a:off x="344489"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9" name="Textplatzhalter 14">
            <a:extLst>
              <a:ext uri="{FF2B5EF4-FFF2-40B4-BE49-F238E27FC236}">
                <a16:creationId xmlns:a16="http://schemas.microsoft.com/office/drawing/2014/main" id="{0195286A-1085-48E9-8CE3-B3865EA1F97D}"/>
              </a:ext>
            </a:extLst>
          </p:cNvPr>
          <p:cNvSpPr>
            <a:spLocks noGrp="1"/>
          </p:cNvSpPr>
          <p:nvPr>
            <p:ph type="body" sz="quarter" idx="19"/>
          </p:nvPr>
        </p:nvSpPr>
        <p:spPr>
          <a:xfrm>
            <a:off x="344489" y="4339258"/>
            <a:ext cx="4500562" cy="1863542"/>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20" name="Textplatzhalter 11">
            <a:extLst>
              <a:ext uri="{FF2B5EF4-FFF2-40B4-BE49-F238E27FC236}">
                <a16:creationId xmlns:a16="http://schemas.microsoft.com/office/drawing/2014/main" id="{B532B0FE-57F7-4670-B9D2-7ADB2B6487AD}"/>
              </a:ext>
            </a:extLst>
          </p:cNvPr>
          <p:cNvSpPr>
            <a:spLocks noGrp="1"/>
          </p:cNvSpPr>
          <p:nvPr>
            <p:ph type="body" sz="quarter" idx="20"/>
          </p:nvPr>
        </p:nvSpPr>
        <p:spPr bwMode="gray">
          <a:xfrm>
            <a:off x="5060950"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21" name="Textplatzhalter 14">
            <a:extLst>
              <a:ext uri="{FF2B5EF4-FFF2-40B4-BE49-F238E27FC236}">
                <a16:creationId xmlns:a16="http://schemas.microsoft.com/office/drawing/2014/main" id="{1B9710D1-7B7B-4F60-8727-4E59EED11288}"/>
              </a:ext>
            </a:extLst>
          </p:cNvPr>
          <p:cNvSpPr>
            <a:spLocks noGrp="1"/>
          </p:cNvSpPr>
          <p:nvPr>
            <p:ph type="body" sz="quarter" idx="21"/>
          </p:nvPr>
        </p:nvSpPr>
        <p:spPr>
          <a:xfrm>
            <a:off x="5060950" y="4339258"/>
            <a:ext cx="4500561" cy="1863542"/>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22" name="Textplatzhalter 8">
            <a:extLst>
              <a:ext uri="{FF2B5EF4-FFF2-40B4-BE49-F238E27FC236}">
                <a16:creationId xmlns:a16="http://schemas.microsoft.com/office/drawing/2014/main" id="{4C3C337B-20B9-4837-87BA-C498361AE6F3}"/>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3"/>
          </p:nvPr>
        </p:nvSpPr>
        <p:spPr/>
        <p:txBody>
          <a:bodyPr/>
          <a:lstStyle/>
          <a:p>
            <a:r>
              <a:rPr lang="de-DE"/>
              <a:t>DEG-Unternehmenspräsentation</a:t>
            </a:r>
          </a:p>
        </p:txBody>
      </p:sp>
    </p:spTree>
    <p:extLst>
      <p:ext uri="{BB962C8B-B14F-4D97-AF65-F5344CB8AC3E}">
        <p14:creationId xmlns:p14="http://schemas.microsoft.com/office/powerpoint/2010/main" val="356584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apiteltrenner Petrol">
    <p:spTree>
      <p:nvGrpSpPr>
        <p:cNvPr id="1" name=""/>
        <p:cNvGrpSpPr/>
        <p:nvPr/>
      </p:nvGrpSpPr>
      <p:grpSpPr>
        <a:xfrm>
          <a:off x="0" y="0"/>
          <a:ext cx="0" cy="0"/>
          <a:chOff x="0" y="0"/>
          <a:chExt cx="0" cy="0"/>
        </a:xfrm>
      </p:grpSpPr>
      <p:sp>
        <p:nvSpPr>
          <p:cNvPr id="11" name="Rechteck: eine Ecke abgerundet 10">
            <a:extLst>
              <a:ext uri="{FF2B5EF4-FFF2-40B4-BE49-F238E27FC236}">
                <a16:creationId xmlns:a16="http://schemas.microsoft.com/office/drawing/2014/main" id="{0A31C95E-D3C1-4E7F-B4CA-03A1005C6F50}"/>
              </a:ext>
            </a:extLst>
          </p:cNvPr>
          <p:cNvSpPr/>
          <p:nvPr userDrawn="1"/>
        </p:nvSpPr>
        <p:spPr bwMode="gray">
          <a:xfrm flipH="1" flipV="1">
            <a:off x="344487" y="-1"/>
            <a:ext cx="9561508" cy="5509885"/>
          </a:xfrm>
          <a:prstGeom prst="round1Rect">
            <a:avLst>
              <a:gd name="adj" fmla="val 40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5" name="Textplatzhalter 4">
            <a:extLst>
              <a:ext uri="{FF2B5EF4-FFF2-40B4-BE49-F238E27FC236}">
                <a16:creationId xmlns:a16="http://schemas.microsoft.com/office/drawing/2014/main" id="{D400E007-964F-4EE0-9E50-24A2ABA74D5F}"/>
              </a:ext>
            </a:extLst>
          </p:cNvPr>
          <p:cNvSpPr>
            <a:spLocks noGrp="1"/>
          </p:cNvSpPr>
          <p:nvPr>
            <p:ph type="body" sz="quarter" idx="18" hasCustomPrompt="1"/>
          </p:nvPr>
        </p:nvSpPr>
        <p:spPr>
          <a:xfrm>
            <a:off x="1087200" y="2660400"/>
            <a:ext cx="8474313"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2138400"/>
            <a:ext cx="8474313" cy="522000"/>
          </a:xfrm>
        </p:spPr>
        <p:txBody>
          <a:bodyPr wrap="square" anchor="t" anchorCtr="0"/>
          <a:lstStyle>
            <a:lvl1pPr marL="0" indent="625475" algn="l">
              <a:lnSpc>
                <a:spcPct val="90000"/>
              </a:lnSpc>
              <a:defRPr sz="3800">
                <a:solidFill>
                  <a:schemeClr val="bg1"/>
                </a:solidFill>
              </a:defRPr>
            </a:lvl1pPr>
          </a:lstStyle>
          <a:p>
            <a:r>
              <a:rPr lang="de-DE"/>
              <a:t>Mastertitelformat bearbeiten</a:t>
            </a:r>
            <a:endParaRPr lang="de-DE" dirty="0"/>
          </a:p>
        </p:txBody>
      </p:sp>
      <p:grpSp>
        <p:nvGrpSpPr>
          <p:cNvPr id="12" name="Gruppieren 11">
            <a:extLst>
              <a:ext uri="{FF2B5EF4-FFF2-40B4-BE49-F238E27FC236}">
                <a16:creationId xmlns:a16="http://schemas.microsoft.com/office/drawing/2014/main" id="{AF487632-F404-49EF-9520-2B0426697E4E}"/>
              </a:ext>
            </a:extLst>
          </p:cNvPr>
          <p:cNvGrpSpPr>
            <a:grpSpLocks noChangeAspect="1"/>
          </p:cNvGrpSpPr>
          <p:nvPr userDrawn="1"/>
        </p:nvGrpSpPr>
        <p:grpSpPr bwMode="gray">
          <a:xfrm>
            <a:off x="893190" y="2156400"/>
            <a:ext cx="676800" cy="422930"/>
            <a:chOff x="1273175" y="1606550"/>
            <a:chExt cx="9653588" cy="6032500"/>
          </a:xfrm>
          <a:solidFill>
            <a:schemeClr val="accent2"/>
          </a:solidFill>
        </p:grpSpPr>
        <p:sp>
          <p:nvSpPr>
            <p:cNvPr id="13" name="Freeform 5">
              <a:extLst>
                <a:ext uri="{FF2B5EF4-FFF2-40B4-BE49-F238E27FC236}">
                  <a16:creationId xmlns:a16="http://schemas.microsoft.com/office/drawing/2014/main" id="{599B52AB-3882-4CD9-AFAB-BB5C70BB7FFE}"/>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4" name="Freeform 6">
              <a:extLst>
                <a:ext uri="{FF2B5EF4-FFF2-40B4-BE49-F238E27FC236}">
                  <a16:creationId xmlns:a16="http://schemas.microsoft.com/office/drawing/2014/main" id="{6237E8FF-20C2-4987-97B7-015EF878D937}"/>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5" name="Freeform 7">
              <a:extLst>
                <a:ext uri="{FF2B5EF4-FFF2-40B4-BE49-F238E27FC236}">
                  <a16:creationId xmlns:a16="http://schemas.microsoft.com/office/drawing/2014/main" id="{5EB7FE9D-01D4-43AA-B83B-C75AE7738B4D}"/>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7" name="Fußzeilenplatzhalter 6"/>
          <p:cNvSpPr>
            <a:spLocks noGrp="1"/>
          </p:cNvSpPr>
          <p:nvPr>
            <p:ph type="ftr" sz="quarter" idx="20"/>
          </p:nvPr>
        </p:nvSpPr>
        <p:spPr/>
        <p:txBody>
          <a:bodyPr/>
          <a:lstStyle/>
          <a:p>
            <a:r>
              <a:rPr lang="de-DE"/>
              <a:t>DEG-Unternehmenspräsentation</a:t>
            </a:r>
          </a:p>
        </p:txBody>
      </p:sp>
      <p:sp>
        <p:nvSpPr>
          <p:cNvPr id="9" name="Foliennummernplatzhalter 8"/>
          <p:cNvSpPr>
            <a:spLocks noGrp="1"/>
          </p:cNvSpPr>
          <p:nvPr>
            <p:ph type="sldNum" sz="quarter" idx="21"/>
          </p:nvPr>
        </p:nvSpPr>
        <p:spPr/>
        <p:txBody>
          <a:bodyPr/>
          <a:lstStyle/>
          <a:p>
            <a:fld id="{5678FFC5-4430-43BC-9807-D0C6EB405569}" type="slidenum">
              <a:rPr lang="de-DE" smtClean="0"/>
              <a:pPr/>
              <a:t>‹#›</a:t>
            </a:fld>
            <a:endParaRPr lang="de-DE" dirty="0"/>
          </a:p>
        </p:txBody>
      </p:sp>
      <p:pic>
        <p:nvPicPr>
          <p:cNvPr id="16" name="Grafik 15"/>
          <p:cNvPicPr>
            <a:picLocks noChangeAspect="1"/>
          </p:cNvPicPr>
          <p:nvPr userDrawn="1"/>
        </p:nvPicPr>
        <p:blipFill>
          <a:blip r:embed="rId2"/>
          <a:stretch>
            <a:fillRect/>
          </a:stretch>
        </p:blipFill>
        <p:spPr>
          <a:xfrm>
            <a:off x="8121352" y="6390945"/>
            <a:ext cx="1019028" cy="467055"/>
          </a:xfrm>
          <a:prstGeom prst="rect">
            <a:avLst/>
          </a:prstGeom>
        </p:spPr>
      </p:pic>
      <p:sp>
        <p:nvSpPr>
          <p:cNvPr id="17" name="Rechteck 16"/>
          <p:cNvSpPr/>
          <p:nvPr userDrawn="1"/>
        </p:nvSpPr>
        <p:spPr>
          <a:xfrm>
            <a:off x="8615881" y="6661420"/>
            <a:ext cx="432048"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16058503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apiteltrenner Hellgrau">
    <p:spTree>
      <p:nvGrpSpPr>
        <p:cNvPr id="1" name=""/>
        <p:cNvGrpSpPr/>
        <p:nvPr/>
      </p:nvGrpSpPr>
      <p:grpSpPr>
        <a:xfrm>
          <a:off x="0" y="0"/>
          <a:ext cx="0" cy="0"/>
          <a:chOff x="0" y="0"/>
          <a:chExt cx="0" cy="0"/>
        </a:xfrm>
      </p:grpSpPr>
      <p:sp>
        <p:nvSpPr>
          <p:cNvPr id="9" name="Rechteck: eine Ecke abgerundet 8">
            <a:extLst>
              <a:ext uri="{FF2B5EF4-FFF2-40B4-BE49-F238E27FC236}">
                <a16:creationId xmlns:a16="http://schemas.microsoft.com/office/drawing/2014/main" id="{80FDB814-7EFA-40B8-9B60-E7AC68CE6F5C}"/>
              </a:ext>
            </a:extLst>
          </p:cNvPr>
          <p:cNvSpPr/>
          <p:nvPr userDrawn="1"/>
        </p:nvSpPr>
        <p:spPr bwMode="gray">
          <a:xfrm flipH="1" flipV="1">
            <a:off x="344487" y="-1"/>
            <a:ext cx="9561508" cy="5509885"/>
          </a:xfrm>
          <a:prstGeom prst="round1Rect">
            <a:avLst>
              <a:gd name="adj" fmla="val 409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16" name="Textplatzhalter 4">
            <a:extLst>
              <a:ext uri="{FF2B5EF4-FFF2-40B4-BE49-F238E27FC236}">
                <a16:creationId xmlns:a16="http://schemas.microsoft.com/office/drawing/2014/main" id="{ADC41EAD-8DDB-431C-A06C-735E9985631A}"/>
              </a:ext>
            </a:extLst>
          </p:cNvPr>
          <p:cNvSpPr>
            <a:spLocks noGrp="1"/>
          </p:cNvSpPr>
          <p:nvPr>
            <p:ph type="body" sz="quarter" idx="18" hasCustomPrompt="1"/>
          </p:nvPr>
        </p:nvSpPr>
        <p:spPr>
          <a:xfrm>
            <a:off x="1087200" y="2660400"/>
            <a:ext cx="8569297"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2138400"/>
            <a:ext cx="8569296" cy="522000"/>
          </a:xfrm>
        </p:spPr>
        <p:txBody>
          <a:bodyPr wrap="square" anchor="t" anchorCtr="0"/>
          <a:lstStyle>
            <a:lvl1pPr marL="0" indent="625475" algn="l">
              <a:lnSpc>
                <a:spcPct val="90000"/>
              </a:lnSpc>
              <a:defRPr sz="3800">
                <a:solidFill>
                  <a:schemeClr val="accent1"/>
                </a:solidFill>
              </a:defRPr>
            </a:lvl1pPr>
          </a:lstStyle>
          <a:p>
            <a:r>
              <a:rPr lang="de-DE"/>
              <a:t>Mastertitelformat bearbeiten</a:t>
            </a:r>
            <a:endParaRPr lang="de-DE" dirty="0"/>
          </a:p>
        </p:txBody>
      </p:sp>
      <p:grpSp>
        <p:nvGrpSpPr>
          <p:cNvPr id="15" name="Gruppieren 14">
            <a:extLst>
              <a:ext uri="{FF2B5EF4-FFF2-40B4-BE49-F238E27FC236}">
                <a16:creationId xmlns:a16="http://schemas.microsoft.com/office/drawing/2014/main" id="{AB0EEDED-F272-46FA-912B-E7BC94BF74D3}"/>
              </a:ext>
            </a:extLst>
          </p:cNvPr>
          <p:cNvGrpSpPr>
            <a:grpSpLocks noChangeAspect="1"/>
          </p:cNvGrpSpPr>
          <p:nvPr userDrawn="1"/>
        </p:nvGrpSpPr>
        <p:grpSpPr bwMode="gray">
          <a:xfrm>
            <a:off x="893190" y="2156400"/>
            <a:ext cx="676800" cy="422930"/>
            <a:chOff x="1273175" y="1606550"/>
            <a:chExt cx="9653588" cy="6032500"/>
          </a:xfrm>
          <a:solidFill>
            <a:schemeClr val="accent2"/>
          </a:solidFill>
        </p:grpSpPr>
        <p:sp>
          <p:nvSpPr>
            <p:cNvPr id="17" name="Freeform 5">
              <a:extLst>
                <a:ext uri="{FF2B5EF4-FFF2-40B4-BE49-F238E27FC236}">
                  <a16:creationId xmlns:a16="http://schemas.microsoft.com/office/drawing/2014/main" id="{C8DF6415-7603-4698-B7CE-825585DEE38B}"/>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8" name="Freeform 6">
              <a:extLst>
                <a:ext uri="{FF2B5EF4-FFF2-40B4-BE49-F238E27FC236}">
                  <a16:creationId xmlns:a16="http://schemas.microsoft.com/office/drawing/2014/main" id="{AE713B85-5D84-4DA1-9E89-5A18A847AEA5}"/>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9" name="Freeform 7">
              <a:extLst>
                <a:ext uri="{FF2B5EF4-FFF2-40B4-BE49-F238E27FC236}">
                  <a16:creationId xmlns:a16="http://schemas.microsoft.com/office/drawing/2014/main" id="{E7B4847F-5170-4F69-AD64-24959E1B3376}"/>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5" name="Datumsplatzhalter 4"/>
          <p:cNvSpPr>
            <a:spLocks noGrp="1"/>
          </p:cNvSpPr>
          <p:nvPr>
            <p:ph type="dt" sz="half" idx="19"/>
          </p:nvPr>
        </p:nvSpPr>
        <p:spPr/>
        <p:txBody>
          <a:bodyPr/>
          <a:lstStyle/>
          <a:p>
            <a:endParaRPr lang="de-DE" dirty="0"/>
          </a:p>
        </p:txBody>
      </p:sp>
      <p:sp>
        <p:nvSpPr>
          <p:cNvPr id="6" name="Fußzeilenplatzhalter 5"/>
          <p:cNvSpPr>
            <a:spLocks noGrp="1"/>
          </p:cNvSpPr>
          <p:nvPr>
            <p:ph type="ftr" sz="quarter" idx="20"/>
          </p:nvPr>
        </p:nvSpPr>
        <p:spPr/>
        <p:txBody>
          <a:bodyPr/>
          <a:lstStyle/>
          <a:p>
            <a:r>
              <a:rPr lang="de-DE"/>
              <a:t>DEG-Unternehmenspräsentation</a:t>
            </a:r>
          </a:p>
        </p:txBody>
      </p:sp>
      <p:sp>
        <p:nvSpPr>
          <p:cNvPr id="7" name="Foliennummernplatzhalter 6"/>
          <p:cNvSpPr>
            <a:spLocks noGrp="1"/>
          </p:cNvSpPr>
          <p:nvPr>
            <p:ph type="sldNum" sz="quarter" idx="21"/>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15169455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azit Petrol">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DBD3158-38F3-4DA0-AA60-95EDE400F0A2}"/>
              </a:ext>
            </a:extLst>
          </p:cNvPr>
          <p:cNvSpPr/>
          <p:nvPr userDrawn="1"/>
        </p:nvSpPr>
        <p:spPr bwMode="gray">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solidFill>
                <a:schemeClr val="bg1"/>
              </a:solidFill>
            </a:endParaRPr>
          </a:p>
        </p:txBody>
      </p:sp>
      <p:sp>
        <p:nvSpPr>
          <p:cNvPr id="9" name="Textplatzhalter 8">
            <a:extLst>
              <a:ext uri="{FF2B5EF4-FFF2-40B4-BE49-F238E27FC236}">
                <a16:creationId xmlns:a16="http://schemas.microsoft.com/office/drawing/2014/main" id="{803F9F54-D677-4386-A2BE-50F593FEE606}"/>
              </a:ext>
            </a:extLst>
          </p:cNvPr>
          <p:cNvSpPr>
            <a:spLocks noGrp="1"/>
          </p:cNvSpPr>
          <p:nvPr>
            <p:ph type="body" sz="quarter" idx="13"/>
          </p:nvPr>
        </p:nvSpPr>
        <p:spPr bwMode="gray">
          <a:xfrm>
            <a:off x="344488" y="1296000"/>
            <a:ext cx="9217027" cy="352800"/>
          </a:xfrm>
        </p:spPr>
        <p:txBody>
          <a:bodyPr/>
          <a:lstStyle>
            <a:lvl1pPr marL="0" indent="0">
              <a:buNone/>
              <a:defRPr sz="1800" b="1">
                <a:solidFill>
                  <a:schemeClr val="accent2"/>
                </a:solidFill>
              </a:defRPr>
            </a:lvl1pPr>
            <a:lvl2pPr marL="361950" indent="0">
              <a:buNone/>
              <a:defRPr/>
            </a:lvl2pPr>
          </a:lstStyle>
          <a:p>
            <a:pPr lvl="0"/>
            <a:r>
              <a:rPr lang="de-DE"/>
              <a:t>Formatvorlagen des Textmasters bearbeiten</a:t>
            </a:r>
          </a:p>
        </p:txBody>
      </p:sp>
      <p:sp>
        <p:nvSpPr>
          <p:cNvPr id="10" name="Textplatzhalter 8">
            <a:extLst>
              <a:ext uri="{FF2B5EF4-FFF2-40B4-BE49-F238E27FC236}">
                <a16:creationId xmlns:a16="http://schemas.microsoft.com/office/drawing/2014/main" id="{8AD22A90-224A-40DE-94F8-BC41FD676619}"/>
              </a:ext>
            </a:extLst>
          </p:cNvPr>
          <p:cNvSpPr>
            <a:spLocks noGrp="1"/>
          </p:cNvSpPr>
          <p:nvPr>
            <p:ph type="body" sz="quarter" idx="14"/>
          </p:nvPr>
        </p:nvSpPr>
        <p:spPr bwMode="gray">
          <a:xfrm>
            <a:off x="344488" y="1713600"/>
            <a:ext cx="9217026" cy="4631638"/>
          </a:xfrm>
        </p:spPr>
        <p:txBody>
          <a:bodyPr/>
          <a:lstStyle>
            <a:lvl1pPr marL="0" indent="0">
              <a:lnSpc>
                <a:spcPct val="90000"/>
              </a:lnSpc>
              <a:buNone/>
              <a:defRPr sz="3600">
                <a:solidFill>
                  <a:schemeClr val="bg1"/>
                </a:solidFill>
              </a:defRPr>
            </a:lvl1pPr>
            <a:lvl2pPr marL="361950" indent="0">
              <a:buNone/>
              <a:defRPr/>
            </a:lvl2pPr>
          </a:lstStyle>
          <a:p>
            <a:pPr lvl="0"/>
            <a:r>
              <a:rPr lang="de-DE"/>
              <a:t>Formatvorlagen des Textmasters bearbeiten</a:t>
            </a:r>
          </a:p>
        </p:txBody>
      </p:sp>
      <p:pic>
        <p:nvPicPr>
          <p:cNvPr id="11" name="Grafik 10">
            <a:extLst>
              <a:ext uri="{FF2B5EF4-FFF2-40B4-BE49-F238E27FC236}">
                <a16:creationId xmlns:a16="http://schemas.microsoft.com/office/drawing/2014/main" id="{57DA75E9-D5B7-4644-BA9F-77443382F78C}"/>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bwMode="gray">
          <a:xfrm>
            <a:off x="332558" y="6503345"/>
            <a:ext cx="622325" cy="154162"/>
          </a:xfrm>
          <a:prstGeom prst="rect">
            <a:avLst/>
          </a:prstGeom>
        </p:spPr>
      </p:pic>
      <p:sp>
        <p:nvSpPr>
          <p:cNvPr id="3" name="Datumsplatzhalter 2"/>
          <p:cNvSpPr>
            <a:spLocks noGrp="1"/>
          </p:cNvSpPr>
          <p:nvPr>
            <p:ph type="dt" sz="half" idx="15"/>
          </p:nvPr>
        </p:nvSpPr>
        <p:spPr/>
        <p:txBody>
          <a:bodyPr/>
          <a:lstStyle/>
          <a:p>
            <a:endParaRPr lang="de-DE" dirty="0"/>
          </a:p>
        </p:txBody>
      </p:sp>
      <p:sp>
        <p:nvSpPr>
          <p:cNvPr id="4" name="Fußzeilenplatzhalter 3"/>
          <p:cNvSpPr>
            <a:spLocks noGrp="1"/>
          </p:cNvSpPr>
          <p:nvPr>
            <p:ph type="ftr" sz="quarter" idx="16"/>
          </p:nvPr>
        </p:nvSpPr>
        <p:spPr/>
        <p:txBody>
          <a:bodyPr/>
          <a:lstStyle>
            <a:lvl1pPr>
              <a:defRPr baseline="0">
                <a:solidFill>
                  <a:schemeClr val="bg1"/>
                </a:solidFill>
              </a:defRPr>
            </a:lvl1pPr>
          </a:lstStyle>
          <a:p>
            <a:r>
              <a:rPr lang="de-DE"/>
              <a:t>DEG-Unternehmenspräsentation</a:t>
            </a:r>
          </a:p>
        </p:txBody>
      </p:sp>
      <p:sp>
        <p:nvSpPr>
          <p:cNvPr id="6" name="Foliennummernplatzhalter 5"/>
          <p:cNvSpPr>
            <a:spLocks noGrp="1"/>
          </p:cNvSpPr>
          <p:nvPr>
            <p:ph type="sldNum" sz="quarter" idx="17"/>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8173726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azit Hellgr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DBD3158-38F3-4DA0-AA60-95EDE400F0A2}"/>
              </a:ext>
            </a:extLst>
          </p:cNvPr>
          <p:cNvSpPr/>
          <p:nvPr userDrawn="1"/>
        </p:nvSpPr>
        <p:spPr bwMode="gray">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solidFill>
                <a:schemeClr val="bg1"/>
              </a:solidFill>
            </a:endParaRPr>
          </a:p>
        </p:txBody>
      </p:sp>
      <p:sp>
        <p:nvSpPr>
          <p:cNvPr id="9" name="Textplatzhalter 8">
            <a:extLst>
              <a:ext uri="{FF2B5EF4-FFF2-40B4-BE49-F238E27FC236}">
                <a16:creationId xmlns:a16="http://schemas.microsoft.com/office/drawing/2014/main" id="{803F9F54-D677-4386-A2BE-50F593FEE606}"/>
              </a:ext>
            </a:extLst>
          </p:cNvPr>
          <p:cNvSpPr>
            <a:spLocks noGrp="1"/>
          </p:cNvSpPr>
          <p:nvPr>
            <p:ph type="body" sz="quarter" idx="13"/>
          </p:nvPr>
        </p:nvSpPr>
        <p:spPr bwMode="gray">
          <a:xfrm>
            <a:off x="344488" y="1296000"/>
            <a:ext cx="9217028" cy="352800"/>
          </a:xfrm>
        </p:spPr>
        <p:txBody>
          <a:bodyPr/>
          <a:lstStyle>
            <a:lvl1pPr marL="0" indent="0">
              <a:buNone/>
              <a:defRPr sz="1800" b="1">
                <a:solidFill>
                  <a:schemeClr val="accent2"/>
                </a:solidFill>
              </a:defRPr>
            </a:lvl1pPr>
            <a:lvl2pPr marL="361950" indent="0">
              <a:buNone/>
              <a:defRPr/>
            </a:lvl2pPr>
          </a:lstStyle>
          <a:p>
            <a:pPr lvl="0"/>
            <a:r>
              <a:rPr lang="de-DE"/>
              <a:t>Formatvorlagen des Textmasters bearbeiten</a:t>
            </a:r>
          </a:p>
        </p:txBody>
      </p:sp>
      <p:sp>
        <p:nvSpPr>
          <p:cNvPr id="10" name="Textplatzhalter 8">
            <a:extLst>
              <a:ext uri="{FF2B5EF4-FFF2-40B4-BE49-F238E27FC236}">
                <a16:creationId xmlns:a16="http://schemas.microsoft.com/office/drawing/2014/main" id="{8AD22A90-224A-40DE-94F8-BC41FD676619}"/>
              </a:ext>
            </a:extLst>
          </p:cNvPr>
          <p:cNvSpPr>
            <a:spLocks noGrp="1"/>
          </p:cNvSpPr>
          <p:nvPr>
            <p:ph type="body" sz="quarter" idx="14"/>
          </p:nvPr>
        </p:nvSpPr>
        <p:spPr bwMode="gray">
          <a:xfrm>
            <a:off x="344487" y="1713600"/>
            <a:ext cx="9217027" cy="4631638"/>
          </a:xfrm>
        </p:spPr>
        <p:txBody>
          <a:bodyPr/>
          <a:lstStyle>
            <a:lvl1pPr marL="0" indent="0">
              <a:lnSpc>
                <a:spcPct val="90000"/>
              </a:lnSpc>
              <a:buNone/>
              <a:defRPr sz="3600">
                <a:solidFill>
                  <a:schemeClr val="accent1"/>
                </a:solidFill>
              </a:defRPr>
            </a:lvl1pPr>
            <a:lvl2pPr marL="361950" indent="0">
              <a:buNone/>
              <a:defRPr/>
            </a:lvl2pPr>
          </a:lstStyle>
          <a:p>
            <a:pPr lvl="0"/>
            <a:r>
              <a:rPr lang="de-DE"/>
              <a:t>Formatvorlagen des Textmasters bearbeiten</a:t>
            </a:r>
          </a:p>
        </p:txBody>
      </p:sp>
      <p:pic>
        <p:nvPicPr>
          <p:cNvPr id="11" name="Grafik 10">
            <a:extLst>
              <a:ext uri="{FF2B5EF4-FFF2-40B4-BE49-F238E27FC236}">
                <a16:creationId xmlns:a16="http://schemas.microsoft.com/office/drawing/2014/main" id="{49540559-1C1D-4031-BEBE-6801236364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2558" y="6503345"/>
            <a:ext cx="622325" cy="154162"/>
          </a:xfrm>
          <a:prstGeom prst="rect">
            <a:avLst/>
          </a:prstGeom>
        </p:spPr>
      </p:pic>
      <p:sp>
        <p:nvSpPr>
          <p:cNvPr id="3" name="Datumsplatzhalter 2"/>
          <p:cNvSpPr>
            <a:spLocks noGrp="1"/>
          </p:cNvSpPr>
          <p:nvPr>
            <p:ph type="dt" sz="half" idx="15"/>
          </p:nvPr>
        </p:nvSpPr>
        <p:spPr/>
        <p:txBody>
          <a:bodyPr/>
          <a:lstStyle/>
          <a:p>
            <a:endParaRPr lang="de-DE" dirty="0"/>
          </a:p>
        </p:txBody>
      </p:sp>
      <p:sp>
        <p:nvSpPr>
          <p:cNvPr id="4" name="Fußzeilenplatzhalter 3"/>
          <p:cNvSpPr>
            <a:spLocks noGrp="1"/>
          </p:cNvSpPr>
          <p:nvPr>
            <p:ph type="ftr" sz="quarter" idx="16"/>
          </p:nvPr>
        </p:nvSpPr>
        <p:spPr/>
        <p:txBody>
          <a:bodyPr/>
          <a:lstStyle/>
          <a:p>
            <a:r>
              <a:rPr lang="de-DE"/>
              <a:t>DEG-Unternehmenspräsentation</a:t>
            </a:r>
          </a:p>
        </p:txBody>
      </p:sp>
      <p:sp>
        <p:nvSpPr>
          <p:cNvPr id="6" name="Foliennummernplatzhalter 5"/>
          <p:cNvSpPr>
            <a:spLocks noGrp="1"/>
          </p:cNvSpPr>
          <p:nvPr>
            <p:ph type="sldNum" sz="quarter" idx="17"/>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1349026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e">
    <p:spTree>
      <p:nvGrpSpPr>
        <p:cNvPr id="1" name=""/>
        <p:cNvGrpSpPr/>
        <p:nvPr/>
      </p:nvGrpSpPr>
      <p:grpSpPr>
        <a:xfrm>
          <a:off x="0" y="0"/>
          <a:ext cx="0" cy="0"/>
          <a:chOff x="0" y="0"/>
          <a:chExt cx="0" cy="0"/>
        </a:xfrm>
      </p:grpSpPr>
      <p:sp>
        <p:nvSpPr>
          <p:cNvPr id="12" name="Rechteck: eine Ecke abgerundet 11">
            <a:extLst>
              <a:ext uri="{FF2B5EF4-FFF2-40B4-BE49-F238E27FC236}">
                <a16:creationId xmlns:a16="http://schemas.microsoft.com/office/drawing/2014/main" id="{B41910A6-9C48-4978-809F-BB56BF91B131}"/>
              </a:ext>
            </a:extLst>
          </p:cNvPr>
          <p:cNvSpPr/>
          <p:nvPr userDrawn="1"/>
        </p:nvSpPr>
        <p:spPr bwMode="gray">
          <a:xfrm flipH="1" flipV="1">
            <a:off x="332739" y="0"/>
            <a:ext cx="9573257" cy="5509885"/>
          </a:xfrm>
          <a:prstGeom prst="round1Rect">
            <a:avLst>
              <a:gd name="adj" fmla="val 429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5" name="Textplatzhalter 4">
            <a:extLst>
              <a:ext uri="{FF2B5EF4-FFF2-40B4-BE49-F238E27FC236}">
                <a16:creationId xmlns:a16="http://schemas.microsoft.com/office/drawing/2014/main" id="{D400E007-964F-4EE0-9E50-24A2ABA74D5F}"/>
              </a:ext>
            </a:extLst>
          </p:cNvPr>
          <p:cNvSpPr>
            <a:spLocks noGrp="1"/>
          </p:cNvSpPr>
          <p:nvPr>
            <p:ph type="body" sz="quarter" idx="18" hasCustomPrompt="1"/>
          </p:nvPr>
        </p:nvSpPr>
        <p:spPr>
          <a:xfrm>
            <a:off x="1087200" y="2322000"/>
            <a:ext cx="8486061"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1792800"/>
            <a:ext cx="8486060" cy="601200"/>
          </a:xfrm>
        </p:spPr>
        <p:txBody>
          <a:bodyPr wrap="square" anchor="t" anchorCtr="0"/>
          <a:lstStyle>
            <a:lvl1pPr marL="0" indent="625475" algn="l">
              <a:lnSpc>
                <a:spcPct val="90000"/>
              </a:lnSpc>
              <a:defRPr sz="3800">
                <a:solidFill>
                  <a:schemeClr val="bg1"/>
                </a:solidFill>
              </a:defRPr>
            </a:lvl1pPr>
          </a:lstStyle>
          <a:p>
            <a:r>
              <a:rPr lang="de-DE"/>
              <a:t>Mastertitelformat bearbeiten</a:t>
            </a:r>
            <a:endParaRPr lang="de-DE" dirty="0"/>
          </a:p>
        </p:txBody>
      </p:sp>
      <p:grpSp>
        <p:nvGrpSpPr>
          <p:cNvPr id="17" name="Gruppieren 16">
            <a:extLst>
              <a:ext uri="{FF2B5EF4-FFF2-40B4-BE49-F238E27FC236}">
                <a16:creationId xmlns:a16="http://schemas.microsoft.com/office/drawing/2014/main" id="{08613922-21EF-4FE1-8D1E-265027042E95}"/>
              </a:ext>
            </a:extLst>
          </p:cNvPr>
          <p:cNvGrpSpPr>
            <a:grpSpLocks noChangeAspect="1"/>
          </p:cNvGrpSpPr>
          <p:nvPr userDrawn="1"/>
        </p:nvGrpSpPr>
        <p:grpSpPr bwMode="gray">
          <a:xfrm>
            <a:off x="893190" y="1822562"/>
            <a:ext cx="676800" cy="422930"/>
            <a:chOff x="1273175" y="1606550"/>
            <a:chExt cx="9653588" cy="6032500"/>
          </a:xfrm>
          <a:solidFill>
            <a:schemeClr val="accent2"/>
          </a:solidFill>
        </p:grpSpPr>
        <p:sp>
          <p:nvSpPr>
            <p:cNvPr id="20" name="Freeform 5">
              <a:extLst>
                <a:ext uri="{FF2B5EF4-FFF2-40B4-BE49-F238E27FC236}">
                  <a16:creationId xmlns:a16="http://schemas.microsoft.com/office/drawing/2014/main" id="{7132CCA6-5D2D-4F34-8FC5-DA8BC6EB3E68}"/>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1" name="Freeform 6">
              <a:extLst>
                <a:ext uri="{FF2B5EF4-FFF2-40B4-BE49-F238E27FC236}">
                  <a16:creationId xmlns:a16="http://schemas.microsoft.com/office/drawing/2014/main" id="{2C87363E-34D0-4E30-9D6D-A3614608D3DF}"/>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4" name="Freeform 7">
              <a:extLst>
                <a:ext uri="{FF2B5EF4-FFF2-40B4-BE49-F238E27FC236}">
                  <a16:creationId xmlns:a16="http://schemas.microsoft.com/office/drawing/2014/main" id="{D63D12DD-0965-49D4-BA52-CECC18BB4AE5}"/>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pic>
        <p:nvPicPr>
          <p:cNvPr id="11" name="Grafik 10">
            <a:extLst>
              <a:ext uri="{FF2B5EF4-FFF2-40B4-BE49-F238E27FC236}">
                <a16:creationId xmlns:a16="http://schemas.microsoft.com/office/drawing/2014/main" id="{75808914-F017-4F94-8EDC-77E0464CA3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689314" y="6006976"/>
            <a:ext cx="1818695" cy="450527"/>
          </a:xfrm>
          <a:prstGeom prst="rect">
            <a:avLst/>
          </a:prstGeom>
        </p:spPr>
      </p:pic>
      <p:sp>
        <p:nvSpPr>
          <p:cNvPr id="3" name="Datumsplatzhalter 2"/>
          <p:cNvSpPr>
            <a:spLocks noGrp="1"/>
          </p:cNvSpPr>
          <p:nvPr>
            <p:ph type="dt" sz="half" idx="19"/>
          </p:nvPr>
        </p:nvSpPr>
        <p:spPr/>
        <p:txBody>
          <a:bodyPr/>
          <a:lstStyle/>
          <a:p>
            <a:endParaRPr lang="de-DE" dirty="0"/>
          </a:p>
        </p:txBody>
      </p:sp>
      <p:sp>
        <p:nvSpPr>
          <p:cNvPr id="4" name="Fußzeilenplatzhalter 3"/>
          <p:cNvSpPr>
            <a:spLocks noGrp="1"/>
          </p:cNvSpPr>
          <p:nvPr>
            <p:ph type="ftr" sz="quarter" idx="20"/>
          </p:nvPr>
        </p:nvSpPr>
        <p:spPr/>
        <p:txBody>
          <a:bodyPr/>
          <a:lstStyle/>
          <a:p>
            <a:r>
              <a:rPr lang="de-DE"/>
              <a:t>DEG-Unternehmenspräsentation</a:t>
            </a:r>
          </a:p>
        </p:txBody>
      </p:sp>
      <p:sp>
        <p:nvSpPr>
          <p:cNvPr id="6" name="Foliennummernplatzhalter 5"/>
          <p:cNvSpPr>
            <a:spLocks noGrp="1"/>
          </p:cNvSpPr>
          <p:nvPr>
            <p:ph type="sldNum" sz="quarter" idx="21"/>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7130021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7">
            <a:extLst>
              <a:ext uri="{FF2B5EF4-FFF2-40B4-BE49-F238E27FC236}">
                <a16:creationId xmlns:a16="http://schemas.microsoft.com/office/drawing/2014/main" id="{DC2D0EC3-A95E-4954-92ED-7BCE700AFDD0}"/>
              </a:ext>
            </a:extLst>
          </p:cNvPr>
          <p:cNvSpPr>
            <a:spLocks noGrp="1"/>
          </p:cNvSpPr>
          <p:nvPr>
            <p:ph type="body" sz="quarter" idx="13"/>
          </p:nvPr>
        </p:nvSpPr>
        <p:spPr bwMode="gray">
          <a:xfrm>
            <a:off x="344488" y="1368000"/>
            <a:ext cx="9217026" cy="4977238"/>
          </a:xfrm>
        </p:spPr>
        <p:txBody>
          <a:bodyPr/>
          <a:lstStyle>
            <a:lvl1pPr marL="266700" indent="-266700">
              <a:spcBef>
                <a:spcPts val="0"/>
              </a:spcBef>
              <a:buSzPct val="100000"/>
              <a:buFont typeface="+mj-lt"/>
              <a:buAutoNum type="arabicPeriod"/>
              <a:defRPr sz="2000">
                <a:solidFill>
                  <a:schemeClr val="accent1"/>
                </a:solidFill>
              </a:defRPr>
            </a:lvl1pPr>
            <a:lvl2pPr marL="563563" indent="-296863">
              <a:spcBef>
                <a:spcPts val="0"/>
              </a:spcBef>
              <a:buSzPct val="100000"/>
              <a:buFont typeface="+mj-lt"/>
              <a:buAutoNum type="alphaLcParenR"/>
              <a:defRPr sz="2000">
                <a:solidFill>
                  <a:schemeClr val="accent1"/>
                </a:solidFill>
              </a:defRPr>
            </a:lvl2pPr>
            <a:lvl3pPr marL="987425" indent="-266700">
              <a:spcBef>
                <a:spcPts val="0"/>
              </a:spcBef>
              <a:defRPr sz="2000">
                <a:solidFill>
                  <a:schemeClr val="accent1"/>
                </a:solidFill>
              </a:defRPr>
            </a:lvl3pPr>
            <a:lvl4pPr marL="1344613" indent="-266700">
              <a:spcBef>
                <a:spcPts val="0"/>
              </a:spcBef>
              <a:defRPr sz="2000">
                <a:solidFill>
                  <a:schemeClr val="accent1"/>
                </a:solidFill>
              </a:defRPr>
            </a:lvl4pPr>
            <a:lvl5pPr marL="1703388" indent="-269875">
              <a:spcBef>
                <a:spcPts val="0"/>
              </a:spcBef>
              <a:defRPr sz="2000">
                <a:solidFill>
                  <a:schemeClr val="accent1"/>
                </a:solidFill>
              </a:defRPr>
            </a:lvl5pPr>
          </a:lstStyle>
          <a:p>
            <a:pPr lvl="0"/>
            <a:r>
              <a:rPr lang="de-DE"/>
              <a:t>Mastertextformat bearbeiten
Zweite Ebene
Dritte Ebene
Vierte Ebene
Fünfte Ebene</a:t>
            </a:r>
            <a:endParaRPr lang="de-DE" dirty="0"/>
          </a:p>
        </p:txBody>
      </p:sp>
      <p:sp>
        <p:nvSpPr>
          <p:cNvPr id="9" name="Textplatzhalter 8">
            <a:extLst>
              <a:ext uri="{FF2B5EF4-FFF2-40B4-BE49-F238E27FC236}">
                <a16:creationId xmlns:a16="http://schemas.microsoft.com/office/drawing/2014/main" id="{D608AE62-84CB-4996-80B3-21AF3496AA14}"/>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5"/>
          </p:nvPr>
        </p:nvSpPr>
        <p:spPr/>
        <p:txBody>
          <a:bodyPr/>
          <a:lstStyle/>
          <a:p>
            <a:r>
              <a:rPr lang="de-DE"/>
              <a:t>DEG-Unternehmenspräsentation</a:t>
            </a:r>
          </a:p>
        </p:txBody>
      </p:sp>
      <p:sp>
        <p:nvSpPr>
          <p:cNvPr id="10" name="Textplatzhalter 8">
            <a:extLst>
              <a:ext uri="{FF2B5EF4-FFF2-40B4-BE49-F238E27FC236}">
                <a16:creationId xmlns:a16="http://schemas.microsoft.com/office/drawing/2014/main" id="{C8667513-964F-4F78-A439-2824559A4357}"/>
              </a:ext>
            </a:extLst>
          </p:cNvPr>
          <p:cNvSpPr>
            <a:spLocks noGrp="1"/>
          </p:cNvSpPr>
          <p:nvPr>
            <p:ph type="body" sz="quarter" idx="16"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Tree>
    <p:extLst>
      <p:ext uri="{BB962C8B-B14F-4D97-AF65-F5344CB8AC3E}">
        <p14:creationId xmlns:p14="http://schemas.microsoft.com/office/powerpoint/2010/main" val="244762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DC2D0EC3-A95E-4954-92ED-7BCE700AFDD0}"/>
              </a:ext>
            </a:extLst>
          </p:cNvPr>
          <p:cNvSpPr>
            <a:spLocks noGrp="1"/>
          </p:cNvSpPr>
          <p:nvPr>
            <p:ph type="body" sz="quarter" idx="13"/>
          </p:nvPr>
        </p:nvSpPr>
        <p:spPr bwMode="gray">
          <a:xfrm>
            <a:off x="344488" y="1368000"/>
            <a:ext cx="9217026" cy="4977238"/>
          </a:xfrm>
        </p:spPr>
        <p:txBody>
          <a:bodyPr/>
          <a:lstStyle>
            <a:lvl1pPr marL="266700" indent="-266700">
              <a:spcBef>
                <a:spcPts val="0"/>
              </a:spcBef>
              <a:buSzPct val="100000"/>
              <a:buFont typeface="+mj-lt"/>
              <a:buAutoNum type="arabicPeriod"/>
              <a:defRPr sz="2000">
                <a:solidFill>
                  <a:schemeClr val="accent1"/>
                </a:solidFill>
              </a:defRPr>
            </a:lvl1pPr>
            <a:lvl2pPr marL="563563" indent="-296863">
              <a:spcBef>
                <a:spcPts val="0"/>
              </a:spcBef>
              <a:buSzPct val="100000"/>
              <a:buFont typeface="+mj-lt"/>
              <a:buAutoNum type="alphaLcParenR"/>
              <a:defRPr sz="2000">
                <a:solidFill>
                  <a:schemeClr val="accent1"/>
                </a:solidFill>
              </a:defRPr>
            </a:lvl2pPr>
            <a:lvl3pPr marL="987425" indent="-266700">
              <a:spcBef>
                <a:spcPts val="0"/>
              </a:spcBef>
              <a:defRPr sz="2000">
                <a:solidFill>
                  <a:schemeClr val="accent1"/>
                </a:solidFill>
              </a:defRPr>
            </a:lvl3pPr>
            <a:lvl4pPr marL="1344613" indent="-266700">
              <a:spcBef>
                <a:spcPts val="0"/>
              </a:spcBef>
              <a:defRPr sz="2000">
                <a:solidFill>
                  <a:schemeClr val="accent1"/>
                </a:solidFill>
              </a:defRPr>
            </a:lvl4pPr>
            <a:lvl5pPr marL="1703388" indent="-269875">
              <a:spcBef>
                <a:spcPts val="0"/>
              </a:spcBef>
              <a:defRPr sz="2000">
                <a:solidFill>
                  <a:schemeClr val="accent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Textplatzhalter 8">
            <a:extLst>
              <a:ext uri="{FF2B5EF4-FFF2-40B4-BE49-F238E27FC236}">
                <a16:creationId xmlns:a16="http://schemas.microsoft.com/office/drawing/2014/main" id="{D608AE62-84CB-4996-80B3-21AF3496AA14}"/>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7" name="Fußzeilenplatzhalter 6"/>
          <p:cNvSpPr>
            <a:spLocks noGrp="1"/>
          </p:cNvSpPr>
          <p:nvPr>
            <p:ph type="ftr" sz="quarter" idx="16"/>
          </p:nvPr>
        </p:nvSpPr>
        <p:spPr/>
        <p:txBody>
          <a:bodyPr/>
          <a:lstStyle/>
          <a:p>
            <a:r>
              <a:rPr lang="de-DE"/>
              <a:t>DEG-Unternehmenspräsentation</a:t>
            </a:r>
          </a:p>
        </p:txBody>
      </p:sp>
      <p:sp>
        <p:nvSpPr>
          <p:cNvPr id="10" name="Foliennummernplatzhalter 9"/>
          <p:cNvSpPr>
            <a:spLocks noGrp="1"/>
          </p:cNvSpPr>
          <p:nvPr>
            <p:ph type="sldNum" sz="quarter" idx="17"/>
          </p:nvPr>
        </p:nvSpPr>
        <p:spPr/>
        <p:txBody>
          <a:bodyPr/>
          <a:lstStyle/>
          <a:p>
            <a:fld id="{5678FFC5-4430-43BC-9807-D0C6EB405569}" type="slidenum">
              <a:rPr lang="de-DE" smtClean="0"/>
              <a:pPr/>
              <a:t>‹#›</a:t>
            </a:fld>
            <a:endParaRPr lang="de-DE" dirty="0"/>
          </a:p>
        </p:txBody>
      </p:sp>
      <p:sp>
        <p:nvSpPr>
          <p:cNvPr id="11" name="Textplatzhalter 8">
            <a:extLst>
              <a:ext uri="{FF2B5EF4-FFF2-40B4-BE49-F238E27FC236}">
                <a16:creationId xmlns:a16="http://schemas.microsoft.com/office/drawing/2014/main" id="{C8667513-964F-4F78-A439-2824559A4357}"/>
              </a:ext>
            </a:extLst>
          </p:cNvPr>
          <p:cNvSpPr>
            <a:spLocks noGrp="1"/>
          </p:cNvSpPr>
          <p:nvPr>
            <p:ph type="body" sz="quarter" idx="18"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pic>
        <p:nvPicPr>
          <p:cNvPr id="12" name="Grafik 11"/>
          <p:cNvPicPr>
            <a:picLocks noChangeAspect="1"/>
          </p:cNvPicPr>
          <p:nvPr userDrawn="1"/>
        </p:nvPicPr>
        <p:blipFill>
          <a:blip r:embed="rId2"/>
          <a:stretch>
            <a:fillRect/>
          </a:stretch>
        </p:blipFill>
        <p:spPr>
          <a:xfrm>
            <a:off x="8121352" y="6390945"/>
            <a:ext cx="1019028" cy="467055"/>
          </a:xfrm>
          <a:prstGeom prst="rect">
            <a:avLst/>
          </a:prstGeom>
        </p:spPr>
      </p:pic>
      <p:sp>
        <p:nvSpPr>
          <p:cNvPr id="13" name="Rechteck 12"/>
          <p:cNvSpPr/>
          <p:nvPr userDrawn="1"/>
        </p:nvSpPr>
        <p:spPr>
          <a:xfrm>
            <a:off x="8615881" y="6661420"/>
            <a:ext cx="432048"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10896145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1 Inhal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1" name="Textplatzhalter 10">
            <a:extLst>
              <a:ext uri="{FF2B5EF4-FFF2-40B4-BE49-F238E27FC236}">
                <a16:creationId xmlns:a16="http://schemas.microsoft.com/office/drawing/2014/main" id="{82B579BD-3C39-45EA-9C3E-D015E233DF95}"/>
              </a:ext>
            </a:extLst>
          </p:cNvPr>
          <p:cNvSpPr>
            <a:spLocks noGrp="1"/>
          </p:cNvSpPr>
          <p:nvPr>
            <p:ph type="body" sz="quarter" idx="15"/>
          </p:nvPr>
        </p:nvSpPr>
        <p:spPr>
          <a:xfrm>
            <a:off x="344487" y="1368000"/>
            <a:ext cx="9217026" cy="4977238"/>
          </a:xfrm>
        </p:spPr>
        <p:txBody>
          <a:body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endParaRPr lang="de-DE" dirty="0"/>
          </a:p>
        </p:txBody>
      </p:sp>
      <p:sp>
        <p:nvSpPr>
          <p:cNvPr id="3" name="Fußzeilenplatzhalter 2"/>
          <p:cNvSpPr>
            <a:spLocks noGrp="1"/>
          </p:cNvSpPr>
          <p:nvPr>
            <p:ph type="ftr" sz="quarter" idx="16"/>
          </p:nvPr>
        </p:nvSpPr>
        <p:spPr/>
        <p:txBody>
          <a:bodyPr/>
          <a:lstStyle/>
          <a:p>
            <a:r>
              <a:rPr lang="de-DE"/>
              <a:t>DEG-Unternehmenspräsentation</a:t>
            </a:r>
          </a:p>
        </p:txBody>
      </p:sp>
    </p:spTree>
    <p:extLst>
      <p:ext uri="{BB962C8B-B14F-4D97-AF65-F5344CB8AC3E}">
        <p14:creationId xmlns:p14="http://schemas.microsoft.com/office/powerpoint/2010/main" val="18520202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1 Inhalt (mit Hintergrun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4EB99B99-3E1F-4962-A07D-43E58545C978}"/>
              </a:ext>
            </a:extLst>
          </p:cNvPr>
          <p:cNvSpPr>
            <a:spLocks noGrp="1"/>
          </p:cNvSpPr>
          <p:nvPr>
            <p:ph type="body" sz="quarter" idx="15"/>
          </p:nvPr>
        </p:nvSpPr>
        <p:spPr>
          <a:xfrm>
            <a:off x="344487" y="1412875"/>
            <a:ext cx="9228771" cy="4786212"/>
          </a:xfrm>
          <a:solidFill>
            <a:schemeClr val="tx2"/>
          </a:solidFill>
        </p:spPr>
        <p:txBody>
          <a:bodyPr lIns="144000" tIns="108000" rIns="144000" bIns="108000"/>
          <a:lstStyle/>
          <a:p>
            <a:pPr lvl="0"/>
            <a:r>
              <a:rPr lang="de-DE"/>
              <a:t>Mastertextformat bearbeiten
Zweite Ebene
Dritte Ebene
Vierte Ebene
Fünfte Ebene</a:t>
            </a:r>
            <a:endParaRPr lang="de-DE" dirty="0"/>
          </a:p>
        </p:txBody>
      </p:sp>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40520"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6"/>
          </p:nvPr>
        </p:nvSpPr>
        <p:spPr/>
        <p:txBody>
          <a:bodyPr/>
          <a:lstStyle/>
          <a:p>
            <a:r>
              <a:rPr lang="de-DE"/>
              <a:t>DEG-Unternehmenspräsentation</a:t>
            </a:r>
          </a:p>
        </p:txBody>
      </p:sp>
    </p:spTree>
    <p:extLst>
      <p:ext uri="{BB962C8B-B14F-4D97-AF65-F5344CB8AC3E}">
        <p14:creationId xmlns:p14="http://schemas.microsoft.com/office/powerpoint/2010/main" val="24111226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2 Inhalte">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8" y="1368000"/>
            <a:ext cx="4500562" cy="4977238"/>
          </a:xfrm>
        </p:spPr>
        <p:txBody>
          <a:bodyPr/>
          <a:lstStyle/>
          <a:p>
            <a:pPr lvl="0"/>
            <a:r>
              <a:rPr lang="de-DE"/>
              <a:t>Mastertextformat bearbeiten
Zweite Ebene
Dritte Ebene
Vierte Ebene
Fünfte Ebene</a:t>
            </a:r>
            <a:endParaRPr lang="de-DE" dirty="0"/>
          </a:p>
        </p:txBody>
      </p:sp>
      <p:sp>
        <p:nvSpPr>
          <p:cNvPr id="13" name="Textplatzhalter 10">
            <a:extLst>
              <a:ext uri="{FF2B5EF4-FFF2-40B4-BE49-F238E27FC236}">
                <a16:creationId xmlns:a16="http://schemas.microsoft.com/office/drawing/2014/main" id="{3CB7310F-5B72-4494-BE21-FB64CA65AA93}"/>
              </a:ext>
            </a:extLst>
          </p:cNvPr>
          <p:cNvSpPr>
            <a:spLocks noGrp="1"/>
          </p:cNvSpPr>
          <p:nvPr>
            <p:ph type="body" sz="quarter" idx="16"/>
          </p:nvPr>
        </p:nvSpPr>
        <p:spPr>
          <a:xfrm>
            <a:off x="5060951" y="1368000"/>
            <a:ext cx="4500562" cy="4977238"/>
          </a:xfrm>
        </p:spPr>
        <p:txBody>
          <a:bodyPr/>
          <a:lstStyle/>
          <a:p>
            <a:pPr lvl="0"/>
            <a:r>
              <a:rPr lang="de-DE"/>
              <a:t>Mastertextformat bearbeiten
Zweite Ebene
Dritte Ebene
Vierte Ebene
Fünfte Ebene</a:t>
            </a:r>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34187070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Inhalt und Bild (recht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5060950" y="1412875"/>
            <a:ext cx="4500563" cy="4787900"/>
          </a:xfrm>
          <a:noFill/>
        </p:spPr>
        <p:txBody>
          <a:bodyPr anchor="ctr"/>
          <a:lstStyle>
            <a:lvl1pPr marL="0" indent="0" algn="ctr">
              <a:buNone/>
              <a:defRPr/>
            </a:lvl1pPr>
          </a:lstStyle>
          <a:p>
            <a:r>
              <a:rPr lang="de-DE" dirty="0"/>
              <a:t>Bild durch Klicken auf Symbol hinzufügen</a:t>
            </a:r>
          </a:p>
        </p:txBody>
      </p:sp>
      <p:sp>
        <p:nvSpPr>
          <p:cNvPr id="14" name="Textplatzhalter 8">
            <a:extLst>
              <a:ext uri="{FF2B5EF4-FFF2-40B4-BE49-F238E27FC236}">
                <a16:creationId xmlns:a16="http://schemas.microsoft.com/office/drawing/2014/main" id="{0AE7C685-1059-44DB-9E3C-01DA0DF18146}"/>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95AAB774-8EA4-4509-9EF3-010341A93110}"/>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10">
            <a:extLst>
              <a:ext uri="{FF2B5EF4-FFF2-40B4-BE49-F238E27FC236}">
                <a16:creationId xmlns:a16="http://schemas.microsoft.com/office/drawing/2014/main" id="{20B50DE5-E236-4AA1-BAAF-8151E8C184A5}"/>
              </a:ext>
            </a:extLst>
          </p:cNvPr>
          <p:cNvSpPr>
            <a:spLocks noGrp="1"/>
          </p:cNvSpPr>
          <p:nvPr>
            <p:ph type="body" sz="quarter" idx="16"/>
          </p:nvPr>
        </p:nvSpPr>
        <p:spPr>
          <a:xfrm>
            <a:off x="344487" y="1368000"/>
            <a:ext cx="4500563" cy="4977238"/>
          </a:xfrm>
        </p:spPr>
        <p:txBody>
          <a:body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19511393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Inhalt und Bild (link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344487" y="1412875"/>
            <a:ext cx="4500563" cy="4787900"/>
          </a:xfrm>
          <a:noFill/>
        </p:spPr>
        <p:txBody>
          <a:bodyPr anchor="ctr"/>
          <a:lstStyle>
            <a:lvl1pPr marL="0" indent="0" algn="ctr">
              <a:buNone/>
              <a:defRPr/>
            </a:lvl1pPr>
          </a:lstStyle>
          <a:p>
            <a:r>
              <a:rPr lang="de-DE" dirty="0"/>
              <a:t>Bild durch Klicken auf Symbol hinzufügen</a:t>
            </a:r>
          </a:p>
        </p:txBody>
      </p:sp>
      <p:sp>
        <p:nvSpPr>
          <p:cNvPr id="10" name="Textplatzhalter 8">
            <a:extLst>
              <a:ext uri="{FF2B5EF4-FFF2-40B4-BE49-F238E27FC236}">
                <a16:creationId xmlns:a16="http://schemas.microsoft.com/office/drawing/2014/main" id="{30277B03-85B4-4F3B-A030-8A1FED7499E9}"/>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1D1C562-D211-4469-8BCE-F4C9C4C9EE38}"/>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3" name="Textplatzhalter 10">
            <a:extLst>
              <a:ext uri="{FF2B5EF4-FFF2-40B4-BE49-F238E27FC236}">
                <a16:creationId xmlns:a16="http://schemas.microsoft.com/office/drawing/2014/main" id="{63CAAA68-A509-4AFC-977E-960A985302B7}"/>
              </a:ext>
            </a:extLst>
          </p:cNvPr>
          <p:cNvSpPr>
            <a:spLocks noGrp="1"/>
          </p:cNvSpPr>
          <p:nvPr>
            <p:ph type="body" sz="quarter" idx="16"/>
          </p:nvPr>
        </p:nvSpPr>
        <p:spPr>
          <a:xfrm>
            <a:off x="5064422" y="1368000"/>
            <a:ext cx="4497091" cy="4977238"/>
          </a:xfrm>
        </p:spPr>
        <p:txBody>
          <a:bodyPr/>
          <a:lstStyle/>
          <a:p>
            <a:pPr lvl="0"/>
            <a:r>
              <a:rPr lang="de-DE"/>
              <a:t>Mastertextformat bearbeiten
Zweite Ebene
Dritte Ebene
Vierte Ebene
Fünfte Ebene</a:t>
            </a:r>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2100481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1 Bild">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9217026" cy="4787900"/>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5B096DF3-A6A1-4877-8F5B-1521D6B8B4E1}"/>
              </a:ext>
            </a:extLst>
          </p:cNvPr>
          <p:cNvSpPr>
            <a:spLocks noGrp="1"/>
          </p:cNvSpPr>
          <p:nvPr>
            <p:ph type="dt" sz="half" idx="14"/>
          </p:nvPr>
        </p:nvSpPr>
        <p:spPr bwMode="gray"/>
        <p:txBody>
          <a:bodyPr/>
          <a:lstStyle/>
          <a:p>
            <a:endParaRPr lang="de-DE" dirty="0"/>
          </a:p>
        </p:txBody>
      </p:sp>
      <p:sp>
        <p:nvSpPr>
          <p:cNvPr id="7" name="Foliennummernplatzhalter 6">
            <a:extLst>
              <a:ext uri="{FF2B5EF4-FFF2-40B4-BE49-F238E27FC236}">
                <a16:creationId xmlns:a16="http://schemas.microsoft.com/office/drawing/2014/main" id="{B54FDB22-37CE-438C-974B-20FF84032BF7}"/>
              </a:ext>
            </a:extLst>
          </p:cNvPr>
          <p:cNvSpPr>
            <a:spLocks noGrp="1"/>
          </p:cNvSpPr>
          <p:nvPr>
            <p:ph type="sldNum" sz="quarter" idx="16"/>
          </p:nvPr>
        </p:nvSpPr>
        <p:spPr bwMode="gray"/>
        <p:txBody>
          <a:bodyPr/>
          <a:lstStyle/>
          <a:p>
            <a:fld id="{5678FFC5-4430-43BC-9807-D0C6EB405569}" type="slidenum">
              <a:rPr lang="de-DE" smtClean="0"/>
              <a:pPr/>
              <a:t>‹#›</a:t>
            </a:fld>
            <a:endParaRPr lang="de-DE" dirty="0"/>
          </a:p>
        </p:txBody>
      </p:sp>
      <p:sp>
        <p:nvSpPr>
          <p:cNvPr id="8" name="Textplatzhalter 8">
            <a:extLst>
              <a:ext uri="{FF2B5EF4-FFF2-40B4-BE49-F238E27FC236}">
                <a16:creationId xmlns:a16="http://schemas.microsoft.com/office/drawing/2014/main" id="{619DCFDF-CFF3-4C8F-8041-6BB6614A15C0}"/>
              </a:ext>
            </a:extLst>
          </p:cNvPr>
          <p:cNvSpPr>
            <a:spLocks noGrp="1"/>
          </p:cNvSpPr>
          <p:nvPr>
            <p:ph type="body" sz="quarter" idx="17" hasCustomPrompt="1"/>
          </p:nvPr>
        </p:nvSpPr>
        <p:spPr>
          <a:xfrm>
            <a:off x="344487" y="6202800"/>
            <a:ext cx="9228771"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27BBA4C-DD0E-48E0-A857-547F8DFE2A8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39328474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2 Bilder">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4497091" cy="4789925"/>
          </a:xfrm>
          <a:noFill/>
        </p:spPr>
        <p:txBody>
          <a:bodyPr anchor="ctr"/>
          <a:lstStyle>
            <a:lvl1pPr marL="0" indent="0" algn="ctr">
              <a:buNone/>
              <a:defRPr/>
            </a:lvl1pPr>
          </a:lstStyle>
          <a:p>
            <a:r>
              <a:rPr lang="de-DE" dirty="0"/>
              <a:t>Bild durch Klicken auf Symbol hinzufügen</a:t>
            </a:r>
          </a:p>
        </p:txBody>
      </p:sp>
      <p:sp>
        <p:nvSpPr>
          <p:cNvPr id="4" name="Bildplatzhalter 8">
            <a:extLst>
              <a:ext uri="{FF2B5EF4-FFF2-40B4-BE49-F238E27FC236}">
                <a16:creationId xmlns:a16="http://schemas.microsoft.com/office/drawing/2014/main" id="{F7895F72-12DE-43C1-A37A-EA75A21EA4A4}"/>
              </a:ext>
            </a:extLst>
          </p:cNvPr>
          <p:cNvSpPr>
            <a:spLocks noGrp="1"/>
          </p:cNvSpPr>
          <p:nvPr>
            <p:ph type="pic" sz="quarter" idx="14"/>
          </p:nvPr>
        </p:nvSpPr>
        <p:spPr bwMode="gray">
          <a:xfrm>
            <a:off x="5064422" y="1412875"/>
            <a:ext cx="4497091" cy="4789925"/>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BFB4171F-EB70-4599-BA3B-B839C7FFDA34}"/>
              </a:ext>
            </a:extLst>
          </p:cNvPr>
          <p:cNvSpPr>
            <a:spLocks noGrp="1"/>
          </p:cNvSpPr>
          <p:nvPr>
            <p:ph type="dt" sz="half" idx="15"/>
          </p:nvPr>
        </p:nvSpPr>
        <p:spPr bwMode="gray"/>
        <p:txBody>
          <a:bodyPr/>
          <a:lstStyle/>
          <a:p>
            <a:endParaRPr lang="de-DE" dirty="0"/>
          </a:p>
        </p:txBody>
      </p:sp>
      <p:sp>
        <p:nvSpPr>
          <p:cNvPr id="8" name="Foliennummernplatzhalter 7">
            <a:extLst>
              <a:ext uri="{FF2B5EF4-FFF2-40B4-BE49-F238E27FC236}">
                <a16:creationId xmlns:a16="http://schemas.microsoft.com/office/drawing/2014/main" id="{DD395116-B4DF-4C65-86EF-D98CA4BA6281}"/>
              </a:ext>
            </a:extLst>
          </p:cNvPr>
          <p:cNvSpPr>
            <a:spLocks noGrp="1"/>
          </p:cNvSpPr>
          <p:nvPr>
            <p:ph type="sldNum" sz="quarter" idx="17"/>
          </p:nvPr>
        </p:nvSpPr>
        <p:spPr bwMode="gray"/>
        <p:txBody>
          <a:bodyPr/>
          <a:lstStyle/>
          <a:p>
            <a:fld id="{5678FFC5-4430-43BC-9807-D0C6EB405569}" type="slidenum">
              <a:rPr lang="de-DE" smtClean="0"/>
              <a:pPr/>
              <a:t>‹#›</a:t>
            </a:fld>
            <a:endParaRPr lang="de-DE" dirty="0"/>
          </a:p>
        </p:txBody>
      </p:sp>
      <p:sp>
        <p:nvSpPr>
          <p:cNvPr id="9" name="Textplatzhalter 8">
            <a:extLst>
              <a:ext uri="{FF2B5EF4-FFF2-40B4-BE49-F238E27FC236}">
                <a16:creationId xmlns:a16="http://schemas.microsoft.com/office/drawing/2014/main" id="{0289CD2F-7262-4377-9CA8-410D53F1AA23}"/>
              </a:ext>
            </a:extLst>
          </p:cNvPr>
          <p:cNvSpPr>
            <a:spLocks noGrp="1"/>
          </p:cNvSpPr>
          <p:nvPr>
            <p:ph type="body" sz="quarter" idx="18"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EBE10CD9-8859-463A-8368-BCE572843408}"/>
              </a:ext>
            </a:extLst>
          </p:cNvPr>
          <p:cNvSpPr>
            <a:spLocks noGrp="1"/>
          </p:cNvSpPr>
          <p:nvPr>
            <p:ph type="body" sz="quarter" idx="19"/>
          </p:nvPr>
        </p:nvSpPr>
        <p:spPr>
          <a:xfrm>
            <a:off x="500402" y="676800"/>
            <a:ext cx="9072858"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5" name="Fußzeilenplatzhalter 4"/>
          <p:cNvSpPr>
            <a:spLocks noGrp="1"/>
          </p:cNvSpPr>
          <p:nvPr>
            <p:ph type="ftr" sz="quarter" idx="20"/>
          </p:nvPr>
        </p:nvSpPr>
        <p:spPr/>
        <p:txBody>
          <a:bodyPr/>
          <a:lstStyle/>
          <a:p>
            <a:r>
              <a:rPr lang="de-DE"/>
              <a:t>DEG-Unternehmenspräsentation</a:t>
            </a:r>
          </a:p>
        </p:txBody>
      </p:sp>
    </p:spTree>
    <p:extLst>
      <p:ext uri="{BB962C8B-B14F-4D97-AF65-F5344CB8AC3E}">
        <p14:creationId xmlns:p14="http://schemas.microsoft.com/office/powerpoint/2010/main" val="10677902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6" name="Textplatzhalter 8">
            <a:extLst>
              <a:ext uri="{FF2B5EF4-FFF2-40B4-BE49-F238E27FC236}">
                <a16:creationId xmlns:a16="http://schemas.microsoft.com/office/drawing/2014/main" id="{C1AD9F2A-0B80-47A0-A099-2BC51A092EA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7" name="Textplatzhalter 8">
            <a:extLst>
              <a:ext uri="{FF2B5EF4-FFF2-40B4-BE49-F238E27FC236}">
                <a16:creationId xmlns:a16="http://schemas.microsoft.com/office/drawing/2014/main" id="{DFAD501C-EF85-4FDB-9C84-740225F3EF15}"/>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5"/>
          </p:nvPr>
        </p:nvSpPr>
        <p:spPr/>
        <p:txBody>
          <a:bodyPr/>
          <a:lstStyle/>
          <a:p>
            <a:r>
              <a:rPr lang="de-DE"/>
              <a:t>DEG-Unternehmenspräsentation</a:t>
            </a:r>
          </a:p>
        </p:txBody>
      </p:sp>
    </p:spTree>
    <p:extLst>
      <p:ext uri="{BB962C8B-B14F-4D97-AF65-F5344CB8AC3E}">
        <p14:creationId xmlns:p14="http://schemas.microsoft.com/office/powerpoint/2010/main" val="11251220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Inhalt und Diagramm (rechts)">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7" y="1368000"/>
            <a:ext cx="4500563" cy="4977238"/>
          </a:xfrm>
        </p:spPr>
        <p:txBody>
          <a:bodyPr/>
          <a:lstStyle/>
          <a:p>
            <a:pPr lvl="0"/>
            <a:r>
              <a:rPr lang="de-DE"/>
              <a:t>Mastertextformat bearbeiten
Zweite Ebene
Dritte Ebene
Vierte Ebene
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5072696" y="1620000"/>
            <a:ext cx="4488817" cy="4582800"/>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5060950" y="1368000"/>
            <a:ext cx="450056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36810183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Inhalt und Diagramm (links)">
    <p:spTree>
      <p:nvGrpSpPr>
        <p:cNvPr id="1" name=""/>
        <p:cNvGrpSpPr/>
        <p:nvPr/>
      </p:nvGrpSpPr>
      <p:grpSpPr>
        <a:xfrm>
          <a:off x="0" y="0"/>
          <a:ext cx="0" cy="0"/>
          <a:chOff x="0" y="0"/>
          <a:chExt cx="0" cy="0"/>
        </a:xfrm>
      </p:grpSpPr>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344487" y="1620000"/>
            <a:ext cx="4500563" cy="4582799"/>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5060950" y="1368000"/>
            <a:ext cx="4500563" cy="4977238"/>
          </a:xfrm>
        </p:spPr>
        <p:txBody>
          <a:bodyPr/>
          <a:lstStyle/>
          <a:p>
            <a:pPr lvl="0"/>
            <a:r>
              <a:rPr lang="de-DE"/>
              <a:t>Mastertextformat bearbeiten
Zweite Ebene
Dritte Ebene
Vierte Ebene
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1322287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1" name="Textplatzhalter 10">
            <a:extLst>
              <a:ext uri="{FF2B5EF4-FFF2-40B4-BE49-F238E27FC236}">
                <a16:creationId xmlns:a16="http://schemas.microsoft.com/office/drawing/2014/main" id="{82B579BD-3C39-45EA-9C3E-D015E233DF95}"/>
              </a:ext>
            </a:extLst>
          </p:cNvPr>
          <p:cNvSpPr>
            <a:spLocks noGrp="1"/>
          </p:cNvSpPr>
          <p:nvPr>
            <p:ph type="body" sz="quarter" idx="15"/>
          </p:nvPr>
        </p:nvSpPr>
        <p:spPr>
          <a:xfrm>
            <a:off x="344487" y="1368000"/>
            <a:ext cx="9217026"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endParaRPr lang="de-DE" dirty="0"/>
          </a:p>
        </p:txBody>
      </p:sp>
      <p:sp>
        <p:nvSpPr>
          <p:cNvPr id="3" name="Fußzeilenplatzhalter 2"/>
          <p:cNvSpPr>
            <a:spLocks noGrp="1"/>
          </p:cNvSpPr>
          <p:nvPr>
            <p:ph type="ftr" sz="quarter" idx="16"/>
          </p:nvPr>
        </p:nvSpPr>
        <p:spPr/>
        <p:txBody>
          <a:bodyPr/>
          <a:lstStyle/>
          <a:p>
            <a:r>
              <a:rPr lang="de-DE"/>
              <a:t>DEG-Unternehmenspräsentation</a:t>
            </a:r>
          </a:p>
        </p:txBody>
      </p:sp>
      <p:pic>
        <p:nvPicPr>
          <p:cNvPr id="5" name="Grafik 4"/>
          <p:cNvPicPr>
            <a:picLocks noChangeAspect="1"/>
          </p:cNvPicPr>
          <p:nvPr userDrawn="1"/>
        </p:nvPicPr>
        <p:blipFill>
          <a:blip r:embed="rId2"/>
          <a:stretch>
            <a:fillRect/>
          </a:stretch>
        </p:blipFill>
        <p:spPr>
          <a:xfrm>
            <a:off x="8121352" y="6390945"/>
            <a:ext cx="1019028" cy="467055"/>
          </a:xfrm>
          <a:prstGeom prst="rect">
            <a:avLst/>
          </a:prstGeom>
        </p:spPr>
      </p:pic>
      <p:sp>
        <p:nvSpPr>
          <p:cNvPr id="7" name="Rechteck 6"/>
          <p:cNvSpPr/>
          <p:nvPr userDrawn="1"/>
        </p:nvSpPr>
        <p:spPr>
          <a:xfrm>
            <a:off x="8615881" y="6661420"/>
            <a:ext cx="432048"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157448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1 Diagramm">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7" y="1620000"/>
            <a:ext cx="9217025" cy="4580775"/>
          </a:xfrm>
        </p:spPr>
        <p:txBody>
          <a:bodyPr anchor="ctr"/>
          <a:lstStyle>
            <a:lvl1pPr marL="0" indent="0" algn="ctr">
              <a:buNone/>
              <a:defRPr/>
            </a:lvl1pPr>
          </a:lstStyle>
          <a:p>
            <a:r>
              <a:rPr lang="de-DE" dirty="0"/>
              <a:t>Diagramm durch Klicken auf Symbol hinzufügen</a:t>
            </a:r>
          </a:p>
        </p:txBody>
      </p:sp>
      <p:sp>
        <p:nvSpPr>
          <p:cNvPr id="10" name="Textplatzhalter 8">
            <a:extLst>
              <a:ext uri="{FF2B5EF4-FFF2-40B4-BE49-F238E27FC236}">
                <a16:creationId xmlns:a16="http://schemas.microsoft.com/office/drawing/2014/main" id="{D4A89282-8B33-45B9-8BD4-5C1BE0F60C9C}"/>
              </a:ext>
            </a:extLst>
          </p:cNvPr>
          <p:cNvSpPr>
            <a:spLocks noGrp="1"/>
          </p:cNvSpPr>
          <p:nvPr>
            <p:ph type="body" sz="quarter" idx="13" hasCustomPrompt="1"/>
          </p:nvPr>
        </p:nvSpPr>
        <p:spPr>
          <a:xfrm>
            <a:off x="344488"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7D97AADF-437A-4900-B8E7-081F5D878D9E}"/>
              </a:ext>
            </a:extLst>
          </p:cNvPr>
          <p:cNvSpPr>
            <a:spLocks noGrp="1"/>
          </p:cNvSpPr>
          <p:nvPr>
            <p:ph type="body" sz="quarter" idx="16"/>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6">
            <a:extLst>
              <a:ext uri="{FF2B5EF4-FFF2-40B4-BE49-F238E27FC236}">
                <a16:creationId xmlns:a16="http://schemas.microsoft.com/office/drawing/2014/main" id="{A5DEAF36-B708-449D-BF50-903D616031A9}"/>
              </a:ext>
            </a:extLst>
          </p:cNvPr>
          <p:cNvSpPr>
            <a:spLocks noGrp="1"/>
          </p:cNvSpPr>
          <p:nvPr>
            <p:ph type="body" sz="quarter" idx="17" hasCustomPrompt="1"/>
          </p:nvPr>
        </p:nvSpPr>
        <p:spPr>
          <a:xfrm>
            <a:off x="344488" y="1368000"/>
            <a:ext cx="9217025"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8"/>
          </p:nvPr>
        </p:nvSpPr>
        <p:spPr/>
        <p:txBody>
          <a:bodyPr/>
          <a:lstStyle/>
          <a:p>
            <a:r>
              <a:rPr lang="de-DE"/>
              <a:t>DEG-Unternehmenspräsentation</a:t>
            </a:r>
          </a:p>
        </p:txBody>
      </p:sp>
    </p:spTree>
    <p:extLst>
      <p:ext uri="{BB962C8B-B14F-4D97-AF65-F5344CB8AC3E}">
        <p14:creationId xmlns:p14="http://schemas.microsoft.com/office/powerpoint/2010/main" val="25123994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8" y="1620000"/>
            <a:ext cx="4500562" cy="45807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1" y="1620000"/>
            <a:ext cx="4500562" cy="4580775"/>
          </a:xfrm>
        </p:spPr>
        <p:txBody>
          <a:bodyPr anchor="ctr"/>
          <a:lstStyle>
            <a:lvl1pPr marL="0" indent="0" algn="ctr">
              <a:buNone/>
              <a:defRPr/>
            </a:lvl1pPr>
          </a:lstStyle>
          <a:p>
            <a:r>
              <a:rPr lang="de-DE" dirty="0"/>
              <a:t>Diagramm durch Klicken auf Symbol hinzufügen</a:t>
            </a:r>
          </a:p>
        </p:txBody>
      </p:sp>
      <p:sp>
        <p:nvSpPr>
          <p:cNvPr id="14" name="Textplatzhalter 8">
            <a:extLst>
              <a:ext uri="{FF2B5EF4-FFF2-40B4-BE49-F238E27FC236}">
                <a16:creationId xmlns:a16="http://schemas.microsoft.com/office/drawing/2014/main" id="{1EA0F3E1-D742-4DA0-B74B-A037A9673EB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556C389-B714-47EE-9D21-BE82CC21CF9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6">
            <a:extLst>
              <a:ext uri="{FF2B5EF4-FFF2-40B4-BE49-F238E27FC236}">
                <a16:creationId xmlns:a16="http://schemas.microsoft.com/office/drawing/2014/main" id="{68B61E78-AF51-4675-BACD-74BC50875F0F}"/>
              </a:ext>
            </a:extLst>
          </p:cNvPr>
          <p:cNvSpPr>
            <a:spLocks noGrp="1"/>
          </p:cNvSpPr>
          <p:nvPr>
            <p:ph type="body" sz="quarter" idx="19"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D9AED4B9-F4C2-48D8-A92C-2F82B5C38BC8}"/>
              </a:ext>
            </a:extLst>
          </p:cNvPr>
          <p:cNvSpPr>
            <a:spLocks noGrp="1"/>
          </p:cNvSpPr>
          <p:nvPr>
            <p:ph type="body" sz="quarter" idx="20" hasCustomPrompt="1"/>
          </p:nvPr>
        </p:nvSpPr>
        <p:spPr>
          <a:xfrm>
            <a:off x="5060951"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7954195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4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52764" y="1620000"/>
            <a:ext cx="4492286" cy="20968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2" y="1620000"/>
            <a:ext cx="4500561" cy="2096875"/>
          </a:xfrm>
        </p:spPr>
        <p:txBody>
          <a:bodyPr anchor="ctr"/>
          <a:lstStyle>
            <a:lvl1pPr marL="0" indent="0" algn="ctr">
              <a:buNone/>
              <a:defRPr/>
            </a:lvl1pPr>
          </a:lstStyle>
          <a:p>
            <a:r>
              <a:rPr lang="de-DE" dirty="0"/>
              <a:t>Diagramm durch Klicken auf Symbol hinzufügen</a:t>
            </a:r>
          </a:p>
        </p:txBody>
      </p:sp>
      <p:sp>
        <p:nvSpPr>
          <p:cNvPr id="17" name="Diagrammplatzhalter 8">
            <a:extLst>
              <a:ext uri="{FF2B5EF4-FFF2-40B4-BE49-F238E27FC236}">
                <a16:creationId xmlns:a16="http://schemas.microsoft.com/office/drawing/2014/main" id="{E6EBF416-55D6-4AA1-A000-4EA1500328C5}"/>
              </a:ext>
            </a:extLst>
          </p:cNvPr>
          <p:cNvSpPr>
            <a:spLocks noGrp="1"/>
          </p:cNvSpPr>
          <p:nvPr>
            <p:ph type="chart" sz="quarter" idx="19"/>
          </p:nvPr>
        </p:nvSpPr>
        <p:spPr bwMode="gray">
          <a:xfrm>
            <a:off x="352764" y="4166861"/>
            <a:ext cx="4492286" cy="2033913"/>
          </a:xfrm>
        </p:spPr>
        <p:txBody>
          <a:bodyPr anchor="ctr"/>
          <a:lstStyle>
            <a:lvl1pPr marL="0" indent="0" algn="ctr">
              <a:buNone/>
              <a:defRPr/>
            </a:lvl1pPr>
          </a:lstStyle>
          <a:p>
            <a:r>
              <a:rPr lang="de-DE" dirty="0"/>
              <a:t>Diagramm durch Klicken auf Symbol hinzufügen</a:t>
            </a:r>
          </a:p>
        </p:txBody>
      </p:sp>
      <p:sp>
        <p:nvSpPr>
          <p:cNvPr id="19" name="Diagrammplatzhalter 8">
            <a:extLst>
              <a:ext uri="{FF2B5EF4-FFF2-40B4-BE49-F238E27FC236}">
                <a16:creationId xmlns:a16="http://schemas.microsoft.com/office/drawing/2014/main" id="{2D9E13FC-C3BE-4880-95FF-E8F557742CCD}"/>
              </a:ext>
            </a:extLst>
          </p:cNvPr>
          <p:cNvSpPr>
            <a:spLocks noGrp="1"/>
          </p:cNvSpPr>
          <p:nvPr>
            <p:ph type="chart" sz="quarter" idx="21"/>
          </p:nvPr>
        </p:nvSpPr>
        <p:spPr bwMode="gray">
          <a:xfrm>
            <a:off x="5060950" y="4166861"/>
            <a:ext cx="4508837" cy="2033913"/>
          </a:xfrm>
        </p:spPr>
        <p:txBody>
          <a:bodyPr anchor="ctr"/>
          <a:lstStyle>
            <a:lvl1pPr marL="0" indent="0" algn="ctr">
              <a:buNone/>
              <a:defRPr/>
            </a:lvl1pPr>
          </a:lstStyle>
          <a:p>
            <a:r>
              <a:rPr lang="de-DE" dirty="0"/>
              <a:t>Diagramm durch Klicken auf Symbol hinzufügen</a:t>
            </a:r>
          </a:p>
        </p:txBody>
      </p:sp>
      <p:sp>
        <p:nvSpPr>
          <p:cNvPr id="21" name="Textplatzhalter 8">
            <a:extLst>
              <a:ext uri="{FF2B5EF4-FFF2-40B4-BE49-F238E27FC236}">
                <a16:creationId xmlns:a16="http://schemas.microsoft.com/office/drawing/2014/main" id="{049BA0BF-C18F-4DB1-B409-7AA3355CE0BC}"/>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5" name="Textplatzhalter 8">
            <a:extLst>
              <a:ext uri="{FF2B5EF4-FFF2-40B4-BE49-F238E27FC236}">
                <a16:creationId xmlns:a16="http://schemas.microsoft.com/office/drawing/2014/main" id="{CD6655E5-0992-40D0-8FA0-9157664AC066}"/>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6">
            <a:extLst>
              <a:ext uri="{FF2B5EF4-FFF2-40B4-BE49-F238E27FC236}">
                <a16:creationId xmlns:a16="http://schemas.microsoft.com/office/drawing/2014/main" id="{ECDAC40F-D27B-49C7-98F7-75AAB5B8872D}"/>
              </a:ext>
            </a:extLst>
          </p:cNvPr>
          <p:cNvSpPr>
            <a:spLocks noGrp="1"/>
          </p:cNvSpPr>
          <p:nvPr>
            <p:ph type="body" sz="quarter" idx="23"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2C277437-7B64-4A17-B527-9BA8E9CDD6C2}"/>
              </a:ext>
            </a:extLst>
          </p:cNvPr>
          <p:cNvSpPr>
            <a:spLocks noGrp="1"/>
          </p:cNvSpPr>
          <p:nvPr>
            <p:ph type="body" sz="quarter" idx="18" hasCustomPrompt="1"/>
          </p:nvPr>
        </p:nvSpPr>
        <p:spPr>
          <a:xfrm>
            <a:off x="5060930" y="1368000"/>
            <a:ext cx="450058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4" name="Textplatzhalter 6">
            <a:extLst>
              <a:ext uri="{FF2B5EF4-FFF2-40B4-BE49-F238E27FC236}">
                <a16:creationId xmlns:a16="http://schemas.microsoft.com/office/drawing/2014/main" id="{402B411A-C88C-430C-A64D-2CC4DCC73750}"/>
              </a:ext>
            </a:extLst>
          </p:cNvPr>
          <p:cNvSpPr>
            <a:spLocks noGrp="1"/>
          </p:cNvSpPr>
          <p:nvPr>
            <p:ph type="body" sz="quarter" idx="24" hasCustomPrompt="1"/>
          </p:nvPr>
        </p:nvSpPr>
        <p:spPr>
          <a:xfrm>
            <a:off x="344488" y="3912837"/>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6" name="Textplatzhalter 6">
            <a:extLst>
              <a:ext uri="{FF2B5EF4-FFF2-40B4-BE49-F238E27FC236}">
                <a16:creationId xmlns:a16="http://schemas.microsoft.com/office/drawing/2014/main" id="{D2237C74-3717-4FC6-BB89-754621C3D4D5}"/>
              </a:ext>
            </a:extLst>
          </p:cNvPr>
          <p:cNvSpPr>
            <a:spLocks noGrp="1"/>
          </p:cNvSpPr>
          <p:nvPr>
            <p:ph type="body" sz="quarter" idx="25" hasCustomPrompt="1"/>
          </p:nvPr>
        </p:nvSpPr>
        <p:spPr>
          <a:xfrm>
            <a:off x="5069227" y="3912837"/>
            <a:ext cx="4500560"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6"/>
          </p:nvPr>
        </p:nvSpPr>
        <p:spPr/>
        <p:txBody>
          <a:bodyPr/>
          <a:lstStyle/>
          <a:p>
            <a:r>
              <a:rPr lang="de-DE"/>
              <a:t>DEG-Unternehmenspräsentation</a:t>
            </a:r>
          </a:p>
        </p:txBody>
      </p:sp>
    </p:spTree>
    <p:extLst>
      <p:ext uri="{BB962C8B-B14F-4D97-AF65-F5344CB8AC3E}">
        <p14:creationId xmlns:p14="http://schemas.microsoft.com/office/powerpoint/2010/main" val="1141031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7"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8" y="1846676"/>
            <a:ext cx="4500562" cy="4356124"/>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6"/>
            <a:ext cx="4500563" cy="4356124"/>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41291300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3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2930400" cy="435409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6631112"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6631112" y="1846675"/>
            <a:ext cx="2930400" cy="435409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3" name="Textplatzhalter 11">
            <a:extLst>
              <a:ext uri="{FF2B5EF4-FFF2-40B4-BE49-F238E27FC236}">
                <a16:creationId xmlns:a16="http://schemas.microsoft.com/office/drawing/2014/main" id="{10AD9F27-6901-4908-874B-42E964215658}"/>
              </a:ext>
            </a:extLst>
          </p:cNvPr>
          <p:cNvSpPr>
            <a:spLocks noGrp="1"/>
          </p:cNvSpPr>
          <p:nvPr>
            <p:ph type="body" sz="quarter" idx="18"/>
          </p:nvPr>
        </p:nvSpPr>
        <p:spPr bwMode="gray">
          <a:xfrm>
            <a:off x="3487801"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4" name="Textplatzhalter 14">
            <a:extLst>
              <a:ext uri="{FF2B5EF4-FFF2-40B4-BE49-F238E27FC236}">
                <a16:creationId xmlns:a16="http://schemas.microsoft.com/office/drawing/2014/main" id="{05FBB124-C4A9-42B4-9A81-C861B74F84D6}"/>
              </a:ext>
            </a:extLst>
          </p:cNvPr>
          <p:cNvSpPr>
            <a:spLocks noGrp="1"/>
          </p:cNvSpPr>
          <p:nvPr>
            <p:ph type="body" sz="quarter" idx="19"/>
          </p:nvPr>
        </p:nvSpPr>
        <p:spPr>
          <a:xfrm>
            <a:off x="3487801" y="1846675"/>
            <a:ext cx="2930400" cy="435409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8" name="Textplatzhalter 8">
            <a:extLst>
              <a:ext uri="{FF2B5EF4-FFF2-40B4-BE49-F238E27FC236}">
                <a16:creationId xmlns:a16="http://schemas.microsoft.com/office/drawing/2014/main" id="{E359570D-9F33-45EF-BD5B-914B9D7D1201}"/>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9" name="Textplatzhalter 8">
            <a:extLst>
              <a:ext uri="{FF2B5EF4-FFF2-40B4-BE49-F238E27FC236}">
                <a16:creationId xmlns:a16="http://schemas.microsoft.com/office/drawing/2014/main" id="{A6F5B586-8F75-475C-984D-1DAA5C3AC167}"/>
              </a:ext>
            </a:extLst>
          </p:cNvPr>
          <p:cNvSpPr>
            <a:spLocks noGrp="1"/>
          </p:cNvSpPr>
          <p:nvPr>
            <p:ph type="body" sz="quarter" idx="20"/>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1789851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4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4500561" cy="187357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5"/>
            <a:ext cx="4500561" cy="187357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0" name="Textplatzhalter 8">
            <a:extLst>
              <a:ext uri="{FF2B5EF4-FFF2-40B4-BE49-F238E27FC236}">
                <a16:creationId xmlns:a16="http://schemas.microsoft.com/office/drawing/2014/main" id="{0AC01A1E-6BAF-4C91-BB04-8E2B9F69F269}"/>
              </a:ext>
            </a:extLst>
          </p:cNvPr>
          <p:cNvSpPr>
            <a:spLocks noGrp="1"/>
          </p:cNvSpPr>
          <p:nvPr>
            <p:ph type="body" sz="quarter" idx="13" hasCustomPrompt="1"/>
          </p:nvPr>
        </p:nvSpPr>
        <p:spPr>
          <a:xfrm>
            <a:off x="344489" y="6202800"/>
            <a:ext cx="9217022"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8" name="Textplatzhalter 11">
            <a:extLst>
              <a:ext uri="{FF2B5EF4-FFF2-40B4-BE49-F238E27FC236}">
                <a16:creationId xmlns:a16="http://schemas.microsoft.com/office/drawing/2014/main" id="{C6245A26-34FE-4E41-AD20-0A9373AD5777}"/>
              </a:ext>
            </a:extLst>
          </p:cNvPr>
          <p:cNvSpPr>
            <a:spLocks noGrp="1"/>
          </p:cNvSpPr>
          <p:nvPr>
            <p:ph type="body" sz="quarter" idx="18"/>
          </p:nvPr>
        </p:nvSpPr>
        <p:spPr bwMode="gray">
          <a:xfrm>
            <a:off x="344489"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9" name="Textplatzhalter 14">
            <a:extLst>
              <a:ext uri="{FF2B5EF4-FFF2-40B4-BE49-F238E27FC236}">
                <a16:creationId xmlns:a16="http://schemas.microsoft.com/office/drawing/2014/main" id="{0195286A-1085-48E9-8CE3-B3865EA1F97D}"/>
              </a:ext>
            </a:extLst>
          </p:cNvPr>
          <p:cNvSpPr>
            <a:spLocks noGrp="1"/>
          </p:cNvSpPr>
          <p:nvPr>
            <p:ph type="body" sz="quarter" idx="19"/>
          </p:nvPr>
        </p:nvSpPr>
        <p:spPr>
          <a:xfrm>
            <a:off x="344489" y="4339258"/>
            <a:ext cx="4500562" cy="1863542"/>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20" name="Textplatzhalter 11">
            <a:extLst>
              <a:ext uri="{FF2B5EF4-FFF2-40B4-BE49-F238E27FC236}">
                <a16:creationId xmlns:a16="http://schemas.microsoft.com/office/drawing/2014/main" id="{B532B0FE-57F7-4670-B9D2-7ADB2B6487AD}"/>
              </a:ext>
            </a:extLst>
          </p:cNvPr>
          <p:cNvSpPr>
            <a:spLocks noGrp="1"/>
          </p:cNvSpPr>
          <p:nvPr>
            <p:ph type="body" sz="quarter" idx="20"/>
          </p:nvPr>
        </p:nvSpPr>
        <p:spPr bwMode="gray">
          <a:xfrm>
            <a:off x="5060950"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21" name="Textplatzhalter 14">
            <a:extLst>
              <a:ext uri="{FF2B5EF4-FFF2-40B4-BE49-F238E27FC236}">
                <a16:creationId xmlns:a16="http://schemas.microsoft.com/office/drawing/2014/main" id="{1B9710D1-7B7B-4F60-8727-4E59EED11288}"/>
              </a:ext>
            </a:extLst>
          </p:cNvPr>
          <p:cNvSpPr>
            <a:spLocks noGrp="1"/>
          </p:cNvSpPr>
          <p:nvPr>
            <p:ph type="body" sz="quarter" idx="21"/>
          </p:nvPr>
        </p:nvSpPr>
        <p:spPr>
          <a:xfrm>
            <a:off x="5060950" y="4339258"/>
            <a:ext cx="4500561" cy="1863542"/>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22" name="Textplatzhalter 8">
            <a:extLst>
              <a:ext uri="{FF2B5EF4-FFF2-40B4-BE49-F238E27FC236}">
                <a16:creationId xmlns:a16="http://schemas.microsoft.com/office/drawing/2014/main" id="{4C3C337B-20B9-4837-87BA-C498361AE6F3}"/>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3"/>
          </p:nvPr>
        </p:nvSpPr>
        <p:spPr/>
        <p:txBody>
          <a:bodyPr/>
          <a:lstStyle/>
          <a:p>
            <a:r>
              <a:rPr lang="de-DE"/>
              <a:t>DEG-Unternehmenspräsentation</a:t>
            </a:r>
          </a:p>
        </p:txBody>
      </p:sp>
    </p:spTree>
    <p:extLst>
      <p:ext uri="{BB962C8B-B14F-4D97-AF65-F5344CB8AC3E}">
        <p14:creationId xmlns:p14="http://schemas.microsoft.com/office/powerpoint/2010/main" val="9446341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Kapiteltrenner Petrol">
    <p:bg>
      <p:bgPr>
        <a:solidFill>
          <a:schemeClr val="tx2"/>
        </a:solidFill>
        <a:effectLst/>
      </p:bgPr>
    </p:bg>
    <p:spTree>
      <p:nvGrpSpPr>
        <p:cNvPr id="1" name=""/>
        <p:cNvGrpSpPr/>
        <p:nvPr/>
      </p:nvGrpSpPr>
      <p:grpSpPr>
        <a:xfrm>
          <a:off x="0" y="0"/>
          <a:ext cx="0" cy="0"/>
          <a:chOff x="0" y="0"/>
          <a:chExt cx="0" cy="0"/>
        </a:xfrm>
      </p:grpSpPr>
      <p:sp>
        <p:nvSpPr>
          <p:cNvPr id="11" name="Rechteck: eine Ecke abgerundet 10">
            <a:extLst>
              <a:ext uri="{FF2B5EF4-FFF2-40B4-BE49-F238E27FC236}">
                <a16:creationId xmlns:a16="http://schemas.microsoft.com/office/drawing/2014/main" id="{0A31C95E-D3C1-4E7F-B4CA-03A1005C6F50}"/>
              </a:ext>
            </a:extLst>
          </p:cNvPr>
          <p:cNvSpPr/>
          <p:nvPr userDrawn="1"/>
        </p:nvSpPr>
        <p:spPr bwMode="gray">
          <a:xfrm flipH="1" flipV="1">
            <a:off x="344487" y="-1"/>
            <a:ext cx="9561508" cy="5509885"/>
          </a:xfrm>
          <a:prstGeom prst="round1Rect">
            <a:avLst>
              <a:gd name="adj" fmla="val 40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3" name="Datumsplatzhalter 2">
            <a:extLst>
              <a:ext uri="{FF2B5EF4-FFF2-40B4-BE49-F238E27FC236}">
                <a16:creationId xmlns:a16="http://schemas.microsoft.com/office/drawing/2014/main" id="{BF6420A1-454E-4CC1-89C2-13A57CD515F5}"/>
              </a:ext>
            </a:extLst>
          </p:cNvPr>
          <p:cNvSpPr>
            <a:spLocks noGrp="1"/>
          </p:cNvSpPr>
          <p:nvPr>
            <p:ph type="dt" sz="half" idx="15"/>
          </p:nvPr>
        </p:nvSpPr>
        <p:spPr/>
        <p:txBody>
          <a:bodyPr/>
          <a:lstStyle/>
          <a:p>
            <a:endParaRPr lang="de-DE" dirty="0"/>
          </a:p>
        </p:txBody>
      </p:sp>
      <p:sp>
        <p:nvSpPr>
          <p:cNvPr id="8" name="Foliennummernplatzhalter 7">
            <a:extLst>
              <a:ext uri="{FF2B5EF4-FFF2-40B4-BE49-F238E27FC236}">
                <a16:creationId xmlns:a16="http://schemas.microsoft.com/office/drawing/2014/main" id="{FB5867FD-8242-430F-9D72-8ACD911B18E1}"/>
              </a:ext>
            </a:extLst>
          </p:cNvPr>
          <p:cNvSpPr>
            <a:spLocks noGrp="1"/>
          </p:cNvSpPr>
          <p:nvPr>
            <p:ph type="sldNum" sz="quarter" idx="17"/>
          </p:nvPr>
        </p:nvSpPr>
        <p:spPr/>
        <p:txBody>
          <a:bodyPr/>
          <a:lstStyle/>
          <a:p>
            <a:fld id="{5678FFC5-4430-43BC-9807-D0C6EB405569}" type="slidenum">
              <a:rPr lang="de-DE" smtClean="0"/>
              <a:pPr/>
              <a:t>‹#›</a:t>
            </a:fld>
            <a:endParaRPr lang="de-DE" dirty="0"/>
          </a:p>
        </p:txBody>
      </p:sp>
      <p:sp>
        <p:nvSpPr>
          <p:cNvPr id="5" name="Textplatzhalter 4">
            <a:extLst>
              <a:ext uri="{FF2B5EF4-FFF2-40B4-BE49-F238E27FC236}">
                <a16:creationId xmlns:a16="http://schemas.microsoft.com/office/drawing/2014/main" id="{D400E007-964F-4EE0-9E50-24A2ABA74D5F}"/>
              </a:ext>
            </a:extLst>
          </p:cNvPr>
          <p:cNvSpPr>
            <a:spLocks noGrp="1"/>
          </p:cNvSpPr>
          <p:nvPr>
            <p:ph type="body" sz="quarter" idx="18" hasCustomPrompt="1"/>
          </p:nvPr>
        </p:nvSpPr>
        <p:spPr>
          <a:xfrm>
            <a:off x="1087200" y="2366824"/>
            <a:ext cx="8474313"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1844824"/>
            <a:ext cx="8474313" cy="522000"/>
          </a:xfrm>
        </p:spPr>
        <p:txBody>
          <a:bodyPr wrap="square" anchor="t" anchorCtr="0"/>
          <a:lstStyle>
            <a:lvl1pPr marL="0" indent="625475" algn="l">
              <a:lnSpc>
                <a:spcPct val="90000"/>
              </a:lnSpc>
              <a:defRPr sz="3800">
                <a:solidFill>
                  <a:schemeClr val="bg1"/>
                </a:solidFill>
              </a:defRPr>
            </a:lvl1pPr>
          </a:lstStyle>
          <a:p>
            <a:r>
              <a:rPr lang="de-DE"/>
              <a:t>Mastertitelformat bearbeiten</a:t>
            </a:r>
            <a:endParaRPr lang="de-DE" dirty="0"/>
          </a:p>
        </p:txBody>
      </p:sp>
      <p:grpSp>
        <p:nvGrpSpPr>
          <p:cNvPr id="12" name="Gruppieren 11">
            <a:extLst>
              <a:ext uri="{FF2B5EF4-FFF2-40B4-BE49-F238E27FC236}">
                <a16:creationId xmlns:a16="http://schemas.microsoft.com/office/drawing/2014/main" id="{AF487632-F404-49EF-9520-2B0426697E4E}"/>
              </a:ext>
            </a:extLst>
          </p:cNvPr>
          <p:cNvGrpSpPr>
            <a:grpSpLocks noChangeAspect="1"/>
          </p:cNvGrpSpPr>
          <p:nvPr userDrawn="1"/>
        </p:nvGrpSpPr>
        <p:grpSpPr bwMode="gray">
          <a:xfrm>
            <a:off x="893190" y="1862824"/>
            <a:ext cx="676800" cy="422930"/>
            <a:chOff x="1273175" y="1606550"/>
            <a:chExt cx="9653588" cy="6032500"/>
          </a:xfrm>
          <a:solidFill>
            <a:schemeClr val="accent2"/>
          </a:solidFill>
        </p:grpSpPr>
        <p:sp>
          <p:nvSpPr>
            <p:cNvPr id="13" name="Freeform 5">
              <a:extLst>
                <a:ext uri="{FF2B5EF4-FFF2-40B4-BE49-F238E27FC236}">
                  <a16:creationId xmlns:a16="http://schemas.microsoft.com/office/drawing/2014/main" id="{599B52AB-3882-4CD9-AFAB-BB5C70BB7FFE}"/>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4" name="Freeform 6">
              <a:extLst>
                <a:ext uri="{FF2B5EF4-FFF2-40B4-BE49-F238E27FC236}">
                  <a16:creationId xmlns:a16="http://schemas.microsoft.com/office/drawing/2014/main" id="{6237E8FF-20C2-4987-97B7-015EF878D937}"/>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5" name="Freeform 7">
              <a:extLst>
                <a:ext uri="{FF2B5EF4-FFF2-40B4-BE49-F238E27FC236}">
                  <a16:creationId xmlns:a16="http://schemas.microsoft.com/office/drawing/2014/main" id="{5EB7FE9D-01D4-43AA-B83B-C75AE7738B4D}"/>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13196759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Kapiteltrenner Hellgrau">
    <p:spTree>
      <p:nvGrpSpPr>
        <p:cNvPr id="1" name=""/>
        <p:cNvGrpSpPr/>
        <p:nvPr/>
      </p:nvGrpSpPr>
      <p:grpSpPr>
        <a:xfrm>
          <a:off x="0" y="0"/>
          <a:ext cx="0" cy="0"/>
          <a:chOff x="0" y="0"/>
          <a:chExt cx="0" cy="0"/>
        </a:xfrm>
      </p:grpSpPr>
      <p:sp>
        <p:nvSpPr>
          <p:cNvPr id="9" name="Rechteck: eine Ecke abgerundet 8">
            <a:extLst>
              <a:ext uri="{FF2B5EF4-FFF2-40B4-BE49-F238E27FC236}">
                <a16:creationId xmlns:a16="http://schemas.microsoft.com/office/drawing/2014/main" id="{80FDB814-7EFA-40B8-9B60-E7AC68CE6F5C}"/>
              </a:ext>
            </a:extLst>
          </p:cNvPr>
          <p:cNvSpPr/>
          <p:nvPr userDrawn="1"/>
        </p:nvSpPr>
        <p:spPr bwMode="gray">
          <a:xfrm flipH="1" flipV="1">
            <a:off x="344487" y="-1"/>
            <a:ext cx="9561508" cy="5509885"/>
          </a:xfrm>
          <a:prstGeom prst="round1Rect">
            <a:avLst>
              <a:gd name="adj" fmla="val 409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16" name="Textplatzhalter 4">
            <a:extLst>
              <a:ext uri="{FF2B5EF4-FFF2-40B4-BE49-F238E27FC236}">
                <a16:creationId xmlns:a16="http://schemas.microsoft.com/office/drawing/2014/main" id="{ADC41EAD-8DDB-431C-A06C-735E9985631A}"/>
              </a:ext>
            </a:extLst>
          </p:cNvPr>
          <p:cNvSpPr>
            <a:spLocks noGrp="1"/>
          </p:cNvSpPr>
          <p:nvPr>
            <p:ph type="body" sz="quarter" idx="18" hasCustomPrompt="1"/>
          </p:nvPr>
        </p:nvSpPr>
        <p:spPr>
          <a:xfrm>
            <a:off x="1087200" y="2660400"/>
            <a:ext cx="8569297"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2138400"/>
            <a:ext cx="8569296" cy="522000"/>
          </a:xfrm>
        </p:spPr>
        <p:txBody>
          <a:bodyPr wrap="square" anchor="t" anchorCtr="0"/>
          <a:lstStyle>
            <a:lvl1pPr marL="0" indent="625475" algn="l">
              <a:lnSpc>
                <a:spcPct val="90000"/>
              </a:lnSpc>
              <a:defRPr sz="3800">
                <a:solidFill>
                  <a:schemeClr val="accent1"/>
                </a:solidFill>
              </a:defRPr>
            </a:lvl1pPr>
          </a:lstStyle>
          <a:p>
            <a:r>
              <a:rPr lang="de-DE"/>
              <a:t>Mastertitelformat bearbeiten</a:t>
            </a:r>
            <a:endParaRPr lang="de-DE" dirty="0"/>
          </a:p>
        </p:txBody>
      </p:sp>
      <p:grpSp>
        <p:nvGrpSpPr>
          <p:cNvPr id="15" name="Gruppieren 14">
            <a:extLst>
              <a:ext uri="{FF2B5EF4-FFF2-40B4-BE49-F238E27FC236}">
                <a16:creationId xmlns:a16="http://schemas.microsoft.com/office/drawing/2014/main" id="{AB0EEDED-F272-46FA-912B-E7BC94BF74D3}"/>
              </a:ext>
            </a:extLst>
          </p:cNvPr>
          <p:cNvGrpSpPr>
            <a:grpSpLocks noChangeAspect="1"/>
          </p:cNvGrpSpPr>
          <p:nvPr userDrawn="1"/>
        </p:nvGrpSpPr>
        <p:grpSpPr bwMode="gray">
          <a:xfrm>
            <a:off x="893190" y="2156400"/>
            <a:ext cx="676800" cy="422930"/>
            <a:chOff x="1273175" y="1606550"/>
            <a:chExt cx="9653588" cy="6032500"/>
          </a:xfrm>
          <a:solidFill>
            <a:schemeClr val="accent2"/>
          </a:solidFill>
        </p:grpSpPr>
        <p:sp>
          <p:nvSpPr>
            <p:cNvPr id="17" name="Freeform 5">
              <a:extLst>
                <a:ext uri="{FF2B5EF4-FFF2-40B4-BE49-F238E27FC236}">
                  <a16:creationId xmlns:a16="http://schemas.microsoft.com/office/drawing/2014/main" id="{C8DF6415-7603-4698-B7CE-825585DEE38B}"/>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8" name="Freeform 6">
              <a:extLst>
                <a:ext uri="{FF2B5EF4-FFF2-40B4-BE49-F238E27FC236}">
                  <a16:creationId xmlns:a16="http://schemas.microsoft.com/office/drawing/2014/main" id="{AE713B85-5D84-4DA1-9E89-5A18A847AEA5}"/>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9" name="Freeform 7">
              <a:extLst>
                <a:ext uri="{FF2B5EF4-FFF2-40B4-BE49-F238E27FC236}">
                  <a16:creationId xmlns:a16="http://schemas.microsoft.com/office/drawing/2014/main" id="{E7B4847F-5170-4F69-AD64-24959E1B3376}"/>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5" name="Datumsplatzhalter 4"/>
          <p:cNvSpPr>
            <a:spLocks noGrp="1"/>
          </p:cNvSpPr>
          <p:nvPr>
            <p:ph type="dt" sz="half" idx="19"/>
          </p:nvPr>
        </p:nvSpPr>
        <p:spPr/>
        <p:txBody>
          <a:bodyPr/>
          <a:lstStyle/>
          <a:p>
            <a:endParaRPr lang="de-DE" dirty="0"/>
          </a:p>
        </p:txBody>
      </p:sp>
      <p:sp>
        <p:nvSpPr>
          <p:cNvPr id="6" name="Fußzeilenplatzhalter 5"/>
          <p:cNvSpPr>
            <a:spLocks noGrp="1"/>
          </p:cNvSpPr>
          <p:nvPr>
            <p:ph type="ftr" sz="quarter" idx="20"/>
          </p:nvPr>
        </p:nvSpPr>
        <p:spPr/>
        <p:txBody>
          <a:bodyPr/>
          <a:lstStyle/>
          <a:p>
            <a:r>
              <a:rPr lang="de-DE"/>
              <a:t>DEG-Unternehmenspräsentation</a:t>
            </a:r>
          </a:p>
        </p:txBody>
      </p:sp>
      <p:sp>
        <p:nvSpPr>
          <p:cNvPr id="7" name="Foliennummernplatzhalter 6"/>
          <p:cNvSpPr>
            <a:spLocks noGrp="1"/>
          </p:cNvSpPr>
          <p:nvPr>
            <p:ph type="sldNum" sz="quarter" idx="21"/>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30957083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672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a:xfrm>
            <a:off x="9512994" y="6561376"/>
            <a:ext cx="336550" cy="252000"/>
          </a:xfrm>
        </p:spPr>
        <p:txBody>
          <a:bodyPr/>
          <a:lstStyle>
            <a:lvl1pPr>
              <a:defRPr sz="1000">
                <a:solidFill>
                  <a:schemeClr val="accent5"/>
                </a:solidFill>
              </a:defRPr>
            </a:lvl1pPr>
          </a:lstStyle>
          <a:p>
            <a:fld id="{5678FFC5-4430-43BC-9807-D0C6EB405569}" type="slidenum">
              <a:rPr lang="de-DE" smtClean="0"/>
              <a:pPr/>
              <a:t>‹#›</a:t>
            </a:fld>
            <a:endParaRPr lang="de-DE"/>
          </a:p>
        </p:txBody>
      </p:sp>
      <p:sp>
        <p:nvSpPr>
          <p:cNvPr id="7" name="Textplatzhalter 8">
            <a:extLst>
              <a:ext uri="{FF2B5EF4-FFF2-40B4-BE49-F238E27FC236}">
                <a16:creationId xmlns:a16="http://schemas.microsoft.com/office/drawing/2014/main" id="{DFAD501C-EF85-4FDB-9C84-740225F3EF15}"/>
              </a:ext>
            </a:extLst>
          </p:cNvPr>
          <p:cNvSpPr>
            <a:spLocks noGrp="1"/>
          </p:cNvSpPr>
          <p:nvPr>
            <p:ph type="body" sz="quarter" idx="14"/>
          </p:nvPr>
        </p:nvSpPr>
        <p:spPr>
          <a:xfrm>
            <a:off x="462049" y="770096"/>
            <a:ext cx="9111211" cy="378356"/>
          </a:xfrm>
        </p:spPr>
        <p:txBody>
          <a:bodyPr/>
          <a:lstStyle>
            <a:lvl1pPr marL="0" indent="0">
              <a:lnSpc>
                <a:spcPct val="95000"/>
              </a:lnSpc>
              <a:spcBef>
                <a:spcPts val="0"/>
              </a:spcBef>
              <a:buNone/>
              <a:defRPr sz="1662">
                <a:solidFill>
                  <a:schemeClr val="accent3"/>
                </a:solidFill>
              </a:defRPr>
            </a:lvl1pPr>
          </a:lstStyle>
          <a:p>
            <a:pPr lvl="0"/>
            <a:r>
              <a:rPr lang="en-US"/>
              <a:t>Edit Master text styles</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en-US"/>
              <a:t>Click to edit Master title style</a:t>
            </a:r>
            <a:endParaRPr lang="de-DE"/>
          </a:p>
        </p:txBody>
      </p:sp>
      <p:sp>
        <p:nvSpPr>
          <p:cNvPr id="4" name="Fußzeilenplatzhalter 3"/>
          <p:cNvSpPr>
            <a:spLocks noGrp="1"/>
          </p:cNvSpPr>
          <p:nvPr>
            <p:ph type="ftr" sz="quarter" idx="15"/>
          </p:nvPr>
        </p:nvSpPr>
        <p:spPr/>
        <p:txBody>
          <a:bodyPr/>
          <a:lstStyle/>
          <a:p>
            <a:r>
              <a:rPr lang="de-DE"/>
              <a:t>DEG-Unternehmenspräsentation</a:t>
            </a:r>
            <a:endParaRPr lang="de-DE" dirty="0"/>
          </a:p>
        </p:txBody>
      </p:sp>
      <p:sp>
        <p:nvSpPr>
          <p:cNvPr id="8" name="Textplatzhalter 4"/>
          <p:cNvSpPr>
            <a:spLocks noGrp="1"/>
          </p:cNvSpPr>
          <p:nvPr>
            <p:ph type="body" sz="quarter" idx="19" hasCustomPrompt="1"/>
          </p:nvPr>
        </p:nvSpPr>
        <p:spPr>
          <a:xfrm>
            <a:off x="332741" y="6179805"/>
            <a:ext cx="9240518" cy="164187"/>
          </a:xfrm>
        </p:spPr>
        <p:txBody>
          <a:bodyPr/>
          <a:lstStyle>
            <a:lvl1pPr marL="0" indent="0">
              <a:buFontTx/>
              <a:buNone/>
              <a:defRPr sz="739" baseline="0"/>
            </a:lvl1pPr>
            <a:lvl2pPr marL="168578" indent="0">
              <a:buFontTx/>
              <a:buNone/>
              <a:defRPr sz="739" baseline="0"/>
            </a:lvl2pPr>
            <a:lvl3pPr marL="331293" indent="0">
              <a:buFontTx/>
              <a:buNone/>
              <a:defRPr sz="739" baseline="0"/>
            </a:lvl3pPr>
            <a:lvl4pPr marL="499872" indent="0">
              <a:buFontTx/>
              <a:buNone/>
              <a:defRPr sz="739" baseline="0"/>
            </a:lvl4pPr>
            <a:lvl5pPr marL="661119" indent="0">
              <a:buFontTx/>
              <a:buNone/>
              <a:defRPr sz="739" baseline="0"/>
            </a:lvl5pPr>
          </a:lstStyle>
          <a:p>
            <a:pPr lvl="0"/>
            <a:r>
              <a:rPr lang="de-DE" dirty="0"/>
              <a:t>Quelle, Anmerkung, Fußnote</a:t>
            </a:r>
          </a:p>
        </p:txBody>
      </p:sp>
      <p:pic>
        <p:nvPicPr>
          <p:cNvPr id="9" name="Grafik 8"/>
          <p:cNvPicPr>
            <a:picLocks noChangeAspect="1"/>
          </p:cNvPicPr>
          <p:nvPr userDrawn="1"/>
        </p:nvPicPr>
        <p:blipFill>
          <a:blip r:embed="rId2"/>
          <a:stretch>
            <a:fillRect/>
          </a:stretch>
        </p:blipFill>
        <p:spPr>
          <a:xfrm>
            <a:off x="8121352" y="6390945"/>
            <a:ext cx="1019028" cy="467055"/>
          </a:xfrm>
          <a:prstGeom prst="rect">
            <a:avLst/>
          </a:prstGeom>
        </p:spPr>
      </p:pic>
      <p:sp>
        <p:nvSpPr>
          <p:cNvPr id="10" name="Rechteck 9"/>
          <p:cNvSpPr/>
          <p:nvPr userDrawn="1"/>
        </p:nvSpPr>
        <p:spPr>
          <a:xfrm>
            <a:off x="8615881" y="6661420"/>
            <a:ext cx="432048"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4171028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Inhalt (mit Hintergrun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4EB99B99-3E1F-4962-A07D-43E58545C978}"/>
              </a:ext>
            </a:extLst>
          </p:cNvPr>
          <p:cNvSpPr>
            <a:spLocks noGrp="1"/>
          </p:cNvSpPr>
          <p:nvPr>
            <p:ph type="body" sz="quarter" idx="15"/>
          </p:nvPr>
        </p:nvSpPr>
        <p:spPr>
          <a:xfrm>
            <a:off x="344487" y="1412875"/>
            <a:ext cx="9228771" cy="4786212"/>
          </a:xfrm>
          <a:solidFill>
            <a:schemeClr val="tx2"/>
          </a:solidFill>
        </p:spPr>
        <p:txBody>
          <a:bodyPr lIns="144000" tIns="108000" rIns="144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40520"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6"/>
          </p:nvPr>
        </p:nvSpPr>
        <p:spPr/>
        <p:txBody>
          <a:bodyPr/>
          <a:lstStyle/>
          <a:p>
            <a:r>
              <a:rPr lang="de-DE"/>
              <a:t>DEG-Unternehmenspräsentation</a:t>
            </a:r>
          </a:p>
        </p:txBody>
      </p:sp>
    </p:spTree>
    <p:extLst>
      <p:ext uri="{BB962C8B-B14F-4D97-AF65-F5344CB8AC3E}">
        <p14:creationId xmlns:p14="http://schemas.microsoft.com/office/powerpoint/2010/main" val="10126610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11" name="Grafik 4">
            <a:extLst>
              <a:ext uri="{FF2B5EF4-FFF2-40B4-BE49-F238E27FC236}">
                <a16:creationId xmlns:a16="http://schemas.microsoft.com/office/drawing/2014/main" id="{C4C2C7E3-40C7-402B-893E-71C9F484A1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44" y="0"/>
            <a:ext cx="9904056" cy="6858000"/>
          </a:xfrm>
          <a:prstGeom prst="rect">
            <a:avLst/>
          </a:prstGeom>
        </p:spPr>
      </p:pic>
      <p:pic>
        <p:nvPicPr>
          <p:cNvPr id="13" name="Grafik 4">
            <a:extLst>
              <a:ext uri="{FF2B5EF4-FFF2-40B4-BE49-F238E27FC236}">
                <a16:creationId xmlns:a16="http://schemas.microsoft.com/office/drawing/2014/main" id="{C4C2C7E3-40C7-402B-893E-71C9F484A1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44" y="3411"/>
            <a:ext cx="9904056" cy="6858000"/>
          </a:xfrm>
          <a:prstGeom prst="rect">
            <a:avLst/>
          </a:prstGeom>
        </p:spPr>
      </p:pic>
      <p:sp>
        <p:nvSpPr>
          <p:cNvPr id="14" name="Freihandform 20">
            <a:extLst>
              <a:ext uri="{FF2B5EF4-FFF2-40B4-BE49-F238E27FC236}">
                <a16:creationId xmlns:a16="http://schemas.microsoft.com/office/drawing/2014/main" id="{1A900AE6-AB8B-47DC-9025-5992CFC12528}"/>
              </a:ext>
            </a:extLst>
          </p:cNvPr>
          <p:cNvSpPr/>
          <p:nvPr userDrawn="1"/>
        </p:nvSpPr>
        <p:spPr>
          <a:xfrm>
            <a:off x="2903537" y="3384699"/>
            <a:ext cx="7002463" cy="3473302"/>
          </a:xfrm>
          <a:custGeom>
            <a:avLst/>
            <a:gdLst>
              <a:gd name="connsiteX0" fmla="*/ 194526 w 7009089"/>
              <a:gd name="connsiteY0" fmla="*/ 0 h 3489877"/>
              <a:gd name="connsiteX1" fmla="*/ 7009089 w 7009089"/>
              <a:gd name="connsiteY1" fmla="*/ 0 h 3489877"/>
              <a:gd name="connsiteX2" fmla="*/ 7009089 w 7009089"/>
              <a:gd name="connsiteY2" fmla="*/ 3489877 h 3489877"/>
              <a:gd name="connsiteX3" fmla="*/ 0 w 7009089"/>
              <a:gd name="connsiteY3" fmla="*/ 3489877 h 3489877"/>
              <a:gd name="connsiteX4" fmla="*/ 0 w 7009089"/>
              <a:gd name="connsiteY4" fmla="*/ 194526 h 3489877"/>
              <a:gd name="connsiteX5" fmla="*/ 194526 w 7009089"/>
              <a:gd name="connsiteY5" fmla="*/ 0 h 348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9089" h="3489877">
                <a:moveTo>
                  <a:pt x="194526" y="0"/>
                </a:moveTo>
                <a:lnTo>
                  <a:pt x="7009089" y="0"/>
                </a:lnTo>
                <a:lnTo>
                  <a:pt x="7009089" y="3489877"/>
                </a:lnTo>
                <a:lnTo>
                  <a:pt x="0" y="3489877"/>
                </a:lnTo>
                <a:lnTo>
                  <a:pt x="0" y="194526"/>
                </a:lnTo>
                <a:cubicBezTo>
                  <a:pt x="0" y="87092"/>
                  <a:pt x="87092" y="0"/>
                  <a:pt x="19452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B0753127-A316-4DEA-A243-37CD08025AE0}"/>
              </a:ext>
            </a:extLst>
          </p:cNvPr>
          <p:cNvSpPr>
            <a:spLocks noGrp="1"/>
          </p:cNvSpPr>
          <p:nvPr>
            <p:ph type="ctrTitle"/>
          </p:nvPr>
        </p:nvSpPr>
        <p:spPr bwMode="gray">
          <a:xfrm>
            <a:off x="3408020" y="3678921"/>
            <a:ext cx="6316560" cy="1447430"/>
          </a:xfrm>
        </p:spPr>
        <p:txBody>
          <a:bodyPr anchor="t"/>
          <a:lstStyle>
            <a:lvl1pPr marL="0" indent="447675" algn="l">
              <a:defRPr sz="3000"/>
            </a:lvl1pPr>
          </a:lstStyle>
          <a:p>
            <a:r>
              <a:rPr lang="de-DE"/>
              <a:t>Mastertitelformat bearbeiten</a:t>
            </a:r>
            <a:endParaRPr lang="de-DE" dirty="0"/>
          </a:p>
        </p:txBody>
      </p:sp>
      <p:sp>
        <p:nvSpPr>
          <p:cNvPr id="3" name="Untertitel 2">
            <a:extLst>
              <a:ext uri="{FF2B5EF4-FFF2-40B4-BE49-F238E27FC236}">
                <a16:creationId xmlns:a16="http://schemas.microsoft.com/office/drawing/2014/main" id="{50D01F54-E3E9-4D6D-94DD-FB5979320586}"/>
              </a:ext>
            </a:extLst>
          </p:cNvPr>
          <p:cNvSpPr>
            <a:spLocks noGrp="1"/>
          </p:cNvSpPr>
          <p:nvPr>
            <p:ph type="subTitle" idx="1" hasCustomPrompt="1"/>
          </p:nvPr>
        </p:nvSpPr>
        <p:spPr bwMode="gray">
          <a:xfrm>
            <a:off x="3408019" y="5247063"/>
            <a:ext cx="6316560" cy="623859"/>
          </a:xfrm>
        </p:spPr>
        <p:txBody>
          <a:bodyPr/>
          <a:lstStyle>
            <a:lvl1pPr marL="0" indent="0" algn="l">
              <a:lnSpc>
                <a:spcPct val="11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Abteilung, Name</a:t>
            </a:r>
            <a:br>
              <a:rPr lang="de-DE" dirty="0"/>
            </a:br>
            <a:r>
              <a:rPr lang="de-DE" dirty="0"/>
              <a:t>Ort, XX Monat Jahr</a:t>
            </a:r>
          </a:p>
        </p:txBody>
      </p:sp>
      <p:grpSp>
        <p:nvGrpSpPr>
          <p:cNvPr id="20" name="Gruppieren 19">
            <a:extLst>
              <a:ext uri="{FF2B5EF4-FFF2-40B4-BE49-F238E27FC236}">
                <a16:creationId xmlns:a16="http://schemas.microsoft.com/office/drawing/2014/main" id="{7A8C9341-99E8-40CF-9CE5-28510F054CA7}"/>
              </a:ext>
            </a:extLst>
          </p:cNvPr>
          <p:cNvGrpSpPr/>
          <p:nvPr userDrawn="1"/>
        </p:nvGrpSpPr>
        <p:grpSpPr bwMode="gray">
          <a:xfrm>
            <a:off x="3231158" y="3720795"/>
            <a:ext cx="541108" cy="338136"/>
            <a:chOff x="1273175" y="1606550"/>
            <a:chExt cx="9653588" cy="6032500"/>
          </a:xfrm>
          <a:solidFill>
            <a:schemeClr val="accent2"/>
          </a:solidFill>
        </p:grpSpPr>
        <p:sp>
          <p:nvSpPr>
            <p:cNvPr id="21" name="Freeform 5">
              <a:extLst>
                <a:ext uri="{FF2B5EF4-FFF2-40B4-BE49-F238E27FC236}">
                  <a16:creationId xmlns:a16="http://schemas.microsoft.com/office/drawing/2014/main" id="{D36E4CC9-C077-4A39-9AB5-F5A4180FF250}"/>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2" name="Freeform 6">
              <a:extLst>
                <a:ext uri="{FF2B5EF4-FFF2-40B4-BE49-F238E27FC236}">
                  <a16:creationId xmlns:a16="http://schemas.microsoft.com/office/drawing/2014/main" id="{159FA4CE-3FC6-4245-8567-538E0031F3DE}"/>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3" name="Freeform 7">
              <a:extLst>
                <a:ext uri="{FF2B5EF4-FFF2-40B4-BE49-F238E27FC236}">
                  <a16:creationId xmlns:a16="http://schemas.microsoft.com/office/drawing/2014/main" id="{13D99495-70E2-417E-95CC-2332F288B9D7}"/>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pic>
        <p:nvPicPr>
          <p:cNvPr id="15" name="Grafik 10">
            <a:extLst>
              <a:ext uri="{FF2B5EF4-FFF2-40B4-BE49-F238E27FC236}">
                <a16:creationId xmlns:a16="http://schemas.microsoft.com/office/drawing/2014/main" id="{CB153E4D-F4D0-433D-BACF-2D33641EE2D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7689314" y="6006976"/>
            <a:ext cx="1818695" cy="450527"/>
          </a:xfrm>
          <a:prstGeom prst="rect">
            <a:avLst/>
          </a:prstGeom>
        </p:spPr>
      </p:pic>
    </p:spTree>
    <p:extLst>
      <p:ext uri="{BB962C8B-B14F-4D97-AF65-F5344CB8AC3E}">
        <p14:creationId xmlns:p14="http://schemas.microsoft.com/office/powerpoint/2010/main" val="33955254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DC2D0EC3-A95E-4954-92ED-7BCE700AFDD0}"/>
              </a:ext>
            </a:extLst>
          </p:cNvPr>
          <p:cNvSpPr>
            <a:spLocks noGrp="1"/>
          </p:cNvSpPr>
          <p:nvPr>
            <p:ph type="body" sz="quarter" idx="13"/>
          </p:nvPr>
        </p:nvSpPr>
        <p:spPr bwMode="gray">
          <a:xfrm>
            <a:off x="344488" y="1368000"/>
            <a:ext cx="9217026" cy="4977238"/>
          </a:xfrm>
        </p:spPr>
        <p:txBody>
          <a:bodyPr/>
          <a:lstStyle>
            <a:lvl1pPr marL="266700" indent="-266700">
              <a:spcBef>
                <a:spcPts val="0"/>
              </a:spcBef>
              <a:buSzPct val="100000"/>
              <a:buFont typeface="+mj-lt"/>
              <a:buAutoNum type="arabicPeriod"/>
              <a:defRPr sz="2000">
                <a:solidFill>
                  <a:schemeClr val="accent1"/>
                </a:solidFill>
              </a:defRPr>
            </a:lvl1pPr>
            <a:lvl2pPr marL="563563" indent="-296863">
              <a:spcBef>
                <a:spcPts val="0"/>
              </a:spcBef>
              <a:buSzPct val="100000"/>
              <a:buFont typeface="+mj-lt"/>
              <a:buAutoNum type="alphaLcParenR"/>
              <a:defRPr sz="2000">
                <a:solidFill>
                  <a:schemeClr val="accent1"/>
                </a:solidFill>
              </a:defRPr>
            </a:lvl2pPr>
            <a:lvl3pPr marL="987425" indent="-266700">
              <a:spcBef>
                <a:spcPts val="0"/>
              </a:spcBef>
              <a:defRPr sz="2000">
                <a:solidFill>
                  <a:schemeClr val="accent1"/>
                </a:solidFill>
              </a:defRPr>
            </a:lvl3pPr>
            <a:lvl4pPr marL="1344613" indent="-266700">
              <a:spcBef>
                <a:spcPts val="0"/>
              </a:spcBef>
              <a:defRPr sz="2000">
                <a:solidFill>
                  <a:schemeClr val="accent1"/>
                </a:solidFill>
              </a:defRPr>
            </a:lvl4pPr>
            <a:lvl5pPr marL="1703388" indent="-269875">
              <a:spcBef>
                <a:spcPts val="0"/>
              </a:spcBef>
              <a:defRPr sz="2000">
                <a:solidFill>
                  <a:schemeClr val="accent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Textplatzhalter 8">
            <a:extLst>
              <a:ext uri="{FF2B5EF4-FFF2-40B4-BE49-F238E27FC236}">
                <a16:creationId xmlns:a16="http://schemas.microsoft.com/office/drawing/2014/main" id="{D608AE62-84CB-4996-80B3-21AF3496AA14}"/>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6" name="Datumsplatzhalter 5"/>
          <p:cNvSpPr>
            <a:spLocks noGrp="1"/>
          </p:cNvSpPr>
          <p:nvPr>
            <p:ph type="dt" sz="half" idx="15"/>
          </p:nvPr>
        </p:nvSpPr>
        <p:spPr/>
        <p:txBody>
          <a:bodyPr/>
          <a:lstStyle/>
          <a:p>
            <a:endParaRPr lang="de-DE" dirty="0"/>
          </a:p>
        </p:txBody>
      </p:sp>
      <p:sp>
        <p:nvSpPr>
          <p:cNvPr id="7" name="Fußzeilenplatzhalter 6"/>
          <p:cNvSpPr>
            <a:spLocks noGrp="1"/>
          </p:cNvSpPr>
          <p:nvPr>
            <p:ph type="ftr" sz="quarter" idx="16"/>
          </p:nvPr>
        </p:nvSpPr>
        <p:spPr/>
        <p:txBody>
          <a:bodyPr/>
          <a:lstStyle/>
          <a:p>
            <a:r>
              <a:rPr lang="de-DE"/>
              <a:t>DEG-Unternehmenspräsentation</a:t>
            </a:r>
          </a:p>
        </p:txBody>
      </p:sp>
      <p:sp>
        <p:nvSpPr>
          <p:cNvPr id="10" name="Foliennummernplatzhalter 9"/>
          <p:cNvSpPr>
            <a:spLocks noGrp="1"/>
          </p:cNvSpPr>
          <p:nvPr>
            <p:ph type="sldNum" sz="quarter" idx="17"/>
          </p:nvPr>
        </p:nvSpPr>
        <p:spPr/>
        <p:txBody>
          <a:bodyPr/>
          <a:lstStyle/>
          <a:p>
            <a:fld id="{5678FFC5-4430-43BC-9807-D0C6EB405569}" type="slidenum">
              <a:rPr lang="de-DE" smtClean="0"/>
              <a:pPr/>
              <a:t>‹#›</a:t>
            </a:fld>
            <a:endParaRPr lang="de-DE" dirty="0"/>
          </a:p>
        </p:txBody>
      </p:sp>
      <p:sp>
        <p:nvSpPr>
          <p:cNvPr id="11" name="Textplatzhalter 8">
            <a:extLst>
              <a:ext uri="{FF2B5EF4-FFF2-40B4-BE49-F238E27FC236}">
                <a16:creationId xmlns:a16="http://schemas.microsoft.com/office/drawing/2014/main" id="{C8667513-964F-4F78-A439-2824559A4357}"/>
              </a:ext>
            </a:extLst>
          </p:cNvPr>
          <p:cNvSpPr>
            <a:spLocks noGrp="1"/>
          </p:cNvSpPr>
          <p:nvPr>
            <p:ph type="body" sz="quarter" idx="18"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Tree>
    <p:extLst>
      <p:ext uri="{BB962C8B-B14F-4D97-AF65-F5344CB8AC3E}">
        <p14:creationId xmlns:p14="http://schemas.microsoft.com/office/powerpoint/2010/main" val="11344534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Inhal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1" name="Textplatzhalter 10">
            <a:extLst>
              <a:ext uri="{FF2B5EF4-FFF2-40B4-BE49-F238E27FC236}">
                <a16:creationId xmlns:a16="http://schemas.microsoft.com/office/drawing/2014/main" id="{82B579BD-3C39-45EA-9C3E-D015E233DF95}"/>
              </a:ext>
            </a:extLst>
          </p:cNvPr>
          <p:cNvSpPr>
            <a:spLocks noGrp="1"/>
          </p:cNvSpPr>
          <p:nvPr>
            <p:ph type="body" sz="quarter" idx="15"/>
          </p:nvPr>
        </p:nvSpPr>
        <p:spPr>
          <a:xfrm>
            <a:off x="344487" y="1368000"/>
            <a:ext cx="9217026"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endParaRPr lang="de-DE" dirty="0"/>
          </a:p>
        </p:txBody>
      </p:sp>
      <p:sp>
        <p:nvSpPr>
          <p:cNvPr id="3" name="Fußzeilenplatzhalter 2"/>
          <p:cNvSpPr>
            <a:spLocks noGrp="1"/>
          </p:cNvSpPr>
          <p:nvPr>
            <p:ph type="ftr" sz="quarter" idx="16"/>
          </p:nvPr>
        </p:nvSpPr>
        <p:spPr/>
        <p:txBody>
          <a:bodyPr/>
          <a:lstStyle/>
          <a:p>
            <a:r>
              <a:rPr lang="de-DE"/>
              <a:t>DEG-Unternehmenspräsentation</a:t>
            </a:r>
          </a:p>
        </p:txBody>
      </p:sp>
    </p:spTree>
    <p:extLst>
      <p:ext uri="{BB962C8B-B14F-4D97-AF65-F5344CB8AC3E}">
        <p14:creationId xmlns:p14="http://schemas.microsoft.com/office/powerpoint/2010/main" val="12836788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Inhalt (mit Hintergrun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4EB99B99-3E1F-4962-A07D-43E58545C978}"/>
              </a:ext>
            </a:extLst>
          </p:cNvPr>
          <p:cNvSpPr>
            <a:spLocks noGrp="1"/>
          </p:cNvSpPr>
          <p:nvPr>
            <p:ph type="body" sz="quarter" idx="15"/>
          </p:nvPr>
        </p:nvSpPr>
        <p:spPr>
          <a:xfrm>
            <a:off x="344487" y="1412875"/>
            <a:ext cx="9228771" cy="4786212"/>
          </a:xfrm>
          <a:solidFill>
            <a:schemeClr val="tx2"/>
          </a:solidFill>
        </p:spPr>
        <p:txBody>
          <a:bodyPr lIns="144000" tIns="108000" rIns="144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40520"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6"/>
          </p:nvPr>
        </p:nvSpPr>
        <p:spPr/>
        <p:txBody>
          <a:bodyPr/>
          <a:lstStyle/>
          <a:p>
            <a:r>
              <a:rPr lang="de-DE"/>
              <a:t>DEG-Unternehmenspräsentation</a:t>
            </a:r>
          </a:p>
        </p:txBody>
      </p:sp>
    </p:spTree>
    <p:extLst>
      <p:ext uri="{BB962C8B-B14F-4D97-AF65-F5344CB8AC3E}">
        <p14:creationId xmlns:p14="http://schemas.microsoft.com/office/powerpoint/2010/main" val="22723632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8" y="1368000"/>
            <a:ext cx="4500562"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extplatzhalter 10">
            <a:extLst>
              <a:ext uri="{FF2B5EF4-FFF2-40B4-BE49-F238E27FC236}">
                <a16:creationId xmlns:a16="http://schemas.microsoft.com/office/drawing/2014/main" id="{3CB7310F-5B72-4494-BE21-FB64CA65AA93}"/>
              </a:ext>
            </a:extLst>
          </p:cNvPr>
          <p:cNvSpPr>
            <a:spLocks noGrp="1"/>
          </p:cNvSpPr>
          <p:nvPr>
            <p:ph type="body" sz="quarter" idx="16"/>
          </p:nvPr>
        </p:nvSpPr>
        <p:spPr>
          <a:xfrm>
            <a:off x="5060951" y="1368000"/>
            <a:ext cx="4500562"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35436393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nhalt und Bild (recht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5060950" y="1412875"/>
            <a:ext cx="4500563" cy="4787900"/>
          </a:xfrm>
          <a:noFill/>
        </p:spPr>
        <p:txBody>
          <a:bodyPr anchor="ctr"/>
          <a:lstStyle>
            <a:lvl1pPr marL="0" indent="0" algn="ctr">
              <a:buNone/>
              <a:defRPr/>
            </a:lvl1pPr>
          </a:lstStyle>
          <a:p>
            <a:r>
              <a:rPr lang="de-DE" dirty="0"/>
              <a:t>Bild durch Klicken auf Symbol hinzufügen</a:t>
            </a:r>
          </a:p>
        </p:txBody>
      </p:sp>
      <p:sp>
        <p:nvSpPr>
          <p:cNvPr id="14" name="Textplatzhalter 8">
            <a:extLst>
              <a:ext uri="{FF2B5EF4-FFF2-40B4-BE49-F238E27FC236}">
                <a16:creationId xmlns:a16="http://schemas.microsoft.com/office/drawing/2014/main" id="{0AE7C685-1059-44DB-9E3C-01DA0DF18146}"/>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95AAB774-8EA4-4509-9EF3-010341A93110}"/>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10">
            <a:extLst>
              <a:ext uri="{FF2B5EF4-FFF2-40B4-BE49-F238E27FC236}">
                <a16:creationId xmlns:a16="http://schemas.microsoft.com/office/drawing/2014/main" id="{20B50DE5-E236-4AA1-BAAF-8151E8C184A5}"/>
              </a:ext>
            </a:extLst>
          </p:cNvPr>
          <p:cNvSpPr>
            <a:spLocks noGrp="1"/>
          </p:cNvSpPr>
          <p:nvPr>
            <p:ph type="body" sz="quarter" idx="16"/>
          </p:nvPr>
        </p:nvSpPr>
        <p:spPr>
          <a:xfrm>
            <a:off x="344487" y="1368000"/>
            <a:ext cx="4500563"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35585374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nhalt und Bild (link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344487" y="1412875"/>
            <a:ext cx="4500563" cy="4787900"/>
          </a:xfrm>
          <a:noFill/>
        </p:spPr>
        <p:txBody>
          <a:bodyPr anchor="ctr"/>
          <a:lstStyle>
            <a:lvl1pPr marL="0" indent="0" algn="ctr">
              <a:buNone/>
              <a:defRPr/>
            </a:lvl1pPr>
          </a:lstStyle>
          <a:p>
            <a:r>
              <a:rPr lang="de-DE" dirty="0"/>
              <a:t>Bild durch Klicken auf Symbol hinzufügen</a:t>
            </a:r>
          </a:p>
        </p:txBody>
      </p:sp>
      <p:sp>
        <p:nvSpPr>
          <p:cNvPr id="10" name="Textplatzhalter 8">
            <a:extLst>
              <a:ext uri="{FF2B5EF4-FFF2-40B4-BE49-F238E27FC236}">
                <a16:creationId xmlns:a16="http://schemas.microsoft.com/office/drawing/2014/main" id="{30277B03-85B4-4F3B-A030-8A1FED7499E9}"/>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1D1C562-D211-4469-8BCE-F4C9C4C9EE38}"/>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3" name="Textplatzhalter 10">
            <a:extLst>
              <a:ext uri="{FF2B5EF4-FFF2-40B4-BE49-F238E27FC236}">
                <a16:creationId xmlns:a16="http://schemas.microsoft.com/office/drawing/2014/main" id="{63CAAA68-A509-4AFC-977E-960A985302B7}"/>
              </a:ext>
            </a:extLst>
          </p:cNvPr>
          <p:cNvSpPr>
            <a:spLocks noGrp="1"/>
          </p:cNvSpPr>
          <p:nvPr>
            <p:ph type="body" sz="quarter" idx="16"/>
          </p:nvPr>
        </p:nvSpPr>
        <p:spPr>
          <a:xfrm>
            <a:off x="5064422" y="1368000"/>
            <a:ext cx="4497091"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13698759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Bild">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9217026" cy="4787900"/>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5B096DF3-A6A1-4877-8F5B-1521D6B8B4E1}"/>
              </a:ext>
            </a:extLst>
          </p:cNvPr>
          <p:cNvSpPr>
            <a:spLocks noGrp="1"/>
          </p:cNvSpPr>
          <p:nvPr>
            <p:ph type="dt" sz="half" idx="14"/>
          </p:nvPr>
        </p:nvSpPr>
        <p:spPr bwMode="gray"/>
        <p:txBody>
          <a:bodyPr/>
          <a:lstStyle/>
          <a:p>
            <a:endParaRPr lang="de-DE" dirty="0"/>
          </a:p>
        </p:txBody>
      </p:sp>
      <p:sp>
        <p:nvSpPr>
          <p:cNvPr id="7" name="Foliennummernplatzhalter 6">
            <a:extLst>
              <a:ext uri="{FF2B5EF4-FFF2-40B4-BE49-F238E27FC236}">
                <a16:creationId xmlns:a16="http://schemas.microsoft.com/office/drawing/2014/main" id="{B54FDB22-37CE-438C-974B-20FF84032BF7}"/>
              </a:ext>
            </a:extLst>
          </p:cNvPr>
          <p:cNvSpPr>
            <a:spLocks noGrp="1"/>
          </p:cNvSpPr>
          <p:nvPr>
            <p:ph type="sldNum" sz="quarter" idx="16"/>
          </p:nvPr>
        </p:nvSpPr>
        <p:spPr bwMode="gray"/>
        <p:txBody>
          <a:bodyPr/>
          <a:lstStyle/>
          <a:p>
            <a:fld id="{5678FFC5-4430-43BC-9807-D0C6EB405569}" type="slidenum">
              <a:rPr lang="de-DE" smtClean="0"/>
              <a:pPr/>
              <a:t>‹#›</a:t>
            </a:fld>
            <a:endParaRPr lang="de-DE" dirty="0"/>
          </a:p>
        </p:txBody>
      </p:sp>
      <p:sp>
        <p:nvSpPr>
          <p:cNvPr id="8" name="Textplatzhalter 8">
            <a:extLst>
              <a:ext uri="{FF2B5EF4-FFF2-40B4-BE49-F238E27FC236}">
                <a16:creationId xmlns:a16="http://schemas.microsoft.com/office/drawing/2014/main" id="{619DCFDF-CFF3-4C8F-8041-6BB6614A15C0}"/>
              </a:ext>
            </a:extLst>
          </p:cNvPr>
          <p:cNvSpPr>
            <a:spLocks noGrp="1"/>
          </p:cNvSpPr>
          <p:nvPr>
            <p:ph type="body" sz="quarter" idx="17" hasCustomPrompt="1"/>
          </p:nvPr>
        </p:nvSpPr>
        <p:spPr>
          <a:xfrm>
            <a:off x="344487" y="6202800"/>
            <a:ext cx="9228771"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27BBA4C-DD0E-48E0-A857-547F8DFE2A8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27812109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4497091" cy="4789925"/>
          </a:xfrm>
          <a:noFill/>
        </p:spPr>
        <p:txBody>
          <a:bodyPr anchor="ctr"/>
          <a:lstStyle>
            <a:lvl1pPr marL="0" indent="0" algn="ctr">
              <a:buNone/>
              <a:defRPr/>
            </a:lvl1pPr>
          </a:lstStyle>
          <a:p>
            <a:r>
              <a:rPr lang="de-DE" dirty="0"/>
              <a:t>Bild durch Klicken auf Symbol hinzufügen</a:t>
            </a:r>
          </a:p>
        </p:txBody>
      </p:sp>
      <p:sp>
        <p:nvSpPr>
          <p:cNvPr id="4" name="Bildplatzhalter 8">
            <a:extLst>
              <a:ext uri="{FF2B5EF4-FFF2-40B4-BE49-F238E27FC236}">
                <a16:creationId xmlns:a16="http://schemas.microsoft.com/office/drawing/2014/main" id="{F7895F72-12DE-43C1-A37A-EA75A21EA4A4}"/>
              </a:ext>
            </a:extLst>
          </p:cNvPr>
          <p:cNvSpPr>
            <a:spLocks noGrp="1"/>
          </p:cNvSpPr>
          <p:nvPr>
            <p:ph type="pic" sz="quarter" idx="14"/>
          </p:nvPr>
        </p:nvSpPr>
        <p:spPr bwMode="gray">
          <a:xfrm>
            <a:off x="5064422" y="1412875"/>
            <a:ext cx="4497091" cy="4789925"/>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BFB4171F-EB70-4599-BA3B-B839C7FFDA34}"/>
              </a:ext>
            </a:extLst>
          </p:cNvPr>
          <p:cNvSpPr>
            <a:spLocks noGrp="1"/>
          </p:cNvSpPr>
          <p:nvPr>
            <p:ph type="dt" sz="half" idx="15"/>
          </p:nvPr>
        </p:nvSpPr>
        <p:spPr bwMode="gray"/>
        <p:txBody>
          <a:bodyPr/>
          <a:lstStyle/>
          <a:p>
            <a:endParaRPr lang="de-DE" dirty="0"/>
          </a:p>
        </p:txBody>
      </p:sp>
      <p:sp>
        <p:nvSpPr>
          <p:cNvPr id="8" name="Foliennummernplatzhalter 7">
            <a:extLst>
              <a:ext uri="{FF2B5EF4-FFF2-40B4-BE49-F238E27FC236}">
                <a16:creationId xmlns:a16="http://schemas.microsoft.com/office/drawing/2014/main" id="{DD395116-B4DF-4C65-86EF-D98CA4BA6281}"/>
              </a:ext>
            </a:extLst>
          </p:cNvPr>
          <p:cNvSpPr>
            <a:spLocks noGrp="1"/>
          </p:cNvSpPr>
          <p:nvPr>
            <p:ph type="sldNum" sz="quarter" idx="17"/>
          </p:nvPr>
        </p:nvSpPr>
        <p:spPr bwMode="gray"/>
        <p:txBody>
          <a:bodyPr/>
          <a:lstStyle/>
          <a:p>
            <a:fld id="{5678FFC5-4430-43BC-9807-D0C6EB405569}" type="slidenum">
              <a:rPr lang="de-DE" smtClean="0"/>
              <a:pPr/>
              <a:t>‹#›</a:t>
            </a:fld>
            <a:endParaRPr lang="de-DE" dirty="0"/>
          </a:p>
        </p:txBody>
      </p:sp>
      <p:sp>
        <p:nvSpPr>
          <p:cNvPr id="9" name="Textplatzhalter 8">
            <a:extLst>
              <a:ext uri="{FF2B5EF4-FFF2-40B4-BE49-F238E27FC236}">
                <a16:creationId xmlns:a16="http://schemas.microsoft.com/office/drawing/2014/main" id="{0289CD2F-7262-4377-9CA8-410D53F1AA23}"/>
              </a:ext>
            </a:extLst>
          </p:cNvPr>
          <p:cNvSpPr>
            <a:spLocks noGrp="1"/>
          </p:cNvSpPr>
          <p:nvPr>
            <p:ph type="body" sz="quarter" idx="18"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EBE10CD9-8859-463A-8368-BCE572843408}"/>
              </a:ext>
            </a:extLst>
          </p:cNvPr>
          <p:cNvSpPr>
            <a:spLocks noGrp="1"/>
          </p:cNvSpPr>
          <p:nvPr>
            <p:ph type="body" sz="quarter" idx="19"/>
          </p:nvPr>
        </p:nvSpPr>
        <p:spPr>
          <a:xfrm>
            <a:off x="500402" y="676800"/>
            <a:ext cx="9072858"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5" name="Fußzeilenplatzhalter 4"/>
          <p:cNvSpPr>
            <a:spLocks noGrp="1"/>
          </p:cNvSpPr>
          <p:nvPr>
            <p:ph type="ftr" sz="quarter" idx="20"/>
          </p:nvPr>
        </p:nvSpPr>
        <p:spPr/>
        <p:txBody>
          <a:bodyPr/>
          <a:lstStyle/>
          <a:p>
            <a:r>
              <a:rPr lang="de-DE"/>
              <a:t>DEG-Unternehmenspräsentation</a:t>
            </a:r>
          </a:p>
        </p:txBody>
      </p:sp>
    </p:spTree>
    <p:extLst>
      <p:ext uri="{BB962C8B-B14F-4D97-AF65-F5344CB8AC3E}">
        <p14:creationId xmlns:p14="http://schemas.microsoft.com/office/powerpoint/2010/main" val="24423305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6" name="Textplatzhalter 8">
            <a:extLst>
              <a:ext uri="{FF2B5EF4-FFF2-40B4-BE49-F238E27FC236}">
                <a16:creationId xmlns:a16="http://schemas.microsoft.com/office/drawing/2014/main" id="{C1AD9F2A-0B80-47A0-A099-2BC51A092EA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7" name="Textplatzhalter 8">
            <a:extLst>
              <a:ext uri="{FF2B5EF4-FFF2-40B4-BE49-F238E27FC236}">
                <a16:creationId xmlns:a16="http://schemas.microsoft.com/office/drawing/2014/main" id="{DFAD501C-EF85-4FDB-9C84-740225F3EF15}"/>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5"/>
          </p:nvPr>
        </p:nvSpPr>
        <p:spPr/>
        <p:txBody>
          <a:bodyPr/>
          <a:lstStyle/>
          <a:p>
            <a:r>
              <a:rPr lang="de-DE"/>
              <a:t>DEG-Unternehmenspräsentation</a:t>
            </a:r>
          </a:p>
        </p:txBody>
      </p:sp>
    </p:spTree>
    <p:extLst>
      <p:ext uri="{BB962C8B-B14F-4D97-AF65-F5344CB8AC3E}">
        <p14:creationId xmlns:p14="http://schemas.microsoft.com/office/powerpoint/2010/main" val="1864532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8" y="1368000"/>
            <a:ext cx="4500562"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extplatzhalter 10">
            <a:extLst>
              <a:ext uri="{FF2B5EF4-FFF2-40B4-BE49-F238E27FC236}">
                <a16:creationId xmlns:a16="http://schemas.microsoft.com/office/drawing/2014/main" id="{3CB7310F-5B72-4494-BE21-FB64CA65AA93}"/>
              </a:ext>
            </a:extLst>
          </p:cNvPr>
          <p:cNvSpPr>
            <a:spLocks noGrp="1"/>
          </p:cNvSpPr>
          <p:nvPr>
            <p:ph type="body" sz="quarter" idx="16"/>
          </p:nvPr>
        </p:nvSpPr>
        <p:spPr>
          <a:xfrm>
            <a:off x="5060951" y="1368000"/>
            <a:ext cx="4500562"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pic>
        <p:nvPicPr>
          <p:cNvPr id="10" name="Grafik 9"/>
          <p:cNvPicPr>
            <a:picLocks noChangeAspect="1"/>
          </p:cNvPicPr>
          <p:nvPr userDrawn="1"/>
        </p:nvPicPr>
        <p:blipFill>
          <a:blip r:embed="rId2"/>
          <a:stretch>
            <a:fillRect/>
          </a:stretch>
        </p:blipFill>
        <p:spPr>
          <a:xfrm>
            <a:off x="8121352" y="6390945"/>
            <a:ext cx="1019028" cy="467055"/>
          </a:xfrm>
          <a:prstGeom prst="rect">
            <a:avLst/>
          </a:prstGeom>
        </p:spPr>
      </p:pic>
      <p:sp>
        <p:nvSpPr>
          <p:cNvPr id="11" name="Rechteck 10"/>
          <p:cNvSpPr/>
          <p:nvPr userDrawn="1"/>
        </p:nvSpPr>
        <p:spPr>
          <a:xfrm>
            <a:off x="8615881" y="6661420"/>
            <a:ext cx="432048"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1462662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Bilder recht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6" name="Textplatzhalter 8">
            <a:extLst>
              <a:ext uri="{FF2B5EF4-FFF2-40B4-BE49-F238E27FC236}">
                <a16:creationId xmlns:a16="http://schemas.microsoft.com/office/drawing/2014/main" id="{C1AD9F2A-0B80-47A0-A099-2BC51A092EA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7" name="Textplatzhalter 8">
            <a:extLst>
              <a:ext uri="{FF2B5EF4-FFF2-40B4-BE49-F238E27FC236}">
                <a16:creationId xmlns:a16="http://schemas.microsoft.com/office/drawing/2014/main" id="{DFAD501C-EF85-4FDB-9C84-740225F3EF15}"/>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9" name="Bildplatzhalter 8">
            <a:extLst>
              <a:ext uri="{FF2B5EF4-FFF2-40B4-BE49-F238E27FC236}">
                <a16:creationId xmlns:a16="http://schemas.microsoft.com/office/drawing/2014/main" id="{F7895F72-12DE-43C1-A37A-EA75A21EA4A4}"/>
              </a:ext>
            </a:extLst>
          </p:cNvPr>
          <p:cNvSpPr>
            <a:spLocks noGrp="1" noChangeAspect="1"/>
          </p:cNvSpPr>
          <p:nvPr>
            <p:ph type="pic" sz="quarter" idx="23" hasCustomPrompt="1"/>
          </p:nvPr>
        </p:nvSpPr>
        <p:spPr bwMode="gray">
          <a:xfrm>
            <a:off x="5060950" y="1870248"/>
            <a:ext cx="2124075" cy="1584000"/>
          </a:xfrm>
          <a:noFill/>
        </p:spPr>
        <p:txBody>
          <a:bodyPr anchor="ctr"/>
          <a:lstStyle>
            <a:lvl1pPr marL="0" indent="0" algn="ctr">
              <a:buNone/>
              <a:defRPr/>
            </a:lvl1pPr>
          </a:lstStyle>
          <a:p>
            <a:r>
              <a:rPr lang="de-DE" dirty="0"/>
              <a:t>Bild durch Klicken auf Symbol hinzufügen     </a:t>
            </a:r>
          </a:p>
        </p:txBody>
      </p:sp>
      <p:sp>
        <p:nvSpPr>
          <p:cNvPr id="11" name="Bildplatzhalter 8">
            <a:extLst>
              <a:ext uri="{FF2B5EF4-FFF2-40B4-BE49-F238E27FC236}">
                <a16:creationId xmlns:a16="http://schemas.microsoft.com/office/drawing/2014/main" id="{F7895F72-12DE-43C1-A37A-EA75A21EA4A4}"/>
              </a:ext>
            </a:extLst>
          </p:cNvPr>
          <p:cNvSpPr>
            <a:spLocks noGrp="1" noChangeAspect="1"/>
          </p:cNvSpPr>
          <p:nvPr>
            <p:ph type="pic" sz="quarter" idx="25" hasCustomPrompt="1"/>
          </p:nvPr>
        </p:nvSpPr>
        <p:spPr bwMode="gray">
          <a:xfrm>
            <a:off x="5060950" y="3741911"/>
            <a:ext cx="2124075" cy="1584000"/>
          </a:xfrm>
          <a:noFill/>
        </p:spPr>
        <p:txBody>
          <a:bodyPr anchor="ctr"/>
          <a:lstStyle>
            <a:lvl1pPr marL="0" indent="0" algn="ctr">
              <a:buNone/>
              <a:defRPr/>
            </a:lvl1pPr>
          </a:lstStyle>
          <a:p>
            <a:r>
              <a:rPr lang="de-DE" dirty="0"/>
              <a:t>Bild durch Klicken auf Symbol hinzufügen     </a:t>
            </a:r>
          </a:p>
        </p:txBody>
      </p:sp>
      <p:sp>
        <p:nvSpPr>
          <p:cNvPr id="13" name="Bildplatzhalter 8">
            <a:extLst>
              <a:ext uri="{FF2B5EF4-FFF2-40B4-BE49-F238E27FC236}">
                <a16:creationId xmlns:a16="http://schemas.microsoft.com/office/drawing/2014/main" id="{F7895F72-12DE-43C1-A37A-EA75A21EA4A4}"/>
              </a:ext>
            </a:extLst>
          </p:cNvPr>
          <p:cNvSpPr>
            <a:spLocks noGrp="1" noChangeAspect="1"/>
          </p:cNvSpPr>
          <p:nvPr>
            <p:ph type="pic" sz="quarter" idx="26" hasCustomPrompt="1"/>
          </p:nvPr>
        </p:nvSpPr>
        <p:spPr bwMode="gray">
          <a:xfrm>
            <a:off x="7401272" y="1870248"/>
            <a:ext cx="2124075" cy="1584000"/>
          </a:xfrm>
          <a:noFill/>
        </p:spPr>
        <p:txBody>
          <a:bodyPr anchor="ctr"/>
          <a:lstStyle>
            <a:lvl1pPr marL="0" indent="0" algn="ctr">
              <a:buNone/>
              <a:defRPr/>
            </a:lvl1pPr>
          </a:lstStyle>
          <a:p>
            <a:r>
              <a:rPr lang="de-DE" dirty="0"/>
              <a:t>Bild durch Klicken auf Symbol hinzufügen     </a:t>
            </a:r>
          </a:p>
        </p:txBody>
      </p:sp>
      <p:sp>
        <p:nvSpPr>
          <p:cNvPr id="14" name="Bildplatzhalter 8">
            <a:extLst>
              <a:ext uri="{FF2B5EF4-FFF2-40B4-BE49-F238E27FC236}">
                <a16:creationId xmlns:a16="http://schemas.microsoft.com/office/drawing/2014/main" id="{F7895F72-12DE-43C1-A37A-EA75A21EA4A4}"/>
              </a:ext>
            </a:extLst>
          </p:cNvPr>
          <p:cNvSpPr>
            <a:spLocks noGrp="1" noChangeAspect="1"/>
          </p:cNvSpPr>
          <p:nvPr>
            <p:ph type="pic" sz="quarter" idx="27" hasCustomPrompt="1"/>
          </p:nvPr>
        </p:nvSpPr>
        <p:spPr bwMode="gray">
          <a:xfrm>
            <a:off x="7401272" y="3741911"/>
            <a:ext cx="2124075" cy="1584000"/>
          </a:xfrm>
          <a:noFill/>
        </p:spPr>
        <p:txBody>
          <a:bodyPr anchor="ctr"/>
          <a:lstStyle>
            <a:lvl1pPr marL="0" indent="0" algn="ctr">
              <a:buNone/>
              <a:defRPr/>
            </a:lvl1pPr>
          </a:lstStyle>
          <a:p>
            <a:r>
              <a:rPr lang="de-DE" dirty="0"/>
              <a:t>Bild durch Klicken auf Symbol hinzufügen     </a:t>
            </a:r>
          </a:p>
        </p:txBody>
      </p:sp>
      <p:sp>
        <p:nvSpPr>
          <p:cNvPr id="4" name="Fußzeilenplatzhalter 3"/>
          <p:cNvSpPr>
            <a:spLocks noGrp="1"/>
          </p:cNvSpPr>
          <p:nvPr>
            <p:ph type="ftr" sz="quarter" idx="28"/>
          </p:nvPr>
        </p:nvSpPr>
        <p:spPr/>
        <p:txBody>
          <a:bodyPr/>
          <a:lstStyle/>
          <a:p>
            <a:r>
              <a:rPr lang="de-DE"/>
              <a:t>DEG-Unternehmenspräsentation</a:t>
            </a:r>
          </a:p>
        </p:txBody>
      </p:sp>
    </p:spTree>
    <p:extLst>
      <p:ext uri="{BB962C8B-B14F-4D97-AF65-F5344CB8AC3E}">
        <p14:creationId xmlns:p14="http://schemas.microsoft.com/office/powerpoint/2010/main" val="24846742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halt und Diagramm (rechts)">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7" y="1368000"/>
            <a:ext cx="4500563"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5072696" y="1620000"/>
            <a:ext cx="4488817" cy="4582800"/>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5060950" y="1368000"/>
            <a:ext cx="450056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17222515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halt und Diagramm (links)">
    <p:spTree>
      <p:nvGrpSpPr>
        <p:cNvPr id="1" name=""/>
        <p:cNvGrpSpPr/>
        <p:nvPr/>
      </p:nvGrpSpPr>
      <p:grpSpPr>
        <a:xfrm>
          <a:off x="0" y="0"/>
          <a:ext cx="0" cy="0"/>
          <a:chOff x="0" y="0"/>
          <a:chExt cx="0" cy="0"/>
        </a:xfrm>
      </p:grpSpPr>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344487" y="1620000"/>
            <a:ext cx="4500563" cy="4582799"/>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5060950" y="1368000"/>
            <a:ext cx="4500563"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19416381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Diagramm">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7" y="1620000"/>
            <a:ext cx="9217025" cy="4580775"/>
          </a:xfrm>
        </p:spPr>
        <p:txBody>
          <a:bodyPr anchor="ctr"/>
          <a:lstStyle>
            <a:lvl1pPr marL="0" indent="0" algn="ctr">
              <a:buNone/>
              <a:defRPr/>
            </a:lvl1pPr>
          </a:lstStyle>
          <a:p>
            <a:r>
              <a:rPr lang="de-DE" dirty="0"/>
              <a:t>Diagramm durch Klicken auf Symbol hinzufügen</a:t>
            </a:r>
          </a:p>
        </p:txBody>
      </p:sp>
      <p:sp>
        <p:nvSpPr>
          <p:cNvPr id="10" name="Textplatzhalter 8">
            <a:extLst>
              <a:ext uri="{FF2B5EF4-FFF2-40B4-BE49-F238E27FC236}">
                <a16:creationId xmlns:a16="http://schemas.microsoft.com/office/drawing/2014/main" id="{D4A89282-8B33-45B9-8BD4-5C1BE0F60C9C}"/>
              </a:ext>
            </a:extLst>
          </p:cNvPr>
          <p:cNvSpPr>
            <a:spLocks noGrp="1"/>
          </p:cNvSpPr>
          <p:nvPr>
            <p:ph type="body" sz="quarter" idx="13" hasCustomPrompt="1"/>
          </p:nvPr>
        </p:nvSpPr>
        <p:spPr>
          <a:xfrm>
            <a:off x="344488"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7D97AADF-437A-4900-B8E7-081F5D878D9E}"/>
              </a:ext>
            </a:extLst>
          </p:cNvPr>
          <p:cNvSpPr>
            <a:spLocks noGrp="1"/>
          </p:cNvSpPr>
          <p:nvPr>
            <p:ph type="body" sz="quarter" idx="16"/>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6">
            <a:extLst>
              <a:ext uri="{FF2B5EF4-FFF2-40B4-BE49-F238E27FC236}">
                <a16:creationId xmlns:a16="http://schemas.microsoft.com/office/drawing/2014/main" id="{A5DEAF36-B708-449D-BF50-903D616031A9}"/>
              </a:ext>
            </a:extLst>
          </p:cNvPr>
          <p:cNvSpPr>
            <a:spLocks noGrp="1"/>
          </p:cNvSpPr>
          <p:nvPr>
            <p:ph type="body" sz="quarter" idx="17" hasCustomPrompt="1"/>
          </p:nvPr>
        </p:nvSpPr>
        <p:spPr>
          <a:xfrm>
            <a:off x="344488" y="1368000"/>
            <a:ext cx="9217025"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8"/>
          </p:nvPr>
        </p:nvSpPr>
        <p:spPr/>
        <p:txBody>
          <a:bodyPr/>
          <a:lstStyle/>
          <a:p>
            <a:r>
              <a:rPr lang="de-DE"/>
              <a:t>DEG-Unternehmenspräsentation</a:t>
            </a:r>
          </a:p>
        </p:txBody>
      </p:sp>
    </p:spTree>
    <p:extLst>
      <p:ext uri="{BB962C8B-B14F-4D97-AF65-F5344CB8AC3E}">
        <p14:creationId xmlns:p14="http://schemas.microsoft.com/office/powerpoint/2010/main" val="34289200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8" y="1620000"/>
            <a:ext cx="4500562" cy="45807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1" y="1620000"/>
            <a:ext cx="4500562" cy="4580775"/>
          </a:xfrm>
        </p:spPr>
        <p:txBody>
          <a:bodyPr anchor="ctr"/>
          <a:lstStyle>
            <a:lvl1pPr marL="0" indent="0" algn="ctr">
              <a:buNone/>
              <a:defRPr/>
            </a:lvl1pPr>
          </a:lstStyle>
          <a:p>
            <a:r>
              <a:rPr lang="de-DE" dirty="0"/>
              <a:t>Diagramm durch Klicken auf Symbol hinzufügen</a:t>
            </a:r>
          </a:p>
        </p:txBody>
      </p:sp>
      <p:sp>
        <p:nvSpPr>
          <p:cNvPr id="14" name="Textplatzhalter 8">
            <a:extLst>
              <a:ext uri="{FF2B5EF4-FFF2-40B4-BE49-F238E27FC236}">
                <a16:creationId xmlns:a16="http://schemas.microsoft.com/office/drawing/2014/main" id="{1EA0F3E1-D742-4DA0-B74B-A037A9673EB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556C389-B714-47EE-9D21-BE82CC21CF9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6">
            <a:extLst>
              <a:ext uri="{FF2B5EF4-FFF2-40B4-BE49-F238E27FC236}">
                <a16:creationId xmlns:a16="http://schemas.microsoft.com/office/drawing/2014/main" id="{68B61E78-AF51-4675-BACD-74BC50875F0F}"/>
              </a:ext>
            </a:extLst>
          </p:cNvPr>
          <p:cNvSpPr>
            <a:spLocks noGrp="1"/>
          </p:cNvSpPr>
          <p:nvPr>
            <p:ph type="body" sz="quarter" idx="19"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D9AED4B9-F4C2-48D8-A92C-2F82B5C38BC8}"/>
              </a:ext>
            </a:extLst>
          </p:cNvPr>
          <p:cNvSpPr>
            <a:spLocks noGrp="1"/>
          </p:cNvSpPr>
          <p:nvPr>
            <p:ph type="body" sz="quarter" idx="20" hasCustomPrompt="1"/>
          </p:nvPr>
        </p:nvSpPr>
        <p:spPr>
          <a:xfrm>
            <a:off x="5060951"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38215988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52764" y="1620000"/>
            <a:ext cx="4492286" cy="20968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2" y="1620000"/>
            <a:ext cx="4500561" cy="2096875"/>
          </a:xfrm>
        </p:spPr>
        <p:txBody>
          <a:bodyPr anchor="ctr"/>
          <a:lstStyle>
            <a:lvl1pPr marL="0" indent="0" algn="ctr">
              <a:buNone/>
              <a:defRPr/>
            </a:lvl1pPr>
          </a:lstStyle>
          <a:p>
            <a:r>
              <a:rPr lang="de-DE" dirty="0"/>
              <a:t>Diagramm durch Klicken auf Symbol hinzufügen</a:t>
            </a:r>
          </a:p>
        </p:txBody>
      </p:sp>
      <p:sp>
        <p:nvSpPr>
          <p:cNvPr id="17" name="Diagrammplatzhalter 8">
            <a:extLst>
              <a:ext uri="{FF2B5EF4-FFF2-40B4-BE49-F238E27FC236}">
                <a16:creationId xmlns:a16="http://schemas.microsoft.com/office/drawing/2014/main" id="{E6EBF416-55D6-4AA1-A000-4EA1500328C5}"/>
              </a:ext>
            </a:extLst>
          </p:cNvPr>
          <p:cNvSpPr>
            <a:spLocks noGrp="1"/>
          </p:cNvSpPr>
          <p:nvPr>
            <p:ph type="chart" sz="quarter" idx="19"/>
          </p:nvPr>
        </p:nvSpPr>
        <p:spPr bwMode="gray">
          <a:xfrm>
            <a:off x="352764" y="4166861"/>
            <a:ext cx="4492286" cy="2033913"/>
          </a:xfrm>
        </p:spPr>
        <p:txBody>
          <a:bodyPr anchor="ctr"/>
          <a:lstStyle>
            <a:lvl1pPr marL="0" indent="0" algn="ctr">
              <a:buNone/>
              <a:defRPr/>
            </a:lvl1pPr>
          </a:lstStyle>
          <a:p>
            <a:r>
              <a:rPr lang="de-DE" dirty="0"/>
              <a:t>Diagramm durch Klicken auf Symbol hinzufügen</a:t>
            </a:r>
          </a:p>
        </p:txBody>
      </p:sp>
      <p:sp>
        <p:nvSpPr>
          <p:cNvPr id="19" name="Diagrammplatzhalter 8">
            <a:extLst>
              <a:ext uri="{FF2B5EF4-FFF2-40B4-BE49-F238E27FC236}">
                <a16:creationId xmlns:a16="http://schemas.microsoft.com/office/drawing/2014/main" id="{2D9E13FC-C3BE-4880-95FF-E8F557742CCD}"/>
              </a:ext>
            </a:extLst>
          </p:cNvPr>
          <p:cNvSpPr>
            <a:spLocks noGrp="1"/>
          </p:cNvSpPr>
          <p:nvPr>
            <p:ph type="chart" sz="quarter" idx="21"/>
          </p:nvPr>
        </p:nvSpPr>
        <p:spPr bwMode="gray">
          <a:xfrm>
            <a:off x="5060950" y="4166861"/>
            <a:ext cx="4508837" cy="2033913"/>
          </a:xfrm>
        </p:spPr>
        <p:txBody>
          <a:bodyPr anchor="ctr"/>
          <a:lstStyle>
            <a:lvl1pPr marL="0" indent="0" algn="ctr">
              <a:buNone/>
              <a:defRPr/>
            </a:lvl1pPr>
          </a:lstStyle>
          <a:p>
            <a:r>
              <a:rPr lang="de-DE" dirty="0"/>
              <a:t>Diagramm durch Klicken auf Symbol hinzufügen</a:t>
            </a:r>
          </a:p>
        </p:txBody>
      </p:sp>
      <p:sp>
        <p:nvSpPr>
          <p:cNvPr id="21" name="Textplatzhalter 8">
            <a:extLst>
              <a:ext uri="{FF2B5EF4-FFF2-40B4-BE49-F238E27FC236}">
                <a16:creationId xmlns:a16="http://schemas.microsoft.com/office/drawing/2014/main" id="{049BA0BF-C18F-4DB1-B409-7AA3355CE0BC}"/>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5" name="Textplatzhalter 8">
            <a:extLst>
              <a:ext uri="{FF2B5EF4-FFF2-40B4-BE49-F238E27FC236}">
                <a16:creationId xmlns:a16="http://schemas.microsoft.com/office/drawing/2014/main" id="{CD6655E5-0992-40D0-8FA0-9157664AC066}"/>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6">
            <a:extLst>
              <a:ext uri="{FF2B5EF4-FFF2-40B4-BE49-F238E27FC236}">
                <a16:creationId xmlns:a16="http://schemas.microsoft.com/office/drawing/2014/main" id="{ECDAC40F-D27B-49C7-98F7-75AAB5B8872D}"/>
              </a:ext>
            </a:extLst>
          </p:cNvPr>
          <p:cNvSpPr>
            <a:spLocks noGrp="1"/>
          </p:cNvSpPr>
          <p:nvPr>
            <p:ph type="body" sz="quarter" idx="23"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2C277437-7B64-4A17-B527-9BA8E9CDD6C2}"/>
              </a:ext>
            </a:extLst>
          </p:cNvPr>
          <p:cNvSpPr>
            <a:spLocks noGrp="1"/>
          </p:cNvSpPr>
          <p:nvPr>
            <p:ph type="body" sz="quarter" idx="18" hasCustomPrompt="1"/>
          </p:nvPr>
        </p:nvSpPr>
        <p:spPr>
          <a:xfrm>
            <a:off x="5060930" y="1368000"/>
            <a:ext cx="450058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4" name="Textplatzhalter 6">
            <a:extLst>
              <a:ext uri="{FF2B5EF4-FFF2-40B4-BE49-F238E27FC236}">
                <a16:creationId xmlns:a16="http://schemas.microsoft.com/office/drawing/2014/main" id="{402B411A-C88C-430C-A64D-2CC4DCC73750}"/>
              </a:ext>
            </a:extLst>
          </p:cNvPr>
          <p:cNvSpPr>
            <a:spLocks noGrp="1"/>
          </p:cNvSpPr>
          <p:nvPr>
            <p:ph type="body" sz="quarter" idx="24" hasCustomPrompt="1"/>
          </p:nvPr>
        </p:nvSpPr>
        <p:spPr>
          <a:xfrm>
            <a:off x="344488" y="3912837"/>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6" name="Textplatzhalter 6">
            <a:extLst>
              <a:ext uri="{FF2B5EF4-FFF2-40B4-BE49-F238E27FC236}">
                <a16:creationId xmlns:a16="http://schemas.microsoft.com/office/drawing/2014/main" id="{D2237C74-3717-4FC6-BB89-754621C3D4D5}"/>
              </a:ext>
            </a:extLst>
          </p:cNvPr>
          <p:cNvSpPr>
            <a:spLocks noGrp="1"/>
          </p:cNvSpPr>
          <p:nvPr>
            <p:ph type="body" sz="quarter" idx="25" hasCustomPrompt="1"/>
          </p:nvPr>
        </p:nvSpPr>
        <p:spPr>
          <a:xfrm>
            <a:off x="5069227" y="3912837"/>
            <a:ext cx="4500560"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6"/>
          </p:nvPr>
        </p:nvSpPr>
        <p:spPr/>
        <p:txBody>
          <a:bodyPr/>
          <a:lstStyle/>
          <a:p>
            <a:r>
              <a:rPr lang="de-DE"/>
              <a:t>DEG-Unternehmenspräsentation</a:t>
            </a:r>
          </a:p>
        </p:txBody>
      </p:sp>
    </p:spTree>
    <p:extLst>
      <p:ext uri="{BB962C8B-B14F-4D97-AF65-F5344CB8AC3E}">
        <p14:creationId xmlns:p14="http://schemas.microsoft.com/office/powerpoint/2010/main" val="28525031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7"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8" y="1846676"/>
            <a:ext cx="4500562" cy="4356124"/>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6"/>
            <a:ext cx="4500563" cy="4356124"/>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21979285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 Textfeld 1 Bild">
    <p:spTree>
      <p:nvGrpSpPr>
        <p:cNvPr id="1" name=""/>
        <p:cNvGrpSpPr/>
        <p:nvPr/>
      </p:nvGrpSpPr>
      <p:grpSpPr>
        <a:xfrm>
          <a:off x="0" y="0"/>
          <a:ext cx="0" cy="0"/>
          <a:chOff x="0" y="0"/>
          <a:chExt cx="0" cy="0"/>
        </a:xfrm>
      </p:grpSpPr>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7"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8" y="1846676"/>
            <a:ext cx="4500562" cy="4319174"/>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10" name="Bildplatzhalter 9"/>
          <p:cNvSpPr>
            <a:spLocks noGrp="1"/>
          </p:cNvSpPr>
          <p:nvPr>
            <p:ph type="pic" sz="quarter" idx="22"/>
          </p:nvPr>
        </p:nvSpPr>
        <p:spPr>
          <a:xfrm>
            <a:off x="5060950" y="1412875"/>
            <a:ext cx="4500563" cy="4752975"/>
          </a:xfrm>
        </p:spPr>
        <p:txBody>
          <a:bodyPr/>
          <a:lstStyle/>
          <a:p>
            <a:endParaRPr lang="en-GB" dirty="0"/>
          </a:p>
        </p:txBody>
      </p:sp>
      <p:sp>
        <p:nvSpPr>
          <p:cNvPr id="5" name="Datumsplatzhalter 4"/>
          <p:cNvSpPr>
            <a:spLocks noGrp="1"/>
          </p:cNvSpPr>
          <p:nvPr>
            <p:ph type="dt" sz="half" idx="23"/>
          </p:nvPr>
        </p:nvSpPr>
        <p:spPr/>
        <p:txBody>
          <a:bodyPr/>
          <a:lstStyle/>
          <a:p>
            <a:endParaRPr lang="de-DE" dirty="0"/>
          </a:p>
        </p:txBody>
      </p:sp>
      <p:sp>
        <p:nvSpPr>
          <p:cNvPr id="6" name="Fußzeilenplatzhalter 5"/>
          <p:cNvSpPr>
            <a:spLocks noGrp="1"/>
          </p:cNvSpPr>
          <p:nvPr>
            <p:ph type="ftr" sz="quarter" idx="24"/>
          </p:nvPr>
        </p:nvSpPr>
        <p:spPr/>
        <p:txBody>
          <a:bodyPr/>
          <a:lstStyle/>
          <a:p>
            <a:r>
              <a:rPr lang="de-DE"/>
              <a:t>DEG-Unternehmenspräsentation</a:t>
            </a:r>
          </a:p>
        </p:txBody>
      </p:sp>
      <p:sp>
        <p:nvSpPr>
          <p:cNvPr id="9" name="Foliennummernplatzhalter 8"/>
          <p:cNvSpPr>
            <a:spLocks noGrp="1"/>
          </p:cNvSpPr>
          <p:nvPr>
            <p:ph type="sldNum" sz="quarter" idx="25"/>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6495162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 Bild rechts">
    <p:spTree>
      <p:nvGrpSpPr>
        <p:cNvPr id="1" name=""/>
        <p:cNvGrpSpPr/>
        <p:nvPr/>
      </p:nvGrpSpPr>
      <p:grpSpPr>
        <a:xfrm>
          <a:off x="0" y="0"/>
          <a:ext cx="0" cy="0"/>
          <a:chOff x="0" y="0"/>
          <a:chExt cx="0" cy="0"/>
        </a:xfrm>
      </p:grpSpPr>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Datumsplatzhalter 3"/>
          <p:cNvSpPr>
            <a:spLocks noGrp="1"/>
          </p:cNvSpPr>
          <p:nvPr>
            <p:ph type="dt" sz="half" idx="19"/>
          </p:nvPr>
        </p:nvSpPr>
        <p:spPr/>
        <p:txBody>
          <a:bodyPr/>
          <a:lstStyle/>
          <a:p>
            <a:endParaRPr lang="de-DE" dirty="0"/>
          </a:p>
        </p:txBody>
      </p:sp>
      <p:sp>
        <p:nvSpPr>
          <p:cNvPr id="8" name="Foliennummernplatzhalter 7"/>
          <p:cNvSpPr>
            <a:spLocks noGrp="1"/>
          </p:cNvSpPr>
          <p:nvPr>
            <p:ph type="sldNum" sz="quarter" idx="21"/>
          </p:nvPr>
        </p:nvSpPr>
        <p:spPr/>
        <p:txBody>
          <a:bodyPr/>
          <a:lstStyle/>
          <a:p>
            <a:fld id="{5678FFC5-4430-43BC-9807-D0C6EB405569}" type="slidenum">
              <a:rPr lang="de-DE" smtClean="0"/>
              <a:pPr/>
              <a:t>‹#›</a:t>
            </a:fld>
            <a:endParaRPr lang="de-DE" dirty="0"/>
          </a:p>
        </p:txBody>
      </p:sp>
      <p:sp>
        <p:nvSpPr>
          <p:cNvPr id="10" name="Bildplatzhalter 9"/>
          <p:cNvSpPr>
            <a:spLocks noGrp="1"/>
          </p:cNvSpPr>
          <p:nvPr>
            <p:ph type="pic" sz="quarter" idx="22"/>
          </p:nvPr>
        </p:nvSpPr>
        <p:spPr>
          <a:xfrm>
            <a:off x="5060950" y="1412875"/>
            <a:ext cx="4500563" cy="4752975"/>
          </a:xfrm>
        </p:spPr>
        <p:txBody>
          <a:bodyPr/>
          <a:lstStyle/>
          <a:p>
            <a:endParaRPr lang="en-GB" dirty="0"/>
          </a:p>
        </p:txBody>
      </p:sp>
      <p:sp>
        <p:nvSpPr>
          <p:cNvPr id="3" name="Fußzeilenplatzhalter 2"/>
          <p:cNvSpPr>
            <a:spLocks noGrp="1"/>
          </p:cNvSpPr>
          <p:nvPr>
            <p:ph type="ftr" sz="quarter" idx="23"/>
          </p:nvPr>
        </p:nvSpPr>
        <p:spPr/>
        <p:txBody>
          <a:bodyPr/>
          <a:lstStyle/>
          <a:p>
            <a:r>
              <a:rPr lang="de-DE"/>
              <a:t>DEG-Unternehmenspräsentation</a:t>
            </a:r>
          </a:p>
        </p:txBody>
      </p:sp>
    </p:spTree>
    <p:extLst>
      <p:ext uri="{BB962C8B-B14F-4D97-AF65-F5344CB8AC3E}">
        <p14:creationId xmlns:p14="http://schemas.microsoft.com/office/powerpoint/2010/main" val="30023301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rfolgsgeschichten rechts">
    <p:spTree>
      <p:nvGrpSpPr>
        <p:cNvPr id="1" name=""/>
        <p:cNvGrpSpPr/>
        <p:nvPr/>
      </p:nvGrpSpPr>
      <p:grpSpPr>
        <a:xfrm>
          <a:off x="0" y="0"/>
          <a:ext cx="0" cy="0"/>
          <a:chOff x="0" y="0"/>
          <a:chExt cx="0" cy="0"/>
        </a:xfrm>
      </p:grpSpPr>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Datumsplatzhalter 3"/>
          <p:cNvSpPr>
            <a:spLocks noGrp="1"/>
          </p:cNvSpPr>
          <p:nvPr>
            <p:ph type="dt" sz="half" idx="19"/>
          </p:nvPr>
        </p:nvSpPr>
        <p:spPr/>
        <p:txBody>
          <a:bodyPr/>
          <a:lstStyle/>
          <a:p>
            <a:endParaRPr lang="de-DE" dirty="0"/>
          </a:p>
        </p:txBody>
      </p:sp>
      <p:sp>
        <p:nvSpPr>
          <p:cNvPr id="8" name="Foliennummernplatzhalter 7"/>
          <p:cNvSpPr>
            <a:spLocks noGrp="1"/>
          </p:cNvSpPr>
          <p:nvPr>
            <p:ph type="sldNum" sz="quarter" idx="21"/>
          </p:nvPr>
        </p:nvSpPr>
        <p:spPr/>
        <p:txBody>
          <a:bodyPr/>
          <a:lstStyle/>
          <a:p>
            <a:fld id="{5678FFC5-4430-43BC-9807-D0C6EB405569}" type="slidenum">
              <a:rPr lang="de-DE" smtClean="0"/>
              <a:pPr/>
              <a:t>‹#›</a:t>
            </a:fld>
            <a:endParaRPr lang="de-DE" dirty="0"/>
          </a:p>
        </p:txBody>
      </p:sp>
      <p:sp>
        <p:nvSpPr>
          <p:cNvPr id="12" name="Bildplatzhalter 5"/>
          <p:cNvSpPr>
            <a:spLocks noGrp="1"/>
          </p:cNvSpPr>
          <p:nvPr>
            <p:ph type="pic" sz="quarter" idx="24"/>
          </p:nvPr>
        </p:nvSpPr>
        <p:spPr>
          <a:xfrm>
            <a:off x="5060949" y="4638377"/>
            <a:ext cx="4500565" cy="1527473"/>
          </a:xfrm>
        </p:spPr>
        <p:txBody>
          <a:bodyPr/>
          <a:lstStyle/>
          <a:p>
            <a:endParaRPr lang="en-GB" dirty="0"/>
          </a:p>
        </p:txBody>
      </p:sp>
      <p:sp>
        <p:nvSpPr>
          <p:cNvPr id="13" name="Bildplatzhalter 7"/>
          <p:cNvSpPr>
            <a:spLocks noGrp="1"/>
          </p:cNvSpPr>
          <p:nvPr>
            <p:ph type="pic" sz="quarter" idx="25"/>
          </p:nvPr>
        </p:nvSpPr>
        <p:spPr>
          <a:xfrm>
            <a:off x="5187312" y="1433513"/>
            <a:ext cx="1872803" cy="1872803"/>
          </a:xfrm>
          <a:prstGeom prst="ellipse">
            <a:avLst/>
          </a:prstGeom>
        </p:spPr>
        <p:txBody>
          <a:bodyPr/>
          <a:lstStyle/>
          <a:p>
            <a:endParaRPr lang="en-GB" dirty="0"/>
          </a:p>
        </p:txBody>
      </p:sp>
      <p:sp>
        <p:nvSpPr>
          <p:cNvPr id="14" name="Textplatzhalter 10"/>
          <p:cNvSpPr>
            <a:spLocks noGrp="1"/>
          </p:cNvSpPr>
          <p:nvPr>
            <p:ph type="body" sz="quarter" idx="26"/>
          </p:nvPr>
        </p:nvSpPr>
        <p:spPr>
          <a:xfrm>
            <a:off x="7400925" y="3314436"/>
            <a:ext cx="2160589" cy="936625"/>
          </a:xfrm>
        </p:spPr>
        <p:txBody>
          <a:bodyPr/>
          <a:lstStyle>
            <a:lvl1pPr marL="0" indent="0">
              <a:buFontTx/>
              <a:buNone/>
              <a:defRPr sz="1200" b="1" i="0" baseline="0"/>
            </a:lvl1pPr>
            <a:lvl2pPr marL="182562" indent="0">
              <a:buFontTx/>
              <a:buNone/>
              <a:defRPr sz="1200" baseline="0"/>
            </a:lvl2pPr>
            <a:lvl3pPr marL="358775" indent="0">
              <a:buFontTx/>
              <a:buNone/>
              <a:defRPr sz="1000" baseline="0"/>
            </a:lvl3pPr>
            <a:lvl4pPr marL="541338" indent="0">
              <a:buFontTx/>
              <a:buNone/>
              <a:defRPr sz="1000" baseline="0"/>
            </a:lvl4pPr>
            <a:lvl5pPr marL="715962" indent="0">
              <a:buFontTx/>
              <a:buNone/>
              <a:defRPr sz="1000" baseline="0"/>
            </a:lvl5pPr>
          </a:lstStyle>
          <a:p>
            <a:pPr lvl="0"/>
            <a:r>
              <a:rPr lang="de-DE"/>
              <a:t>Mastertextformat bearbeiten</a:t>
            </a:r>
          </a:p>
          <a:p>
            <a:pPr lvl="1"/>
            <a:r>
              <a:rPr lang="de-DE"/>
              <a:t>Zweite Ebene</a:t>
            </a:r>
            <a:endParaRPr lang="en-GB"/>
          </a:p>
        </p:txBody>
      </p:sp>
      <p:sp>
        <p:nvSpPr>
          <p:cNvPr id="16" name="Textplatzhalter 8"/>
          <p:cNvSpPr>
            <a:spLocks noGrp="1"/>
          </p:cNvSpPr>
          <p:nvPr>
            <p:ph type="body" sz="quarter" idx="27"/>
          </p:nvPr>
        </p:nvSpPr>
        <p:spPr bwMode="gray">
          <a:xfrm>
            <a:off x="7400925" y="1433512"/>
            <a:ext cx="2160588" cy="1574003"/>
          </a:xfrm>
          <a:custGeom>
            <a:avLst/>
            <a:gdLst>
              <a:gd name="connsiteX0" fmla="*/ 0 w 2339974"/>
              <a:gd name="connsiteY0" fmla="*/ 0 h 1007914"/>
              <a:gd name="connsiteX1" fmla="*/ 389996 w 2339974"/>
              <a:gd name="connsiteY1" fmla="*/ 0 h 1007914"/>
              <a:gd name="connsiteX2" fmla="*/ 389996 w 2339974"/>
              <a:gd name="connsiteY2" fmla="*/ 0 h 1007914"/>
              <a:gd name="connsiteX3" fmla="*/ 974989 w 2339974"/>
              <a:gd name="connsiteY3" fmla="*/ 0 h 1007914"/>
              <a:gd name="connsiteX4" fmla="*/ 2339974 w 2339974"/>
              <a:gd name="connsiteY4" fmla="*/ 0 h 1007914"/>
              <a:gd name="connsiteX5" fmla="*/ 2339974 w 2339974"/>
              <a:gd name="connsiteY5" fmla="*/ 587950 h 1007914"/>
              <a:gd name="connsiteX6" fmla="*/ 2339974 w 2339974"/>
              <a:gd name="connsiteY6" fmla="*/ 587950 h 1007914"/>
              <a:gd name="connsiteX7" fmla="*/ 2339974 w 2339974"/>
              <a:gd name="connsiteY7" fmla="*/ 839928 h 1007914"/>
              <a:gd name="connsiteX8" fmla="*/ 2339974 w 2339974"/>
              <a:gd name="connsiteY8" fmla="*/ 1007914 h 1007914"/>
              <a:gd name="connsiteX9" fmla="*/ 974989 w 2339974"/>
              <a:gd name="connsiteY9" fmla="*/ 1007914 h 1007914"/>
              <a:gd name="connsiteX10" fmla="*/ 685800 w 2339974"/>
              <a:gd name="connsiteY10" fmla="*/ 1223033 h 1007914"/>
              <a:gd name="connsiteX11" fmla="*/ 389996 w 2339974"/>
              <a:gd name="connsiteY11" fmla="*/ 1007914 h 1007914"/>
              <a:gd name="connsiteX12" fmla="*/ 0 w 2339974"/>
              <a:gd name="connsiteY12" fmla="*/ 1007914 h 1007914"/>
              <a:gd name="connsiteX13" fmla="*/ 0 w 2339974"/>
              <a:gd name="connsiteY13" fmla="*/ 839928 h 1007914"/>
              <a:gd name="connsiteX14" fmla="*/ 0 w 2339974"/>
              <a:gd name="connsiteY14" fmla="*/ 587950 h 1007914"/>
              <a:gd name="connsiteX15" fmla="*/ 0 w 2339974"/>
              <a:gd name="connsiteY15" fmla="*/ 587950 h 1007914"/>
              <a:gd name="connsiteX16" fmla="*/ 0 w 2339974"/>
              <a:gd name="connsiteY16" fmla="*/ 0 h 1007914"/>
              <a:gd name="connsiteX0" fmla="*/ 0 w 2339974"/>
              <a:gd name="connsiteY0" fmla="*/ 0 h 1223033"/>
              <a:gd name="connsiteX1" fmla="*/ 389996 w 2339974"/>
              <a:gd name="connsiteY1" fmla="*/ 0 h 1223033"/>
              <a:gd name="connsiteX2" fmla="*/ 389996 w 2339974"/>
              <a:gd name="connsiteY2" fmla="*/ 0 h 1223033"/>
              <a:gd name="connsiteX3" fmla="*/ 974989 w 2339974"/>
              <a:gd name="connsiteY3" fmla="*/ 0 h 1223033"/>
              <a:gd name="connsiteX4" fmla="*/ 2339974 w 2339974"/>
              <a:gd name="connsiteY4" fmla="*/ 0 h 1223033"/>
              <a:gd name="connsiteX5" fmla="*/ 2339974 w 2339974"/>
              <a:gd name="connsiteY5" fmla="*/ 587950 h 1223033"/>
              <a:gd name="connsiteX6" fmla="*/ 2339974 w 2339974"/>
              <a:gd name="connsiteY6" fmla="*/ 587950 h 1223033"/>
              <a:gd name="connsiteX7" fmla="*/ 2339974 w 2339974"/>
              <a:gd name="connsiteY7" fmla="*/ 839928 h 1223033"/>
              <a:gd name="connsiteX8" fmla="*/ 2339974 w 2339974"/>
              <a:gd name="connsiteY8" fmla="*/ 1007914 h 1223033"/>
              <a:gd name="connsiteX9" fmla="*/ 974989 w 2339974"/>
              <a:gd name="connsiteY9" fmla="*/ 1007914 h 1223033"/>
              <a:gd name="connsiteX10" fmla="*/ 685800 w 2339974"/>
              <a:gd name="connsiteY10" fmla="*/ 1223033 h 1223033"/>
              <a:gd name="connsiteX11" fmla="*/ 241447 w 2339974"/>
              <a:gd name="connsiteY11" fmla="*/ 1007914 h 1223033"/>
              <a:gd name="connsiteX12" fmla="*/ 0 w 2339974"/>
              <a:gd name="connsiteY12" fmla="*/ 1007914 h 1223033"/>
              <a:gd name="connsiteX13" fmla="*/ 0 w 2339974"/>
              <a:gd name="connsiteY13" fmla="*/ 839928 h 1223033"/>
              <a:gd name="connsiteX14" fmla="*/ 0 w 2339974"/>
              <a:gd name="connsiteY14" fmla="*/ 587950 h 1223033"/>
              <a:gd name="connsiteX15" fmla="*/ 0 w 2339974"/>
              <a:gd name="connsiteY15" fmla="*/ 587950 h 1223033"/>
              <a:gd name="connsiteX16" fmla="*/ 0 w 2339974"/>
              <a:gd name="connsiteY16" fmla="*/ 0 h 1223033"/>
              <a:gd name="connsiteX0" fmla="*/ 0 w 2339974"/>
              <a:gd name="connsiteY0" fmla="*/ 0 h 1223033"/>
              <a:gd name="connsiteX1" fmla="*/ 389996 w 2339974"/>
              <a:gd name="connsiteY1" fmla="*/ 0 h 1223033"/>
              <a:gd name="connsiteX2" fmla="*/ 389996 w 2339974"/>
              <a:gd name="connsiteY2" fmla="*/ 0 h 1223033"/>
              <a:gd name="connsiteX3" fmla="*/ 974989 w 2339974"/>
              <a:gd name="connsiteY3" fmla="*/ 0 h 1223033"/>
              <a:gd name="connsiteX4" fmla="*/ 2339974 w 2339974"/>
              <a:gd name="connsiteY4" fmla="*/ 0 h 1223033"/>
              <a:gd name="connsiteX5" fmla="*/ 2339974 w 2339974"/>
              <a:gd name="connsiteY5" fmla="*/ 587950 h 1223033"/>
              <a:gd name="connsiteX6" fmla="*/ 2339974 w 2339974"/>
              <a:gd name="connsiteY6" fmla="*/ 587950 h 1223033"/>
              <a:gd name="connsiteX7" fmla="*/ 2339974 w 2339974"/>
              <a:gd name="connsiteY7" fmla="*/ 839928 h 1223033"/>
              <a:gd name="connsiteX8" fmla="*/ 2339974 w 2339974"/>
              <a:gd name="connsiteY8" fmla="*/ 1007914 h 1223033"/>
              <a:gd name="connsiteX9" fmla="*/ 737311 w 2339974"/>
              <a:gd name="connsiteY9" fmla="*/ 1014516 h 1223033"/>
              <a:gd name="connsiteX10" fmla="*/ 685800 w 2339974"/>
              <a:gd name="connsiteY10" fmla="*/ 1223033 h 1223033"/>
              <a:gd name="connsiteX11" fmla="*/ 241447 w 2339974"/>
              <a:gd name="connsiteY11" fmla="*/ 1007914 h 1223033"/>
              <a:gd name="connsiteX12" fmla="*/ 0 w 2339974"/>
              <a:gd name="connsiteY12" fmla="*/ 1007914 h 1223033"/>
              <a:gd name="connsiteX13" fmla="*/ 0 w 2339974"/>
              <a:gd name="connsiteY13" fmla="*/ 839928 h 1223033"/>
              <a:gd name="connsiteX14" fmla="*/ 0 w 2339974"/>
              <a:gd name="connsiteY14" fmla="*/ 587950 h 1223033"/>
              <a:gd name="connsiteX15" fmla="*/ 0 w 2339974"/>
              <a:gd name="connsiteY15" fmla="*/ 587950 h 1223033"/>
              <a:gd name="connsiteX16" fmla="*/ 0 w 2339974"/>
              <a:gd name="connsiteY16" fmla="*/ 0 h 1223033"/>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737311 w 2339974"/>
              <a:gd name="connsiteY9" fmla="*/ 1014516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704301 w 2339974"/>
              <a:gd name="connsiteY9" fmla="*/ 1011215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681193 w 2339974"/>
              <a:gd name="connsiteY9" fmla="*/ 1011215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677892 w 2339974"/>
              <a:gd name="connsiteY9" fmla="*/ 1001311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19732"/>
              <a:gd name="connsiteX1" fmla="*/ 389996 w 2339974"/>
              <a:gd name="connsiteY1" fmla="*/ 0 h 1219732"/>
              <a:gd name="connsiteX2" fmla="*/ 389996 w 2339974"/>
              <a:gd name="connsiteY2" fmla="*/ 0 h 1219732"/>
              <a:gd name="connsiteX3" fmla="*/ 974989 w 2339974"/>
              <a:gd name="connsiteY3" fmla="*/ 0 h 1219732"/>
              <a:gd name="connsiteX4" fmla="*/ 2339974 w 2339974"/>
              <a:gd name="connsiteY4" fmla="*/ 0 h 1219732"/>
              <a:gd name="connsiteX5" fmla="*/ 2339974 w 2339974"/>
              <a:gd name="connsiteY5" fmla="*/ 587950 h 1219732"/>
              <a:gd name="connsiteX6" fmla="*/ 2339974 w 2339974"/>
              <a:gd name="connsiteY6" fmla="*/ 587950 h 1219732"/>
              <a:gd name="connsiteX7" fmla="*/ 2339974 w 2339974"/>
              <a:gd name="connsiteY7" fmla="*/ 839928 h 1219732"/>
              <a:gd name="connsiteX8" fmla="*/ 2339974 w 2339974"/>
              <a:gd name="connsiteY8" fmla="*/ 1007914 h 1219732"/>
              <a:gd name="connsiteX9" fmla="*/ 671290 w 2339974"/>
              <a:gd name="connsiteY9" fmla="*/ 1004612 h 1219732"/>
              <a:gd name="connsiteX10" fmla="*/ 494337 w 2339974"/>
              <a:gd name="connsiteY10" fmla="*/ 1219732 h 1219732"/>
              <a:gd name="connsiteX11" fmla="*/ 241447 w 2339974"/>
              <a:gd name="connsiteY11" fmla="*/ 1007914 h 1219732"/>
              <a:gd name="connsiteX12" fmla="*/ 0 w 2339974"/>
              <a:gd name="connsiteY12" fmla="*/ 1007914 h 1219732"/>
              <a:gd name="connsiteX13" fmla="*/ 0 w 2339974"/>
              <a:gd name="connsiteY13" fmla="*/ 839928 h 1219732"/>
              <a:gd name="connsiteX14" fmla="*/ 0 w 2339974"/>
              <a:gd name="connsiteY14" fmla="*/ 587950 h 1219732"/>
              <a:gd name="connsiteX15" fmla="*/ 0 w 2339974"/>
              <a:gd name="connsiteY15" fmla="*/ 587950 h 1219732"/>
              <a:gd name="connsiteX16" fmla="*/ 0 w 2339974"/>
              <a:gd name="connsiteY16" fmla="*/ 0 h 1219732"/>
              <a:gd name="connsiteX0" fmla="*/ 0 w 2339974"/>
              <a:gd name="connsiteY0" fmla="*/ 0 h 1206528"/>
              <a:gd name="connsiteX1" fmla="*/ 389996 w 2339974"/>
              <a:gd name="connsiteY1" fmla="*/ 0 h 1206528"/>
              <a:gd name="connsiteX2" fmla="*/ 389996 w 2339974"/>
              <a:gd name="connsiteY2" fmla="*/ 0 h 1206528"/>
              <a:gd name="connsiteX3" fmla="*/ 974989 w 2339974"/>
              <a:gd name="connsiteY3" fmla="*/ 0 h 1206528"/>
              <a:gd name="connsiteX4" fmla="*/ 2339974 w 2339974"/>
              <a:gd name="connsiteY4" fmla="*/ 0 h 1206528"/>
              <a:gd name="connsiteX5" fmla="*/ 2339974 w 2339974"/>
              <a:gd name="connsiteY5" fmla="*/ 587950 h 1206528"/>
              <a:gd name="connsiteX6" fmla="*/ 2339974 w 2339974"/>
              <a:gd name="connsiteY6" fmla="*/ 587950 h 1206528"/>
              <a:gd name="connsiteX7" fmla="*/ 2339974 w 2339974"/>
              <a:gd name="connsiteY7" fmla="*/ 839928 h 1206528"/>
              <a:gd name="connsiteX8" fmla="*/ 2339974 w 2339974"/>
              <a:gd name="connsiteY8" fmla="*/ 1007914 h 1206528"/>
              <a:gd name="connsiteX9" fmla="*/ 671290 w 2339974"/>
              <a:gd name="connsiteY9" fmla="*/ 1004612 h 1206528"/>
              <a:gd name="connsiteX10" fmla="*/ 458025 w 2339974"/>
              <a:gd name="connsiteY10" fmla="*/ 1206528 h 1206528"/>
              <a:gd name="connsiteX11" fmla="*/ 241447 w 2339974"/>
              <a:gd name="connsiteY11" fmla="*/ 1007914 h 1206528"/>
              <a:gd name="connsiteX12" fmla="*/ 0 w 2339974"/>
              <a:gd name="connsiteY12" fmla="*/ 1007914 h 1206528"/>
              <a:gd name="connsiteX13" fmla="*/ 0 w 2339974"/>
              <a:gd name="connsiteY13" fmla="*/ 839928 h 1206528"/>
              <a:gd name="connsiteX14" fmla="*/ 0 w 2339974"/>
              <a:gd name="connsiteY14" fmla="*/ 587950 h 1206528"/>
              <a:gd name="connsiteX15" fmla="*/ 0 w 2339974"/>
              <a:gd name="connsiteY15" fmla="*/ 587950 h 1206528"/>
              <a:gd name="connsiteX16" fmla="*/ 0 w 2339974"/>
              <a:gd name="connsiteY16" fmla="*/ 0 h 1206528"/>
              <a:gd name="connsiteX0" fmla="*/ 0 w 2339974"/>
              <a:gd name="connsiteY0" fmla="*/ 0 h 1180119"/>
              <a:gd name="connsiteX1" fmla="*/ 389996 w 2339974"/>
              <a:gd name="connsiteY1" fmla="*/ 0 h 1180119"/>
              <a:gd name="connsiteX2" fmla="*/ 389996 w 2339974"/>
              <a:gd name="connsiteY2" fmla="*/ 0 h 1180119"/>
              <a:gd name="connsiteX3" fmla="*/ 974989 w 2339974"/>
              <a:gd name="connsiteY3" fmla="*/ 0 h 1180119"/>
              <a:gd name="connsiteX4" fmla="*/ 2339974 w 2339974"/>
              <a:gd name="connsiteY4" fmla="*/ 0 h 1180119"/>
              <a:gd name="connsiteX5" fmla="*/ 2339974 w 2339974"/>
              <a:gd name="connsiteY5" fmla="*/ 587950 h 1180119"/>
              <a:gd name="connsiteX6" fmla="*/ 2339974 w 2339974"/>
              <a:gd name="connsiteY6" fmla="*/ 587950 h 1180119"/>
              <a:gd name="connsiteX7" fmla="*/ 2339974 w 2339974"/>
              <a:gd name="connsiteY7" fmla="*/ 839928 h 1180119"/>
              <a:gd name="connsiteX8" fmla="*/ 2339974 w 2339974"/>
              <a:gd name="connsiteY8" fmla="*/ 1007914 h 1180119"/>
              <a:gd name="connsiteX9" fmla="*/ 671290 w 2339974"/>
              <a:gd name="connsiteY9" fmla="*/ 1004612 h 1180119"/>
              <a:gd name="connsiteX10" fmla="*/ 451422 w 2339974"/>
              <a:gd name="connsiteY10" fmla="*/ 1180119 h 1180119"/>
              <a:gd name="connsiteX11" fmla="*/ 241447 w 2339974"/>
              <a:gd name="connsiteY11" fmla="*/ 1007914 h 1180119"/>
              <a:gd name="connsiteX12" fmla="*/ 0 w 2339974"/>
              <a:gd name="connsiteY12" fmla="*/ 1007914 h 1180119"/>
              <a:gd name="connsiteX13" fmla="*/ 0 w 2339974"/>
              <a:gd name="connsiteY13" fmla="*/ 839928 h 1180119"/>
              <a:gd name="connsiteX14" fmla="*/ 0 w 2339974"/>
              <a:gd name="connsiteY14" fmla="*/ 587950 h 1180119"/>
              <a:gd name="connsiteX15" fmla="*/ 0 w 2339974"/>
              <a:gd name="connsiteY15" fmla="*/ 587950 h 1180119"/>
              <a:gd name="connsiteX16" fmla="*/ 0 w 2339974"/>
              <a:gd name="connsiteY16" fmla="*/ 0 h 1180119"/>
              <a:gd name="connsiteX0" fmla="*/ 0 w 2339974"/>
              <a:gd name="connsiteY0" fmla="*/ 0 h 1183420"/>
              <a:gd name="connsiteX1" fmla="*/ 389996 w 2339974"/>
              <a:gd name="connsiteY1" fmla="*/ 0 h 1183420"/>
              <a:gd name="connsiteX2" fmla="*/ 389996 w 2339974"/>
              <a:gd name="connsiteY2" fmla="*/ 0 h 1183420"/>
              <a:gd name="connsiteX3" fmla="*/ 974989 w 2339974"/>
              <a:gd name="connsiteY3" fmla="*/ 0 h 1183420"/>
              <a:gd name="connsiteX4" fmla="*/ 2339974 w 2339974"/>
              <a:gd name="connsiteY4" fmla="*/ 0 h 1183420"/>
              <a:gd name="connsiteX5" fmla="*/ 2339974 w 2339974"/>
              <a:gd name="connsiteY5" fmla="*/ 587950 h 1183420"/>
              <a:gd name="connsiteX6" fmla="*/ 2339974 w 2339974"/>
              <a:gd name="connsiteY6" fmla="*/ 587950 h 1183420"/>
              <a:gd name="connsiteX7" fmla="*/ 2339974 w 2339974"/>
              <a:gd name="connsiteY7" fmla="*/ 839928 h 1183420"/>
              <a:gd name="connsiteX8" fmla="*/ 2339974 w 2339974"/>
              <a:gd name="connsiteY8" fmla="*/ 1007914 h 1183420"/>
              <a:gd name="connsiteX9" fmla="*/ 671290 w 2339974"/>
              <a:gd name="connsiteY9" fmla="*/ 1004612 h 1183420"/>
              <a:gd name="connsiteX10" fmla="*/ 458024 w 2339974"/>
              <a:gd name="connsiteY10" fmla="*/ 1183420 h 1183420"/>
              <a:gd name="connsiteX11" fmla="*/ 241447 w 2339974"/>
              <a:gd name="connsiteY11" fmla="*/ 1007914 h 1183420"/>
              <a:gd name="connsiteX12" fmla="*/ 0 w 2339974"/>
              <a:gd name="connsiteY12" fmla="*/ 1007914 h 1183420"/>
              <a:gd name="connsiteX13" fmla="*/ 0 w 2339974"/>
              <a:gd name="connsiteY13" fmla="*/ 839928 h 1183420"/>
              <a:gd name="connsiteX14" fmla="*/ 0 w 2339974"/>
              <a:gd name="connsiteY14" fmla="*/ 587950 h 1183420"/>
              <a:gd name="connsiteX15" fmla="*/ 0 w 2339974"/>
              <a:gd name="connsiteY15" fmla="*/ 587950 h 1183420"/>
              <a:gd name="connsiteX16" fmla="*/ 0 w 2339974"/>
              <a:gd name="connsiteY16" fmla="*/ 0 h 1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39974" h="1183420">
                <a:moveTo>
                  <a:pt x="0" y="0"/>
                </a:moveTo>
                <a:lnTo>
                  <a:pt x="389996" y="0"/>
                </a:lnTo>
                <a:lnTo>
                  <a:pt x="389996" y="0"/>
                </a:lnTo>
                <a:lnTo>
                  <a:pt x="974989" y="0"/>
                </a:lnTo>
                <a:lnTo>
                  <a:pt x="2339974" y="0"/>
                </a:lnTo>
                <a:lnTo>
                  <a:pt x="2339974" y="587950"/>
                </a:lnTo>
                <a:lnTo>
                  <a:pt x="2339974" y="587950"/>
                </a:lnTo>
                <a:lnTo>
                  <a:pt x="2339974" y="839928"/>
                </a:lnTo>
                <a:lnTo>
                  <a:pt x="2339974" y="1007914"/>
                </a:lnTo>
                <a:lnTo>
                  <a:pt x="671290" y="1004612"/>
                </a:lnTo>
                <a:lnTo>
                  <a:pt x="458024" y="1183420"/>
                </a:lnTo>
                <a:lnTo>
                  <a:pt x="241447" y="1007914"/>
                </a:lnTo>
                <a:lnTo>
                  <a:pt x="0" y="1007914"/>
                </a:lnTo>
                <a:lnTo>
                  <a:pt x="0" y="839928"/>
                </a:lnTo>
                <a:lnTo>
                  <a:pt x="0" y="587950"/>
                </a:lnTo>
                <a:lnTo>
                  <a:pt x="0" y="587950"/>
                </a:lnTo>
                <a:lnTo>
                  <a:pt x="0" y="0"/>
                </a:lnTo>
                <a:close/>
              </a:path>
            </a:pathLst>
          </a:custGeom>
          <a:solidFill>
            <a:schemeClr val="accent2"/>
          </a:solidFill>
        </p:spPr>
        <p:txBody>
          <a:bodyPr lIns="108000" tIns="108000" rIns="108000" bIns="108000"/>
          <a:lstStyle>
            <a:lvl1pPr marL="0" indent="0">
              <a:buFontTx/>
              <a:buNone/>
              <a:defRPr sz="1200">
                <a:solidFill>
                  <a:schemeClr val="bg1"/>
                </a:solidFill>
              </a:defRPr>
            </a:lvl1pPr>
          </a:lstStyle>
          <a:p>
            <a:pPr lvl="0"/>
            <a:r>
              <a:rPr lang="de-DE"/>
              <a:t>Mastertextformat bearbeiten</a:t>
            </a:r>
            <a:endParaRPr lang="en-GB"/>
          </a:p>
        </p:txBody>
      </p:sp>
      <p:sp>
        <p:nvSpPr>
          <p:cNvPr id="3" name="Fußzeilenplatzhalter 2"/>
          <p:cNvSpPr>
            <a:spLocks noGrp="1"/>
          </p:cNvSpPr>
          <p:nvPr>
            <p:ph type="ftr" sz="quarter" idx="28"/>
          </p:nvPr>
        </p:nvSpPr>
        <p:spPr/>
        <p:txBody>
          <a:bodyPr/>
          <a:lstStyle/>
          <a:p>
            <a:r>
              <a:rPr lang="de-DE"/>
              <a:t>DEG-Unternehmenspräsentation</a:t>
            </a:r>
          </a:p>
        </p:txBody>
      </p:sp>
    </p:spTree>
    <p:extLst>
      <p:ext uri="{BB962C8B-B14F-4D97-AF65-F5344CB8AC3E}">
        <p14:creationId xmlns:p14="http://schemas.microsoft.com/office/powerpoint/2010/main" val="4245977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und Bild (recht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5060950" y="1412875"/>
            <a:ext cx="4500563" cy="4787900"/>
          </a:xfrm>
          <a:noFill/>
        </p:spPr>
        <p:txBody>
          <a:bodyPr anchor="ctr"/>
          <a:lstStyle>
            <a:lvl1pPr marL="0" indent="0" algn="ctr">
              <a:buNone/>
              <a:defRPr/>
            </a:lvl1pPr>
          </a:lstStyle>
          <a:p>
            <a:r>
              <a:rPr lang="de-DE" dirty="0"/>
              <a:t>Bild durch Klicken auf Symbol hinzufügen</a:t>
            </a:r>
          </a:p>
        </p:txBody>
      </p:sp>
      <p:sp>
        <p:nvSpPr>
          <p:cNvPr id="14" name="Textplatzhalter 8">
            <a:extLst>
              <a:ext uri="{FF2B5EF4-FFF2-40B4-BE49-F238E27FC236}">
                <a16:creationId xmlns:a16="http://schemas.microsoft.com/office/drawing/2014/main" id="{0AE7C685-1059-44DB-9E3C-01DA0DF18146}"/>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95AAB774-8EA4-4509-9EF3-010341A93110}"/>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2" name="Textplatzhalter 10">
            <a:extLst>
              <a:ext uri="{FF2B5EF4-FFF2-40B4-BE49-F238E27FC236}">
                <a16:creationId xmlns:a16="http://schemas.microsoft.com/office/drawing/2014/main" id="{20B50DE5-E236-4AA1-BAAF-8151E8C184A5}"/>
              </a:ext>
            </a:extLst>
          </p:cNvPr>
          <p:cNvSpPr>
            <a:spLocks noGrp="1"/>
          </p:cNvSpPr>
          <p:nvPr>
            <p:ph type="body" sz="quarter" idx="16"/>
          </p:nvPr>
        </p:nvSpPr>
        <p:spPr>
          <a:xfrm>
            <a:off x="344487" y="1368000"/>
            <a:ext cx="4500563"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15573373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2930400" cy="435409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6631112"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6631112" y="1846675"/>
            <a:ext cx="2930400" cy="435409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extplatzhalter 11">
            <a:extLst>
              <a:ext uri="{FF2B5EF4-FFF2-40B4-BE49-F238E27FC236}">
                <a16:creationId xmlns:a16="http://schemas.microsoft.com/office/drawing/2014/main" id="{10AD9F27-6901-4908-874B-42E964215658}"/>
              </a:ext>
            </a:extLst>
          </p:cNvPr>
          <p:cNvSpPr>
            <a:spLocks noGrp="1"/>
          </p:cNvSpPr>
          <p:nvPr>
            <p:ph type="body" sz="quarter" idx="18"/>
          </p:nvPr>
        </p:nvSpPr>
        <p:spPr bwMode="gray">
          <a:xfrm>
            <a:off x="3487801"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4" name="Textplatzhalter 14">
            <a:extLst>
              <a:ext uri="{FF2B5EF4-FFF2-40B4-BE49-F238E27FC236}">
                <a16:creationId xmlns:a16="http://schemas.microsoft.com/office/drawing/2014/main" id="{05FBB124-C4A9-42B4-9A81-C861B74F84D6}"/>
              </a:ext>
            </a:extLst>
          </p:cNvPr>
          <p:cNvSpPr>
            <a:spLocks noGrp="1"/>
          </p:cNvSpPr>
          <p:nvPr>
            <p:ph type="body" sz="quarter" idx="19"/>
          </p:nvPr>
        </p:nvSpPr>
        <p:spPr>
          <a:xfrm>
            <a:off x="3487801" y="1846675"/>
            <a:ext cx="2930400" cy="435409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8">
            <a:extLst>
              <a:ext uri="{FF2B5EF4-FFF2-40B4-BE49-F238E27FC236}">
                <a16:creationId xmlns:a16="http://schemas.microsoft.com/office/drawing/2014/main" id="{E359570D-9F33-45EF-BD5B-914B9D7D1201}"/>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9" name="Textplatzhalter 8">
            <a:extLst>
              <a:ext uri="{FF2B5EF4-FFF2-40B4-BE49-F238E27FC236}">
                <a16:creationId xmlns:a16="http://schemas.microsoft.com/office/drawing/2014/main" id="{A6F5B586-8F75-475C-984D-1DAA5C3AC167}"/>
              </a:ext>
            </a:extLst>
          </p:cNvPr>
          <p:cNvSpPr>
            <a:spLocks noGrp="1"/>
          </p:cNvSpPr>
          <p:nvPr>
            <p:ph type="body" sz="quarter" idx="20"/>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1203245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4500561" cy="187357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5"/>
            <a:ext cx="4500561" cy="1873579"/>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10" name="Textplatzhalter 8">
            <a:extLst>
              <a:ext uri="{FF2B5EF4-FFF2-40B4-BE49-F238E27FC236}">
                <a16:creationId xmlns:a16="http://schemas.microsoft.com/office/drawing/2014/main" id="{0AC01A1E-6BAF-4C91-BB04-8E2B9F69F269}"/>
              </a:ext>
            </a:extLst>
          </p:cNvPr>
          <p:cNvSpPr>
            <a:spLocks noGrp="1"/>
          </p:cNvSpPr>
          <p:nvPr>
            <p:ph type="body" sz="quarter" idx="13" hasCustomPrompt="1"/>
          </p:nvPr>
        </p:nvSpPr>
        <p:spPr>
          <a:xfrm>
            <a:off x="344489" y="6202800"/>
            <a:ext cx="9217022"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8" name="Textplatzhalter 11">
            <a:extLst>
              <a:ext uri="{FF2B5EF4-FFF2-40B4-BE49-F238E27FC236}">
                <a16:creationId xmlns:a16="http://schemas.microsoft.com/office/drawing/2014/main" id="{C6245A26-34FE-4E41-AD20-0A9373AD5777}"/>
              </a:ext>
            </a:extLst>
          </p:cNvPr>
          <p:cNvSpPr>
            <a:spLocks noGrp="1"/>
          </p:cNvSpPr>
          <p:nvPr>
            <p:ph type="body" sz="quarter" idx="18"/>
          </p:nvPr>
        </p:nvSpPr>
        <p:spPr bwMode="gray">
          <a:xfrm>
            <a:off x="344489"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19" name="Textplatzhalter 14">
            <a:extLst>
              <a:ext uri="{FF2B5EF4-FFF2-40B4-BE49-F238E27FC236}">
                <a16:creationId xmlns:a16="http://schemas.microsoft.com/office/drawing/2014/main" id="{0195286A-1085-48E9-8CE3-B3865EA1F97D}"/>
              </a:ext>
            </a:extLst>
          </p:cNvPr>
          <p:cNvSpPr>
            <a:spLocks noGrp="1"/>
          </p:cNvSpPr>
          <p:nvPr>
            <p:ph type="body" sz="quarter" idx="19"/>
          </p:nvPr>
        </p:nvSpPr>
        <p:spPr>
          <a:xfrm>
            <a:off x="344489" y="4339258"/>
            <a:ext cx="4500562" cy="1863542"/>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20" name="Textplatzhalter 11">
            <a:extLst>
              <a:ext uri="{FF2B5EF4-FFF2-40B4-BE49-F238E27FC236}">
                <a16:creationId xmlns:a16="http://schemas.microsoft.com/office/drawing/2014/main" id="{B532B0FE-57F7-4670-B9D2-7ADB2B6487AD}"/>
              </a:ext>
            </a:extLst>
          </p:cNvPr>
          <p:cNvSpPr>
            <a:spLocks noGrp="1"/>
          </p:cNvSpPr>
          <p:nvPr>
            <p:ph type="body" sz="quarter" idx="20"/>
          </p:nvPr>
        </p:nvSpPr>
        <p:spPr bwMode="gray">
          <a:xfrm>
            <a:off x="5060950"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Formatvorlagen des Textmasters bearbeiten</a:t>
            </a:r>
          </a:p>
        </p:txBody>
      </p:sp>
      <p:sp>
        <p:nvSpPr>
          <p:cNvPr id="21" name="Textplatzhalter 14">
            <a:extLst>
              <a:ext uri="{FF2B5EF4-FFF2-40B4-BE49-F238E27FC236}">
                <a16:creationId xmlns:a16="http://schemas.microsoft.com/office/drawing/2014/main" id="{1B9710D1-7B7B-4F60-8727-4E59EED11288}"/>
              </a:ext>
            </a:extLst>
          </p:cNvPr>
          <p:cNvSpPr>
            <a:spLocks noGrp="1"/>
          </p:cNvSpPr>
          <p:nvPr>
            <p:ph type="body" sz="quarter" idx="21"/>
          </p:nvPr>
        </p:nvSpPr>
        <p:spPr>
          <a:xfrm>
            <a:off x="5060950" y="4339258"/>
            <a:ext cx="4500561" cy="1863542"/>
          </a:xfrm>
          <a:solidFill>
            <a:schemeClr val="tx2"/>
          </a:solidFill>
        </p:spPr>
        <p:txBody>
          <a:bodyPr lIns="108000" tIns="108000" rIns="108000" bIns="108000"/>
          <a:lstStyle/>
          <a:p>
            <a:pPr lvl="0"/>
            <a:r>
              <a:rPr lang="de-DE"/>
              <a:t>Formatvorlagen des Textmasters bearbeiten</a:t>
            </a:r>
          </a:p>
          <a:p>
            <a:pPr lvl="1"/>
            <a:r>
              <a:rPr lang="de-DE"/>
              <a:t>Zweite Ebene</a:t>
            </a:r>
          </a:p>
          <a:p>
            <a:pPr lvl="2"/>
            <a:r>
              <a:rPr lang="de-DE"/>
              <a:t>Dritte Ebene</a:t>
            </a:r>
          </a:p>
        </p:txBody>
      </p:sp>
      <p:sp>
        <p:nvSpPr>
          <p:cNvPr id="22" name="Textplatzhalter 8">
            <a:extLst>
              <a:ext uri="{FF2B5EF4-FFF2-40B4-BE49-F238E27FC236}">
                <a16:creationId xmlns:a16="http://schemas.microsoft.com/office/drawing/2014/main" id="{4C3C337B-20B9-4837-87BA-C498361AE6F3}"/>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3"/>
          </p:nvPr>
        </p:nvSpPr>
        <p:spPr/>
        <p:txBody>
          <a:bodyPr/>
          <a:lstStyle/>
          <a:p>
            <a:r>
              <a:rPr lang="de-DE"/>
              <a:t>DEG-Unternehmenspräsentation</a:t>
            </a:r>
          </a:p>
        </p:txBody>
      </p:sp>
    </p:spTree>
    <p:extLst>
      <p:ext uri="{BB962C8B-B14F-4D97-AF65-F5344CB8AC3E}">
        <p14:creationId xmlns:p14="http://schemas.microsoft.com/office/powerpoint/2010/main" val="10986856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apiteltrenner Petrol">
    <p:spTree>
      <p:nvGrpSpPr>
        <p:cNvPr id="1" name=""/>
        <p:cNvGrpSpPr/>
        <p:nvPr/>
      </p:nvGrpSpPr>
      <p:grpSpPr>
        <a:xfrm>
          <a:off x="0" y="0"/>
          <a:ext cx="0" cy="0"/>
          <a:chOff x="0" y="0"/>
          <a:chExt cx="0" cy="0"/>
        </a:xfrm>
      </p:grpSpPr>
      <p:sp>
        <p:nvSpPr>
          <p:cNvPr id="11" name="Rechteck: eine Ecke abgerundet 10">
            <a:extLst>
              <a:ext uri="{FF2B5EF4-FFF2-40B4-BE49-F238E27FC236}">
                <a16:creationId xmlns:a16="http://schemas.microsoft.com/office/drawing/2014/main" id="{0A31C95E-D3C1-4E7F-B4CA-03A1005C6F50}"/>
              </a:ext>
            </a:extLst>
          </p:cNvPr>
          <p:cNvSpPr/>
          <p:nvPr userDrawn="1"/>
        </p:nvSpPr>
        <p:spPr bwMode="gray">
          <a:xfrm flipH="1" flipV="1">
            <a:off x="344487" y="-1"/>
            <a:ext cx="9561508" cy="5509885"/>
          </a:xfrm>
          <a:prstGeom prst="round1Rect">
            <a:avLst>
              <a:gd name="adj" fmla="val 40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5" name="Textplatzhalter 4">
            <a:extLst>
              <a:ext uri="{FF2B5EF4-FFF2-40B4-BE49-F238E27FC236}">
                <a16:creationId xmlns:a16="http://schemas.microsoft.com/office/drawing/2014/main" id="{D400E007-964F-4EE0-9E50-24A2ABA74D5F}"/>
              </a:ext>
            </a:extLst>
          </p:cNvPr>
          <p:cNvSpPr>
            <a:spLocks noGrp="1"/>
          </p:cNvSpPr>
          <p:nvPr>
            <p:ph type="body" sz="quarter" idx="18" hasCustomPrompt="1"/>
          </p:nvPr>
        </p:nvSpPr>
        <p:spPr>
          <a:xfrm>
            <a:off x="1087200" y="2660400"/>
            <a:ext cx="8474313"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2138400"/>
            <a:ext cx="8474313" cy="522000"/>
          </a:xfrm>
        </p:spPr>
        <p:txBody>
          <a:bodyPr wrap="square" anchor="t" anchorCtr="0"/>
          <a:lstStyle>
            <a:lvl1pPr marL="0" indent="625475" algn="l">
              <a:lnSpc>
                <a:spcPct val="90000"/>
              </a:lnSpc>
              <a:defRPr sz="3800">
                <a:solidFill>
                  <a:schemeClr val="bg1"/>
                </a:solidFill>
              </a:defRPr>
            </a:lvl1pPr>
          </a:lstStyle>
          <a:p>
            <a:r>
              <a:rPr lang="de-DE"/>
              <a:t>Mastertitelformat bearbeiten</a:t>
            </a:r>
            <a:endParaRPr lang="de-DE" dirty="0"/>
          </a:p>
        </p:txBody>
      </p:sp>
      <p:grpSp>
        <p:nvGrpSpPr>
          <p:cNvPr id="12" name="Gruppieren 11">
            <a:extLst>
              <a:ext uri="{FF2B5EF4-FFF2-40B4-BE49-F238E27FC236}">
                <a16:creationId xmlns:a16="http://schemas.microsoft.com/office/drawing/2014/main" id="{AF487632-F404-49EF-9520-2B0426697E4E}"/>
              </a:ext>
            </a:extLst>
          </p:cNvPr>
          <p:cNvGrpSpPr>
            <a:grpSpLocks noChangeAspect="1"/>
          </p:cNvGrpSpPr>
          <p:nvPr userDrawn="1"/>
        </p:nvGrpSpPr>
        <p:grpSpPr bwMode="gray">
          <a:xfrm>
            <a:off x="893190" y="2156400"/>
            <a:ext cx="676800" cy="422930"/>
            <a:chOff x="1273175" y="1606550"/>
            <a:chExt cx="9653588" cy="6032500"/>
          </a:xfrm>
          <a:solidFill>
            <a:schemeClr val="accent2"/>
          </a:solidFill>
        </p:grpSpPr>
        <p:sp>
          <p:nvSpPr>
            <p:cNvPr id="13" name="Freeform 5">
              <a:extLst>
                <a:ext uri="{FF2B5EF4-FFF2-40B4-BE49-F238E27FC236}">
                  <a16:creationId xmlns:a16="http://schemas.microsoft.com/office/drawing/2014/main" id="{599B52AB-3882-4CD9-AFAB-BB5C70BB7FFE}"/>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4" name="Freeform 6">
              <a:extLst>
                <a:ext uri="{FF2B5EF4-FFF2-40B4-BE49-F238E27FC236}">
                  <a16:creationId xmlns:a16="http://schemas.microsoft.com/office/drawing/2014/main" id="{6237E8FF-20C2-4987-97B7-015EF878D937}"/>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5" name="Freeform 7">
              <a:extLst>
                <a:ext uri="{FF2B5EF4-FFF2-40B4-BE49-F238E27FC236}">
                  <a16:creationId xmlns:a16="http://schemas.microsoft.com/office/drawing/2014/main" id="{5EB7FE9D-01D4-43AA-B83B-C75AE7738B4D}"/>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6" name="Datumsplatzhalter 5"/>
          <p:cNvSpPr>
            <a:spLocks noGrp="1"/>
          </p:cNvSpPr>
          <p:nvPr>
            <p:ph type="dt" sz="half" idx="19"/>
          </p:nvPr>
        </p:nvSpPr>
        <p:spPr/>
        <p:txBody>
          <a:bodyPr/>
          <a:lstStyle/>
          <a:p>
            <a:endParaRPr lang="de-DE" dirty="0"/>
          </a:p>
        </p:txBody>
      </p:sp>
      <p:sp>
        <p:nvSpPr>
          <p:cNvPr id="7" name="Fußzeilenplatzhalter 6"/>
          <p:cNvSpPr>
            <a:spLocks noGrp="1"/>
          </p:cNvSpPr>
          <p:nvPr>
            <p:ph type="ftr" sz="quarter" idx="20"/>
          </p:nvPr>
        </p:nvSpPr>
        <p:spPr/>
        <p:txBody>
          <a:bodyPr/>
          <a:lstStyle/>
          <a:p>
            <a:r>
              <a:rPr lang="de-DE"/>
              <a:t>DEG-Unternehmenspräsentation</a:t>
            </a:r>
          </a:p>
        </p:txBody>
      </p:sp>
      <p:sp>
        <p:nvSpPr>
          <p:cNvPr id="9" name="Foliennummernplatzhalter 8"/>
          <p:cNvSpPr>
            <a:spLocks noGrp="1"/>
          </p:cNvSpPr>
          <p:nvPr>
            <p:ph type="sldNum" sz="quarter" idx="21"/>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25986323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apiteltrenner Hellgrau">
    <p:spTree>
      <p:nvGrpSpPr>
        <p:cNvPr id="1" name=""/>
        <p:cNvGrpSpPr/>
        <p:nvPr/>
      </p:nvGrpSpPr>
      <p:grpSpPr>
        <a:xfrm>
          <a:off x="0" y="0"/>
          <a:ext cx="0" cy="0"/>
          <a:chOff x="0" y="0"/>
          <a:chExt cx="0" cy="0"/>
        </a:xfrm>
      </p:grpSpPr>
      <p:sp>
        <p:nvSpPr>
          <p:cNvPr id="9" name="Rechteck: eine Ecke abgerundet 8">
            <a:extLst>
              <a:ext uri="{FF2B5EF4-FFF2-40B4-BE49-F238E27FC236}">
                <a16:creationId xmlns:a16="http://schemas.microsoft.com/office/drawing/2014/main" id="{80FDB814-7EFA-40B8-9B60-E7AC68CE6F5C}"/>
              </a:ext>
            </a:extLst>
          </p:cNvPr>
          <p:cNvSpPr/>
          <p:nvPr userDrawn="1"/>
        </p:nvSpPr>
        <p:spPr bwMode="gray">
          <a:xfrm flipH="1" flipV="1">
            <a:off x="344487" y="-1"/>
            <a:ext cx="9561508" cy="5509885"/>
          </a:xfrm>
          <a:prstGeom prst="round1Rect">
            <a:avLst>
              <a:gd name="adj" fmla="val 409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16" name="Textplatzhalter 4">
            <a:extLst>
              <a:ext uri="{FF2B5EF4-FFF2-40B4-BE49-F238E27FC236}">
                <a16:creationId xmlns:a16="http://schemas.microsoft.com/office/drawing/2014/main" id="{ADC41EAD-8DDB-431C-A06C-735E9985631A}"/>
              </a:ext>
            </a:extLst>
          </p:cNvPr>
          <p:cNvSpPr>
            <a:spLocks noGrp="1"/>
          </p:cNvSpPr>
          <p:nvPr>
            <p:ph type="body" sz="quarter" idx="18" hasCustomPrompt="1"/>
          </p:nvPr>
        </p:nvSpPr>
        <p:spPr>
          <a:xfrm>
            <a:off x="1087200" y="2660400"/>
            <a:ext cx="8569297"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2138400"/>
            <a:ext cx="8569296" cy="522000"/>
          </a:xfrm>
        </p:spPr>
        <p:txBody>
          <a:bodyPr wrap="square" anchor="t" anchorCtr="0"/>
          <a:lstStyle>
            <a:lvl1pPr marL="0" indent="625475" algn="l">
              <a:lnSpc>
                <a:spcPct val="90000"/>
              </a:lnSpc>
              <a:defRPr sz="3800">
                <a:solidFill>
                  <a:schemeClr val="accent1"/>
                </a:solidFill>
              </a:defRPr>
            </a:lvl1pPr>
          </a:lstStyle>
          <a:p>
            <a:r>
              <a:rPr lang="de-DE"/>
              <a:t>Mastertitelformat bearbeiten</a:t>
            </a:r>
            <a:endParaRPr lang="de-DE" dirty="0"/>
          </a:p>
        </p:txBody>
      </p:sp>
      <p:grpSp>
        <p:nvGrpSpPr>
          <p:cNvPr id="15" name="Gruppieren 14">
            <a:extLst>
              <a:ext uri="{FF2B5EF4-FFF2-40B4-BE49-F238E27FC236}">
                <a16:creationId xmlns:a16="http://schemas.microsoft.com/office/drawing/2014/main" id="{AB0EEDED-F272-46FA-912B-E7BC94BF74D3}"/>
              </a:ext>
            </a:extLst>
          </p:cNvPr>
          <p:cNvGrpSpPr>
            <a:grpSpLocks noChangeAspect="1"/>
          </p:cNvGrpSpPr>
          <p:nvPr userDrawn="1"/>
        </p:nvGrpSpPr>
        <p:grpSpPr bwMode="gray">
          <a:xfrm>
            <a:off x="893190" y="2156400"/>
            <a:ext cx="676800" cy="422930"/>
            <a:chOff x="1273175" y="1606550"/>
            <a:chExt cx="9653588" cy="6032500"/>
          </a:xfrm>
          <a:solidFill>
            <a:schemeClr val="accent2"/>
          </a:solidFill>
        </p:grpSpPr>
        <p:sp>
          <p:nvSpPr>
            <p:cNvPr id="17" name="Freeform 5">
              <a:extLst>
                <a:ext uri="{FF2B5EF4-FFF2-40B4-BE49-F238E27FC236}">
                  <a16:creationId xmlns:a16="http://schemas.microsoft.com/office/drawing/2014/main" id="{C8DF6415-7603-4698-B7CE-825585DEE38B}"/>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8" name="Freeform 6">
              <a:extLst>
                <a:ext uri="{FF2B5EF4-FFF2-40B4-BE49-F238E27FC236}">
                  <a16:creationId xmlns:a16="http://schemas.microsoft.com/office/drawing/2014/main" id="{AE713B85-5D84-4DA1-9E89-5A18A847AEA5}"/>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9" name="Freeform 7">
              <a:extLst>
                <a:ext uri="{FF2B5EF4-FFF2-40B4-BE49-F238E27FC236}">
                  <a16:creationId xmlns:a16="http://schemas.microsoft.com/office/drawing/2014/main" id="{E7B4847F-5170-4F69-AD64-24959E1B3376}"/>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5" name="Datumsplatzhalter 4"/>
          <p:cNvSpPr>
            <a:spLocks noGrp="1"/>
          </p:cNvSpPr>
          <p:nvPr>
            <p:ph type="dt" sz="half" idx="19"/>
          </p:nvPr>
        </p:nvSpPr>
        <p:spPr/>
        <p:txBody>
          <a:bodyPr/>
          <a:lstStyle/>
          <a:p>
            <a:endParaRPr lang="de-DE" dirty="0"/>
          </a:p>
        </p:txBody>
      </p:sp>
      <p:sp>
        <p:nvSpPr>
          <p:cNvPr id="6" name="Fußzeilenplatzhalter 5"/>
          <p:cNvSpPr>
            <a:spLocks noGrp="1"/>
          </p:cNvSpPr>
          <p:nvPr>
            <p:ph type="ftr" sz="quarter" idx="20"/>
          </p:nvPr>
        </p:nvSpPr>
        <p:spPr/>
        <p:txBody>
          <a:bodyPr/>
          <a:lstStyle/>
          <a:p>
            <a:r>
              <a:rPr lang="de-DE"/>
              <a:t>DEG-Unternehmenspräsentation</a:t>
            </a:r>
          </a:p>
        </p:txBody>
      </p:sp>
      <p:sp>
        <p:nvSpPr>
          <p:cNvPr id="7" name="Foliennummernplatzhalter 6"/>
          <p:cNvSpPr>
            <a:spLocks noGrp="1"/>
          </p:cNvSpPr>
          <p:nvPr>
            <p:ph type="sldNum" sz="quarter" idx="21"/>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18925665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azit Petrol">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DBD3158-38F3-4DA0-AA60-95EDE400F0A2}"/>
              </a:ext>
            </a:extLst>
          </p:cNvPr>
          <p:cNvSpPr/>
          <p:nvPr userDrawn="1"/>
        </p:nvSpPr>
        <p:spPr bwMode="gray">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solidFill>
                <a:schemeClr val="bg1"/>
              </a:solidFill>
            </a:endParaRPr>
          </a:p>
        </p:txBody>
      </p:sp>
      <p:sp>
        <p:nvSpPr>
          <p:cNvPr id="9" name="Textplatzhalter 8">
            <a:extLst>
              <a:ext uri="{FF2B5EF4-FFF2-40B4-BE49-F238E27FC236}">
                <a16:creationId xmlns:a16="http://schemas.microsoft.com/office/drawing/2014/main" id="{803F9F54-D677-4386-A2BE-50F593FEE606}"/>
              </a:ext>
            </a:extLst>
          </p:cNvPr>
          <p:cNvSpPr>
            <a:spLocks noGrp="1"/>
          </p:cNvSpPr>
          <p:nvPr>
            <p:ph type="body" sz="quarter" idx="13"/>
          </p:nvPr>
        </p:nvSpPr>
        <p:spPr bwMode="gray">
          <a:xfrm>
            <a:off x="344488" y="1296000"/>
            <a:ext cx="9217027" cy="352800"/>
          </a:xfrm>
        </p:spPr>
        <p:txBody>
          <a:bodyPr/>
          <a:lstStyle>
            <a:lvl1pPr marL="0" indent="0">
              <a:buNone/>
              <a:defRPr sz="1800" b="1">
                <a:solidFill>
                  <a:schemeClr val="accent2"/>
                </a:solidFill>
              </a:defRPr>
            </a:lvl1pPr>
            <a:lvl2pPr marL="361950" indent="0">
              <a:buNone/>
              <a:defRPr/>
            </a:lvl2pPr>
          </a:lstStyle>
          <a:p>
            <a:pPr lvl="0"/>
            <a:r>
              <a:rPr lang="de-DE"/>
              <a:t>Formatvorlagen des Textmasters bearbeiten</a:t>
            </a:r>
          </a:p>
        </p:txBody>
      </p:sp>
      <p:sp>
        <p:nvSpPr>
          <p:cNvPr id="10" name="Textplatzhalter 8">
            <a:extLst>
              <a:ext uri="{FF2B5EF4-FFF2-40B4-BE49-F238E27FC236}">
                <a16:creationId xmlns:a16="http://schemas.microsoft.com/office/drawing/2014/main" id="{8AD22A90-224A-40DE-94F8-BC41FD676619}"/>
              </a:ext>
            </a:extLst>
          </p:cNvPr>
          <p:cNvSpPr>
            <a:spLocks noGrp="1"/>
          </p:cNvSpPr>
          <p:nvPr>
            <p:ph type="body" sz="quarter" idx="14"/>
          </p:nvPr>
        </p:nvSpPr>
        <p:spPr bwMode="gray">
          <a:xfrm>
            <a:off x="344488" y="1713600"/>
            <a:ext cx="9217026" cy="4631638"/>
          </a:xfrm>
        </p:spPr>
        <p:txBody>
          <a:bodyPr/>
          <a:lstStyle>
            <a:lvl1pPr marL="0" indent="0">
              <a:lnSpc>
                <a:spcPct val="90000"/>
              </a:lnSpc>
              <a:buNone/>
              <a:defRPr sz="3600">
                <a:solidFill>
                  <a:schemeClr val="bg1"/>
                </a:solidFill>
              </a:defRPr>
            </a:lvl1pPr>
            <a:lvl2pPr marL="361950" indent="0">
              <a:buNone/>
              <a:defRPr/>
            </a:lvl2pPr>
          </a:lstStyle>
          <a:p>
            <a:pPr lvl="0"/>
            <a:r>
              <a:rPr lang="de-DE"/>
              <a:t>Formatvorlagen des Textmasters bearbeiten</a:t>
            </a:r>
          </a:p>
        </p:txBody>
      </p:sp>
      <p:pic>
        <p:nvPicPr>
          <p:cNvPr id="11" name="Grafik 10">
            <a:extLst>
              <a:ext uri="{FF2B5EF4-FFF2-40B4-BE49-F238E27FC236}">
                <a16:creationId xmlns:a16="http://schemas.microsoft.com/office/drawing/2014/main" id="{57DA75E9-D5B7-4644-BA9F-77443382F78C}"/>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bwMode="gray">
          <a:xfrm>
            <a:off x="332558" y="6503345"/>
            <a:ext cx="622325" cy="154162"/>
          </a:xfrm>
          <a:prstGeom prst="rect">
            <a:avLst/>
          </a:prstGeom>
        </p:spPr>
      </p:pic>
      <p:sp>
        <p:nvSpPr>
          <p:cNvPr id="3" name="Datumsplatzhalter 2"/>
          <p:cNvSpPr>
            <a:spLocks noGrp="1"/>
          </p:cNvSpPr>
          <p:nvPr>
            <p:ph type="dt" sz="half" idx="15"/>
          </p:nvPr>
        </p:nvSpPr>
        <p:spPr/>
        <p:txBody>
          <a:bodyPr/>
          <a:lstStyle/>
          <a:p>
            <a:endParaRPr lang="de-DE" dirty="0"/>
          </a:p>
        </p:txBody>
      </p:sp>
      <p:sp>
        <p:nvSpPr>
          <p:cNvPr id="4" name="Fußzeilenplatzhalter 3"/>
          <p:cNvSpPr>
            <a:spLocks noGrp="1"/>
          </p:cNvSpPr>
          <p:nvPr>
            <p:ph type="ftr" sz="quarter" idx="16"/>
          </p:nvPr>
        </p:nvSpPr>
        <p:spPr/>
        <p:txBody>
          <a:bodyPr/>
          <a:lstStyle>
            <a:lvl1pPr>
              <a:defRPr baseline="0">
                <a:solidFill>
                  <a:schemeClr val="bg1"/>
                </a:solidFill>
              </a:defRPr>
            </a:lvl1pPr>
          </a:lstStyle>
          <a:p>
            <a:r>
              <a:rPr lang="de-DE"/>
              <a:t>DEG-Unternehmenspräsentation</a:t>
            </a:r>
          </a:p>
        </p:txBody>
      </p:sp>
      <p:sp>
        <p:nvSpPr>
          <p:cNvPr id="6" name="Foliennummernplatzhalter 5"/>
          <p:cNvSpPr>
            <a:spLocks noGrp="1"/>
          </p:cNvSpPr>
          <p:nvPr>
            <p:ph type="sldNum" sz="quarter" idx="17"/>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30147891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azit Hellgr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DBD3158-38F3-4DA0-AA60-95EDE400F0A2}"/>
              </a:ext>
            </a:extLst>
          </p:cNvPr>
          <p:cNvSpPr/>
          <p:nvPr userDrawn="1"/>
        </p:nvSpPr>
        <p:spPr bwMode="gray">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solidFill>
                <a:schemeClr val="bg1"/>
              </a:solidFill>
            </a:endParaRPr>
          </a:p>
        </p:txBody>
      </p:sp>
      <p:sp>
        <p:nvSpPr>
          <p:cNvPr id="9" name="Textplatzhalter 8">
            <a:extLst>
              <a:ext uri="{FF2B5EF4-FFF2-40B4-BE49-F238E27FC236}">
                <a16:creationId xmlns:a16="http://schemas.microsoft.com/office/drawing/2014/main" id="{803F9F54-D677-4386-A2BE-50F593FEE606}"/>
              </a:ext>
            </a:extLst>
          </p:cNvPr>
          <p:cNvSpPr>
            <a:spLocks noGrp="1"/>
          </p:cNvSpPr>
          <p:nvPr>
            <p:ph type="body" sz="quarter" idx="13"/>
          </p:nvPr>
        </p:nvSpPr>
        <p:spPr bwMode="gray">
          <a:xfrm>
            <a:off x="344488" y="1296000"/>
            <a:ext cx="9217028" cy="352800"/>
          </a:xfrm>
        </p:spPr>
        <p:txBody>
          <a:bodyPr/>
          <a:lstStyle>
            <a:lvl1pPr marL="0" indent="0">
              <a:buNone/>
              <a:defRPr sz="1800" b="1">
                <a:solidFill>
                  <a:schemeClr val="accent2"/>
                </a:solidFill>
              </a:defRPr>
            </a:lvl1pPr>
            <a:lvl2pPr marL="361950" indent="0">
              <a:buNone/>
              <a:defRPr/>
            </a:lvl2pPr>
          </a:lstStyle>
          <a:p>
            <a:pPr lvl="0"/>
            <a:r>
              <a:rPr lang="de-DE"/>
              <a:t>Formatvorlagen des Textmasters bearbeiten</a:t>
            </a:r>
          </a:p>
        </p:txBody>
      </p:sp>
      <p:sp>
        <p:nvSpPr>
          <p:cNvPr id="10" name="Textplatzhalter 8">
            <a:extLst>
              <a:ext uri="{FF2B5EF4-FFF2-40B4-BE49-F238E27FC236}">
                <a16:creationId xmlns:a16="http://schemas.microsoft.com/office/drawing/2014/main" id="{8AD22A90-224A-40DE-94F8-BC41FD676619}"/>
              </a:ext>
            </a:extLst>
          </p:cNvPr>
          <p:cNvSpPr>
            <a:spLocks noGrp="1"/>
          </p:cNvSpPr>
          <p:nvPr>
            <p:ph type="body" sz="quarter" idx="14"/>
          </p:nvPr>
        </p:nvSpPr>
        <p:spPr bwMode="gray">
          <a:xfrm>
            <a:off x="344487" y="1713600"/>
            <a:ext cx="9217027" cy="4631638"/>
          </a:xfrm>
        </p:spPr>
        <p:txBody>
          <a:bodyPr/>
          <a:lstStyle>
            <a:lvl1pPr marL="0" indent="0">
              <a:lnSpc>
                <a:spcPct val="90000"/>
              </a:lnSpc>
              <a:buNone/>
              <a:defRPr sz="3600">
                <a:solidFill>
                  <a:schemeClr val="accent1"/>
                </a:solidFill>
              </a:defRPr>
            </a:lvl1pPr>
            <a:lvl2pPr marL="361950" indent="0">
              <a:buNone/>
              <a:defRPr/>
            </a:lvl2pPr>
          </a:lstStyle>
          <a:p>
            <a:pPr lvl="0"/>
            <a:r>
              <a:rPr lang="de-DE"/>
              <a:t>Formatvorlagen des Textmasters bearbeiten</a:t>
            </a:r>
          </a:p>
        </p:txBody>
      </p:sp>
      <p:pic>
        <p:nvPicPr>
          <p:cNvPr id="11" name="Grafik 10">
            <a:extLst>
              <a:ext uri="{FF2B5EF4-FFF2-40B4-BE49-F238E27FC236}">
                <a16:creationId xmlns:a16="http://schemas.microsoft.com/office/drawing/2014/main" id="{49540559-1C1D-4031-BEBE-6801236364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2558" y="6503345"/>
            <a:ext cx="622325" cy="154162"/>
          </a:xfrm>
          <a:prstGeom prst="rect">
            <a:avLst/>
          </a:prstGeom>
        </p:spPr>
      </p:pic>
      <p:sp>
        <p:nvSpPr>
          <p:cNvPr id="3" name="Datumsplatzhalter 2"/>
          <p:cNvSpPr>
            <a:spLocks noGrp="1"/>
          </p:cNvSpPr>
          <p:nvPr>
            <p:ph type="dt" sz="half" idx="15"/>
          </p:nvPr>
        </p:nvSpPr>
        <p:spPr/>
        <p:txBody>
          <a:bodyPr/>
          <a:lstStyle/>
          <a:p>
            <a:endParaRPr lang="de-DE" dirty="0"/>
          </a:p>
        </p:txBody>
      </p:sp>
      <p:sp>
        <p:nvSpPr>
          <p:cNvPr id="4" name="Fußzeilenplatzhalter 3"/>
          <p:cNvSpPr>
            <a:spLocks noGrp="1"/>
          </p:cNvSpPr>
          <p:nvPr>
            <p:ph type="ftr" sz="quarter" idx="16"/>
          </p:nvPr>
        </p:nvSpPr>
        <p:spPr/>
        <p:txBody>
          <a:bodyPr/>
          <a:lstStyle/>
          <a:p>
            <a:r>
              <a:rPr lang="de-DE"/>
              <a:t>DEG-Unternehmenspräsentation</a:t>
            </a:r>
          </a:p>
        </p:txBody>
      </p:sp>
      <p:sp>
        <p:nvSpPr>
          <p:cNvPr id="6" name="Foliennummernplatzhalter 5"/>
          <p:cNvSpPr>
            <a:spLocks noGrp="1"/>
          </p:cNvSpPr>
          <p:nvPr>
            <p:ph type="sldNum" sz="quarter" idx="17"/>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10180746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e">
    <p:spTree>
      <p:nvGrpSpPr>
        <p:cNvPr id="1" name=""/>
        <p:cNvGrpSpPr/>
        <p:nvPr/>
      </p:nvGrpSpPr>
      <p:grpSpPr>
        <a:xfrm>
          <a:off x="0" y="0"/>
          <a:ext cx="0" cy="0"/>
          <a:chOff x="0" y="0"/>
          <a:chExt cx="0" cy="0"/>
        </a:xfrm>
      </p:grpSpPr>
      <p:sp>
        <p:nvSpPr>
          <p:cNvPr id="12" name="Rechteck: eine Ecke abgerundet 11">
            <a:extLst>
              <a:ext uri="{FF2B5EF4-FFF2-40B4-BE49-F238E27FC236}">
                <a16:creationId xmlns:a16="http://schemas.microsoft.com/office/drawing/2014/main" id="{B41910A6-9C48-4978-809F-BB56BF91B131}"/>
              </a:ext>
            </a:extLst>
          </p:cNvPr>
          <p:cNvSpPr/>
          <p:nvPr userDrawn="1"/>
        </p:nvSpPr>
        <p:spPr bwMode="gray">
          <a:xfrm flipH="1" flipV="1">
            <a:off x="332739" y="0"/>
            <a:ext cx="9573257" cy="5509885"/>
          </a:xfrm>
          <a:prstGeom prst="round1Rect">
            <a:avLst>
              <a:gd name="adj" fmla="val 429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5" name="Textplatzhalter 4">
            <a:extLst>
              <a:ext uri="{FF2B5EF4-FFF2-40B4-BE49-F238E27FC236}">
                <a16:creationId xmlns:a16="http://schemas.microsoft.com/office/drawing/2014/main" id="{D400E007-964F-4EE0-9E50-24A2ABA74D5F}"/>
              </a:ext>
            </a:extLst>
          </p:cNvPr>
          <p:cNvSpPr>
            <a:spLocks noGrp="1"/>
          </p:cNvSpPr>
          <p:nvPr>
            <p:ph type="body" sz="quarter" idx="18" hasCustomPrompt="1"/>
          </p:nvPr>
        </p:nvSpPr>
        <p:spPr>
          <a:xfrm>
            <a:off x="1087200" y="2322000"/>
            <a:ext cx="8486061"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1792800"/>
            <a:ext cx="8486060" cy="601200"/>
          </a:xfrm>
        </p:spPr>
        <p:txBody>
          <a:bodyPr wrap="square" anchor="t" anchorCtr="0"/>
          <a:lstStyle>
            <a:lvl1pPr marL="0" indent="625475" algn="l">
              <a:lnSpc>
                <a:spcPct val="90000"/>
              </a:lnSpc>
              <a:defRPr sz="3800">
                <a:solidFill>
                  <a:schemeClr val="bg1"/>
                </a:solidFill>
              </a:defRPr>
            </a:lvl1pPr>
          </a:lstStyle>
          <a:p>
            <a:r>
              <a:rPr lang="de-DE"/>
              <a:t>Mastertitelformat bearbeiten</a:t>
            </a:r>
            <a:endParaRPr lang="de-DE" dirty="0"/>
          </a:p>
        </p:txBody>
      </p:sp>
      <p:grpSp>
        <p:nvGrpSpPr>
          <p:cNvPr id="17" name="Gruppieren 16">
            <a:extLst>
              <a:ext uri="{FF2B5EF4-FFF2-40B4-BE49-F238E27FC236}">
                <a16:creationId xmlns:a16="http://schemas.microsoft.com/office/drawing/2014/main" id="{08613922-21EF-4FE1-8D1E-265027042E95}"/>
              </a:ext>
            </a:extLst>
          </p:cNvPr>
          <p:cNvGrpSpPr>
            <a:grpSpLocks noChangeAspect="1"/>
          </p:cNvGrpSpPr>
          <p:nvPr userDrawn="1"/>
        </p:nvGrpSpPr>
        <p:grpSpPr bwMode="gray">
          <a:xfrm>
            <a:off x="893190" y="1822562"/>
            <a:ext cx="676800" cy="422930"/>
            <a:chOff x="1273175" y="1606550"/>
            <a:chExt cx="9653588" cy="6032500"/>
          </a:xfrm>
          <a:solidFill>
            <a:schemeClr val="accent2"/>
          </a:solidFill>
        </p:grpSpPr>
        <p:sp>
          <p:nvSpPr>
            <p:cNvPr id="20" name="Freeform 5">
              <a:extLst>
                <a:ext uri="{FF2B5EF4-FFF2-40B4-BE49-F238E27FC236}">
                  <a16:creationId xmlns:a16="http://schemas.microsoft.com/office/drawing/2014/main" id="{7132CCA6-5D2D-4F34-8FC5-DA8BC6EB3E68}"/>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1" name="Freeform 6">
              <a:extLst>
                <a:ext uri="{FF2B5EF4-FFF2-40B4-BE49-F238E27FC236}">
                  <a16:creationId xmlns:a16="http://schemas.microsoft.com/office/drawing/2014/main" id="{2C87363E-34D0-4E30-9D6D-A3614608D3DF}"/>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4" name="Freeform 7">
              <a:extLst>
                <a:ext uri="{FF2B5EF4-FFF2-40B4-BE49-F238E27FC236}">
                  <a16:creationId xmlns:a16="http://schemas.microsoft.com/office/drawing/2014/main" id="{D63D12DD-0965-49D4-BA52-CECC18BB4AE5}"/>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pic>
        <p:nvPicPr>
          <p:cNvPr id="11" name="Grafik 10">
            <a:extLst>
              <a:ext uri="{FF2B5EF4-FFF2-40B4-BE49-F238E27FC236}">
                <a16:creationId xmlns:a16="http://schemas.microsoft.com/office/drawing/2014/main" id="{75808914-F017-4F94-8EDC-77E0464CA3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689314" y="6006976"/>
            <a:ext cx="1818695" cy="450527"/>
          </a:xfrm>
          <a:prstGeom prst="rect">
            <a:avLst/>
          </a:prstGeom>
        </p:spPr>
      </p:pic>
      <p:sp>
        <p:nvSpPr>
          <p:cNvPr id="3" name="Datumsplatzhalter 2"/>
          <p:cNvSpPr>
            <a:spLocks noGrp="1"/>
          </p:cNvSpPr>
          <p:nvPr>
            <p:ph type="dt" sz="half" idx="19"/>
          </p:nvPr>
        </p:nvSpPr>
        <p:spPr/>
        <p:txBody>
          <a:bodyPr/>
          <a:lstStyle/>
          <a:p>
            <a:endParaRPr lang="de-DE" dirty="0"/>
          </a:p>
        </p:txBody>
      </p:sp>
      <p:sp>
        <p:nvSpPr>
          <p:cNvPr id="4" name="Fußzeilenplatzhalter 3"/>
          <p:cNvSpPr>
            <a:spLocks noGrp="1"/>
          </p:cNvSpPr>
          <p:nvPr>
            <p:ph type="ftr" sz="quarter" idx="20"/>
          </p:nvPr>
        </p:nvSpPr>
        <p:spPr/>
        <p:txBody>
          <a:bodyPr/>
          <a:lstStyle/>
          <a:p>
            <a:r>
              <a:rPr lang="de-DE"/>
              <a:t>DEG-Unternehmenspräsentation</a:t>
            </a:r>
          </a:p>
        </p:txBody>
      </p:sp>
      <p:sp>
        <p:nvSpPr>
          <p:cNvPr id="6" name="Foliennummernplatzhalter 5"/>
          <p:cNvSpPr>
            <a:spLocks noGrp="1"/>
          </p:cNvSpPr>
          <p:nvPr>
            <p:ph type="sldNum" sz="quarter" idx="21"/>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9688712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7">
            <a:extLst>
              <a:ext uri="{FF2B5EF4-FFF2-40B4-BE49-F238E27FC236}">
                <a16:creationId xmlns:a16="http://schemas.microsoft.com/office/drawing/2014/main" id="{DC2D0EC3-A95E-4954-92ED-7BCE700AFDD0}"/>
              </a:ext>
            </a:extLst>
          </p:cNvPr>
          <p:cNvSpPr>
            <a:spLocks noGrp="1"/>
          </p:cNvSpPr>
          <p:nvPr>
            <p:ph type="body" sz="quarter" idx="13"/>
          </p:nvPr>
        </p:nvSpPr>
        <p:spPr bwMode="gray">
          <a:xfrm>
            <a:off x="344488" y="1368000"/>
            <a:ext cx="9217026" cy="4977238"/>
          </a:xfrm>
        </p:spPr>
        <p:txBody>
          <a:bodyPr/>
          <a:lstStyle>
            <a:lvl1pPr marL="266700" indent="-266700">
              <a:spcBef>
                <a:spcPts val="0"/>
              </a:spcBef>
              <a:buSzPct val="100000"/>
              <a:buFont typeface="+mj-lt"/>
              <a:buAutoNum type="arabicPeriod"/>
              <a:defRPr sz="2000">
                <a:solidFill>
                  <a:schemeClr val="accent1"/>
                </a:solidFill>
              </a:defRPr>
            </a:lvl1pPr>
            <a:lvl2pPr marL="563563" indent="-296863">
              <a:spcBef>
                <a:spcPts val="0"/>
              </a:spcBef>
              <a:buSzPct val="100000"/>
              <a:buFont typeface="+mj-lt"/>
              <a:buAutoNum type="alphaLcParenR"/>
              <a:defRPr sz="2000">
                <a:solidFill>
                  <a:schemeClr val="accent1"/>
                </a:solidFill>
              </a:defRPr>
            </a:lvl2pPr>
            <a:lvl3pPr marL="987425" indent="-266700">
              <a:spcBef>
                <a:spcPts val="0"/>
              </a:spcBef>
              <a:defRPr sz="2000">
                <a:solidFill>
                  <a:schemeClr val="accent1"/>
                </a:solidFill>
              </a:defRPr>
            </a:lvl3pPr>
            <a:lvl4pPr marL="1344613" indent="-266700">
              <a:spcBef>
                <a:spcPts val="0"/>
              </a:spcBef>
              <a:defRPr sz="2000">
                <a:solidFill>
                  <a:schemeClr val="accent1"/>
                </a:solidFill>
              </a:defRPr>
            </a:lvl4pPr>
            <a:lvl5pPr marL="1703388" indent="-269875">
              <a:spcBef>
                <a:spcPts val="0"/>
              </a:spcBef>
              <a:defRPr sz="2000">
                <a:solidFill>
                  <a:schemeClr val="accent1"/>
                </a:solidFill>
              </a:defRPr>
            </a:lvl5pPr>
          </a:lstStyle>
          <a:p>
            <a:pPr lvl="0"/>
            <a:r>
              <a:rPr lang="de-DE"/>
              <a:t>Mastertextformat bearbeiten
Zweite Ebene
Dritte Ebene
Vierte Ebene
Fünfte Ebene</a:t>
            </a:r>
            <a:endParaRPr lang="de-DE" dirty="0"/>
          </a:p>
        </p:txBody>
      </p:sp>
      <p:sp>
        <p:nvSpPr>
          <p:cNvPr id="9" name="Textplatzhalter 8">
            <a:extLst>
              <a:ext uri="{FF2B5EF4-FFF2-40B4-BE49-F238E27FC236}">
                <a16:creationId xmlns:a16="http://schemas.microsoft.com/office/drawing/2014/main" id="{D608AE62-84CB-4996-80B3-21AF3496AA14}"/>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5"/>
          </p:nvPr>
        </p:nvSpPr>
        <p:spPr/>
        <p:txBody>
          <a:bodyPr/>
          <a:lstStyle/>
          <a:p>
            <a:r>
              <a:rPr lang="de-DE"/>
              <a:t>DEG-Unternehmenspräsentation</a:t>
            </a:r>
          </a:p>
        </p:txBody>
      </p:sp>
      <p:sp>
        <p:nvSpPr>
          <p:cNvPr id="10" name="Textplatzhalter 8">
            <a:extLst>
              <a:ext uri="{FF2B5EF4-FFF2-40B4-BE49-F238E27FC236}">
                <a16:creationId xmlns:a16="http://schemas.microsoft.com/office/drawing/2014/main" id="{C8667513-964F-4F78-A439-2824559A4357}"/>
              </a:ext>
            </a:extLst>
          </p:cNvPr>
          <p:cNvSpPr>
            <a:spLocks noGrp="1"/>
          </p:cNvSpPr>
          <p:nvPr>
            <p:ph type="body" sz="quarter" idx="16"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Tree>
    <p:extLst>
      <p:ext uri="{BB962C8B-B14F-4D97-AF65-F5344CB8AC3E}">
        <p14:creationId xmlns:p14="http://schemas.microsoft.com/office/powerpoint/2010/main" val="10510075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1 Inhal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1" name="Textplatzhalter 10">
            <a:extLst>
              <a:ext uri="{FF2B5EF4-FFF2-40B4-BE49-F238E27FC236}">
                <a16:creationId xmlns:a16="http://schemas.microsoft.com/office/drawing/2014/main" id="{82B579BD-3C39-45EA-9C3E-D015E233DF95}"/>
              </a:ext>
            </a:extLst>
          </p:cNvPr>
          <p:cNvSpPr>
            <a:spLocks noGrp="1"/>
          </p:cNvSpPr>
          <p:nvPr>
            <p:ph type="body" sz="quarter" idx="15"/>
          </p:nvPr>
        </p:nvSpPr>
        <p:spPr>
          <a:xfrm>
            <a:off x="344487" y="1368000"/>
            <a:ext cx="9217026" cy="4977238"/>
          </a:xfrm>
        </p:spPr>
        <p:txBody>
          <a:body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endParaRPr lang="de-DE" dirty="0"/>
          </a:p>
        </p:txBody>
      </p:sp>
      <p:sp>
        <p:nvSpPr>
          <p:cNvPr id="3" name="Fußzeilenplatzhalter 2"/>
          <p:cNvSpPr>
            <a:spLocks noGrp="1"/>
          </p:cNvSpPr>
          <p:nvPr>
            <p:ph type="ftr" sz="quarter" idx="16"/>
          </p:nvPr>
        </p:nvSpPr>
        <p:spPr/>
        <p:txBody>
          <a:bodyPr/>
          <a:lstStyle/>
          <a:p>
            <a:r>
              <a:rPr lang="de-DE"/>
              <a:t>DEG-Unternehmenspräsentation</a:t>
            </a:r>
          </a:p>
        </p:txBody>
      </p:sp>
    </p:spTree>
    <p:extLst>
      <p:ext uri="{BB962C8B-B14F-4D97-AF65-F5344CB8AC3E}">
        <p14:creationId xmlns:p14="http://schemas.microsoft.com/office/powerpoint/2010/main" val="17908113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1 Inhalt (mit Hintergrun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4EB99B99-3E1F-4962-A07D-43E58545C978}"/>
              </a:ext>
            </a:extLst>
          </p:cNvPr>
          <p:cNvSpPr>
            <a:spLocks noGrp="1"/>
          </p:cNvSpPr>
          <p:nvPr>
            <p:ph type="body" sz="quarter" idx="15"/>
          </p:nvPr>
        </p:nvSpPr>
        <p:spPr>
          <a:xfrm>
            <a:off x="344487" y="1412875"/>
            <a:ext cx="9228771" cy="4786212"/>
          </a:xfrm>
          <a:solidFill>
            <a:schemeClr val="tx2"/>
          </a:solidFill>
        </p:spPr>
        <p:txBody>
          <a:bodyPr lIns="144000" tIns="108000" rIns="144000" bIns="108000"/>
          <a:lstStyle/>
          <a:p>
            <a:pPr lvl="0"/>
            <a:r>
              <a:rPr lang="de-DE"/>
              <a:t>Mastertextformat bearbeiten
Zweite Ebene
Dritte Ebene
Vierte Ebene
Fünfte Ebene</a:t>
            </a:r>
            <a:endParaRPr lang="de-DE" dirty="0"/>
          </a:p>
        </p:txBody>
      </p:sp>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Textplatzhalter 8">
            <a:extLst>
              <a:ext uri="{FF2B5EF4-FFF2-40B4-BE49-F238E27FC236}">
                <a16:creationId xmlns:a16="http://schemas.microsoft.com/office/drawing/2014/main" id="{C8667513-964F-4F78-A439-2824559A4357}"/>
              </a:ext>
            </a:extLst>
          </p:cNvPr>
          <p:cNvSpPr>
            <a:spLocks noGrp="1"/>
          </p:cNvSpPr>
          <p:nvPr>
            <p:ph type="body" sz="quarter" idx="13" hasCustomPrompt="1"/>
          </p:nvPr>
        </p:nvSpPr>
        <p:spPr>
          <a:xfrm>
            <a:off x="344487" y="6202800"/>
            <a:ext cx="9240520"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8" name="Textplatzhalter 8">
            <a:extLst>
              <a:ext uri="{FF2B5EF4-FFF2-40B4-BE49-F238E27FC236}">
                <a16:creationId xmlns:a16="http://schemas.microsoft.com/office/drawing/2014/main" id="{35F30178-C4D7-4483-9585-7B605759D96D}"/>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6"/>
          </p:nvPr>
        </p:nvSpPr>
        <p:spPr/>
        <p:txBody>
          <a:bodyPr/>
          <a:lstStyle/>
          <a:p>
            <a:r>
              <a:rPr lang="de-DE"/>
              <a:t>DEG-Unternehmenspräsentation</a:t>
            </a:r>
          </a:p>
        </p:txBody>
      </p:sp>
    </p:spTree>
    <p:extLst>
      <p:ext uri="{BB962C8B-B14F-4D97-AF65-F5344CB8AC3E}">
        <p14:creationId xmlns:p14="http://schemas.microsoft.com/office/powerpoint/2010/main" val="4032177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und Bild (link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344487" y="1412875"/>
            <a:ext cx="4500563" cy="4787900"/>
          </a:xfrm>
          <a:noFill/>
        </p:spPr>
        <p:txBody>
          <a:bodyPr anchor="ctr"/>
          <a:lstStyle>
            <a:lvl1pPr marL="0" indent="0" algn="ctr">
              <a:buNone/>
              <a:defRPr/>
            </a:lvl1pPr>
          </a:lstStyle>
          <a:p>
            <a:r>
              <a:rPr lang="de-DE" dirty="0"/>
              <a:t>Bild durch Klicken auf Symbol hinzufügen</a:t>
            </a:r>
          </a:p>
        </p:txBody>
      </p:sp>
      <p:sp>
        <p:nvSpPr>
          <p:cNvPr id="10" name="Textplatzhalter 8">
            <a:extLst>
              <a:ext uri="{FF2B5EF4-FFF2-40B4-BE49-F238E27FC236}">
                <a16:creationId xmlns:a16="http://schemas.microsoft.com/office/drawing/2014/main" id="{30277B03-85B4-4F3B-A030-8A1FED7499E9}"/>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1D1C562-D211-4469-8BCE-F4C9C4C9EE38}"/>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13" name="Textplatzhalter 10">
            <a:extLst>
              <a:ext uri="{FF2B5EF4-FFF2-40B4-BE49-F238E27FC236}">
                <a16:creationId xmlns:a16="http://schemas.microsoft.com/office/drawing/2014/main" id="{63CAAA68-A509-4AFC-977E-960A985302B7}"/>
              </a:ext>
            </a:extLst>
          </p:cNvPr>
          <p:cNvSpPr>
            <a:spLocks noGrp="1"/>
          </p:cNvSpPr>
          <p:nvPr>
            <p:ph type="body" sz="quarter" idx="16"/>
          </p:nvPr>
        </p:nvSpPr>
        <p:spPr>
          <a:xfrm>
            <a:off x="5064422" y="1368000"/>
            <a:ext cx="4497091" cy="49772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12245185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2 Inhalte">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8" y="1368000"/>
            <a:ext cx="4500562" cy="4977238"/>
          </a:xfrm>
        </p:spPr>
        <p:txBody>
          <a:bodyPr/>
          <a:lstStyle/>
          <a:p>
            <a:pPr lvl="0"/>
            <a:r>
              <a:rPr lang="de-DE"/>
              <a:t>Mastertextformat bearbeiten
Zweite Ebene
Dritte Ebene
Vierte Ebene
Fünfte Ebene</a:t>
            </a:r>
            <a:endParaRPr lang="de-DE" dirty="0"/>
          </a:p>
        </p:txBody>
      </p:sp>
      <p:sp>
        <p:nvSpPr>
          <p:cNvPr id="13" name="Textplatzhalter 10">
            <a:extLst>
              <a:ext uri="{FF2B5EF4-FFF2-40B4-BE49-F238E27FC236}">
                <a16:creationId xmlns:a16="http://schemas.microsoft.com/office/drawing/2014/main" id="{3CB7310F-5B72-4494-BE21-FB64CA65AA93}"/>
              </a:ext>
            </a:extLst>
          </p:cNvPr>
          <p:cNvSpPr>
            <a:spLocks noGrp="1"/>
          </p:cNvSpPr>
          <p:nvPr>
            <p:ph type="body" sz="quarter" idx="16"/>
          </p:nvPr>
        </p:nvSpPr>
        <p:spPr>
          <a:xfrm>
            <a:off x="5060951" y="1368000"/>
            <a:ext cx="4500562" cy="4977238"/>
          </a:xfrm>
        </p:spPr>
        <p:txBody>
          <a:bodyPr/>
          <a:lstStyle/>
          <a:p>
            <a:pPr lvl="0"/>
            <a:r>
              <a:rPr lang="de-DE"/>
              <a:t>Mastertextformat bearbeiten
Zweite Ebene
Dritte Ebene
Vierte Ebene
Fünfte Ebene</a:t>
            </a:r>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41680705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Inhalt und Bild (recht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5060950" y="1412875"/>
            <a:ext cx="4500563" cy="4787900"/>
          </a:xfrm>
          <a:noFill/>
        </p:spPr>
        <p:txBody>
          <a:bodyPr anchor="ctr"/>
          <a:lstStyle>
            <a:lvl1pPr marL="0" indent="0" algn="ctr">
              <a:buNone/>
              <a:defRPr/>
            </a:lvl1pPr>
          </a:lstStyle>
          <a:p>
            <a:r>
              <a:rPr lang="de-DE" dirty="0"/>
              <a:t>Bild durch Klicken auf Symbol hinzufügen</a:t>
            </a:r>
          </a:p>
        </p:txBody>
      </p:sp>
      <p:sp>
        <p:nvSpPr>
          <p:cNvPr id="14" name="Textplatzhalter 8">
            <a:extLst>
              <a:ext uri="{FF2B5EF4-FFF2-40B4-BE49-F238E27FC236}">
                <a16:creationId xmlns:a16="http://schemas.microsoft.com/office/drawing/2014/main" id="{0AE7C685-1059-44DB-9E3C-01DA0DF18146}"/>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95AAB774-8EA4-4509-9EF3-010341A93110}"/>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10">
            <a:extLst>
              <a:ext uri="{FF2B5EF4-FFF2-40B4-BE49-F238E27FC236}">
                <a16:creationId xmlns:a16="http://schemas.microsoft.com/office/drawing/2014/main" id="{20B50DE5-E236-4AA1-BAAF-8151E8C184A5}"/>
              </a:ext>
            </a:extLst>
          </p:cNvPr>
          <p:cNvSpPr>
            <a:spLocks noGrp="1"/>
          </p:cNvSpPr>
          <p:nvPr>
            <p:ph type="body" sz="quarter" idx="16"/>
          </p:nvPr>
        </p:nvSpPr>
        <p:spPr>
          <a:xfrm>
            <a:off x="344487" y="1368000"/>
            <a:ext cx="4500563" cy="4977238"/>
          </a:xfrm>
        </p:spPr>
        <p:txBody>
          <a:body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29167720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Inhalt und Bild (link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F729A79-DB27-4579-80AA-98F3BEF41EB8}"/>
              </a:ext>
            </a:extLst>
          </p:cNvPr>
          <p:cNvSpPr>
            <a:spLocks noGrp="1"/>
          </p:cNvSpPr>
          <p:nvPr>
            <p:ph type="dt" sz="half" idx="10"/>
          </p:nvPr>
        </p:nvSpPr>
        <p:spPr bwMode="gray"/>
        <p:txBody>
          <a:bodyPr/>
          <a:lstStyle/>
          <a:p>
            <a:endParaRPr lang="de-DE" dirty="0"/>
          </a:p>
        </p:txBody>
      </p:sp>
      <p:sp>
        <p:nvSpPr>
          <p:cNvPr id="6" name="Foliennummernplatzhalter 5">
            <a:extLst>
              <a:ext uri="{FF2B5EF4-FFF2-40B4-BE49-F238E27FC236}">
                <a16:creationId xmlns:a16="http://schemas.microsoft.com/office/drawing/2014/main" id="{73F2AFDB-9857-4CBE-BC0D-1E1933EBF317}"/>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Bildplatzhalter 8">
            <a:extLst>
              <a:ext uri="{FF2B5EF4-FFF2-40B4-BE49-F238E27FC236}">
                <a16:creationId xmlns:a16="http://schemas.microsoft.com/office/drawing/2014/main" id="{172016E4-A985-4759-B3E9-33B295AFBD38}"/>
              </a:ext>
            </a:extLst>
          </p:cNvPr>
          <p:cNvSpPr>
            <a:spLocks noGrp="1"/>
          </p:cNvSpPr>
          <p:nvPr>
            <p:ph type="pic" sz="quarter" idx="13"/>
          </p:nvPr>
        </p:nvSpPr>
        <p:spPr bwMode="gray">
          <a:xfrm>
            <a:off x="344487" y="1412875"/>
            <a:ext cx="4500563" cy="4787900"/>
          </a:xfrm>
          <a:noFill/>
        </p:spPr>
        <p:txBody>
          <a:bodyPr anchor="ctr"/>
          <a:lstStyle>
            <a:lvl1pPr marL="0" indent="0" algn="ctr">
              <a:buNone/>
              <a:defRPr/>
            </a:lvl1pPr>
          </a:lstStyle>
          <a:p>
            <a:r>
              <a:rPr lang="de-DE" dirty="0"/>
              <a:t>Bild durch Klicken auf Symbol hinzufügen</a:t>
            </a:r>
          </a:p>
        </p:txBody>
      </p:sp>
      <p:sp>
        <p:nvSpPr>
          <p:cNvPr id="10" name="Textplatzhalter 8">
            <a:extLst>
              <a:ext uri="{FF2B5EF4-FFF2-40B4-BE49-F238E27FC236}">
                <a16:creationId xmlns:a16="http://schemas.microsoft.com/office/drawing/2014/main" id="{30277B03-85B4-4F3B-A030-8A1FED7499E9}"/>
              </a:ext>
            </a:extLst>
          </p:cNvPr>
          <p:cNvSpPr>
            <a:spLocks noGrp="1"/>
          </p:cNvSpPr>
          <p:nvPr>
            <p:ph type="body" sz="quarter" idx="14"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1D1C562-D211-4469-8BCE-F4C9C4C9EE38}"/>
              </a:ext>
            </a:extLst>
          </p:cNvPr>
          <p:cNvSpPr>
            <a:spLocks noGrp="1"/>
          </p:cNvSpPr>
          <p:nvPr>
            <p:ph type="body" sz="quarter" idx="15"/>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3" name="Textplatzhalter 10">
            <a:extLst>
              <a:ext uri="{FF2B5EF4-FFF2-40B4-BE49-F238E27FC236}">
                <a16:creationId xmlns:a16="http://schemas.microsoft.com/office/drawing/2014/main" id="{63CAAA68-A509-4AFC-977E-960A985302B7}"/>
              </a:ext>
            </a:extLst>
          </p:cNvPr>
          <p:cNvSpPr>
            <a:spLocks noGrp="1"/>
          </p:cNvSpPr>
          <p:nvPr>
            <p:ph type="body" sz="quarter" idx="16"/>
          </p:nvPr>
        </p:nvSpPr>
        <p:spPr>
          <a:xfrm>
            <a:off x="5064422" y="1368000"/>
            <a:ext cx="4497091" cy="4977238"/>
          </a:xfrm>
        </p:spPr>
        <p:txBody>
          <a:bodyPr/>
          <a:lstStyle/>
          <a:p>
            <a:pPr lvl="0"/>
            <a:r>
              <a:rPr lang="de-DE"/>
              <a:t>Mastertextformat bearbeiten
Zweite Ebene
Dritte Ebene
Vierte Ebene
Fünfte Ebene</a:t>
            </a:r>
          </a:p>
        </p:txBody>
      </p:sp>
      <p:sp>
        <p:nvSpPr>
          <p:cNvPr id="2" name="Titel 1">
            <a:extLst>
              <a:ext uri="{FF2B5EF4-FFF2-40B4-BE49-F238E27FC236}">
                <a16:creationId xmlns:a16="http://schemas.microsoft.com/office/drawing/2014/main" id="{4BA4E17B-02BE-4301-8401-FDD3F1C86DC8}"/>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17"/>
          </p:nvPr>
        </p:nvSpPr>
        <p:spPr/>
        <p:txBody>
          <a:bodyPr/>
          <a:lstStyle/>
          <a:p>
            <a:r>
              <a:rPr lang="de-DE"/>
              <a:t>DEG-Unternehmenspräsentation</a:t>
            </a:r>
          </a:p>
        </p:txBody>
      </p:sp>
    </p:spTree>
    <p:extLst>
      <p:ext uri="{BB962C8B-B14F-4D97-AF65-F5344CB8AC3E}">
        <p14:creationId xmlns:p14="http://schemas.microsoft.com/office/powerpoint/2010/main" val="27273053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 Bild">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9217026" cy="4787900"/>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5B096DF3-A6A1-4877-8F5B-1521D6B8B4E1}"/>
              </a:ext>
            </a:extLst>
          </p:cNvPr>
          <p:cNvSpPr>
            <a:spLocks noGrp="1"/>
          </p:cNvSpPr>
          <p:nvPr>
            <p:ph type="dt" sz="half" idx="14"/>
          </p:nvPr>
        </p:nvSpPr>
        <p:spPr bwMode="gray"/>
        <p:txBody>
          <a:bodyPr/>
          <a:lstStyle/>
          <a:p>
            <a:endParaRPr lang="de-DE" dirty="0"/>
          </a:p>
        </p:txBody>
      </p:sp>
      <p:sp>
        <p:nvSpPr>
          <p:cNvPr id="7" name="Foliennummernplatzhalter 6">
            <a:extLst>
              <a:ext uri="{FF2B5EF4-FFF2-40B4-BE49-F238E27FC236}">
                <a16:creationId xmlns:a16="http://schemas.microsoft.com/office/drawing/2014/main" id="{B54FDB22-37CE-438C-974B-20FF84032BF7}"/>
              </a:ext>
            </a:extLst>
          </p:cNvPr>
          <p:cNvSpPr>
            <a:spLocks noGrp="1"/>
          </p:cNvSpPr>
          <p:nvPr>
            <p:ph type="sldNum" sz="quarter" idx="16"/>
          </p:nvPr>
        </p:nvSpPr>
        <p:spPr bwMode="gray"/>
        <p:txBody>
          <a:bodyPr/>
          <a:lstStyle/>
          <a:p>
            <a:fld id="{5678FFC5-4430-43BC-9807-D0C6EB405569}" type="slidenum">
              <a:rPr lang="de-DE" smtClean="0"/>
              <a:pPr/>
              <a:t>‹#›</a:t>
            </a:fld>
            <a:endParaRPr lang="de-DE" dirty="0"/>
          </a:p>
        </p:txBody>
      </p:sp>
      <p:sp>
        <p:nvSpPr>
          <p:cNvPr id="8" name="Textplatzhalter 8">
            <a:extLst>
              <a:ext uri="{FF2B5EF4-FFF2-40B4-BE49-F238E27FC236}">
                <a16:creationId xmlns:a16="http://schemas.microsoft.com/office/drawing/2014/main" id="{619DCFDF-CFF3-4C8F-8041-6BB6614A15C0}"/>
              </a:ext>
            </a:extLst>
          </p:cNvPr>
          <p:cNvSpPr>
            <a:spLocks noGrp="1"/>
          </p:cNvSpPr>
          <p:nvPr>
            <p:ph type="body" sz="quarter" idx="17" hasCustomPrompt="1"/>
          </p:nvPr>
        </p:nvSpPr>
        <p:spPr>
          <a:xfrm>
            <a:off x="344487" y="6202800"/>
            <a:ext cx="9228771"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27BBA4C-DD0E-48E0-A857-547F8DFE2A8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6538439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2 Bilder">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4497091" cy="4789925"/>
          </a:xfrm>
          <a:noFill/>
        </p:spPr>
        <p:txBody>
          <a:bodyPr anchor="ctr"/>
          <a:lstStyle>
            <a:lvl1pPr marL="0" indent="0" algn="ctr">
              <a:buNone/>
              <a:defRPr/>
            </a:lvl1pPr>
          </a:lstStyle>
          <a:p>
            <a:r>
              <a:rPr lang="de-DE" dirty="0"/>
              <a:t>Bild durch Klicken auf Symbol hinzufügen</a:t>
            </a:r>
          </a:p>
        </p:txBody>
      </p:sp>
      <p:sp>
        <p:nvSpPr>
          <p:cNvPr id="4" name="Bildplatzhalter 8">
            <a:extLst>
              <a:ext uri="{FF2B5EF4-FFF2-40B4-BE49-F238E27FC236}">
                <a16:creationId xmlns:a16="http://schemas.microsoft.com/office/drawing/2014/main" id="{F7895F72-12DE-43C1-A37A-EA75A21EA4A4}"/>
              </a:ext>
            </a:extLst>
          </p:cNvPr>
          <p:cNvSpPr>
            <a:spLocks noGrp="1"/>
          </p:cNvSpPr>
          <p:nvPr>
            <p:ph type="pic" sz="quarter" idx="14"/>
          </p:nvPr>
        </p:nvSpPr>
        <p:spPr bwMode="gray">
          <a:xfrm>
            <a:off x="5064422" y="1412875"/>
            <a:ext cx="4497091" cy="4789925"/>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BFB4171F-EB70-4599-BA3B-B839C7FFDA34}"/>
              </a:ext>
            </a:extLst>
          </p:cNvPr>
          <p:cNvSpPr>
            <a:spLocks noGrp="1"/>
          </p:cNvSpPr>
          <p:nvPr>
            <p:ph type="dt" sz="half" idx="15"/>
          </p:nvPr>
        </p:nvSpPr>
        <p:spPr bwMode="gray"/>
        <p:txBody>
          <a:bodyPr/>
          <a:lstStyle/>
          <a:p>
            <a:endParaRPr lang="de-DE" dirty="0"/>
          </a:p>
        </p:txBody>
      </p:sp>
      <p:sp>
        <p:nvSpPr>
          <p:cNvPr id="8" name="Foliennummernplatzhalter 7">
            <a:extLst>
              <a:ext uri="{FF2B5EF4-FFF2-40B4-BE49-F238E27FC236}">
                <a16:creationId xmlns:a16="http://schemas.microsoft.com/office/drawing/2014/main" id="{DD395116-B4DF-4C65-86EF-D98CA4BA6281}"/>
              </a:ext>
            </a:extLst>
          </p:cNvPr>
          <p:cNvSpPr>
            <a:spLocks noGrp="1"/>
          </p:cNvSpPr>
          <p:nvPr>
            <p:ph type="sldNum" sz="quarter" idx="17"/>
          </p:nvPr>
        </p:nvSpPr>
        <p:spPr bwMode="gray"/>
        <p:txBody>
          <a:bodyPr/>
          <a:lstStyle/>
          <a:p>
            <a:fld id="{5678FFC5-4430-43BC-9807-D0C6EB405569}" type="slidenum">
              <a:rPr lang="de-DE" smtClean="0"/>
              <a:pPr/>
              <a:t>‹#›</a:t>
            </a:fld>
            <a:endParaRPr lang="de-DE" dirty="0"/>
          </a:p>
        </p:txBody>
      </p:sp>
      <p:sp>
        <p:nvSpPr>
          <p:cNvPr id="9" name="Textplatzhalter 8">
            <a:extLst>
              <a:ext uri="{FF2B5EF4-FFF2-40B4-BE49-F238E27FC236}">
                <a16:creationId xmlns:a16="http://schemas.microsoft.com/office/drawing/2014/main" id="{0289CD2F-7262-4377-9CA8-410D53F1AA23}"/>
              </a:ext>
            </a:extLst>
          </p:cNvPr>
          <p:cNvSpPr>
            <a:spLocks noGrp="1"/>
          </p:cNvSpPr>
          <p:nvPr>
            <p:ph type="body" sz="quarter" idx="18"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0" name="Textplatzhalter 8">
            <a:extLst>
              <a:ext uri="{FF2B5EF4-FFF2-40B4-BE49-F238E27FC236}">
                <a16:creationId xmlns:a16="http://schemas.microsoft.com/office/drawing/2014/main" id="{EBE10CD9-8859-463A-8368-BCE572843408}"/>
              </a:ext>
            </a:extLst>
          </p:cNvPr>
          <p:cNvSpPr>
            <a:spLocks noGrp="1"/>
          </p:cNvSpPr>
          <p:nvPr>
            <p:ph type="body" sz="quarter" idx="19"/>
          </p:nvPr>
        </p:nvSpPr>
        <p:spPr>
          <a:xfrm>
            <a:off x="500402" y="676800"/>
            <a:ext cx="9072858"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5" name="Fußzeilenplatzhalter 4"/>
          <p:cNvSpPr>
            <a:spLocks noGrp="1"/>
          </p:cNvSpPr>
          <p:nvPr>
            <p:ph type="ftr" sz="quarter" idx="20"/>
          </p:nvPr>
        </p:nvSpPr>
        <p:spPr/>
        <p:txBody>
          <a:bodyPr/>
          <a:lstStyle/>
          <a:p>
            <a:r>
              <a:rPr lang="de-DE"/>
              <a:t>DEG-Unternehmenspräsentation</a:t>
            </a:r>
          </a:p>
        </p:txBody>
      </p:sp>
    </p:spTree>
    <p:extLst>
      <p:ext uri="{BB962C8B-B14F-4D97-AF65-F5344CB8AC3E}">
        <p14:creationId xmlns:p14="http://schemas.microsoft.com/office/powerpoint/2010/main" val="17775438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6" name="Textplatzhalter 8">
            <a:extLst>
              <a:ext uri="{FF2B5EF4-FFF2-40B4-BE49-F238E27FC236}">
                <a16:creationId xmlns:a16="http://schemas.microsoft.com/office/drawing/2014/main" id="{C1AD9F2A-0B80-47A0-A099-2BC51A092EA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7" name="Textplatzhalter 8">
            <a:extLst>
              <a:ext uri="{FF2B5EF4-FFF2-40B4-BE49-F238E27FC236}">
                <a16:creationId xmlns:a16="http://schemas.microsoft.com/office/drawing/2014/main" id="{DFAD501C-EF85-4FDB-9C84-740225F3EF15}"/>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5"/>
          </p:nvPr>
        </p:nvSpPr>
        <p:spPr/>
        <p:txBody>
          <a:bodyPr/>
          <a:lstStyle/>
          <a:p>
            <a:r>
              <a:rPr lang="de-DE"/>
              <a:t>DEG-Unternehmenspräsentation</a:t>
            </a:r>
          </a:p>
        </p:txBody>
      </p:sp>
    </p:spTree>
    <p:extLst>
      <p:ext uri="{BB962C8B-B14F-4D97-AF65-F5344CB8AC3E}">
        <p14:creationId xmlns:p14="http://schemas.microsoft.com/office/powerpoint/2010/main" val="31311777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halt und Diagramm (rechts)">
    <p:spTree>
      <p:nvGrpSpPr>
        <p:cNvPr id="1" name=""/>
        <p:cNvGrpSpPr/>
        <p:nvPr/>
      </p:nvGrpSpPr>
      <p:grpSpPr>
        <a:xfrm>
          <a:off x="0" y="0"/>
          <a:ext cx="0" cy="0"/>
          <a:chOff x="0" y="0"/>
          <a:chExt cx="0" cy="0"/>
        </a:xfrm>
      </p:grpSpPr>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344487" y="1368000"/>
            <a:ext cx="4500563" cy="4977238"/>
          </a:xfrm>
        </p:spPr>
        <p:txBody>
          <a:bodyPr/>
          <a:lstStyle/>
          <a:p>
            <a:pPr lvl="0"/>
            <a:r>
              <a:rPr lang="de-DE"/>
              <a:t>Mastertextformat bearbeiten
Zweite Ebene
Dritte Ebene
Vierte Ebene
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5072696" y="1620000"/>
            <a:ext cx="4488817" cy="4582800"/>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5060950" y="1368000"/>
            <a:ext cx="450056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246593926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Inhalt und Diagramm (links)">
    <p:spTree>
      <p:nvGrpSpPr>
        <p:cNvPr id="1" name=""/>
        <p:cNvGrpSpPr/>
        <p:nvPr/>
      </p:nvGrpSpPr>
      <p:grpSpPr>
        <a:xfrm>
          <a:off x="0" y="0"/>
          <a:ext cx="0" cy="0"/>
          <a:chOff x="0" y="0"/>
          <a:chExt cx="0" cy="0"/>
        </a:xfrm>
      </p:grpSpPr>
      <p:sp>
        <p:nvSpPr>
          <p:cNvPr id="10" name="Diagrammplatzhalter 8">
            <a:extLst>
              <a:ext uri="{FF2B5EF4-FFF2-40B4-BE49-F238E27FC236}">
                <a16:creationId xmlns:a16="http://schemas.microsoft.com/office/drawing/2014/main" id="{0075A301-588F-4631-985E-9497F0E5FABC}"/>
              </a:ext>
            </a:extLst>
          </p:cNvPr>
          <p:cNvSpPr>
            <a:spLocks noGrp="1"/>
          </p:cNvSpPr>
          <p:nvPr>
            <p:ph type="chart" sz="quarter" idx="17"/>
          </p:nvPr>
        </p:nvSpPr>
        <p:spPr bwMode="gray">
          <a:xfrm>
            <a:off x="344487" y="1620000"/>
            <a:ext cx="4500563" cy="4582799"/>
          </a:xfrm>
        </p:spPr>
        <p:txBody>
          <a:bodyPr anchor="ctr"/>
          <a:lstStyle>
            <a:lvl1pPr marL="0" indent="0" algn="ctr">
              <a:buNone/>
              <a:defRPr/>
            </a:lvl1pPr>
          </a:lstStyle>
          <a:p>
            <a:r>
              <a:rPr lang="de-DE" dirty="0"/>
              <a:t>Diagramm durch Klicken auf Symbol hinzufügen</a:t>
            </a:r>
          </a:p>
        </p:txBody>
      </p:sp>
      <p:sp>
        <p:nvSpPr>
          <p:cNvPr id="11" name="Textplatzhalter 6">
            <a:extLst>
              <a:ext uri="{FF2B5EF4-FFF2-40B4-BE49-F238E27FC236}">
                <a16:creationId xmlns:a16="http://schemas.microsoft.com/office/drawing/2014/main" id="{6E864D0F-04D7-4FDF-A535-BB4EF6D69374}"/>
              </a:ext>
            </a:extLst>
          </p:cNvPr>
          <p:cNvSpPr>
            <a:spLocks noGrp="1"/>
          </p:cNvSpPr>
          <p:nvPr>
            <p:ph type="body" sz="quarter" idx="20"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2" name="Textplatzhalter 10">
            <a:extLst>
              <a:ext uri="{FF2B5EF4-FFF2-40B4-BE49-F238E27FC236}">
                <a16:creationId xmlns:a16="http://schemas.microsoft.com/office/drawing/2014/main" id="{3B47911E-77BB-4D51-A61C-C871CA9E3E22}"/>
              </a:ext>
            </a:extLst>
          </p:cNvPr>
          <p:cNvSpPr>
            <a:spLocks noGrp="1"/>
          </p:cNvSpPr>
          <p:nvPr>
            <p:ph type="body" sz="quarter" idx="15"/>
          </p:nvPr>
        </p:nvSpPr>
        <p:spPr>
          <a:xfrm>
            <a:off x="5060950" y="1368000"/>
            <a:ext cx="4500563" cy="4977238"/>
          </a:xfrm>
        </p:spPr>
        <p:txBody>
          <a:bodyPr/>
          <a:lstStyle/>
          <a:p>
            <a:pPr lvl="0"/>
            <a:r>
              <a:rPr lang="de-DE"/>
              <a:t>Mastertextformat bearbeiten
Zweite Ebene
Dritte Ebene
Vierte Ebene
Fünfte Ebene</a:t>
            </a:r>
            <a:endParaRPr lang="de-DE" dirty="0"/>
          </a:p>
        </p:txBody>
      </p:sp>
      <p:sp>
        <p:nvSpPr>
          <p:cNvPr id="5" name="Datumsplatzhalter 4">
            <a:extLst>
              <a:ext uri="{FF2B5EF4-FFF2-40B4-BE49-F238E27FC236}">
                <a16:creationId xmlns:a16="http://schemas.microsoft.com/office/drawing/2014/main" id="{BB8D90A8-D761-4E5C-88BE-B917DADBED21}"/>
              </a:ext>
            </a:extLst>
          </p:cNvPr>
          <p:cNvSpPr>
            <a:spLocks noGrp="1"/>
          </p:cNvSpPr>
          <p:nvPr>
            <p:ph type="dt" sz="half" idx="10"/>
          </p:nvPr>
        </p:nvSpPr>
        <p:spPr bwMode="gray"/>
        <p:txBody>
          <a:bodyPr/>
          <a:lstStyle/>
          <a:p>
            <a:endParaRPr lang="de-DE" dirty="0"/>
          </a:p>
        </p:txBody>
      </p:sp>
      <p:sp>
        <p:nvSpPr>
          <p:cNvPr id="7" name="Foliennummernplatzhalter 6">
            <a:extLst>
              <a:ext uri="{FF2B5EF4-FFF2-40B4-BE49-F238E27FC236}">
                <a16:creationId xmlns:a16="http://schemas.microsoft.com/office/drawing/2014/main" id="{287763D1-DC3F-4476-B8A6-E6CBF5D4262B}"/>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8" name="Textplatzhalter 8">
            <a:extLst>
              <a:ext uri="{FF2B5EF4-FFF2-40B4-BE49-F238E27FC236}">
                <a16:creationId xmlns:a16="http://schemas.microsoft.com/office/drawing/2014/main" id="{6ABC4813-76FE-4861-8656-EA02F0D8E29F}"/>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67520C0-AAA4-402A-8FBD-17EB522D6B91}"/>
              </a:ext>
            </a:extLst>
          </p:cNvPr>
          <p:cNvSpPr>
            <a:spLocks noGrp="1"/>
          </p:cNvSpPr>
          <p:nvPr>
            <p:ph type="body" sz="quarter" idx="14"/>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1E5ACE7E-5DDD-409D-AD8A-5094FF34F212}"/>
              </a:ext>
            </a:extLst>
          </p:cNvPr>
          <p:cNvSpPr>
            <a:spLocks noGrp="1"/>
          </p:cNvSpPr>
          <p:nvPr>
            <p:ph type="title"/>
          </p:nvPr>
        </p:nvSpPr>
        <p:spPr bwMode="gray"/>
        <p:txBody>
          <a:bodyPr/>
          <a:lstStyle/>
          <a:p>
            <a:r>
              <a:rPr lang="de-DE"/>
              <a:t>Mastertitelformat bearbeiten</a:t>
            </a:r>
          </a:p>
        </p:txBody>
      </p:sp>
      <p:sp>
        <p:nvSpPr>
          <p:cNvPr id="3" name="Fußzeilenplatzhalter 2"/>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29628956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1 Diagramm">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7" y="1620000"/>
            <a:ext cx="9217025" cy="4580775"/>
          </a:xfrm>
        </p:spPr>
        <p:txBody>
          <a:bodyPr anchor="ctr"/>
          <a:lstStyle>
            <a:lvl1pPr marL="0" indent="0" algn="ctr">
              <a:buNone/>
              <a:defRPr/>
            </a:lvl1pPr>
          </a:lstStyle>
          <a:p>
            <a:r>
              <a:rPr lang="de-DE" dirty="0"/>
              <a:t>Diagramm durch Klicken auf Symbol hinzufügen</a:t>
            </a:r>
          </a:p>
        </p:txBody>
      </p:sp>
      <p:sp>
        <p:nvSpPr>
          <p:cNvPr id="10" name="Textplatzhalter 8">
            <a:extLst>
              <a:ext uri="{FF2B5EF4-FFF2-40B4-BE49-F238E27FC236}">
                <a16:creationId xmlns:a16="http://schemas.microsoft.com/office/drawing/2014/main" id="{D4A89282-8B33-45B9-8BD4-5C1BE0F60C9C}"/>
              </a:ext>
            </a:extLst>
          </p:cNvPr>
          <p:cNvSpPr>
            <a:spLocks noGrp="1"/>
          </p:cNvSpPr>
          <p:nvPr>
            <p:ph type="body" sz="quarter" idx="13" hasCustomPrompt="1"/>
          </p:nvPr>
        </p:nvSpPr>
        <p:spPr>
          <a:xfrm>
            <a:off x="344488"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7D97AADF-437A-4900-B8E7-081F5D878D9E}"/>
              </a:ext>
            </a:extLst>
          </p:cNvPr>
          <p:cNvSpPr>
            <a:spLocks noGrp="1"/>
          </p:cNvSpPr>
          <p:nvPr>
            <p:ph type="body" sz="quarter" idx="16"/>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6">
            <a:extLst>
              <a:ext uri="{FF2B5EF4-FFF2-40B4-BE49-F238E27FC236}">
                <a16:creationId xmlns:a16="http://schemas.microsoft.com/office/drawing/2014/main" id="{A5DEAF36-B708-449D-BF50-903D616031A9}"/>
              </a:ext>
            </a:extLst>
          </p:cNvPr>
          <p:cNvSpPr>
            <a:spLocks noGrp="1"/>
          </p:cNvSpPr>
          <p:nvPr>
            <p:ph type="body" sz="quarter" idx="17" hasCustomPrompt="1"/>
          </p:nvPr>
        </p:nvSpPr>
        <p:spPr>
          <a:xfrm>
            <a:off x="344488" y="1368000"/>
            <a:ext cx="9217025"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8"/>
          </p:nvPr>
        </p:nvSpPr>
        <p:spPr/>
        <p:txBody>
          <a:bodyPr/>
          <a:lstStyle/>
          <a:p>
            <a:r>
              <a:rPr lang="de-DE"/>
              <a:t>DEG-Unternehmenspräsentation</a:t>
            </a:r>
          </a:p>
        </p:txBody>
      </p:sp>
    </p:spTree>
    <p:extLst>
      <p:ext uri="{BB962C8B-B14F-4D97-AF65-F5344CB8AC3E}">
        <p14:creationId xmlns:p14="http://schemas.microsoft.com/office/powerpoint/2010/main" val="24171866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2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44488" y="1620000"/>
            <a:ext cx="4500562" cy="45807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1" y="1620000"/>
            <a:ext cx="4500562" cy="4580775"/>
          </a:xfrm>
        </p:spPr>
        <p:txBody>
          <a:bodyPr anchor="ctr"/>
          <a:lstStyle>
            <a:lvl1pPr marL="0" indent="0" algn="ctr">
              <a:buNone/>
              <a:defRPr/>
            </a:lvl1pPr>
          </a:lstStyle>
          <a:p>
            <a:r>
              <a:rPr lang="de-DE" dirty="0"/>
              <a:t>Diagramm durch Klicken auf Symbol hinzufügen</a:t>
            </a:r>
          </a:p>
        </p:txBody>
      </p:sp>
      <p:sp>
        <p:nvSpPr>
          <p:cNvPr id="14" name="Textplatzhalter 8">
            <a:extLst>
              <a:ext uri="{FF2B5EF4-FFF2-40B4-BE49-F238E27FC236}">
                <a16:creationId xmlns:a16="http://schemas.microsoft.com/office/drawing/2014/main" id="{1EA0F3E1-D742-4DA0-B74B-A037A9673EBB}"/>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8556C389-B714-47EE-9D21-BE82CC21CF9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6">
            <a:extLst>
              <a:ext uri="{FF2B5EF4-FFF2-40B4-BE49-F238E27FC236}">
                <a16:creationId xmlns:a16="http://schemas.microsoft.com/office/drawing/2014/main" id="{68B61E78-AF51-4675-BACD-74BC50875F0F}"/>
              </a:ext>
            </a:extLst>
          </p:cNvPr>
          <p:cNvSpPr>
            <a:spLocks noGrp="1"/>
          </p:cNvSpPr>
          <p:nvPr>
            <p:ph type="body" sz="quarter" idx="19"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D9AED4B9-F4C2-48D8-A92C-2F82B5C38BC8}"/>
              </a:ext>
            </a:extLst>
          </p:cNvPr>
          <p:cNvSpPr>
            <a:spLocks noGrp="1"/>
          </p:cNvSpPr>
          <p:nvPr>
            <p:ph type="body" sz="quarter" idx="20" hasCustomPrompt="1"/>
          </p:nvPr>
        </p:nvSpPr>
        <p:spPr>
          <a:xfrm>
            <a:off x="5060951"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2888233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Bild">
    <p:spTree>
      <p:nvGrpSpPr>
        <p:cNvPr id="1" name=""/>
        <p:cNvGrpSpPr/>
        <p:nvPr/>
      </p:nvGrpSpPr>
      <p:grpSpPr>
        <a:xfrm>
          <a:off x="0" y="0"/>
          <a:ext cx="0" cy="0"/>
          <a:chOff x="0" y="0"/>
          <a:chExt cx="0" cy="0"/>
        </a:xfrm>
      </p:grpSpPr>
      <p:sp>
        <p:nvSpPr>
          <p:cNvPr id="6" name="Bildplatzhalter 8">
            <a:extLst>
              <a:ext uri="{FF2B5EF4-FFF2-40B4-BE49-F238E27FC236}">
                <a16:creationId xmlns:a16="http://schemas.microsoft.com/office/drawing/2014/main" id="{B993F3B1-9ADE-4F4D-A2D9-D3A154B43C33}"/>
              </a:ext>
            </a:extLst>
          </p:cNvPr>
          <p:cNvSpPr>
            <a:spLocks noGrp="1"/>
          </p:cNvSpPr>
          <p:nvPr>
            <p:ph type="pic" sz="quarter" idx="13"/>
          </p:nvPr>
        </p:nvSpPr>
        <p:spPr bwMode="gray">
          <a:xfrm>
            <a:off x="344487" y="1412875"/>
            <a:ext cx="9217026" cy="4787900"/>
          </a:xfrm>
          <a:noFill/>
        </p:spPr>
        <p:txBody>
          <a:bodyPr anchor="ctr"/>
          <a:lstStyle>
            <a:lvl1pPr marL="0" indent="0" algn="ctr">
              <a:buNone/>
              <a:defRPr/>
            </a:lvl1pPr>
          </a:lstStyle>
          <a:p>
            <a:r>
              <a:rPr lang="de-DE" dirty="0"/>
              <a:t>Bild durch Klicken auf Symbol hinzufügen</a:t>
            </a:r>
          </a:p>
        </p:txBody>
      </p:sp>
      <p:sp>
        <p:nvSpPr>
          <p:cNvPr id="3" name="Datumsplatzhalter 2">
            <a:extLst>
              <a:ext uri="{FF2B5EF4-FFF2-40B4-BE49-F238E27FC236}">
                <a16:creationId xmlns:a16="http://schemas.microsoft.com/office/drawing/2014/main" id="{5B096DF3-A6A1-4877-8F5B-1521D6B8B4E1}"/>
              </a:ext>
            </a:extLst>
          </p:cNvPr>
          <p:cNvSpPr>
            <a:spLocks noGrp="1"/>
          </p:cNvSpPr>
          <p:nvPr>
            <p:ph type="dt" sz="half" idx="14"/>
          </p:nvPr>
        </p:nvSpPr>
        <p:spPr bwMode="gray"/>
        <p:txBody>
          <a:bodyPr/>
          <a:lstStyle/>
          <a:p>
            <a:endParaRPr lang="de-DE" dirty="0"/>
          </a:p>
        </p:txBody>
      </p:sp>
      <p:sp>
        <p:nvSpPr>
          <p:cNvPr id="7" name="Foliennummernplatzhalter 6">
            <a:extLst>
              <a:ext uri="{FF2B5EF4-FFF2-40B4-BE49-F238E27FC236}">
                <a16:creationId xmlns:a16="http://schemas.microsoft.com/office/drawing/2014/main" id="{B54FDB22-37CE-438C-974B-20FF84032BF7}"/>
              </a:ext>
            </a:extLst>
          </p:cNvPr>
          <p:cNvSpPr>
            <a:spLocks noGrp="1"/>
          </p:cNvSpPr>
          <p:nvPr>
            <p:ph type="sldNum" sz="quarter" idx="16"/>
          </p:nvPr>
        </p:nvSpPr>
        <p:spPr bwMode="gray"/>
        <p:txBody>
          <a:bodyPr/>
          <a:lstStyle/>
          <a:p>
            <a:fld id="{5678FFC5-4430-43BC-9807-D0C6EB405569}" type="slidenum">
              <a:rPr lang="de-DE" smtClean="0"/>
              <a:pPr/>
              <a:t>‹#›</a:t>
            </a:fld>
            <a:endParaRPr lang="de-DE" dirty="0"/>
          </a:p>
        </p:txBody>
      </p:sp>
      <p:sp>
        <p:nvSpPr>
          <p:cNvPr id="8" name="Textplatzhalter 8">
            <a:extLst>
              <a:ext uri="{FF2B5EF4-FFF2-40B4-BE49-F238E27FC236}">
                <a16:creationId xmlns:a16="http://schemas.microsoft.com/office/drawing/2014/main" id="{619DCFDF-CFF3-4C8F-8041-6BB6614A15C0}"/>
              </a:ext>
            </a:extLst>
          </p:cNvPr>
          <p:cNvSpPr>
            <a:spLocks noGrp="1"/>
          </p:cNvSpPr>
          <p:nvPr>
            <p:ph type="body" sz="quarter" idx="17" hasCustomPrompt="1"/>
          </p:nvPr>
        </p:nvSpPr>
        <p:spPr>
          <a:xfrm>
            <a:off x="344487" y="6202800"/>
            <a:ext cx="9228771"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9" name="Textplatzhalter 8">
            <a:extLst>
              <a:ext uri="{FF2B5EF4-FFF2-40B4-BE49-F238E27FC236}">
                <a16:creationId xmlns:a16="http://schemas.microsoft.com/office/drawing/2014/main" id="{127BBA4C-DD0E-48E0-A857-547F8DFE2A89}"/>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Formatvorlagen des Textmasters bearbeiten</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1300758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4 Diagramm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9" name="Diagrammplatzhalter 8">
            <a:extLst>
              <a:ext uri="{FF2B5EF4-FFF2-40B4-BE49-F238E27FC236}">
                <a16:creationId xmlns:a16="http://schemas.microsoft.com/office/drawing/2014/main" id="{115567A0-B703-407E-B054-5AB21564A2F6}"/>
              </a:ext>
            </a:extLst>
          </p:cNvPr>
          <p:cNvSpPr>
            <a:spLocks noGrp="1"/>
          </p:cNvSpPr>
          <p:nvPr>
            <p:ph type="chart" sz="quarter" idx="15"/>
          </p:nvPr>
        </p:nvSpPr>
        <p:spPr bwMode="gray">
          <a:xfrm>
            <a:off x="352764" y="1620000"/>
            <a:ext cx="4492286" cy="2096875"/>
          </a:xfrm>
        </p:spPr>
        <p:txBody>
          <a:bodyPr anchor="ctr"/>
          <a:lstStyle>
            <a:lvl1pPr marL="0" indent="0" algn="ctr">
              <a:buNone/>
              <a:defRPr/>
            </a:lvl1pPr>
          </a:lstStyle>
          <a:p>
            <a:r>
              <a:rPr lang="de-DE" dirty="0"/>
              <a:t>Diagramm durch Klicken auf Symbol hinzufügen</a:t>
            </a:r>
          </a:p>
        </p:txBody>
      </p:sp>
      <p:sp>
        <p:nvSpPr>
          <p:cNvPr id="10" name="Diagrammplatzhalter 8">
            <a:extLst>
              <a:ext uri="{FF2B5EF4-FFF2-40B4-BE49-F238E27FC236}">
                <a16:creationId xmlns:a16="http://schemas.microsoft.com/office/drawing/2014/main" id="{5ADB3075-37BC-4DE7-8F88-AA8B185EB080}"/>
              </a:ext>
            </a:extLst>
          </p:cNvPr>
          <p:cNvSpPr>
            <a:spLocks noGrp="1"/>
          </p:cNvSpPr>
          <p:nvPr>
            <p:ph type="chart" sz="quarter" idx="17"/>
          </p:nvPr>
        </p:nvSpPr>
        <p:spPr bwMode="gray">
          <a:xfrm>
            <a:off x="5060952" y="1620000"/>
            <a:ext cx="4500561" cy="2096875"/>
          </a:xfrm>
        </p:spPr>
        <p:txBody>
          <a:bodyPr anchor="ctr"/>
          <a:lstStyle>
            <a:lvl1pPr marL="0" indent="0" algn="ctr">
              <a:buNone/>
              <a:defRPr/>
            </a:lvl1pPr>
          </a:lstStyle>
          <a:p>
            <a:r>
              <a:rPr lang="de-DE" dirty="0"/>
              <a:t>Diagramm durch Klicken auf Symbol hinzufügen</a:t>
            </a:r>
          </a:p>
        </p:txBody>
      </p:sp>
      <p:sp>
        <p:nvSpPr>
          <p:cNvPr id="17" name="Diagrammplatzhalter 8">
            <a:extLst>
              <a:ext uri="{FF2B5EF4-FFF2-40B4-BE49-F238E27FC236}">
                <a16:creationId xmlns:a16="http://schemas.microsoft.com/office/drawing/2014/main" id="{E6EBF416-55D6-4AA1-A000-4EA1500328C5}"/>
              </a:ext>
            </a:extLst>
          </p:cNvPr>
          <p:cNvSpPr>
            <a:spLocks noGrp="1"/>
          </p:cNvSpPr>
          <p:nvPr>
            <p:ph type="chart" sz="quarter" idx="19"/>
          </p:nvPr>
        </p:nvSpPr>
        <p:spPr bwMode="gray">
          <a:xfrm>
            <a:off x="352764" y="4166861"/>
            <a:ext cx="4492286" cy="2033913"/>
          </a:xfrm>
        </p:spPr>
        <p:txBody>
          <a:bodyPr anchor="ctr"/>
          <a:lstStyle>
            <a:lvl1pPr marL="0" indent="0" algn="ctr">
              <a:buNone/>
              <a:defRPr/>
            </a:lvl1pPr>
          </a:lstStyle>
          <a:p>
            <a:r>
              <a:rPr lang="de-DE" dirty="0"/>
              <a:t>Diagramm durch Klicken auf Symbol hinzufügen</a:t>
            </a:r>
          </a:p>
        </p:txBody>
      </p:sp>
      <p:sp>
        <p:nvSpPr>
          <p:cNvPr id="19" name="Diagrammplatzhalter 8">
            <a:extLst>
              <a:ext uri="{FF2B5EF4-FFF2-40B4-BE49-F238E27FC236}">
                <a16:creationId xmlns:a16="http://schemas.microsoft.com/office/drawing/2014/main" id="{2D9E13FC-C3BE-4880-95FF-E8F557742CCD}"/>
              </a:ext>
            </a:extLst>
          </p:cNvPr>
          <p:cNvSpPr>
            <a:spLocks noGrp="1"/>
          </p:cNvSpPr>
          <p:nvPr>
            <p:ph type="chart" sz="quarter" idx="21"/>
          </p:nvPr>
        </p:nvSpPr>
        <p:spPr bwMode="gray">
          <a:xfrm>
            <a:off x="5060950" y="4166861"/>
            <a:ext cx="4508837" cy="2033913"/>
          </a:xfrm>
        </p:spPr>
        <p:txBody>
          <a:bodyPr anchor="ctr"/>
          <a:lstStyle>
            <a:lvl1pPr marL="0" indent="0" algn="ctr">
              <a:buNone/>
              <a:defRPr/>
            </a:lvl1pPr>
          </a:lstStyle>
          <a:p>
            <a:r>
              <a:rPr lang="de-DE" dirty="0"/>
              <a:t>Diagramm durch Klicken auf Symbol hinzufügen</a:t>
            </a:r>
          </a:p>
        </p:txBody>
      </p:sp>
      <p:sp>
        <p:nvSpPr>
          <p:cNvPr id="21" name="Textplatzhalter 8">
            <a:extLst>
              <a:ext uri="{FF2B5EF4-FFF2-40B4-BE49-F238E27FC236}">
                <a16:creationId xmlns:a16="http://schemas.microsoft.com/office/drawing/2014/main" id="{049BA0BF-C18F-4DB1-B409-7AA3355CE0BC}"/>
              </a:ext>
            </a:extLst>
          </p:cNvPr>
          <p:cNvSpPr>
            <a:spLocks noGrp="1"/>
          </p:cNvSpPr>
          <p:nvPr>
            <p:ph type="body" sz="quarter" idx="13" hasCustomPrompt="1"/>
          </p:nvPr>
        </p:nvSpPr>
        <p:spPr>
          <a:xfrm>
            <a:off x="344488" y="6202800"/>
            <a:ext cx="9217026"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5" name="Textplatzhalter 8">
            <a:extLst>
              <a:ext uri="{FF2B5EF4-FFF2-40B4-BE49-F238E27FC236}">
                <a16:creationId xmlns:a16="http://schemas.microsoft.com/office/drawing/2014/main" id="{CD6655E5-0992-40D0-8FA0-9157664AC066}"/>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12" name="Textplatzhalter 6">
            <a:extLst>
              <a:ext uri="{FF2B5EF4-FFF2-40B4-BE49-F238E27FC236}">
                <a16:creationId xmlns:a16="http://schemas.microsoft.com/office/drawing/2014/main" id="{ECDAC40F-D27B-49C7-98F7-75AAB5B8872D}"/>
              </a:ext>
            </a:extLst>
          </p:cNvPr>
          <p:cNvSpPr>
            <a:spLocks noGrp="1"/>
          </p:cNvSpPr>
          <p:nvPr>
            <p:ph type="body" sz="quarter" idx="23" hasCustomPrompt="1"/>
          </p:nvPr>
        </p:nvSpPr>
        <p:spPr>
          <a:xfrm>
            <a:off x="344488" y="1368000"/>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3" name="Textplatzhalter 6">
            <a:extLst>
              <a:ext uri="{FF2B5EF4-FFF2-40B4-BE49-F238E27FC236}">
                <a16:creationId xmlns:a16="http://schemas.microsoft.com/office/drawing/2014/main" id="{2C277437-7B64-4A17-B527-9BA8E9CDD6C2}"/>
              </a:ext>
            </a:extLst>
          </p:cNvPr>
          <p:cNvSpPr>
            <a:spLocks noGrp="1"/>
          </p:cNvSpPr>
          <p:nvPr>
            <p:ph type="body" sz="quarter" idx="18" hasCustomPrompt="1"/>
          </p:nvPr>
        </p:nvSpPr>
        <p:spPr>
          <a:xfrm>
            <a:off x="5060930" y="1368000"/>
            <a:ext cx="4500583"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4" name="Textplatzhalter 6">
            <a:extLst>
              <a:ext uri="{FF2B5EF4-FFF2-40B4-BE49-F238E27FC236}">
                <a16:creationId xmlns:a16="http://schemas.microsoft.com/office/drawing/2014/main" id="{402B411A-C88C-430C-A64D-2CC4DCC73750}"/>
              </a:ext>
            </a:extLst>
          </p:cNvPr>
          <p:cNvSpPr>
            <a:spLocks noGrp="1"/>
          </p:cNvSpPr>
          <p:nvPr>
            <p:ph type="body" sz="quarter" idx="24" hasCustomPrompt="1"/>
          </p:nvPr>
        </p:nvSpPr>
        <p:spPr>
          <a:xfrm>
            <a:off x="344488" y="3912837"/>
            <a:ext cx="4500562"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16" name="Textplatzhalter 6">
            <a:extLst>
              <a:ext uri="{FF2B5EF4-FFF2-40B4-BE49-F238E27FC236}">
                <a16:creationId xmlns:a16="http://schemas.microsoft.com/office/drawing/2014/main" id="{D2237C74-3717-4FC6-BB89-754621C3D4D5}"/>
              </a:ext>
            </a:extLst>
          </p:cNvPr>
          <p:cNvSpPr>
            <a:spLocks noGrp="1"/>
          </p:cNvSpPr>
          <p:nvPr>
            <p:ph type="body" sz="quarter" idx="25" hasCustomPrompt="1"/>
          </p:nvPr>
        </p:nvSpPr>
        <p:spPr>
          <a:xfrm>
            <a:off x="5069227" y="3912837"/>
            <a:ext cx="4500560" cy="252000"/>
          </a:xfrm>
        </p:spPr>
        <p:txBody>
          <a:bodyPr/>
          <a:lstStyle>
            <a:lvl1pPr marL="0" indent="0">
              <a:spcBef>
                <a:spcPts val="0"/>
              </a:spcBef>
              <a:buNone/>
              <a:defRPr b="1">
                <a:solidFill>
                  <a:schemeClr val="accent1"/>
                </a:solidFill>
              </a:defRPr>
            </a:lvl1pPr>
          </a:lstStyle>
          <a:p>
            <a:pPr lvl="0"/>
            <a:r>
              <a:rPr lang="de-DE" dirty="0"/>
              <a:t>Diagrammtitel</a:t>
            </a:r>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6"/>
          </p:nvPr>
        </p:nvSpPr>
        <p:spPr/>
        <p:txBody>
          <a:bodyPr/>
          <a:lstStyle/>
          <a:p>
            <a:r>
              <a:rPr lang="de-DE"/>
              <a:t>DEG-Unternehmenspräsentation</a:t>
            </a:r>
          </a:p>
        </p:txBody>
      </p:sp>
    </p:spTree>
    <p:extLst>
      <p:ext uri="{BB962C8B-B14F-4D97-AF65-F5344CB8AC3E}">
        <p14:creationId xmlns:p14="http://schemas.microsoft.com/office/powerpoint/2010/main" val="33349378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7"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8" y="1846676"/>
            <a:ext cx="4500562" cy="4356124"/>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2875"/>
            <a:ext cx="4500563"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6"/>
            <a:ext cx="4500563" cy="4356124"/>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8" name="Textplatzhalter 8">
            <a:extLst>
              <a:ext uri="{FF2B5EF4-FFF2-40B4-BE49-F238E27FC236}">
                <a16:creationId xmlns:a16="http://schemas.microsoft.com/office/drawing/2014/main" id="{0C295676-06C3-4B7D-A2E7-3C55DC277F43}"/>
              </a:ext>
            </a:extLst>
          </p:cNvPr>
          <p:cNvSpPr>
            <a:spLocks noGrp="1"/>
          </p:cNvSpPr>
          <p:nvPr>
            <p:ph type="body" sz="quarter" idx="13" hasCustomPrompt="1"/>
          </p:nvPr>
        </p:nvSpPr>
        <p:spPr>
          <a:xfrm>
            <a:off x="344488" y="6202800"/>
            <a:ext cx="9217024"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1" name="Textplatzhalter 8">
            <a:extLst>
              <a:ext uri="{FF2B5EF4-FFF2-40B4-BE49-F238E27FC236}">
                <a16:creationId xmlns:a16="http://schemas.microsoft.com/office/drawing/2014/main" id="{43DACF10-9353-4A29-AFA5-EA422CC98023}"/>
              </a:ext>
            </a:extLst>
          </p:cNvPr>
          <p:cNvSpPr>
            <a:spLocks noGrp="1"/>
          </p:cNvSpPr>
          <p:nvPr>
            <p:ph type="body" sz="quarter" idx="18"/>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5331441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3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2930400" cy="435409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6631112"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6631112" y="1846675"/>
            <a:ext cx="2930400" cy="435409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3" name="Textplatzhalter 11">
            <a:extLst>
              <a:ext uri="{FF2B5EF4-FFF2-40B4-BE49-F238E27FC236}">
                <a16:creationId xmlns:a16="http://schemas.microsoft.com/office/drawing/2014/main" id="{10AD9F27-6901-4908-874B-42E964215658}"/>
              </a:ext>
            </a:extLst>
          </p:cNvPr>
          <p:cNvSpPr>
            <a:spLocks noGrp="1"/>
          </p:cNvSpPr>
          <p:nvPr>
            <p:ph type="body" sz="quarter" idx="18"/>
          </p:nvPr>
        </p:nvSpPr>
        <p:spPr bwMode="gray">
          <a:xfrm>
            <a:off x="3487801" y="1412875"/>
            <a:ext cx="2930400" cy="388081"/>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4" name="Textplatzhalter 14">
            <a:extLst>
              <a:ext uri="{FF2B5EF4-FFF2-40B4-BE49-F238E27FC236}">
                <a16:creationId xmlns:a16="http://schemas.microsoft.com/office/drawing/2014/main" id="{05FBB124-C4A9-42B4-9A81-C861B74F84D6}"/>
              </a:ext>
            </a:extLst>
          </p:cNvPr>
          <p:cNvSpPr>
            <a:spLocks noGrp="1"/>
          </p:cNvSpPr>
          <p:nvPr>
            <p:ph type="body" sz="quarter" idx="19"/>
          </p:nvPr>
        </p:nvSpPr>
        <p:spPr>
          <a:xfrm>
            <a:off x="3487801" y="1846675"/>
            <a:ext cx="2930400" cy="435409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8" name="Textplatzhalter 8">
            <a:extLst>
              <a:ext uri="{FF2B5EF4-FFF2-40B4-BE49-F238E27FC236}">
                <a16:creationId xmlns:a16="http://schemas.microsoft.com/office/drawing/2014/main" id="{E359570D-9F33-45EF-BD5B-914B9D7D1201}"/>
              </a:ext>
            </a:extLst>
          </p:cNvPr>
          <p:cNvSpPr>
            <a:spLocks noGrp="1"/>
          </p:cNvSpPr>
          <p:nvPr>
            <p:ph type="body" sz="quarter" idx="13" hasCustomPrompt="1"/>
          </p:nvPr>
        </p:nvSpPr>
        <p:spPr>
          <a:xfrm>
            <a:off x="344487" y="6202800"/>
            <a:ext cx="9217025"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9" name="Textplatzhalter 8">
            <a:extLst>
              <a:ext uri="{FF2B5EF4-FFF2-40B4-BE49-F238E27FC236}">
                <a16:creationId xmlns:a16="http://schemas.microsoft.com/office/drawing/2014/main" id="{A6F5B586-8F75-475C-984D-1DAA5C3AC167}"/>
              </a:ext>
            </a:extLst>
          </p:cNvPr>
          <p:cNvSpPr>
            <a:spLocks noGrp="1"/>
          </p:cNvSpPr>
          <p:nvPr>
            <p:ph type="body" sz="quarter" idx="20"/>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21"/>
          </p:nvPr>
        </p:nvSpPr>
        <p:spPr/>
        <p:txBody>
          <a:bodyPr/>
          <a:lstStyle/>
          <a:p>
            <a:r>
              <a:rPr lang="de-DE"/>
              <a:t>DEG-Unternehmenspräsentation</a:t>
            </a:r>
          </a:p>
        </p:txBody>
      </p:sp>
    </p:spTree>
    <p:extLst>
      <p:ext uri="{BB962C8B-B14F-4D97-AF65-F5344CB8AC3E}">
        <p14:creationId xmlns:p14="http://schemas.microsoft.com/office/powerpoint/2010/main" val="9569874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4 Textfeld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77AF68C-A8FE-4CA0-B00A-4D2A18317467}"/>
              </a:ext>
            </a:extLst>
          </p:cNvPr>
          <p:cNvSpPr>
            <a:spLocks noGrp="1"/>
          </p:cNvSpPr>
          <p:nvPr>
            <p:ph type="dt" sz="half" idx="10"/>
          </p:nvPr>
        </p:nvSpPr>
        <p:spPr bwMode="gray"/>
        <p:txBody>
          <a:bodyPr/>
          <a:lstStyle/>
          <a:p>
            <a:endParaRPr lang="de-DE" dirty="0"/>
          </a:p>
        </p:txBody>
      </p:sp>
      <p:sp>
        <p:nvSpPr>
          <p:cNvPr id="5" name="Foliennummernplatzhalter 4">
            <a:extLst>
              <a:ext uri="{FF2B5EF4-FFF2-40B4-BE49-F238E27FC236}">
                <a16:creationId xmlns:a16="http://schemas.microsoft.com/office/drawing/2014/main" id="{50ABE512-3B53-471A-BB65-D61BFF9A951D}"/>
              </a:ext>
            </a:extLst>
          </p:cNvPr>
          <p:cNvSpPr>
            <a:spLocks noGrp="1"/>
          </p:cNvSpPr>
          <p:nvPr>
            <p:ph type="sldNum" sz="quarter" idx="12"/>
          </p:nvPr>
        </p:nvSpPr>
        <p:spPr bwMode="gray"/>
        <p:txBody>
          <a:bodyPr/>
          <a:lstStyle/>
          <a:p>
            <a:fld id="{5678FFC5-4430-43BC-9807-D0C6EB405569}" type="slidenum">
              <a:rPr lang="de-DE" smtClean="0"/>
              <a:t>‹#›</a:t>
            </a:fld>
            <a:endParaRPr lang="de-DE" dirty="0"/>
          </a:p>
        </p:txBody>
      </p:sp>
      <p:sp>
        <p:nvSpPr>
          <p:cNvPr id="7" name="Textplatzhalter 11">
            <a:extLst>
              <a:ext uri="{FF2B5EF4-FFF2-40B4-BE49-F238E27FC236}">
                <a16:creationId xmlns:a16="http://schemas.microsoft.com/office/drawing/2014/main" id="{520DE74E-333F-41E6-8D5D-5639A192DA4C}"/>
              </a:ext>
            </a:extLst>
          </p:cNvPr>
          <p:cNvSpPr>
            <a:spLocks noGrp="1"/>
          </p:cNvSpPr>
          <p:nvPr>
            <p:ph type="body" sz="quarter" idx="14"/>
          </p:nvPr>
        </p:nvSpPr>
        <p:spPr bwMode="gray">
          <a:xfrm>
            <a:off x="344489"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5" name="Textplatzhalter 14">
            <a:extLst>
              <a:ext uri="{FF2B5EF4-FFF2-40B4-BE49-F238E27FC236}">
                <a16:creationId xmlns:a16="http://schemas.microsoft.com/office/drawing/2014/main" id="{2D2406FB-91BE-45AA-91F9-BA34B4824865}"/>
              </a:ext>
            </a:extLst>
          </p:cNvPr>
          <p:cNvSpPr>
            <a:spLocks noGrp="1"/>
          </p:cNvSpPr>
          <p:nvPr>
            <p:ph type="body" sz="quarter" idx="15"/>
          </p:nvPr>
        </p:nvSpPr>
        <p:spPr>
          <a:xfrm>
            <a:off x="344489" y="1846675"/>
            <a:ext cx="4500561" cy="187357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6" name="Textplatzhalter 11">
            <a:extLst>
              <a:ext uri="{FF2B5EF4-FFF2-40B4-BE49-F238E27FC236}">
                <a16:creationId xmlns:a16="http://schemas.microsoft.com/office/drawing/2014/main" id="{05F97FFD-CFE9-4E99-A355-F82C52CC54B3}"/>
              </a:ext>
            </a:extLst>
          </p:cNvPr>
          <p:cNvSpPr>
            <a:spLocks noGrp="1"/>
          </p:cNvSpPr>
          <p:nvPr>
            <p:ph type="body" sz="quarter" idx="16"/>
          </p:nvPr>
        </p:nvSpPr>
        <p:spPr bwMode="gray">
          <a:xfrm>
            <a:off x="5060950" y="1413670"/>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7" name="Textplatzhalter 14">
            <a:extLst>
              <a:ext uri="{FF2B5EF4-FFF2-40B4-BE49-F238E27FC236}">
                <a16:creationId xmlns:a16="http://schemas.microsoft.com/office/drawing/2014/main" id="{5A89EDB8-5D89-415B-A064-9F26CF03A014}"/>
              </a:ext>
            </a:extLst>
          </p:cNvPr>
          <p:cNvSpPr>
            <a:spLocks noGrp="1"/>
          </p:cNvSpPr>
          <p:nvPr>
            <p:ph type="body" sz="quarter" idx="17"/>
          </p:nvPr>
        </p:nvSpPr>
        <p:spPr>
          <a:xfrm>
            <a:off x="5060950" y="1846675"/>
            <a:ext cx="4500561" cy="1873579"/>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10" name="Textplatzhalter 8">
            <a:extLst>
              <a:ext uri="{FF2B5EF4-FFF2-40B4-BE49-F238E27FC236}">
                <a16:creationId xmlns:a16="http://schemas.microsoft.com/office/drawing/2014/main" id="{0AC01A1E-6BAF-4C91-BB04-8E2B9F69F269}"/>
              </a:ext>
            </a:extLst>
          </p:cNvPr>
          <p:cNvSpPr>
            <a:spLocks noGrp="1"/>
          </p:cNvSpPr>
          <p:nvPr>
            <p:ph type="body" sz="quarter" idx="13" hasCustomPrompt="1"/>
          </p:nvPr>
        </p:nvSpPr>
        <p:spPr>
          <a:xfrm>
            <a:off x="344489" y="6202800"/>
            <a:ext cx="9217022" cy="170017"/>
          </a:xfrm>
        </p:spPr>
        <p:txBody>
          <a:bodyPr anchor="b" anchorCtr="0"/>
          <a:lstStyle>
            <a:lvl1pPr marL="0" indent="0">
              <a:lnSpc>
                <a:spcPct val="100000"/>
              </a:lnSpc>
              <a:spcBef>
                <a:spcPts val="0"/>
              </a:spcBef>
              <a:buNone/>
              <a:defRPr sz="800"/>
            </a:lvl1pPr>
          </a:lstStyle>
          <a:p>
            <a:pPr lvl="0"/>
            <a:r>
              <a:rPr lang="de-DE" dirty="0"/>
              <a:t>Quelle, Anmerkung, Fußnote</a:t>
            </a:r>
          </a:p>
        </p:txBody>
      </p:sp>
      <p:sp>
        <p:nvSpPr>
          <p:cNvPr id="18" name="Textplatzhalter 11">
            <a:extLst>
              <a:ext uri="{FF2B5EF4-FFF2-40B4-BE49-F238E27FC236}">
                <a16:creationId xmlns:a16="http://schemas.microsoft.com/office/drawing/2014/main" id="{C6245A26-34FE-4E41-AD20-0A9373AD5777}"/>
              </a:ext>
            </a:extLst>
          </p:cNvPr>
          <p:cNvSpPr>
            <a:spLocks noGrp="1"/>
          </p:cNvSpPr>
          <p:nvPr>
            <p:ph type="body" sz="quarter" idx="18"/>
          </p:nvPr>
        </p:nvSpPr>
        <p:spPr bwMode="gray">
          <a:xfrm>
            <a:off x="344489"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19" name="Textplatzhalter 14">
            <a:extLst>
              <a:ext uri="{FF2B5EF4-FFF2-40B4-BE49-F238E27FC236}">
                <a16:creationId xmlns:a16="http://schemas.microsoft.com/office/drawing/2014/main" id="{0195286A-1085-48E9-8CE3-B3865EA1F97D}"/>
              </a:ext>
            </a:extLst>
          </p:cNvPr>
          <p:cNvSpPr>
            <a:spLocks noGrp="1"/>
          </p:cNvSpPr>
          <p:nvPr>
            <p:ph type="body" sz="quarter" idx="19"/>
          </p:nvPr>
        </p:nvSpPr>
        <p:spPr>
          <a:xfrm>
            <a:off x="344489" y="4339258"/>
            <a:ext cx="4500562" cy="1863542"/>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20" name="Textplatzhalter 11">
            <a:extLst>
              <a:ext uri="{FF2B5EF4-FFF2-40B4-BE49-F238E27FC236}">
                <a16:creationId xmlns:a16="http://schemas.microsoft.com/office/drawing/2014/main" id="{B532B0FE-57F7-4670-B9D2-7ADB2B6487AD}"/>
              </a:ext>
            </a:extLst>
          </p:cNvPr>
          <p:cNvSpPr>
            <a:spLocks noGrp="1"/>
          </p:cNvSpPr>
          <p:nvPr>
            <p:ph type="body" sz="quarter" idx="20"/>
          </p:nvPr>
        </p:nvSpPr>
        <p:spPr bwMode="gray">
          <a:xfrm>
            <a:off x="5060950" y="3904649"/>
            <a:ext cx="4500561" cy="388800"/>
          </a:xfrm>
          <a:solidFill>
            <a:schemeClr val="bg2"/>
          </a:solidFill>
        </p:spPr>
        <p:txBody>
          <a:bodyPr lIns="108000" rIns="108000" anchor="ctr" anchorCtr="0"/>
          <a:lstStyle>
            <a:lvl1pPr marL="0" indent="0">
              <a:spcBef>
                <a:spcPts val="0"/>
              </a:spcBef>
              <a:buNone/>
              <a:defRPr b="1">
                <a:solidFill>
                  <a:schemeClr val="bg1"/>
                </a:solidFill>
              </a:defRPr>
            </a:lvl1pPr>
            <a:lvl2pPr marL="361950" indent="0">
              <a:buNone/>
              <a:defRPr/>
            </a:lvl2pPr>
          </a:lstStyle>
          <a:p>
            <a:pPr lvl="0"/>
            <a:r>
              <a:rPr lang="de-DE"/>
              <a:t>Mastertextformat bearbeiten
Zweite Ebene
Dritte Ebene
Vierte Ebene
Fünfte Ebene</a:t>
            </a:r>
            <a:endParaRPr lang="de-DE" dirty="0"/>
          </a:p>
        </p:txBody>
      </p:sp>
      <p:sp>
        <p:nvSpPr>
          <p:cNvPr id="21" name="Textplatzhalter 14">
            <a:extLst>
              <a:ext uri="{FF2B5EF4-FFF2-40B4-BE49-F238E27FC236}">
                <a16:creationId xmlns:a16="http://schemas.microsoft.com/office/drawing/2014/main" id="{1B9710D1-7B7B-4F60-8727-4E59EED11288}"/>
              </a:ext>
            </a:extLst>
          </p:cNvPr>
          <p:cNvSpPr>
            <a:spLocks noGrp="1"/>
          </p:cNvSpPr>
          <p:nvPr>
            <p:ph type="body" sz="quarter" idx="21"/>
          </p:nvPr>
        </p:nvSpPr>
        <p:spPr>
          <a:xfrm>
            <a:off x="5060950" y="4339258"/>
            <a:ext cx="4500561" cy="1863542"/>
          </a:xfrm>
          <a:solidFill>
            <a:schemeClr val="tx2"/>
          </a:solidFill>
        </p:spPr>
        <p:txBody>
          <a:bodyPr lIns="108000" tIns="108000" rIns="108000" bIns="108000"/>
          <a:lstStyle/>
          <a:p>
            <a:pPr lvl="0"/>
            <a:r>
              <a:rPr lang="de-DE"/>
              <a:t>Mastertextformat bearbeiten
Zweite Ebene
Dritte Ebene
Vierte Ebene
Fünfte Ebene</a:t>
            </a:r>
            <a:endParaRPr lang="de-DE" dirty="0"/>
          </a:p>
        </p:txBody>
      </p:sp>
      <p:sp>
        <p:nvSpPr>
          <p:cNvPr id="22" name="Textplatzhalter 8">
            <a:extLst>
              <a:ext uri="{FF2B5EF4-FFF2-40B4-BE49-F238E27FC236}">
                <a16:creationId xmlns:a16="http://schemas.microsoft.com/office/drawing/2014/main" id="{4C3C337B-20B9-4837-87BA-C498361AE6F3}"/>
              </a:ext>
            </a:extLst>
          </p:cNvPr>
          <p:cNvSpPr>
            <a:spLocks noGrp="1"/>
          </p:cNvSpPr>
          <p:nvPr>
            <p:ph type="body" sz="quarter" idx="22"/>
          </p:nvPr>
        </p:nvSpPr>
        <p:spPr>
          <a:xfrm>
            <a:off x="500402" y="676800"/>
            <a:ext cx="9061112" cy="334800"/>
          </a:xfrm>
        </p:spPr>
        <p:txBody>
          <a:bodyPr/>
          <a:lstStyle>
            <a:lvl1pPr marL="0" indent="0">
              <a:lnSpc>
                <a:spcPct val="95000"/>
              </a:lnSpc>
              <a:spcBef>
                <a:spcPts val="0"/>
              </a:spcBef>
              <a:buNone/>
              <a:defRPr sz="1800">
                <a:solidFill>
                  <a:schemeClr val="accent3"/>
                </a:solidFill>
              </a:defRPr>
            </a:lvl1pPr>
          </a:lstStyle>
          <a:p>
            <a:pPr lvl="0"/>
            <a:r>
              <a:rPr lang="de-DE"/>
              <a:t>Mastertextformat bearbeiten
Zweite Ebene
Dritte Ebene
Vierte Ebene
Fünfte Ebene</a:t>
            </a:r>
            <a:endParaRPr lang="de-DE" dirty="0"/>
          </a:p>
        </p:txBody>
      </p:sp>
      <p:sp>
        <p:nvSpPr>
          <p:cNvPr id="2" name="Titel 1">
            <a:extLst>
              <a:ext uri="{FF2B5EF4-FFF2-40B4-BE49-F238E27FC236}">
                <a16:creationId xmlns:a16="http://schemas.microsoft.com/office/drawing/2014/main" id="{3C1F1FDF-06CC-4B46-8A18-DB19993DB89F}"/>
              </a:ext>
            </a:extLst>
          </p:cNvPr>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23"/>
          </p:nvPr>
        </p:nvSpPr>
        <p:spPr/>
        <p:txBody>
          <a:bodyPr/>
          <a:lstStyle/>
          <a:p>
            <a:r>
              <a:rPr lang="de-DE"/>
              <a:t>DEG-Unternehmenspräsentation</a:t>
            </a:r>
          </a:p>
        </p:txBody>
      </p:sp>
    </p:spTree>
    <p:extLst>
      <p:ext uri="{BB962C8B-B14F-4D97-AF65-F5344CB8AC3E}">
        <p14:creationId xmlns:p14="http://schemas.microsoft.com/office/powerpoint/2010/main" val="28383102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Kapiteltrenner Petrol">
    <p:bg>
      <p:bgPr>
        <a:solidFill>
          <a:schemeClr val="tx2"/>
        </a:solidFill>
        <a:effectLst/>
      </p:bgPr>
    </p:bg>
    <p:spTree>
      <p:nvGrpSpPr>
        <p:cNvPr id="1" name=""/>
        <p:cNvGrpSpPr/>
        <p:nvPr/>
      </p:nvGrpSpPr>
      <p:grpSpPr>
        <a:xfrm>
          <a:off x="0" y="0"/>
          <a:ext cx="0" cy="0"/>
          <a:chOff x="0" y="0"/>
          <a:chExt cx="0" cy="0"/>
        </a:xfrm>
      </p:grpSpPr>
      <p:sp>
        <p:nvSpPr>
          <p:cNvPr id="11" name="Rechteck: eine Ecke abgerundet 10">
            <a:extLst>
              <a:ext uri="{FF2B5EF4-FFF2-40B4-BE49-F238E27FC236}">
                <a16:creationId xmlns:a16="http://schemas.microsoft.com/office/drawing/2014/main" id="{0A31C95E-D3C1-4E7F-B4CA-03A1005C6F50}"/>
              </a:ext>
            </a:extLst>
          </p:cNvPr>
          <p:cNvSpPr/>
          <p:nvPr userDrawn="1"/>
        </p:nvSpPr>
        <p:spPr bwMode="gray">
          <a:xfrm flipH="1" flipV="1">
            <a:off x="344487" y="-1"/>
            <a:ext cx="9561508" cy="5509885"/>
          </a:xfrm>
          <a:prstGeom prst="round1Rect">
            <a:avLst>
              <a:gd name="adj" fmla="val 40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3" name="Datumsplatzhalter 2">
            <a:extLst>
              <a:ext uri="{FF2B5EF4-FFF2-40B4-BE49-F238E27FC236}">
                <a16:creationId xmlns:a16="http://schemas.microsoft.com/office/drawing/2014/main" id="{BF6420A1-454E-4CC1-89C2-13A57CD515F5}"/>
              </a:ext>
            </a:extLst>
          </p:cNvPr>
          <p:cNvSpPr>
            <a:spLocks noGrp="1"/>
          </p:cNvSpPr>
          <p:nvPr>
            <p:ph type="dt" sz="half" idx="15"/>
          </p:nvPr>
        </p:nvSpPr>
        <p:spPr/>
        <p:txBody>
          <a:bodyPr/>
          <a:lstStyle/>
          <a:p>
            <a:endParaRPr lang="de-DE" dirty="0"/>
          </a:p>
        </p:txBody>
      </p:sp>
      <p:sp>
        <p:nvSpPr>
          <p:cNvPr id="8" name="Foliennummernplatzhalter 7">
            <a:extLst>
              <a:ext uri="{FF2B5EF4-FFF2-40B4-BE49-F238E27FC236}">
                <a16:creationId xmlns:a16="http://schemas.microsoft.com/office/drawing/2014/main" id="{FB5867FD-8242-430F-9D72-8ACD911B18E1}"/>
              </a:ext>
            </a:extLst>
          </p:cNvPr>
          <p:cNvSpPr>
            <a:spLocks noGrp="1"/>
          </p:cNvSpPr>
          <p:nvPr>
            <p:ph type="sldNum" sz="quarter" idx="17"/>
          </p:nvPr>
        </p:nvSpPr>
        <p:spPr/>
        <p:txBody>
          <a:bodyPr/>
          <a:lstStyle/>
          <a:p>
            <a:fld id="{5678FFC5-4430-43BC-9807-D0C6EB405569}" type="slidenum">
              <a:rPr lang="de-DE" smtClean="0"/>
              <a:pPr/>
              <a:t>‹#›</a:t>
            </a:fld>
            <a:endParaRPr lang="de-DE" dirty="0"/>
          </a:p>
        </p:txBody>
      </p:sp>
      <p:sp>
        <p:nvSpPr>
          <p:cNvPr id="5" name="Textplatzhalter 4">
            <a:extLst>
              <a:ext uri="{FF2B5EF4-FFF2-40B4-BE49-F238E27FC236}">
                <a16:creationId xmlns:a16="http://schemas.microsoft.com/office/drawing/2014/main" id="{D400E007-964F-4EE0-9E50-24A2ABA74D5F}"/>
              </a:ext>
            </a:extLst>
          </p:cNvPr>
          <p:cNvSpPr>
            <a:spLocks noGrp="1"/>
          </p:cNvSpPr>
          <p:nvPr>
            <p:ph type="body" sz="quarter" idx="18" hasCustomPrompt="1"/>
          </p:nvPr>
        </p:nvSpPr>
        <p:spPr>
          <a:xfrm>
            <a:off x="1087200" y="2366824"/>
            <a:ext cx="8474313"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1844824"/>
            <a:ext cx="8474313" cy="522000"/>
          </a:xfrm>
        </p:spPr>
        <p:txBody>
          <a:bodyPr wrap="square" anchor="t" anchorCtr="0"/>
          <a:lstStyle>
            <a:lvl1pPr marL="0" indent="625475" algn="l">
              <a:lnSpc>
                <a:spcPct val="90000"/>
              </a:lnSpc>
              <a:defRPr sz="3800">
                <a:solidFill>
                  <a:schemeClr val="bg1"/>
                </a:solidFill>
              </a:defRPr>
            </a:lvl1pPr>
          </a:lstStyle>
          <a:p>
            <a:r>
              <a:rPr lang="de-DE"/>
              <a:t>Mastertitelformat bearbeiten</a:t>
            </a:r>
            <a:endParaRPr lang="de-DE" dirty="0"/>
          </a:p>
        </p:txBody>
      </p:sp>
      <p:grpSp>
        <p:nvGrpSpPr>
          <p:cNvPr id="12" name="Gruppieren 11">
            <a:extLst>
              <a:ext uri="{FF2B5EF4-FFF2-40B4-BE49-F238E27FC236}">
                <a16:creationId xmlns:a16="http://schemas.microsoft.com/office/drawing/2014/main" id="{AF487632-F404-49EF-9520-2B0426697E4E}"/>
              </a:ext>
            </a:extLst>
          </p:cNvPr>
          <p:cNvGrpSpPr>
            <a:grpSpLocks noChangeAspect="1"/>
          </p:cNvGrpSpPr>
          <p:nvPr userDrawn="1"/>
        </p:nvGrpSpPr>
        <p:grpSpPr bwMode="gray">
          <a:xfrm>
            <a:off x="893190" y="1862824"/>
            <a:ext cx="676800" cy="422930"/>
            <a:chOff x="1273175" y="1606550"/>
            <a:chExt cx="9653588" cy="6032500"/>
          </a:xfrm>
          <a:solidFill>
            <a:schemeClr val="accent2"/>
          </a:solidFill>
        </p:grpSpPr>
        <p:sp>
          <p:nvSpPr>
            <p:cNvPr id="13" name="Freeform 5">
              <a:extLst>
                <a:ext uri="{FF2B5EF4-FFF2-40B4-BE49-F238E27FC236}">
                  <a16:creationId xmlns:a16="http://schemas.microsoft.com/office/drawing/2014/main" id="{599B52AB-3882-4CD9-AFAB-BB5C70BB7FFE}"/>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4" name="Freeform 6">
              <a:extLst>
                <a:ext uri="{FF2B5EF4-FFF2-40B4-BE49-F238E27FC236}">
                  <a16:creationId xmlns:a16="http://schemas.microsoft.com/office/drawing/2014/main" id="{6237E8FF-20C2-4987-97B7-015EF878D937}"/>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5" name="Freeform 7">
              <a:extLst>
                <a:ext uri="{FF2B5EF4-FFF2-40B4-BE49-F238E27FC236}">
                  <a16:creationId xmlns:a16="http://schemas.microsoft.com/office/drawing/2014/main" id="{5EB7FE9D-01D4-43AA-B83B-C75AE7738B4D}"/>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4" name="Fußzeilenplatzhalter 3"/>
          <p:cNvSpPr>
            <a:spLocks noGrp="1"/>
          </p:cNvSpPr>
          <p:nvPr>
            <p:ph type="ftr" sz="quarter" idx="19"/>
          </p:nvPr>
        </p:nvSpPr>
        <p:spPr/>
        <p:txBody>
          <a:bodyPr/>
          <a:lstStyle/>
          <a:p>
            <a:r>
              <a:rPr lang="de-DE"/>
              <a:t>DEG-Unternehmenspräsentation</a:t>
            </a:r>
          </a:p>
        </p:txBody>
      </p:sp>
    </p:spTree>
    <p:extLst>
      <p:ext uri="{BB962C8B-B14F-4D97-AF65-F5344CB8AC3E}">
        <p14:creationId xmlns:p14="http://schemas.microsoft.com/office/powerpoint/2010/main" val="898828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Kapiteltrenner Hellgrau">
    <p:spTree>
      <p:nvGrpSpPr>
        <p:cNvPr id="1" name=""/>
        <p:cNvGrpSpPr/>
        <p:nvPr/>
      </p:nvGrpSpPr>
      <p:grpSpPr>
        <a:xfrm>
          <a:off x="0" y="0"/>
          <a:ext cx="0" cy="0"/>
          <a:chOff x="0" y="0"/>
          <a:chExt cx="0" cy="0"/>
        </a:xfrm>
      </p:grpSpPr>
      <p:sp>
        <p:nvSpPr>
          <p:cNvPr id="9" name="Rechteck: eine Ecke abgerundet 8">
            <a:extLst>
              <a:ext uri="{FF2B5EF4-FFF2-40B4-BE49-F238E27FC236}">
                <a16:creationId xmlns:a16="http://schemas.microsoft.com/office/drawing/2014/main" id="{80FDB814-7EFA-40B8-9B60-E7AC68CE6F5C}"/>
              </a:ext>
            </a:extLst>
          </p:cNvPr>
          <p:cNvSpPr/>
          <p:nvPr userDrawn="1"/>
        </p:nvSpPr>
        <p:spPr bwMode="gray">
          <a:xfrm flipH="1" flipV="1">
            <a:off x="344487" y="-1"/>
            <a:ext cx="9561508" cy="5509885"/>
          </a:xfrm>
          <a:prstGeom prst="round1Rect">
            <a:avLst>
              <a:gd name="adj" fmla="val 409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400" dirty="0"/>
          </a:p>
        </p:txBody>
      </p:sp>
      <p:sp>
        <p:nvSpPr>
          <p:cNvPr id="16" name="Textplatzhalter 4">
            <a:extLst>
              <a:ext uri="{FF2B5EF4-FFF2-40B4-BE49-F238E27FC236}">
                <a16:creationId xmlns:a16="http://schemas.microsoft.com/office/drawing/2014/main" id="{ADC41EAD-8DDB-431C-A06C-735E9985631A}"/>
              </a:ext>
            </a:extLst>
          </p:cNvPr>
          <p:cNvSpPr>
            <a:spLocks noGrp="1"/>
          </p:cNvSpPr>
          <p:nvPr>
            <p:ph type="body" sz="quarter" idx="18" hasCustomPrompt="1"/>
          </p:nvPr>
        </p:nvSpPr>
        <p:spPr>
          <a:xfrm>
            <a:off x="1087200" y="2660400"/>
            <a:ext cx="8569297" cy="1256400"/>
          </a:xfrm>
        </p:spPr>
        <p:txBody>
          <a:bodyPr/>
          <a:lstStyle>
            <a:lvl1pPr marL="0" indent="0">
              <a:lnSpc>
                <a:spcPct val="90000"/>
              </a:lnSpc>
              <a:buNone/>
              <a:defRPr sz="3800">
                <a:solidFill>
                  <a:schemeClr val="accent3"/>
                </a:solidFill>
              </a:defRPr>
            </a:lvl1pPr>
          </a:lstStyle>
          <a:p>
            <a:pPr lvl="0"/>
            <a:r>
              <a:rPr lang="de-DE" dirty="0"/>
              <a:t>Zweite Zeile</a:t>
            </a:r>
          </a:p>
        </p:txBody>
      </p:sp>
      <p:sp>
        <p:nvSpPr>
          <p:cNvPr id="2" name="Titel 1">
            <a:extLst>
              <a:ext uri="{FF2B5EF4-FFF2-40B4-BE49-F238E27FC236}">
                <a16:creationId xmlns:a16="http://schemas.microsoft.com/office/drawing/2014/main" id="{AA4F7032-AABC-4803-803E-26E912B5BD22}"/>
              </a:ext>
            </a:extLst>
          </p:cNvPr>
          <p:cNvSpPr>
            <a:spLocks noGrp="1"/>
          </p:cNvSpPr>
          <p:nvPr>
            <p:ph type="title"/>
          </p:nvPr>
        </p:nvSpPr>
        <p:spPr bwMode="gray">
          <a:xfrm>
            <a:off x="1087200" y="2138400"/>
            <a:ext cx="8569296" cy="522000"/>
          </a:xfrm>
        </p:spPr>
        <p:txBody>
          <a:bodyPr wrap="square" anchor="t" anchorCtr="0"/>
          <a:lstStyle>
            <a:lvl1pPr marL="0" indent="625475" algn="l">
              <a:lnSpc>
                <a:spcPct val="90000"/>
              </a:lnSpc>
              <a:defRPr sz="3800">
                <a:solidFill>
                  <a:schemeClr val="accent1"/>
                </a:solidFill>
              </a:defRPr>
            </a:lvl1pPr>
          </a:lstStyle>
          <a:p>
            <a:r>
              <a:rPr lang="de-DE"/>
              <a:t>Mastertitelformat bearbeiten</a:t>
            </a:r>
            <a:endParaRPr lang="de-DE" dirty="0"/>
          </a:p>
        </p:txBody>
      </p:sp>
      <p:grpSp>
        <p:nvGrpSpPr>
          <p:cNvPr id="15" name="Gruppieren 14">
            <a:extLst>
              <a:ext uri="{FF2B5EF4-FFF2-40B4-BE49-F238E27FC236}">
                <a16:creationId xmlns:a16="http://schemas.microsoft.com/office/drawing/2014/main" id="{AB0EEDED-F272-46FA-912B-E7BC94BF74D3}"/>
              </a:ext>
            </a:extLst>
          </p:cNvPr>
          <p:cNvGrpSpPr>
            <a:grpSpLocks noChangeAspect="1"/>
          </p:cNvGrpSpPr>
          <p:nvPr userDrawn="1"/>
        </p:nvGrpSpPr>
        <p:grpSpPr bwMode="gray">
          <a:xfrm>
            <a:off x="893190" y="2156400"/>
            <a:ext cx="676800" cy="422930"/>
            <a:chOff x="1273175" y="1606550"/>
            <a:chExt cx="9653588" cy="6032500"/>
          </a:xfrm>
          <a:solidFill>
            <a:schemeClr val="accent2"/>
          </a:solidFill>
        </p:grpSpPr>
        <p:sp>
          <p:nvSpPr>
            <p:cNvPr id="17" name="Freeform 5">
              <a:extLst>
                <a:ext uri="{FF2B5EF4-FFF2-40B4-BE49-F238E27FC236}">
                  <a16:creationId xmlns:a16="http://schemas.microsoft.com/office/drawing/2014/main" id="{C8DF6415-7603-4698-B7CE-825585DEE38B}"/>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8" name="Freeform 6">
              <a:extLst>
                <a:ext uri="{FF2B5EF4-FFF2-40B4-BE49-F238E27FC236}">
                  <a16:creationId xmlns:a16="http://schemas.microsoft.com/office/drawing/2014/main" id="{AE713B85-5D84-4DA1-9E89-5A18A847AEA5}"/>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19" name="Freeform 7">
              <a:extLst>
                <a:ext uri="{FF2B5EF4-FFF2-40B4-BE49-F238E27FC236}">
                  <a16:creationId xmlns:a16="http://schemas.microsoft.com/office/drawing/2014/main" id="{E7B4847F-5170-4F69-AD64-24959E1B3376}"/>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sp>
        <p:nvSpPr>
          <p:cNvPr id="5" name="Datumsplatzhalter 4"/>
          <p:cNvSpPr>
            <a:spLocks noGrp="1"/>
          </p:cNvSpPr>
          <p:nvPr>
            <p:ph type="dt" sz="half" idx="19"/>
          </p:nvPr>
        </p:nvSpPr>
        <p:spPr/>
        <p:txBody>
          <a:bodyPr/>
          <a:lstStyle/>
          <a:p>
            <a:endParaRPr lang="de-DE" dirty="0"/>
          </a:p>
        </p:txBody>
      </p:sp>
      <p:sp>
        <p:nvSpPr>
          <p:cNvPr id="6" name="Fußzeilenplatzhalter 5"/>
          <p:cNvSpPr>
            <a:spLocks noGrp="1"/>
          </p:cNvSpPr>
          <p:nvPr>
            <p:ph type="ftr" sz="quarter" idx="20"/>
          </p:nvPr>
        </p:nvSpPr>
        <p:spPr/>
        <p:txBody>
          <a:bodyPr/>
          <a:lstStyle/>
          <a:p>
            <a:r>
              <a:rPr lang="de-DE"/>
              <a:t>DEG-Unternehmenspräsentation</a:t>
            </a:r>
          </a:p>
        </p:txBody>
      </p:sp>
      <p:sp>
        <p:nvSpPr>
          <p:cNvPr id="7" name="Foliennummernplatzhalter 6"/>
          <p:cNvSpPr>
            <a:spLocks noGrp="1"/>
          </p:cNvSpPr>
          <p:nvPr>
            <p:ph type="sldNum" sz="quarter" idx="21"/>
          </p:nvPr>
        </p:nvSpPr>
        <p:spPr/>
        <p:txBody>
          <a:bodyPr/>
          <a:lstStyle/>
          <a:p>
            <a:fld id="{5678FFC5-4430-43BC-9807-D0C6EB405569}" type="slidenum">
              <a:rPr lang="de-DE" smtClean="0"/>
              <a:pPr/>
              <a:t>‹#›</a:t>
            </a:fld>
            <a:endParaRPr lang="de-DE" dirty="0"/>
          </a:p>
        </p:txBody>
      </p:sp>
    </p:spTree>
    <p:extLst>
      <p:ext uri="{BB962C8B-B14F-4D97-AF65-F5344CB8AC3E}">
        <p14:creationId xmlns:p14="http://schemas.microsoft.com/office/powerpoint/2010/main" val="36100371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55"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3.jpeg"/><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theme" Target="../theme/theme2.xml"/><Relationship Id="rId50" Type="http://schemas.openxmlformats.org/officeDocument/2006/relationships/oleObject" Target="../embeddings/oleObject3.bin"/><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ags" Target="../tags/tag6.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image" Target="../media/image2.emf"/><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tags" Target="../tags/tag5.xml"/><Relationship Id="rId8" Type="http://schemas.openxmlformats.org/officeDocument/2006/relationships/slideLayout" Target="../slideLayouts/slideLayout57.xml"/><Relationship Id="rId51" Type="http://schemas.openxmlformats.org/officeDocument/2006/relationships/image" Target="../media/image1.emf"/><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1"/>
            </p:custDataLst>
            <p:extLst>
              <p:ext uri="{D42A27DB-BD31-4B8C-83A1-F6EECF244321}">
                <p14:modId xmlns:p14="http://schemas.microsoft.com/office/powerpoint/2010/main" val="1698180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3" imgW="286" imgH="286" progId="TCLayout.ActiveDocument.1">
                  <p:embed/>
                </p:oleObj>
              </mc:Choice>
              <mc:Fallback>
                <p:oleObj name="think-cell Folie" r:id="rId53" imgW="286" imgH="286" progId="TCLayout.ActiveDocument.1">
                  <p:embed/>
                  <p:pic>
                    <p:nvPicPr>
                      <p:cNvPr id="8" name="Object 7" hidden="1"/>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l" eaLnBrk="1">
              <a:buSzPct val="110000"/>
            </a:pPr>
            <a:endParaRPr lang="de-DE" sz="2400" b="0" i="0" baseline="0" dirty="0" err="1">
              <a:latin typeface="Arial" panose="020B0604020202020204" pitchFamily="34" charset="0"/>
              <a:ea typeface="+mj-ea"/>
              <a:cs typeface="+mj-cs"/>
              <a:sym typeface="Arial" panose="020B0604020202020204" pitchFamily="34" charset="0"/>
            </a:endParaRPr>
          </a:p>
        </p:txBody>
      </p:sp>
      <p:sp>
        <p:nvSpPr>
          <p:cNvPr id="3" name="Textplatzhalter 2">
            <a:extLst>
              <a:ext uri="{FF2B5EF4-FFF2-40B4-BE49-F238E27FC236}">
                <a16:creationId xmlns:a16="http://schemas.microsoft.com/office/drawing/2014/main" id="{B9A95045-32A6-4026-8795-9B9110869B04}"/>
              </a:ext>
            </a:extLst>
          </p:cNvPr>
          <p:cNvSpPr>
            <a:spLocks noGrp="1"/>
          </p:cNvSpPr>
          <p:nvPr>
            <p:ph type="body" idx="1"/>
          </p:nvPr>
        </p:nvSpPr>
        <p:spPr bwMode="gray">
          <a:xfrm>
            <a:off x="344488" y="1368000"/>
            <a:ext cx="9217025" cy="4977238"/>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a:extLst>
              <a:ext uri="{FF2B5EF4-FFF2-40B4-BE49-F238E27FC236}">
                <a16:creationId xmlns:a16="http://schemas.microsoft.com/office/drawing/2014/main" id="{27D0565C-15B7-439D-9819-AA6B975B4033}"/>
              </a:ext>
            </a:extLst>
          </p:cNvPr>
          <p:cNvSpPr>
            <a:spLocks noGrp="1"/>
          </p:cNvSpPr>
          <p:nvPr>
            <p:ph type="dt" sz="half" idx="2"/>
          </p:nvPr>
        </p:nvSpPr>
        <p:spPr bwMode="gray">
          <a:xfrm>
            <a:off x="7905328" y="6430863"/>
            <a:ext cx="1234698" cy="252000"/>
          </a:xfrm>
          <a:prstGeom prst="rect">
            <a:avLst/>
          </a:prstGeom>
        </p:spPr>
        <p:txBody>
          <a:bodyPr vert="horz" wrap="none" lIns="0" tIns="0" rIns="0" bIns="0" rtlCol="0" anchor="b" anchorCtr="0">
            <a:noAutofit/>
          </a:bodyPr>
          <a:lstStyle>
            <a:lvl1pPr algn="r">
              <a:lnSpc>
                <a:spcPct val="100000"/>
              </a:lnSpc>
              <a:defRPr sz="900">
                <a:solidFill>
                  <a:schemeClr val="tx1"/>
                </a:solidFill>
              </a:defRPr>
            </a:lvl1pPr>
          </a:lstStyle>
          <a:p>
            <a:endParaRPr lang="de-DE" dirty="0"/>
          </a:p>
        </p:txBody>
      </p:sp>
      <p:sp>
        <p:nvSpPr>
          <p:cNvPr id="6" name="Foliennummernplatzhalter 5">
            <a:extLst>
              <a:ext uri="{FF2B5EF4-FFF2-40B4-BE49-F238E27FC236}">
                <a16:creationId xmlns:a16="http://schemas.microsoft.com/office/drawing/2014/main" id="{060930E1-56A8-42B6-A6E6-0A1B3A49B13D}"/>
              </a:ext>
            </a:extLst>
          </p:cNvPr>
          <p:cNvSpPr>
            <a:spLocks noGrp="1"/>
          </p:cNvSpPr>
          <p:nvPr>
            <p:ph type="sldNum" sz="quarter" idx="4"/>
          </p:nvPr>
        </p:nvSpPr>
        <p:spPr bwMode="gray">
          <a:xfrm>
            <a:off x="9224964" y="6430863"/>
            <a:ext cx="336550" cy="252000"/>
          </a:xfrm>
          <a:prstGeom prst="rect">
            <a:avLst/>
          </a:prstGeom>
        </p:spPr>
        <p:txBody>
          <a:bodyPr vert="horz" lIns="0" tIns="0" rIns="0" bIns="0" rtlCol="0" anchor="b" anchorCtr="0">
            <a:noAutofit/>
          </a:bodyPr>
          <a:lstStyle>
            <a:lvl1pPr algn="r">
              <a:lnSpc>
                <a:spcPct val="100000"/>
              </a:lnSpc>
              <a:defRPr sz="900">
                <a:solidFill>
                  <a:schemeClr val="tx1"/>
                </a:solidFill>
              </a:defRPr>
            </a:lvl1pPr>
          </a:lstStyle>
          <a:p>
            <a:fld id="{5678FFC5-4430-43BC-9807-D0C6EB405569}" type="slidenum">
              <a:rPr lang="de-DE" smtClean="0"/>
              <a:pPr/>
              <a:t>‹#›</a:t>
            </a:fld>
            <a:endParaRPr lang="de-DE" dirty="0"/>
          </a:p>
        </p:txBody>
      </p:sp>
      <p:sp>
        <p:nvSpPr>
          <p:cNvPr id="2" name="Titelplatzhalter 1">
            <a:extLst>
              <a:ext uri="{FF2B5EF4-FFF2-40B4-BE49-F238E27FC236}">
                <a16:creationId xmlns:a16="http://schemas.microsoft.com/office/drawing/2014/main" id="{21AA927B-F252-4989-9C0C-AFB5E25820A1}"/>
              </a:ext>
            </a:extLst>
          </p:cNvPr>
          <p:cNvSpPr>
            <a:spLocks noGrp="1"/>
          </p:cNvSpPr>
          <p:nvPr>
            <p:ph type="title"/>
          </p:nvPr>
        </p:nvSpPr>
        <p:spPr bwMode="gray">
          <a:xfrm>
            <a:off x="500401" y="334800"/>
            <a:ext cx="9061112" cy="378000"/>
          </a:xfrm>
          <a:prstGeom prst="rect">
            <a:avLst/>
          </a:prstGeom>
        </p:spPr>
        <p:txBody>
          <a:bodyPr vert="horz" lIns="0" tIns="0" rIns="0" bIns="0" rtlCol="0" anchor="t" anchorCtr="0">
            <a:noAutofit/>
          </a:bodyPr>
          <a:lstStyle/>
          <a:p>
            <a:r>
              <a:rPr lang="de-DE" dirty="0"/>
              <a:t>Mastertitelformat bearbeiten</a:t>
            </a:r>
          </a:p>
        </p:txBody>
      </p:sp>
      <p:grpSp>
        <p:nvGrpSpPr>
          <p:cNvPr id="21" name="Gruppieren 20">
            <a:extLst>
              <a:ext uri="{FF2B5EF4-FFF2-40B4-BE49-F238E27FC236}">
                <a16:creationId xmlns:a16="http://schemas.microsoft.com/office/drawing/2014/main" id="{5A5E8C1A-F594-4D82-85C3-107234206B35}"/>
              </a:ext>
            </a:extLst>
          </p:cNvPr>
          <p:cNvGrpSpPr/>
          <p:nvPr userDrawn="1"/>
        </p:nvGrpSpPr>
        <p:grpSpPr bwMode="gray">
          <a:xfrm>
            <a:off x="350839" y="367506"/>
            <a:ext cx="434413" cy="271463"/>
            <a:chOff x="1273175" y="1606550"/>
            <a:chExt cx="9653588" cy="6032500"/>
          </a:xfrm>
          <a:solidFill>
            <a:schemeClr val="accent2"/>
          </a:solidFill>
        </p:grpSpPr>
        <p:sp>
          <p:nvSpPr>
            <p:cNvPr id="22" name="Freeform 5">
              <a:extLst>
                <a:ext uri="{FF2B5EF4-FFF2-40B4-BE49-F238E27FC236}">
                  <a16:creationId xmlns:a16="http://schemas.microsoft.com/office/drawing/2014/main" id="{4B96165F-C05E-42AE-AB52-7FD5F7B2FA6E}"/>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3" name="Freeform 6">
              <a:extLst>
                <a:ext uri="{FF2B5EF4-FFF2-40B4-BE49-F238E27FC236}">
                  <a16:creationId xmlns:a16="http://schemas.microsoft.com/office/drawing/2014/main" id="{201A571C-4C71-4004-87F5-16F5D9457C68}"/>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8" name="Freeform 7">
              <a:extLst>
                <a:ext uri="{FF2B5EF4-FFF2-40B4-BE49-F238E27FC236}">
                  <a16:creationId xmlns:a16="http://schemas.microsoft.com/office/drawing/2014/main" id="{733E7A6B-0D8A-496F-A096-D9C1235EE1B3}"/>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pic>
        <p:nvPicPr>
          <p:cNvPr id="13" name="Grafik 12">
            <a:extLst>
              <a:ext uri="{FF2B5EF4-FFF2-40B4-BE49-F238E27FC236}">
                <a16:creationId xmlns:a16="http://schemas.microsoft.com/office/drawing/2014/main" id="{160C41AF-9189-4619-924C-B7862AE0AC32}"/>
              </a:ext>
            </a:extLst>
          </p:cNvPr>
          <p:cNvPicPr>
            <a:picLocks noChangeAspect="1"/>
          </p:cNvPicPr>
          <p:nvPr userDrawn="1"/>
        </p:nvPicPr>
        <p:blipFill>
          <a:blip r:embed="rId55" cstate="screen">
            <a:extLst>
              <a:ext uri="{28A0092B-C50C-407E-A947-70E740481C1C}">
                <a14:useLocalDpi xmlns:a14="http://schemas.microsoft.com/office/drawing/2010/main"/>
              </a:ext>
            </a:extLst>
          </a:blip>
          <a:stretch>
            <a:fillRect/>
          </a:stretch>
        </p:blipFill>
        <p:spPr bwMode="gray">
          <a:xfrm>
            <a:off x="332558" y="6503345"/>
            <a:ext cx="622325" cy="154162"/>
          </a:xfrm>
          <a:prstGeom prst="rect">
            <a:avLst/>
          </a:prstGeom>
        </p:spPr>
      </p:pic>
      <p:sp>
        <p:nvSpPr>
          <p:cNvPr id="5" name="Fußzeilenplatzhalter 4"/>
          <p:cNvSpPr>
            <a:spLocks noGrp="1"/>
          </p:cNvSpPr>
          <p:nvPr>
            <p:ph type="ftr" sz="quarter" idx="3"/>
          </p:nvPr>
        </p:nvSpPr>
        <p:spPr>
          <a:xfrm>
            <a:off x="1101317" y="6477876"/>
            <a:ext cx="1671637" cy="290612"/>
          </a:xfrm>
          <a:prstGeom prst="rect">
            <a:avLst/>
          </a:prstGeom>
        </p:spPr>
        <p:txBody>
          <a:bodyPr vert="horz" lIns="0" tIns="45720" rIns="91440" bIns="45720" rtlCol="0" anchor="ctr"/>
          <a:lstStyle>
            <a:lvl1pPr algn="l">
              <a:defRPr sz="800" baseline="0">
                <a:solidFill>
                  <a:schemeClr val="tx1"/>
                </a:solidFill>
                <a:latin typeface="Arial" charset="0"/>
              </a:defRPr>
            </a:lvl1pPr>
          </a:lstStyle>
          <a:p>
            <a:r>
              <a:rPr lang="de-DE"/>
              <a:t>DEG-Unternehmenspräsentation</a:t>
            </a:r>
          </a:p>
        </p:txBody>
      </p:sp>
      <p:pic>
        <p:nvPicPr>
          <p:cNvPr id="9" name="Picture 8"/>
          <p:cNvPicPr>
            <a:picLocks noChangeAspect="1"/>
          </p:cNvPicPr>
          <p:nvPr userDrawn="1"/>
        </p:nvPicPr>
        <p:blipFill>
          <a:blip r:embed="rId56" cstate="hqprint">
            <a:extLst>
              <a:ext uri="{28A0092B-C50C-407E-A947-70E740481C1C}">
                <a14:useLocalDpi xmlns:a14="http://schemas.microsoft.com/office/drawing/2010/main" val="0"/>
              </a:ext>
            </a:extLst>
          </a:blip>
          <a:stretch>
            <a:fillRect/>
          </a:stretch>
        </p:blipFill>
        <p:spPr>
          <a:xfrm>
            <a:off x="8451797" y="6521641"/>
            <a:ext cx="664879" cy="203081"/>
          </a:xfrm>
          <a:prstGeom prst="rect">
            <a:avLst/>
          </a:prstGeom>
        </p:spPr>
      </p:pic>
    </p:spTree>
    <p:extLst>
      <p:ext uri="{BB962C8B-B14F-4D97-AF65-F5344CB8AC3E}">
        <p14:creationId xmlns:p14="http://schemas.microsoft.com/office/powerpoint/2010/main" val="1999659596"/>
      </p:ext>
    </p:extLst>
  </p:cSld>
  <p:clrMap bg1="lt1" tx1="dk1" bg2="lt2" tx2="dk2" accent1="accent1" accent2="accent2" accent3="accent3" accent4="accent4" accent5="accent5" accent6="accent6" hlink="hlink" folHlink="folHlink"/>
  <p:sldLayoutIdLst>
    <p:sldLayoutId id="2147483649" r:id="rId1"/>
    <p:sldLayoutId id="2147483758"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709" r:id="rId12"/>
    <p:sldLayoutId id="2147483693" r:id="rId13"/>
    <p:sldLayoutId id="2147483694" r:id="rId14"/>
    <p:sldLayoutId id="2147483695" r:id="rId15"/>
    <p:sldLayoutId id="2147483696" r:id="rId16"/>
    <p:sldLayoutId id="2147483697" r:id="rId17"/>
    <p:sldLayoutId id="2147483698" r:id="rId18"/>
    <p:sldLayoutId id="2147483706" r:id="rId19"/>
    <p:sldLayoutId id="2147483708" r:id="rId20"/>
    <p:sldLayoutId id="2147483707" r:id="rId21"/>
    <p:sldLayoutId id="2147483699" r:id="rId22"/>
    <p:sldLayoutId id="2147483700" r:id="rId23"/>
    <p:sldLayoutId id="2147483701" r:id="rId24"/>
    <p:sldLayoutId id="2147483702" r:id="rId25"/>
    <p:sldLayoutId id="2147483703" r:id="rId26"/>
    <p:sldLayoutId id="2147483704" r:id="rId27"/>
    <p:sldLayoutId id="2147483705" r:id="rId28"/>
    <p:sldLayoutId id="2147483659" r:id="rId29"/>
    <p:sldLayoutId id="2147483650" r:id="rId30"/>
    <p:sldLayoutId id="2147483677" r:id="rId31"/>
    <p:sldLayoutId id="2147483652" r:id="rId32"/>
    <p:sldLayoutId id="2147483657" r:id="rId33"/>
    <p:sldLayoutId id="2147483658" r:id="rId34"/>
    <p:sldLayoutId id="2147483660" r:id="rId35"/>
    <p:sldLayoutId id="2147483662" r:id="rId36"/>
    <p:sldLayoutId id="2147483654" r:id="rId37"/>
    <p:sldLayoutId id="2147483680" r:id="rId38"/>
    <p:sldLayoutId id="2147483681" r:id="rId39"/>
    <p:sldLayoutId id="2147483668" r:id="rId40"/>
    <p:sldLayoutId id="2147483669" r:id="rId41"/>
    <p:sldLayoutId id="2147483670" r:id="rId42"/>
    <p:sldLayoutId id="2147483674" r:id="rId43"/>
    <p:sldLayoutId id="2147483675" r:id="rId44"/>
    <p:sldLayoutId id="2147483676" r:id="rId45"/>
    <p:sldLayoutId id="2147483666" r:id="rId46"/>
    <p:sldLayoutId id="2147483667" r:id="rId47"/>
    <p:sldLayoutId id="2147483760" r:id="rId48"/>
    <p:sldLayoutId id="2147483761" r:id="rId49"/>
  </p:sldLayoutIdLst>
  <p:hf hdr="0" ftr="0" dt="0"/>
  <p:txStyles>
    <p:titleStyle>
      <a:lvl1pPr marL="0" indent="370800" algn="l" defTabSz="914400" rtl="0" eaLnBrk="1" latinLnBrk="0" hangingPunct="1">
        <a:lnSpc>
          <a:spcPct val="95000"/>
        </a:lnSpc>
        <a:spcBef>
          <a:spcPct val="0"/>
        </a:spcBef>
        <a:buNone/>
        <a:defRPr sz="2400" kern="1200">
          <a:solidFill>
            <a:schemeClr val="accent1"/>
          </a:solidFill>
          <a:latin typeface="+mj-lt"/>
          <a:ea typeface="+mj-ea"/>
          <a:cs typeface="+mj-cs"/>
        </a:defRPr>
      </a:lvl1pPr>
    </p:titleStyle>
    <p:bodyStyle>
      <a:lvl1pPr marL="180975" indent="-180975"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1pPr>
      <a:lvl2pPr marL="358775" indent="-176213" algn="l" defTabSz="914400" rtl="0" eaLnBrk="1" latinLnBrk="0" hangingPunct="1">
        <a:lnSpc>
          <a:spcPct val="100000"/>
        </a:lnSpc>
        <a:spcBef>
          <a:spcPts val="500"/>
        </a:spcBef>
        <a:buSzPct val="110000"/>
        <a:buFont typeface="Symbol" panose="05050102010706020507" pitchFamily="18" charset="2"/>
        <a:buChar char="-"/>
        <a:tabLst/>
        <a:defRPr sz="1400" kern="1200">
          <a:solidFill>
            <a:schemeClr val="tx1"/>
          </a:solidFill>
          <a:latin typeface="+mn-lt"/>
          <a:ea typeface="+mn-ea"/>
          <a:cs typeface="+mn-cs"/>
        </a:defRPr>
      </a:lvl2pPr>
      <a:lvl3pPr marL="541338" indent="-182563"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3pPr>
      <a:lvl4pPr marL="715963" indent="-174625"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4pPr>
      <a:lvl5pPr marL="898525" indent="-182563"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52">
          <p15:clr>
            <a:srgbClr val="F26B43"/>
          </p15:clr>
        </p15:guide>
        <p15:guide id="2" pos="3188">
          <p15:clr>
            <a:srgbClr val="F26B43"/>
          </p15:clr>
        </p15:guide>
        <p15:guide id="3" pos="4526">
          <p15:clr>
            <a:srgbClr val="F26B43"/>
          </p15:clr>
        </p15:guide>
        <p15:guide id="4" pos="4662">
          <p15:clr>
            <a:srgbClr val="F26B43"/>
          </p15:clr>
        </p15:guide>
        <p15:guide id="5" pos="1578">
          <p15:clr>
            <a:srgbClr val="F26B43"/>
          </p15:clr>
        </p15:guide>
        <p15:guide id="6" pos="1714">
          <p15:clr>
            <a:srgbClr val="F26B43"/>
          </p15:clr>
        </p15:guide>
        <p15:guide id="7" pos="217">
          <p15:clr>
            <a:srgbClr val="F26B43"/>
          </p15:clr>
        </p15:guide>
        <p15:guide id="8" pos="6023">
          <p15:clr>
            <a:srgbClr val="F26B43"/>
          </p15:clr>
        </p15:guide>
        <p15:guide id="9" orient="horz" pos="890">
          <p15:clr>
            <a:srgbClr val="F26B43"/>
          </p15:clr>
        </p15:guide>
        <p15:guide id="10" orient="horz" pos="222">
          <p15:clr>
            <a:srgbClr val="F26B43"/>
          </p15:clr>
        </p15:guide>
        <p15:guide id="11" orient="horz" pos="3997">
          <p15:clr>
            <a:srgbClr val="F26B43"/>
          </p15:clr>
        </p15:guide>
        <p15:guide id="12" orient="horz" pos="38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0" imgW="286" imgH="286" progId="TCLayout.ActiveDocument.1">
                  <p:embed/>
                </p:oleObj>
              </mc:Choice>
              <mc:Fallback>
                <p:oleObj name="think-cell Folie" r:id="rId50" imgW="286" imgH="286" progId="TCLayout.ActiveDocument.1">
                  <p:embed/>
                  <p:pic>
                    <p:nvPicPr>
                      <p:cNvPr id="8" name="Object 7" hidden="1"/>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49"/>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l" eaLnBrk="1">
              <a:buSzPct val="110000"/>
            </a:pPr>
            <a:endParaRPr lang="de-DE" sz="2400" b="0" i="0" baseline="0" dirty="0" err="1">
              <a:latin typeface="Arial" panose="020B0604020202020204" pitchFamily="34" charset="0"/>
              <a:ea typeface="+mj-ea"/>
              <a:cs typeface="+mj-cs"/>
              <a:sym typeface="Arial" panose="020B0604020202020204" pitchFamily="34" charset="0"/>
            </a:endParaRPr>
          </a:p>
        </p:txBody>
      </p:sp>
      <p:sp>
        <p:nvSpPr>
          <p:cNvPr id="3" name="Textplatzhalter 2">
            <a:extLst>
              <a:ext uri="{FF2B5EF4-FFF2-40B4-BE49-F238E27FC236}">
                <a16:creationId xmlns:a16="http://schemas.microsoft.com/office/drawing/2014/main" id="{B9A95045-32A6-4026-8795-9B9110869B04}"/>
              </a:ext>
            </a:extLst>
          </p:cNvPr>
          <p:cNvSpPr>
            <a:spLocks noGrp="1"/>
          </p:cNvSpPr>
          <p:nvPr>
            <p:ph type="body" idx="1"/>
          </p:nvPr>
        </p:nvSpPr>
        <p:spPr bwMode="gray">
          <a:xfrm>
            <a:off x="344488" y="1368000"/>
            <a:ext cx="9217025" cy="4977238"/>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a:extLst>
              <a:ext uri="{FF2B5EF4-FFF2-40B4-BE49-F238E27FC236}">
                <a16:creationId xmlns:a16="http://schemas.microsoft.com/office/drawing/2014/main" id="{27D0565C-15B7-439D-9819-AA6B975B4033}"/>
              </a:ext>
            </a:extLst>
          </p:cNvPr>
          <p:cNvSpPr>
            <a:spLocks noGrp="1"/>
          </p:cNvSpPr>
          <p:nvPr>
            <p:ph type="dt" sz="half" idx="2"/>
          </p:nvPr>
        </p:nvSpPr>
        <p:spPr bwMode="gray">
          <a:xfrm>
            <a:off x="7905328" y="6430863"/>
            <a:ext cx="1234698" cy="252000"/>
          </a:xfrm>
          <a:prstGeom prst="rect">
            <a:avLst/>
          </a:prstGeom>
        </p:spPr>
        <p:txBody>
          <a:bodyPr vert="horz" wrap="none" lIns="0" tIns="0" rIns="0" bIns="0" rtlCol="0" anchor="b" anchorCtr="0">
            <a:noAutofit/>
          </a:bodyPr>
          <a:lstStyle>
            <a:lvl1pPr algn="r">
              <a:lnSpc>
                <a:spcPct val="100000"/>
              </a:lnSpc>
              <a:defRPr sz="900">
                <a:solidFill>
                  <a:schemeClr val="tx1"/>
                </a:solidFill>
              </a:defRPr>
            </a:lvl1pPr>
          </a:lstStyle>
          <a:p>
            <a:endParaRPr lang="de-DE" dirty="0"/>
          </a:p>
        </p:txBody>
      </p:sp>
      <p:sp>
        <p:nvSpPr>
          <p:cNvPr id="6" name="Foliennummernplatzhalter 5">
            <a:extLst>
              <a:ext uri="{FF2B5EF4-FFF2-40B4-BE49-F238E27FC236}">
                <a16:creationId xmlns:a16="http://schemas.microsoft.com/office/drawing/2014/main" id="{060930E1-56A8-42B6-A6E6-0A1B3A49B13D}"/>
              </a:ext>
            </a:extLst>
          </p:cNvPr>
          <p:cNvSpPr>
            <a:spLocks noGrp="1"/>
          </p:cNvSpPr>
          <p:nvPr>
            <p:ph type="sldNum" sz="quarter" idx="4"/>
          </p:nvPr>
        </p:nvSpPr>
        <p:spPr bwMode="gray">
          <a:xfrm>
            <a:off x="9224964" y="6430863"/>
            <a:ext cx="336550" cy="252000"/>
          </a:xfrm>
          <a:prstGeom prst="rect">
            <a:avLst/>
          </a:prstGeom>
        </p:spPr>
        <p:txBody>
          <a:bodyPr vert="horz" lIns="0" tIns="0" rIns="0" bIns="0" rtlCol="0" anchor="b" anchorCtr="0">
            <a:noAutofit/>
          </a:bodyPr>
          <a:lstStyle>
            <a:lvl1pPr algn="r">
              <a:lnSpc>
                <a:spcPct val="100000"/>
              </a:lnSpc>
              <a:defRPr sz="900">
                <a:solidFill>
                  <a:schemeClr val="tx1"/>
                </a:solidFill>
              </a:defRPr>
            </a:lvl1pPr>
          </a:lstStyle>
          <a:p>
            <a:fld id="{5678FFC5-4430-43BC-9807-D0C6EB405569}" type="slidenum">
              <a:rPr lang="de-DE" smtClean="0"/>
              <a:pPr/>
              <a:t>‹#›</a:t>
            </a:fld>
            <a:endParaRPr lang="de-DE" dirty="0"/>
          </a:p>
        </p:txBody>
      </p:sp>
      <p:sp>
        <p:nvSpPr>
          <p:cNvPr id="2" name="Titelplatzhalter 1">
            <a:extLst>
              <a:ext uri="{FF2B5EF4-FFF2-40B4-BE49-F238E27FC236}">
                <a16:creationId xmlns:a16="http://schemas.microsoft.com/office/drawing/2014/main" id="{21AA927B-F252-4989-9C0C-AFB5E25820A1}"/>
              </a:ext>
            </a:extLst>
          </p:cNvPr>
          <p:cNvSpPr>
            <a:spLocks noGrp="1"/>
          </p:cNvSpPr>
          <p:nvPr>
            <p:ph type="title"/>
          </p:nvPr>
        </p:nvSpPr>
        <p:spPr bwMode="gray">
          <a:xfrm>
            <a:off x="500401" y="334800"/>
            <a:ext cx="9061112" cy="378000"/>
          </a:xfrm>
          <a:prstGeom prst="rect">
            <a:avLst/>
          </a:prstGeom>
        </p:spPr>
        <p:txBody>
          <a:bodyPr vert="horz" lIns="0" tIns="0" rIns="0" bIns="0" rtlCol="0" anchor="t" anchorCtr="0">
            <a:noAutofit/>
          </a:bodyPr>
          <a:lstStyle/>
          <a:p>
            <a:r>
              <a:rPr lang="de-DE" dirty="0"/>
              <a:t>Mastertitelformat bearbeiten</a:t>
            </a:r>
          </a:p>
        </p:txBody>
      </p:sp>
      <p:grpSp>
        <p:nvGrpSpPr>
          <p:cNvPr id="21" name="Gruppieren 20">
            <a:extLst>
              <a:ext uri="{FF2B5EF4-FFF2-40B4-BE49-F238E27FC236}">
                <a16:creationId xmlns:a16="http://schemas.microsoft.com/office/drawing/2014/main" id="{5A5E8C1A-F594-4D82-85C3-107234206B35}"/>
              </a:ext>
            </a:extLst>
          </p:cNvPr>
          <p:cNvGrpSpPr/>
          <p:nvPr userDrawn="1"/>
        </p:nvGrpSpPr>
        <p:grpSpPr bwMode="gray">
          <a:xfrm>
            <a:off x="350839" y="367506"/>
            <a:ext cx="434413" cy="271463"/>
            <a:chOff x="1273175" y="1606550"/>
            <a:chExt cx="9653588" cy="6032500"/>
          </a:xfrm>
          <a:solidFill>
            <a:schemeClr val="accent2"/>
          </a:solidFill>
        </p:grpSpPr>
        <p:sp>
          <p:nvSpPr>
            <p:cNvPr id="22" name="Freeform 5">
              <a:extLst>
                <a:ext uri="{FF2B5EF4-FFF2-40B4-BE49-F238E27FC236}">
                  <a16:creationId xmlns:a16="http://schemas.microsoft.com/office/drawing/2014/main" id="{4B96165F-C05E-42AE-AB52-7FD5F7B2FA6E}"/>
                </a:ext>
              </a:extLst>
            </p:cNvPr>
            <p:cNvSpPr>
              <a:spLocks/>
            </p:cNvSpPr>
            <p:nvPr userDrawn="1"/>
          </p:nvSpPr>
          <p:spPr bwMode="gray">
            <a:xfrm>
              <a:off x="1273175" y="1606550"/>
              <a:ext cx="3311525" cy="6032500"/>
            </a:xfrm>
            <a:custGeom>
              <a:avLst/>
              <a:gdLst>
                <a:gd name="T0" fmla="*/ 198 w 1556"/>
                <a:gd name="T1" fmla="*/ 0 h 2831"/>
                <a:gd name="T2" fmla="*/ 49 w 1556"/>
                <a:gd name="T3" fmla="*/ 108 h 2831"/>
                <a:gd name="T4" fmla="*/ 115 w 1556"/>
                <a:gd name="T5" fmla="*/ 240 h 2831"/>
                <a:gd name="T6" fmla="*/ 910 w 1556"/>
                <a:gd name="T7" fmla="*/ 1366 h 2831"/>
                <a:gd name="T8" fmla="*/ 910 w 1556"/>
                <a:gd name="T9" fmla="*/ 1432 h 2831"/>
                <a:gd name="T10" fmla="*/ 49 w 1556"/>
                <a:gd name="T11" fmla="*/ 2599 h 2831"/>
                <a:gd name="T12" fmla="*/ 0 w 1556"/>
                <a:gd name="T13" fmla="*/ 2732 h 2831"/>
                <a:gd name="T14" fmla="*/ 140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5"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0" y="2831"/>
                  </a:cubicBezTo>
                  <a:cubicBezTo>
                    <a:pt x="455" y="2831"/>
                    <a:pt x="455" y="2831"/>
                    <a:pt x="455" y="2831"/>
                  </a:cubicBezTo>
                  <a:cubicBezTo>
                    <a:pt x="595"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5"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3" name="Freeform 6">
              <a:extLst>
                <a:ext uri="{FF2B5EF4-FFF2-40B4-BE49-F238E27FC236}">
                  <a16:creationId xmlns:a16="http://schemas.microsoft.com/office/drawing/2014/main" id="{201A571C-4C71-4004-87F5-16F5D9457C68}"/>
                </a:ext>
              </a:extLst>
            </p:cNvPr>
            <p:cNvSpPr>
              <a:spLocks/>
            </p:cNvSpPr>
            <p:nvPr userDrawn="1"/>
          </p:nvSpPr>
          <p:spPr bwMode="gray">
            <a:xfrm>
              <a:off x="4491038" y="1606550"/>
              <a:ext cx="3313113" cy="6032500"/>
            </a:xfrm>
            <a:custGeom>
              <a:avLst/>
              <a:gdLst>
                <a:gd name="T0" fmla="*/ 199 w 1556"/>
                <a:gd name="T1" fmla="*/ 0 h 2831"/>
                <a:gd name="T2" fmla="*/ 50 w 1556"/>
                <a:gd name="T3" fmla="*/ 108 h 2831"/>
                <a:gd name="T4" fmla="*/ 116 w 1556"/>
                <a:gd name="T5" fmla="*/ 240 h 2831"/>
                <a:gd name="T6" fmla="*/ 910 w 1556"/>
                <a:gd name="T7" fmla="*/ 1366 h 2831"/>
                <a:gd name="T8" fmla="*/ 910 w 1556"/>
                <a:gd name="T9" fmla="*/ 1432 h 2831"/>
                <a:gd name="T10" fmla="*/ 50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9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9" y="0"/>
                  </a:moveTo>
                  <a:cubicBezTo>
                    <a:pt x="99" y="0"/>
                    <a:pt x="50" y="33"/>
                    <a:pt x="50" y="108"/>
                  </a:cubicBezTo>
                  <a:cubicBezTo>
                    <a:pt x="50" y="132"/>
                    <a:pt x="74" y="174"/>
                    <a:pt x="116" y="240"/>
                  </a:cubicBezTo>
                  <a:cubicBezTo>
                    <a:pt x="910" y="1366"/>
                    <a:pt x="910" y="1366"/>
                    <a:pt x="910" y="1366"/>
                  </a:cubicBezTo>
                  <a:cubicBezTo>
                    <a:pt x="935" y="1399"/>
                    <a:pt x="927" y="1407"/>
                    <a:pt x="910" y="1432"/>
                  </a:cubicBezTo>
                  <a:cubicBezTo>
                    <a:pt x="50" y="2599"/>
                    <a:pt x="50" y="2599"/>
                    <a:pt x="50"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sp>
          <p:nvSpPr>
            <p:cNvPr id="28" name="Freeform 7">
              <a:extLst>
                <a:ext uri="{FF2B5EF4-FFF2-40B4-BE49-F238E27FC236}">
                  <a16:creationId xmlns:a16="http://schemas.microsoft.com/office/drawing/2014/main" id="{733E7A6B-0D8A-496F-A096-D9C1235EE1B3}"/>
                </a:ext>
              </a:extLst>
            </p:cNvPr>
            <p:cNvSpPr>
              <a:spLocks/>
            </p:cNvSpPr>
            <p:nvPr userDrawn="1"/>
          </p:nvSpPr>
          <p:spPr bwMode="gray">
            <a:xfrm>
              <a:off x="7613650" y="1606550"/>
              <a:ext cx="3313113" cy="6032500"/>
            </a:xfrm>
            <a:custGeom>
              <a:avLst/>
              <a:gdLst>
                <a:gd name="T0" fmla="*/ 198 w 1556"/>
                <a:gd name="T1" fmla="*/ 0 h 2831"/>
                <a:gd name="T2" fmla="*/ 49 w 1556"/>
                <a:gd name="T3" fmla="*/ 108 h 2831"/>
                <a:gd name="T4" fmla="*/ 116 w 1556"/>
                <a:gd name="T5" fmla="*/ 240 h 2831"/>
                <a:gd name="T6" fmla="*/ 910 w 1556"/>
                <a:gd name="T7" fmla="*/ 1366 h 2831"/>
                <a:gd name="T8" fmla="*/ 910 w 1556"/>
                <a:gd name="T9" fmla="*/ 1432 h 2831"/>
                <a:gd name="T10" fmla="*/ 49 w 1556"/>
                <a:gd name="T11" fmla="*/ 2599 h 2831"/>
                <a:gd name="T12" fmla="*/ 0 w 1556"/>
                <a:gd name="T13" fmla="*/ 2732 h 2831"/>
                <a:gd name="T14" fmla="*/ 141 w 1556"/>
                <a:gd name="T15" fmla="*/ 2831 h 2831"/>
                <a:gd name="T16" fmla="*/ 455 w 1556"/>
                <a:gd name="T17" fmla="*/ 2831 h 2831"/>
                <a:gd name="T18" fmla="*/ 703 w 1556"/>
                <a:gd name="T19" fmla="*/ 2707 h 2831"/>
                <a:gd name="T20" fmla="*/ 1440 w 1556"/>
                <a:gd name="T21" fmla="*/ 1713 h 2831"/>
                <a:gd name="T22" fmla="*/ 1556 w 1556"/>
                <a:gd name="T23" fmla="*/ 1424 h 2831"/>
                <a:gd name="T24" fmla="*/ 1440 w 1556"/>
                <a:gd name="T25" fmla="*/ 1109 h 2831"/>
                <a:gd name="T26" fmla="*/ 728 w 1556"/>
                <a:gd name="T27" fmla="*/ 116 h 2831"/>
                <a:gd name="T28" fmla="*/ 480 w 1556"/>
                <a:gd name="T29" fmla="*/ 0 h 2831"/>
                <a:gd name="T30" fmla="*/ 198 w 1556"/>
                <a:gd name="T31"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6" h="2831">
                  <a:moveTo>
                    <a:pt x="198" y="0"/>
                  </a:moveTo>
                  <a:cubicBezTo>
                    <a:pt x="99" y="0"/>
                    <a:pt x="49" y="33"/>
                    <a:pt x="49" y="108"/>
                  </a:cubicBezTo>
                  <a:cubicBezTo>
                    <a:pt x="49" y="132"/>
                    <a:pt x="74" y="174"/>
                    <a:pt x="116" y="240"/>
                  </a:cubicBezTo>
                  <a:cubicBezTo>
                    <a:pt x="910" y="1366"/>
                    <a:pt x="910" y="1366"/>
                    <a:pt x="910" y="1366"/>
                  </a:cubicBezTo>
                  <a:cubicBezTo>
                    <a:pt x="935" y="1399"/>
                    <a:pt x="927" y="1407"/>
                    <a:pt x="910" y="1432"/>
                  </a:cubicBezTo>
                  <a:cubicBezTo>
                    <a:pt x="49" y="2599"/>
                    <a:pt x="49" y="2599"/>
                    <a:pt x="49" y="2599"/>
                  </a:cubicBezTo>
                  <a:cubicBezTo>
                    <a:pt x="8" y="2649"/>
                    <a:pt x="0" y="2690"/>
                    <a:pt x="0" y="2732"/>
                  </a:cubicBezTo>
                  <a:cubicBezTo>
                    <a:pt x="0" y="2789"/>
                    <a:pt x="41" y="2831"/>
                    <a:pt x="141" y="2831"/>
                  </a:cubicBezTo>
                  <a:cubicBezTo>
                    <a:pt x="455" y="2831"/>
                    <a:pt x="455" y="2831"/>
                    <a:pt x="455" y="2831"/>
                  </a:cubicBezTo>
                  <a:cubicBezTo>
                    <a:pt x="596" y="2831"/>
                    <a:pt x="637" y="2798"/>
                    <a:pt x="703" y="2707"/>
                  </a:cubicBezTo>
                  <a:cubicBezTo>
                    <a:pt x="1440" y="1713"/>
                    <a:pt x="1440" y="1713"/>
                    <a:pt x="1440" y="1713"/>
                  </a:cubicBezTo>
                  <a:cubicBezTo>
                    <a:pt x="1523" y="1606"/>
                    <a:pt x="1556" y="1531"/>
                    <a:pt x="1556" y="1424"/>
                  </a:cubicBezTo>
                  <a:cubicBezTo>
                    <a:pt x="1556" y="1300"/>
                    <a:pt x="1539" y="1250"/>
                    <a:pt x="1440" y="1109"/>
                  </a:cubicBezTo>
                  <a:cubicBezTo>
                    <a:pt x="728" y="116"/>
                    <a:pt x="728" y="116"/>
                    <a:pt x="728" y="116"/>
                  </a:cubicBezTo>
                  <a:cubicBezTo>
                    <a:pt x="654" y="17"/>
                    <a:pt x="596" y="0"/>
                    <a:pt x="480" y="0"/>
                  </a:cubicBez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de-DE" dirty="0"/>
            </a:p>
          </p:txBody>
        </p:sp>
      </p:grpSp>
      <p:pic>
        <p:nvPicPr>
          <p:cNvPr id="13" name="Grafik 12">
            <a:extLst>
              <a:ext uri="{FF2B5EF4-FFF2-40B4-BE49-F238E27FC236}">
                <a16:creationId xmlns:a16="http://schemas.microsoft.com/office/drawing/2014/main" id="{160C41AF-9189-4619-924C-B7862AE0AC32}"/>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bwMode="gray">
          <a:xfrm>
            <a:off x="332558" y="6503345"/>
            <a:ext cx="622325" cy="154162"/>
          </a:xfrm>
          <a:prstGeom prst="rect">
            <a:avLst/>
          </a:prstGeom>
        </p:spPr>
      </p:pic>
      <p:sp>
        <p:nvSpPr>
          <p:cNvPr id="5" name="Fußzeilenplatzhalter 4"/>
          <p:cNvSpPr>
            <a:spLocks noGrp="1"/>
          </p:cNvSpPr>
          <p:nvPr>
            <p:ph type="ftr" sz="quarter" idx="3"/>
          </p:nvPr>
        </p:nvSpPr>
        <p:spPr>
          <a:xfrm>
            <a:off x="1101317" y="6477876"/>
            <a:ext cx="1671637" cy="290612"/>
          </a:xfrm>
          <a:prstGeom prst="rect">
            <a:avLst/>
          </a:prstGeom>
        </p:spPr>
        <p:txBody>
          <a:bodyPr vert="horz" lIns="0" tIns="45720" rIns="91440" bIns="45720" rtlCol="0" anchor="ctr"/>
          <a:lstStyle>
            <a:lvl1pPr algn="l">
              <a:defRPr sz="800" baseline="0">
                <a:solidFill>
                  <a:schemeClr val="tx1"/>
                </a:solidFill>
                <a:latin typeface="Arial" charset="0"/>
              </a:defRPr>
            </a:lvl1pPr>
          </a:lstStyle>
          <a:p>
            <a:r>
              <a:rPr lang="de-DE"/>
              <a:t>DEG-Unternehmenspräsentation</a:t>
            </a:r>
          </a:p>
        </p:txBody>
      </p:sp>
    </p:spTree>
    <p:extLst>
      <p:ext uri="{BB962C8B-B14F-4D97-AF65-F5344CB8AC3E}">
        <p14:creationId xmlns:p14="http://schemas.microsoft.com/office/powerpoint/2010/main" val="1375410899"/>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 id="2147483746" r:id="rId36"/>
    <p:sldLayoutId id="2147483747" r:id="rId37"/>
    <p:sldLayoutId id="2147483748" r:id="rId38"/>
    <p:sldLayoutId id="2147483749" r:id="rId39"/>
    <p:sldLayoutId id="2147483750" r:id="rId40"/>
    <p:sldLayoutId id="2147483751" r:id="rId41"/>
    <p:sldLayoutId id="2147483752" r:id="rId42"/>
    <p:sldLayoutId id="2147483753" r:id="rId43"/>
    <p:sldLayoutId id="2147483754" r:id="rId44"/>
    <p:sldLayoutId id="2147483755" r:id="rId45"/>
    <p:sldLayoutId id="2147483756" r:id="rId46"/>
  </p:sldLayoutIdLst>
  <p:hf hdr="0" ftr="0" dt="0"/>
  <p:txStyles>
    <p:titleStyle>
      <a:lvl1pPr marL="0" indent="370800" algn="l" defTabSz="914400" rtl="0" eaLnBrk="1" latinLnBrk="0" hangingPunct="1">
        <a:lnSpc>
          <a:spcPct val="95000"/>
        </a:lnSpc>
        <a:spcBef>
          <a:spcPct val="0"/>
        </a:spcBef>
        <a:buNone/>
        <a:defRPr sz="2400" kern="1200">
          <a:solidFill>
            <a:schemeClr val="accent1"/>
          </a:solidFill>
          <a:latin typeface="+mj-lt"/>
          <a:ea typeface="+mj-ea"/>
          <a:cs typeface="+mj-cs"/>
        </a:defRPr>
      </a:lvl1pPr>
    </p:titleStyle>
    <p:bodyStyle>
      <a:lvl1pPr marL="180975" indent="-180975"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1pPr>
      <a:lvl2pPr marL="358775" indent="-176213" algn="l" defTabSz="914400" rtl="0" eaLnBrk="1" latinLnBrk="0" hangingPunct="1">
        <a:lnSpc>
          <a:spcPct val="100000"/>
        </a:lnSpc>
        <a:spcBef>
          <a:spcPts val="500"/>
        </a:spcBef>
        <a:buSzPct val="110000"/>
        <a:buFont typeface="Symbol" panose="05050102010706020507" pitchFamily="18" charset="2"/>
        <a:buChar char="-"/>
        <a:tabLst/>
        <a:defRPr sz="1400" kern="1200">
          <a:solidFill>
            <a:schemeClr val="tx1"/>
          </a:solidFill>
          <a:latin typeface="+mn-lt"/>
          <a:ea typeface="+mn-ea"/>
          <a:cs typeface="+mn-cs"/>
        </a:defRPr>
      </a:lvl2pPr>
      <a:lvl3pPr marL="541338" indent="-182563"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3pPr>
      <a:lvl4pPr marL="715963" indent="-174625"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4pPr>
      <a:lvl5pPr marL="898525" indent="-182563" algn="l" defTabSz="914400" rtl="0" eaLnBrk="1" latinLnBrk="0" hangingPunct="1">
        <a:lnSpc>
          <a:spcPct val="100000"/>
        </a:lnSpc>
        <a:spcBef>
          <a:spcPts val="500"/>
        </a:spcBef>
        <a:buSzPct val="110000"/>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52">
          <p15:clr>
            <a:srgbClr val="F26B43"/>
          </p15:clr>
        </p15:guide>
        <p15:guide id="2" pos="3188">
          <p15:clr>
            <a:srgbClr val="F26B43"/>
          </p15:clr>
        </p15:guide>
        <p15:guide id="3" pos="4526">
          <p15:clr>
            <a:srgbClr val="F26B43"/>
          </p15:clr>
        </p15:guide>
        <p15:guide id="4" pos="4662">
          <p15:clr>
            <a:srgbClr val="F26B43"/>
          </p15:clr>
        </p15:guide>
        <p15:guide id="5" pos="1578">
          <p15:clr>
            <a:srgbClr val="F26B43"/>
          </p15:clr>
        </p15:guide>
        <p15:guide id="6" pos="1714">
          <p15:clr>
            <a:srgbClr val="F26B43"/>
          </p15:clr>
        </p15:guide>
        <p15:guide id="7" pos="217">
          <p15:clr>
            <a:srgbClr val="F26B43"/>
          </p15:clr>
        </p15:guide>
        <p15:guide id="8" pos="6023">
          <p15:clr>
            <a:srgbClr val="F26B43"/>
          </p15:clr>
        </p15:guide>
        <p15:guide id="9" orient="horz" pos="890">
          <p15:clr>
            <a:srgbClr val="F26B43"/>
          </p15:clr>
        </p15:guide>
        <p15:guide id="10" orient="horz" pos="222">
          <p15:clr>
            <a:srgbClr val="F26B43"/>
          </p15:clr>
        </p15:guide>
        <p15:guide id="11" orient="horz" pos="3997">
          <p15:clr>
            <a:srgbClr val="F26B43"/>
          </p15:clr>
        </p15:guide>
        <p15:guide id="12" orient="horz" pos="38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5.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29.jpeg"/><Relationship Id="rId3" Type="http://schemas.openxmlformats.org/officeDocument/2006/relationships/notesSlide" Target="../notesSlides/notesSlide7.xml"/><Relationship Id="rId7" Type="http://schemas.openxmlformats.org/officeDocument/2006/relationships/image" Target="../media/image24.png"/><Relationship Id="rId12" Type="http://schemas.openxmlformats.org/officeDocument/2006/relationships/image" Target="../media/image28.jpe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image" Target="../media/image22.png"/><Relationship Id="rId10" Type="http://schemas.openxmlformats.org/officeDocument/2006/relationships/image" Target="../media/image52.png"/><Relationship Id="rId4" Type="http://schemas.openxmlformats.org/officeDocument/2006/relationships/chart" Target="../charts/chart1.xml"/><Relationship Id="rId9" Type="http://schemas.openxmlformats.org/officeDocument/2006/relationships/image" Target="../media/image26.jpeg"/><Relationship Id="rId14" Type="http://schemas.openxmlformats.org/officeDocument/2006/relationships/image" Target="../media/image30.jpe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4.xml"/><Relationship Id="rId1" Type="http://schemas.openxmlformats.org/officeDocument/2006/relationships/tags" Target="../tags/tag9.xml"/><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5.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16.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9.xml"/><Relationship Id="rId7" Type="http://schemas.openxmlformats.org/officeDocument/2006/relationships/image" Target="../media/image1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7.emf"/><Relationship Id="rId5" Type="http://schemas.openxmlformats.org/officeDocument/2006/relationships/oleObject" Target="../embeddings/oleObject8.bin"/><Relationship Id="rId10" Type="http://schemas.openxmlformats.org/officeDocument/2006/relationships/image" Target="../media/image8.emf"/><Relationship Id="rId4" Type="http://schemas.openxmlformats.org/officeDocument/2006/relationships/notesSlide" Target="../notesSlides/notesSlide5.xml"/><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4.xml"/><Relationship Id="rId1" Type="http://schemas.openxmlformats.org/officeDocument/2006/relationships/tags" Target="../tags/tag14.xml"/><Relationship Id="rId5" Type="http://schemas.openxmlformats.org/officeDocument/2006/relationships/image" Target="../media/image21.jpeg"/><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85703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6" imgH="286" progId="TCLayout.ActiveDocument.1">
                  <p:embed/>
                </p:oleObj>
              </mc:Choice>
              <mc:Fallback>
                <p:oleObj name="think-cell Foli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buSzPct val="110000"/>
            </a:pPr>
            <a:endParaRPr lang="de-DE" sz="3000" dirty="0" err="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ctrTitle"/>
          </p:nvPr>
        </p:nvSpPr>
        <p:spPr/>
        <p:txBody>
          <a:bodyPr vert="horz"/>
          <a:lstStyle/>
          <a:p>
            <a:r>
              <a:rPr lang="en-GB" dirty="0"/>
              <a:t>Connect4Impact</a:t>
            </a:r>
            <a:br>
              <a:rPr lang="en-GB" dirty="0"/>
            </a:br>
            <a:r>
              <a:rPr lang="en-GB" sz="2000" dirty="0" err="1">
                <a:solidFill>
                  <a:schemeClr val="bg1"/>
                </a:solidFill>
              </a:rPr>
              <a:t>ce</a:t>
            </a:r>
            <a:br>
              <a:rPr lang="en-GB" dirty="0"/>
            </a:br>
            <a:r>
              <a:rPr lang="en-GB" sz="2000" dirty="0">
                <a:solidFill>
                  <a:schemeClr val="accent3"/>
                </a:solidFill>
                <a:latin typeface="+mn-lt"/>
                <a:ea typeface="+mn-ea"/>
                <a:cs typeface="+mn-cs"/>
              </a:rPr>
              <a:t>Financing options for investments in Ukraine</a:t>
            </a:r>
            <a:endParaRPr lang="en-GB" sz="1800" dirty="0">
              <a:solidFill>
                <a:schemeClr val="accent3"/>
              </a:solidFill>
              <a:latin typeface="+mn-lt"/>
              <a:ea typeface="+mn-ea"/>
              <a:cs typeface="+mn-cs"/>
            </a:endParaRPr>
          </a:p>
        </p:txBody>
      </p:sp>
      <p:sp>
        <p:nvSpPr>
          <p:cNvPr id="3" name="Untertitel 2"/>
          <p:cNvSpPr>
            <a:spLocks noGrp="1"/>
          </p:cNvSpPr>
          <p:nvPr>
            <p:ph type="subTitle" idx="1"/>
          </p:nvPr>
        </p:nvSpPr>
        <p:spPr/>
        <p:txBody>
          <a:bodyPr/>
          <a:lstStyle/>
          <a:p>
            <a:r>
              <a:rPr lang="en-GB" sz="1800" b="1" dirty="0"/>
              <a:t>AHK Ukraine Roundtable</a:t>
            </a:r>
            <a:endParaRPr lang="en-GB" sz="1800" dirty="0">
              <a:solidFill>
                <a:srgbClr val="FF0000"/>
              </a:solidFill>
            </a:endParaRPr>
          </a:p>
          <a:p>
            <a:r>
              <a:rPr lang="en-GB" dirty="0"/>
              <a:t>November 2023</a:t>
            </a:r>
            <a:endParaRPr lang="en-GB" dirty="0">
              <a:solidFill>
                <a:srgbClr val="FF0000"/>
              </a:solidFill>
            </a:endParaRPr>
          </a:p>
        </p:txBody>
      </p:sp>
    </p:spTree>
    <p:extLst>
      <p:ext uri="{BB962C8B-B14F-4D97-AF65-F5344CB8AC3E}">
        <p14:creationId xmlns:p14="http://schemas.microsoft.com/office/powerpoint/2010/main" val="20019882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882659845"/>
              </p:ext>
            </p:extLst>
          </p:nvPr>
        </p:nvGraphicFramePr>
        <p:xfrm>
          <a:off x="2580177" y="1100"/>
          <a:ext cx="1099" cy="1099"/>
        </p:xfrm>
        <a:graphic>
          <a:graphicData uri="http://schemas.openxmlformats.org/presentationml/2006/ole">
            <mc:AlternateContent xmlns:mc="http://schemas.openxmlformats.org/markup-compatibility/2006">
              <mc:Choice xmlns:v="urn:schemas-microsoft-com:vml" Requires="v">
                <p:oleObj name="think-cell Folie" r:id="rId4" imgW="286" imgH="286" progId="TCLayout.ActiveDocument.1">
                  <p:embed/>
                </p:oleObj>
              </mc:Choice>
              <mc:Fallback>
                <p:oleObj name="think-cell Folie" r:id="rId4" imgW="286" imgH="286" progId="TCLayout.ActiveDocument.1">
                  <p:embed/>
                  <p:pic>
                    <p:nvPicPr>
                      <p:cNvPr id="5" name="Objekt 4" hidden="1"/>
                      <p:cNvPicPr/>
                      <p:nvPr/>
                    </p:nvPicPr>
                    <p:blipFill>
                      <a:blip r:embed="rId5"/>
                      <a:stretch>
                        <a:fillRect/>
                      </a:stretch>
                    </p:blipFill>
                    <p:spPr>
                      <a:xfrm>
                        <a:off x="2580177" y="1100"/>
                        <a:ext cx="1099" cy="1099"/>
                      </a:xfrm>
                      <a:prstGeom prst="rect">
                        <a:avLst/>
                      </a:prstGeom>
                    </p:spPr>
                  </p:pic>
                </p:oleObj>
              </mc:Fallback>
            </mc:AlternateContent>
          </a:graphicData>
        </a:graphic>
      </p:graphicFrame>
      <p:sp>
        <p:nvSpPr>
          <p:cNvPr id="3" name="Text Placeholder 2"/>
          <p:cNvSpPr>
            <a:spLocks noGrp="1"/>
          </p:cNvSpPr>
          <p:nvPr>
            <p:ph type="body" sz="quarter" idx="14"/>
          </p:nvPr>
        </p:nvSpPr>
        <p:spPr/>
        <p:txBody>
          <a:bodyPr/>
          <a:lstStyle/>
          <a:p>
            <a:r>
              <a:rPr lang="en-GB" dirty="0"/>
              <a:t>We shape transformation</a:t>
            </a:r>
          </a:p>
        </p:txBody>
      </p:sp>
      <p:sp>
        <p:nvSpPr>
          <p:cNvPr id="4" name="Title 3"/>
          <p:cNvSpPr>
            <a:spLocks noGrp="1"/>
          </p:cNvSpPr>
          <p:nvPr>
            <p:ph type="title"/>
          </p:nvPr>
        </p:nvSpPr>
        <p:spPr/>
        <p:txBody>
          <a:bodyPr vert="horz"/>
          <a:lstStyle/>
          <a:p>
            <a:r>
              <a:rPr lang="en-GB" dirty="0"/>
              <a:t>DEG - </a:t>
            </a:r>
            <a:r>
              <a:rPr lang="de-DE" dirty="0"/>
              <a:t>Deutsche Investitions- und Entwicklungsgesellschaft</a:t>
            </a:r>
            <a:endParaRPr lang="en-GB" dirty="0"/>
          </a:p>
        </p:txBody>
      </p:sp>
      <p:sp>
        <p:nvSpPr>
          <p:cNvPr id="330" name="Text Placeholder 1"/>
          <p:cNvSpPr>
            <a:spLocks noGrp="1"/>
          </p:cNvSpPr>
          <p:nvPr>
            <p:ph type="body" sz="quarter" idx="13"/>
          </p:nvPr>
        </p:nvSpPr>
        <p:spPr>
          <a:xfrm>
            <a:off x="918112" y="3717032"/>
            <a:ext cx="2664048" cy="1285350"/>
          </a:xfrm>
        </p:spPr>
        <p:txBody>
          <a:bodyPr lIns="180000" rIns="180000" bIns="0"/>
          <a:lstStyle/>
          <a:p>
            <a:pPr marL="0" indent="0">
              <a:buNone/>
            </a:pPr>
            <a:r>
              <a:rPr lang="en-GB" sz="1200" b="1" dirty="0" err="1"/>
              <a:t>DeveloPPP</a:t>
            </a:r>
            <a:r>
              <a:rPr lang="en-GB" sz="1200" b="1" dirty="0"/>
              <a:t>, </a:t>
            </a:r>
            <a:r>
              <a:rPr lang="en-GB" sz="1200" b="1" dirty="0" err="1"/>
              <a:t>UpScaling</a:t>
            </a:r>
            <a:r>
              <a:rPr lang="en-GB" sz="1200" b="1" dirty="0"/>
              <a:t>, BSS (Business Support Services)</a:t>
            </a:r>
          </a:p>
          <a:p>
            <a:pPr marL="0" indent="0" algn="just">
              <a:buNone/>
            </a:pPr>
            <a:endParaRPr lang="de-DE" sz="600" b="1" dirty="0"/>
          </a:p>
          <a:p>
            <a:pPr marL="171450" indent="-171450" algn="just">
              <a:buFont typeface="Arial" panose="020B0604020202020204" pitchFamily="34" charset="0"/>
              <a:buChar char="•"/>
            </a:pPr>
            <a:r>
              <a:rPr lang="en-GB" sz="1200" dirty="0">
                <a:solidFill>
                  <a:schemeClr val="tx1"/>
                </a:solidFill>
              </a:rPr>
              <a:t>Up to EUR 2m</a:t>
            </a:r>
          </a:p>
          <a:p>
            <a:pPr marL="171450" indent="-171450" algn="just">
              <a:buFont typeface="Arial" panose="020B0604020202020204" pitchFamily="34" charset="0"/>
              <a:buChar char="•"/>
            </a:pPr>
            <a:r>
              <a:rPr lang="en-GB" sz="1200" dirty="0">
                <a:solidFill>
                  <a:schemeClr val="tx1"/>
                </a:solidFill>
              </a:rPr>
              <a:t>Grants possible</a:t>
            </a:r>
          </a:p>
          <a:p>
            <a:pPr marL="171450" indent="-171450" algn="just">
              <a:buFont typeface="Arial" panose="020B0604020202020204" pitchFamily="34" charset="0"/>
              <a:buChar char="•"/>
            </a:pPr>
            <a:r>
              <a:rPr lang="en-GB" sz="1200" dirty="0">
                <a:solidFill>
                  <a:schemeClr val="tx1"/>
                </a:solidFill>
              </a:rPr>
              <a:t>Co-financing of e.g. feasibility studies,  etc. </a:t>
            </a:r>
          </a:p>
        </p:txBody>
      </p:sp>
      <p:sp>
        <p:nvSpPr>
          <p:cNvPr id="339" name="Text Placeholder 1"/>
          <p:cNvSpPr>
            <a:spLocks noGrp="1"/>
          </p:cNvSpPr>
          <p:nvPr>
            <p:ph type="body" sz="quarter" idx="13"/>
          </p:nvPr>
        </p:nvSpPr>
        <p:spPr>
          <a:xfrm>
            <a:off x="6478226" y="1628800"/>
            <a:ext cx="2349548" cy="720080"/>
          </a:xfrm>
        </p:spPr>
        <p:txBody>
          <a:bodyPr lIns="180000" rIns="180000"/>
          <a:lstStyle/>
          <a:p>
            <a:pPr marL="0" indent="0" algn="just">
              <a:buNone/>
            </a:pPr>
            <a:r>
              <a:rPr lang="en-GB" sz="1200" b="1" dirty="0"/>
              <a:t>DEG Classic</a:t>
            </a:r>
          </a:p>
          <a:p>
            <a:pPr marL="0" indent="0" algn="just">
              <a:buNone/>
            </a:pPr>
            <a:endParaRPr lang="de-DE" sz="600" b="1" dirty="0"/>
          </a:p>
          <a:p>
            <a:pPr marL="171450" indent="-171450" algn="just">
              <a:buFont typeface="Arial" panose="020B0604020202020204" pitchFamily="34" charset="0"/>
              <a:buChar char="•"/>
            </a:pPr>
            <a:r>
              <a:rPr lang="en-GB" sz="1200" dirty="0">
                <a:solidFill>
                  <a:schemeClr val="tx1"/>
                </a:solidFill>
              </a:rPr>
              <a:t>Financings up to EUR75m</a:t>
            </a:r>
          </a:p>
        </p:txBody>
      </p:sp>
      <p:sp>
        <p:nvSpPr>
          <p:cNvPr id="340" name="Text Placeholder 1"/>
          <p:cNvSpPr>
            <a:spLocks noGrp="1"/>
          </p:cNvSpPr>
          <p:nvPr>
            <p:ph type="body" sz="quarter" idx="13"/>
          </p:nvPr>
        </p:nvSpPr>
        <p:spPr>
          <a:xfrm>
            <a:off x="3914833" y="2440965"/>
            <a:ext cx="2232247" cy="916027"/>
          </a:xfrm>
        </p:spPr>
        <p:txBody>
          <a:bodyPr vert="horz" lIns="180000" tIns="0" rIns="180000" bIns="0" rtlCol="0" anchor="t" anchorCtr="0">
            <a:noAutofit/>
          </a:bodyPr>
          <a:lstStyle/>
          <a:p>
            <a:pPr marL="0" indent="0">
              <a:buNone/>
            </a:pPr>
            <a:r>
              <a:rPr lang="en-GB" sz="1200" b="1" dirty="0"/>
              <a:t>Connect4Impact</a:t>
            </a:r>
          </a:p>
          <a:p>
            <a:pPr marL="0" indent="0">
              <a:buNone/>
            </a:pPr>
            <a:endParaRPr lang="de-DE" sz="600" b="1" dirty="0"/>
          </a:p>
          <a:p>
            <a:pPr marL="171450" indent="-171450" algn="just">
              <a:buFont typeface="Arial" panose="020B0604020202020204" pitchFamily="34" charset="0"/>
              <a:buChar char="•"/>
            </a:pPr>
            <a:r>
              <a:rPr lang="en-GB" sz="1200" dirty="0">
                <a:solidFill>
                  <a:schemeClr val="tx1"/>
                </a:solidFill>
              </a:rPr>
              <a:t>Up to EUR 5m</a:t>
            </a:r>
          </a:p>
          <a:p>
            <a:pPr marL="171450" indent="-171450" algn="just">
              <a:buFont typeface="Arial" panose="020B0604020202020204" pitchFamily="34" charset="0"/>
              <a:buChar char="•"/>
            </a:pPr>
            <a:r>
              <a:rPr lang="en-GB" sz="1200" dirty="0">
                <a:solidFill>
                  <a:schemeClr val="tx1"/>
                </a:solidFill>
              </a:rPr>
              <a:t>Loan in EUR/USD/LCY</a:t>
            </a:r>
          </a:p>
          <a:p>
            <a:pPr marL="171450" indent="-171450" algn="just">
              <a:buFont typeface="Arial" panose="020B0604020202020204" pitchFamily="34" charset="0"/>
              <a:buChar char="•"/>
            </a:pPr>
            <a:r>
              <a:rPr lang="en-GB" sz="1200" dirty="0">
                <a:solidFill>
                  <a:schemeClr val="tx1"/>
                </a:solidFill>
              </a:rPr>
              <a:t>E&amp;S support</a:t>
            </a:r>
          </a:p>
        </p:txBody>
      </p:sp>
      <p:sp>
        <p:nvSpPr>
          <p:cNvPr id="15" name="Rechteck 14"/>
          <p:cNvSpPr/>
          <p:nvPr/>
        </p:nvSpPr>
        <p:spPr>
          <a:xfrm>
            <a:off x="903000" y="5002382"/>
            <a:ext cx="2700000" cy="8028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36000" bIns="108000" rtlCol="0" anchor="ctr"/>
          <a:lstStyle/>
          <a:p>
            <a:pPr>
              <a:buSzPct val="110000"/>
            </a:pPr>
            <a:r>
              <a:rPr lang="en-US" sz="1400" dirty="0"/>
              <a:t>Presently EUR 2.5m invested in Ukraine</a:t>
            </a:r>
          </a:p>
        </p:txBody>
      </p:sp>
      <p:sp>
        <p:nvSpPr>
          <p:cNvPr id="341" name="Rechteck 340"/>
          <p:cNvSpPr/>
          <p:nvPr/>
        </p:nvSpPr>
        <p:spPr>
          <a:xfrm>
            <a:off x="3603000" y="3356992"/>
            <a:ext cx="2700000" cy="2448272"/>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144000" tIns="108000" rIns="36000" bIns="108000" rtlCol="0" anchor="ctr"/>
          <a:lstStyle/>
          <a:p>
            <a:pPr algn="l">
              <a:buSzPct val="110000"/>
            </a:pPr>
            <a:r>
              <a:rPr lang="en-US" sz="1400" dirty="0"/>
              <a:t>As of now EUR 5m loan (Connect4Impact pilot) in Ukraine with ~ EUR 30m in pipeline</a:t>
            </a:r>
          </a:p>
        </p:txBody>
      </p:sp>
      <p:sp>
        <p:nvSpPr>
          <p:cNvPr id="342" name="Rechteck 341"/>
          <p:cNvSpPr/>
          <p:nvPr/>
        </p:nvSpPr>
        <p:spPr>
          <a:xfrm>
            <a:off x="6303000" y="2348880"/>
            <a:ext cx="2700000" cy="345638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44000" tIns="108000" rIns="36000" bIns="108000" rtlCol="0" anchor="ctr"/>
          <a:lstStyle/>
          <a:p>
            <a:pPr>
              <a:buSzPct val="110000"/>
            </a:pPr>
            <a:r>
              <a:rPr lang="en-US" sz="1400" dirty="0"/>
              <a:t>Currently EUR 55.6m exposure in Ukraine with growing pipeline</a:t>
            </a:r>
          </a:p>
        </p:txBody>
      </p:sp>
      <p:sp>
        <p:nvSpPr>
          <p:cNvPr id="2" name="Foliennummernplatzhalter 1"/>
          <p:cNvSpPr>
            <a:spLocks noGrp="1"/>
          </p:cNvSpPr>
          <p:nvPr>
            <p:ph type="sldNum" sz="quarter" idx="17"/>
          </p:nvPr>
        </p:nvSpPr>
        <p:spPr/>
        <p:txBody>
          <a:bodyPr/>
          <a:lstStyle/>
          <a:p>
            <a:fld id="{5678FFC5-4430-43BC-9807-D0C6EB405569}" type="slidenum">
              <a:rPr lang="de-DE" smtClean="0"/>
              <a:pPr/>
              <a:t>10</a:t>
            </a:fld>
            <a:endParaRPr lang="de-DE" dirty="0"/>
          </a:p>
        </p:txBody>
      </p:sp>
      <p:sp>
        <p:nvSpPr>
          <p:cNvPr id="6" name="Ellipse 5"/>
          <p:cNvSpPr/>
          <p:nvPr/>
        </p:nvSpPr>
        <p:spPr>
          <a:xfrm>
            <a:off x="7905328" y="1304764"/>
            <a:ext cx="1208584" cy="64807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r>
              <a:rPr lang="de-DE" sz="1400" dirty="0"/>
              <a:t>Infos </a:t>
            </a:r>
            <a:r>
              <a:rPr lang="de-DE" sz="1400" dirty="0" err="1"/>
              <a:t>tbd</a:t>
            </a:r>
            <a:r>
              <a:rPr lang="de-DE" sz="1400" dirty="0"/>
              <a:t>.</a:t>
            </a:r>
          </a:p>
        </p:txBody>
      </p:sp>
    </p:spTree>
    <p:extLst>
      <p:ext uri="{BB962C8B-B14F-4D97-AF65-F5344CB8AC3E}">
        <p14:creationId xmlns:p14="http://schemas.microsoft.com/office/powerpoint/2010/main" val="16182060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678FFC5-4430-43BC-9807-D0C6EB405569}" type="slidenum">
              <a:rPr lang="de-DE" smtClean="0"/>
              <a:pPr/>
              <a:t>11</a:t>
            </a:fld>
            <a:endParaRPr lang="de-DE" dirty="0"/>
          </a:p>
        </p:txBody>
      </p:sp>
      <p:sp>
        <p:nvSpPr>
          <p:cNvPr id="12" name="Text Placeholder 11"/>
          <p:cNvSpPr>
            <a:spLocks noGrp="1"/>
          </p:cNvSpPr>
          <p:nvPr>
            <p:ph type="body" sz="quarter" idx="14"/>
          </p:nvPr>
        </p:nvSpPr>
        <p:spPr/>
        <p:txBody>
          <a:bodyPr/>
          <a:lstStyle/>
          <a:p>
            <a:r>
              <a:rPr lang="en-US" dirty="0"/>
              <a:t>Many countries. Many sectors. One success story. </a:t>
            </a:r>
          </a:p>
          <a:p>
            <a:endParaRPr lang="de-DE" dirty="0"/>
          </a:p>
        </p:txBody>
      </p:sp>
      <p:sp>
        <p:nvSpPr>
          <p:cNvPr id="3" name="Title 2"/>
          <p:cNvSpPr>
            <a:spLocks noGrp="1"/>
          </p:cNvSpPr>
          <p:nvPr>
            <p:ph type="title"/>
          </p:nvPr>
        </p:nvSpPr>
        <p:spPr/>
        <p:txBody>
          <a:bodyPr/>
          <a:lstStyle/>
          <a:p>
            <a:r>
              <a:rPr lang="en-US" dirty="0"/>
              <a:t>Committed projects</a:t>
            </a:r>
          </a:p>
        </p:txBody>
      </p:sp>
      <p:sp>
        <p:nvSpPr>
          <p:cNvPr id="662" name="Rectangle 661"/>
          <p:cNvSpPr/>
          <p:nvPr/>
        </p:nvSpPr>
        <p:spPr>
          <a:xfrm>
            <a:off x="439200" y="1285200"/>
            <a:ext cx="9027600" cy="4956793"/>
          </a:xfrm>
          <a:prstGeom prst="rect">
            <a:avLst/>
          </a:prstGeom>
          <a:solidFill>
            <a:srgbClr val="DDECF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graphicFrame>
        <p:nvGraphicFramePr>
          <p:cNvPr id="330" name="Chart 329"/>
          <p:cNvGraphicFramePr/>
          <p:nvPr/>
        </p:nvGraphicFramePr>
        <p:xfrm>
          <a:off x="5816996" y="3526289"/>
          <a:ext cx="3587670" cy="2241852"/>
        </p:xfrm>
        <a:graphic>
          <a:graphicData uri="http://schemas.openxmlformats.org/drawingml/2006/chart">
            <c:chart xmlns:c="http://schemas.openxmlformats.org/drawingml/2006/chart" xmlns:r="http://schemas.openxmlformats.org/officeDocument/2006/relationships" r:id="rId4"/>
          </a:graphicData>
        </a:graphic>
      </p:graphicFrame>
      <p:grpSp>
        <p:nvGrpSpPr>
          <p:cNvPr id="331" name="AFRICA">
            <a:extLst>
              <a:ext uri="{FF2B5EF4-FFF2-40B4-BE49-F238E27FC236}">
                <a16:creationId xmlns:a16="http://schemas.microsoft.com/office/drawing/2014/main" id="{673DFD7C-2183-4BEF-AA48-FD4F801D4C3A}"/>
              </a:ext>
            </a:extLst>
          </p:cNvPr>
          <p:cNvGrpSpPr>
            <a:grpSpLocks noChangeAspect="1"/>
          </p:cNvGrpSpPr>
          <p:nvPr>
            <p:custDataLst>
              <p:tags r:id="rId1"/>
            </p:custDataLst>
          </p:nvPr>
        </p:nvGrpSpPr>
        <p:grpSpPr>
          <a:xfrm>
            <a:off x="1461173" y="2428677"/>
            <a:ext cx="3449874" cy="3277548"/>
            <a:chOff x="2525861" y="2059199"/>
            <a:chExt cx="5148149" cy="4890992"/>
          </a:xfrm>
        </p:grpSpPr>
        <p:grpSp>
          <p:nvGrpSpPr>
            <p:cNvPr id="332" name="Africa">
              <a:extLst>
                <a:ext uri="{FF2B5EF4-FFF2-40B4-BE49-F238E27FC236}">
                  <a16:creationId xmlns:a16="http://schemas.microsoft.com/office/drawing/2014/main" id="{5CF29F77-06E1-435D-920D-AC94C6375069}"/>
                </a:ext>
              </a:extLst>
            </p:cNvPr>
            <p:cNvGrpSpPr/>
            <p:nvPr/>
          </p:nvGrpSpPr>
          <p:grpSpPr>
            <a:xfrm>
              <a:off x="2859007" y="2135571"/>
              <a:ext cx="4437111" cy="4766907"/>
              <a:chOff x="2859007" y="2135571"/>
              <a:chExt cx="4437111" cy="4766907"/>
            </a:xfrm>
          </p:grpSpPr>
          <p:grpSp>
            <p:nvGrpSpPr>
              <p:cNvPr id="589" name="AFRICA">
                <a:extLst>
                  <a:ext uri="{FF2B5EF4-FFF2-40B4-BE49-F238E27FC236}">
                    <a16:creationId xmlns:a16="http://schemas.microsoft.com/office/drawing/2014/main" id="{EECDA93E-5DFF-4994-B508-7FE4D8C9A59B}"/>
                  </a:ext>
                </a:extLst>
              </p:cNvPr>
              <p:cNvGrpSpPr/>
              <p:nvPr/>
            </p:nvGrpSpPr>
            <p:grpSpPr bwMode="gray">
              <a:xfrm>
                <a:off x="2859007" y="2135571"/>
                <a:ext cx="4437111" cy="4766907"/>
                <a:chOff x="2922588" y="2200275"/>
                <a:chExt cx="4186237" cy="4497387"/>
              </a:xfrm>
              <a:solidFill>
                <a:srgbClr val="D04A02"/>
              </a:solidFill>
            </p:grpSpPr>
            <p:sp>
              <p:nvSpPr>
                <p:cNvPr id="596" name="Angola">
                  <a:extLst>
                    <a:ext uri="{FF2B5EF4-FFF2-40B4-BE49-F238E27FC236}">
                      <a16:creationId xmlns:a16="http://schemas.microsoft.com/office/drawing/2014/main" id="{43B55240-7B10-4EA4-AD1A-DA627EFF90A6}"/>
                    </a:ext>
                  </a:extLst>
                </p:cNvPr>
                <p:cNvSpPr>
                  <a:spLocks/>
                </p:cNvSpPr>
                <p:nvPr/>
              </p:nvSpPr>
              <p:spPr bwMode="gray">
                <a:xfrm>
                  <a:off x="4691063" y="4822825"/>
                  <a:ext cx="58737" cy="79375"/>
                </a:xfrm>
                <a:custGeom>
                  <a:avLst/>
                  <a:gdLst/>
                  <a:ahLst/>
                  <a:cxnLst>
                    <a:cxn ang="0">
                      <a:pos x="14" y="66"/>
                    </a:cxn>
                    <a:cxn ang="0">
                      <a:pos x="20" y="64"/>
                    </a:cxn>
                    <a:cxn ang="0">
                      <a:pos x="22" y="62"/>
                    </a:cxn>
                    <a:cxn ang="0">
                      <a:pos x="24" y="56"/>
                    </a:cxn>
                    <a:cxn ang="0">
                      <a:pos x="24" y="50"/>
                    </a:cxn>
                    <a:cxn ang="0">
                      <a:pos x="24" y="38"/>
                    </a:cxn>
                    <a:cxn ang="0">
                      <a:pos x="26" y="26"/>
                    </a:cxn>
                    <a:cxn ang="0">
                      <a:pos x="30" y="20"/>
                    </a:cxn>
                    <a:cxn ang="0">
                      <a:pos x="36" y="16"/>
                    </a:cxn>
                    <a:cxn ang="0">
                      <a:pos x="44" y="12"/>
                    </a:cxn>
                    <a:cxn ang="0">
                      <a:pos x="50" y="6"/>
                    </a:cxn>
                    <a:cxn ang="0">
                      <a:pos x="44" y="4"/>
                    </a:cxn>
                    <a:cxn ang="0">
                      <a:pos x="36" y="0"/>
                    </a:cxn>
                    <a:cxn ang="0">
                      <a:pos x="28" y="4"/>
                    </a:cxn>
                    <a:cxn ang="0">
                      <a:pos x="16" y="12"/>
                    </a:cxn>
                    <a:cxn ang="0">
                      <a:pos x="6" y="22"/>
                    </a:cxn>
                    <a:cxn ang="0">
                      <a:pos x="0" y="28"/>
                    </a:cxn>
                    <a:cxn ang="0">
                      <a:pos x="2" y="28"/>
                    </a:cxn>
                    <a:cxn ang="0">
                      <a:pos x="4" y="38"/>
                    </a:cxn>
                    <a:cxn ang="0">
                      <a:pos x="8" y="46"/>
                    </a:cxn>
                    <a:cxn ang="0">
                      <a:pos x="10" y="56"/>
                    </a:cxn>
                    <a:cxn ang="0">
                      <a:pos x="14" y="68"/>
                    </a:cxn>
                    <a:cxn ang="0">
                      <a:pos x="14" y="66"/>
                    </a:cxn>
                  </a:cxnLst>
                  <a:rect l="0" t="0" r="r" b="b"/>
                  <a:pathLst>
                    <a:path w="50" h="68">
                      <a:moveTo>
                        <a:pt x="14" y="66"/>
                      </a:moveTo>
                      <a:lnTo>
                        <a:pt x="20" y="64"/>
                      </a:lnTo>
                      <a:lnTo>
                        <a:pt x="22" y="62"/>
                      </a:lnTo>
                      <a:lnTo>
                        <a:pt x="24" y="56"/>
                      </a:lnTo>
                      <a:lnTo>
                        <a:pt x="24" y="50"/>
                      </a:lnTo>
                      <a:lnTo>
                        <a:pt x="24" y="38"/>
                      </a:lnTo>
                      <a:lnTo>
                        <a:pt x="26" y="26"/>
                      </a:lnTo>
                      <a:lnTo>
                        <a:pt x="30" y="20"/>
                      </a:lnTo>
                      <a:lnTo>
                        <a:pt x="36" y="16"/>
                      </a:lnTo>
                      <a:lnTo>
                        <a:pt x="44" y="12"/>
                      </a:lnTo>
                      <a:lnTo>
                        <a:pt x="50" y="6"/>
                      </a:lnTo>
                      <a:lnTo>
                        <a:pt x="44" y="4"/>
                      </a:lnTo>
                      <a:lnTo>
                        <a:pt x="36" y="0"/>
                      </a:lnTo>
                      <a:lnTo>
                        <a:pt x="28" y="4"/>
                      </a:lnTo>
                      <a:lnTo>
                        <a:pt x="16" y="12"/>
                      </a:lnTo>
                      <a:lnTo>
                        <a:pt x="6" y="22"/>
                      </a:lnTo>
                      <a:lnTo>
                        <a:pt x="0" y="28"/>
                      </a:lnTo>
                      <a:lnTo>
                        <a:pt x="2" y="28"/>
                      </a:lnTo>
                      <a:lnTo>
                        <a:pt x="4" y="38"/>
                      </a:lnTo>
                      <a:lnTo>
                        <a:pt x="8" y="46"/>
                      </a:lnTo>
                      <a:lnTo>
                        <a:pt x="10" y="56"/>
                      </a:lnTo>
                      <a:lnTo>
                        <a:pt x="14" y="68"/>
                      </a:lnTo>
                      <a:lnTo>
                        <a:pt x="14" y="66"/>
                      </a:lnTo>
                      <a:close/>
                    </a:path>
                  </a:pathLst>
                </a:custGeom>
                <a:grp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97" name="Equatorial Guinea">
                  <a:extLst>
                    <a:ext uri="{FF2B5EF4-FFF2-40B4-BE49-F238E27FC236}">
                      <a16:creationId xmlns:a16="http://schemas.microsoft.com/office/drawing/2014/main" id="{2D122CA6-81DA-4C07-86C8-F26E0EEC050F}"/>
                    </a:ext>
                  </a:extLst>
                </p:cNvPr>
                <p:cNvSpPr>
                  <a:spLocks/>
                </p:cNvSpPr>
                <p:nvPr/>
              </p:nvSpPr>
              <p:spPr bwMode="gray">
                <a:xfrm>
                  <a:off x="4454525" y="4305300"/>
                  <a:ext cx="23812" cy="15875"/>
                </a:xfrm>
                <a:custGeom>
                  <a:avLst/>
                  <a:gdLst/>
                  <a:ahLst/>
                  <a:cxnLst>
                    <a:cxn ang="0">
                      <a:pos x="0" y="14"/>
                    </a:cxn>
                    <a:cxn ang="0">
                      <a:pos x="20" y="14"/>
                    </a:cxn>
                    <a:cxn ang="0">
                      <a:pos x="16" y="4"/>
                    </a:cxn>
                    <a:cxn ang="0">
                      <a:pos x="14" y="0"/>
                    </a:cxn>
                    <a:cxn ang="0">
                      <a:pos x="12" y="2"/>
                    </a:cxn>
                    <a:cxn ang="0">
                      <a:pos x="2" y="14"/>
                    </a:cxn>
                  </a:cxnLst>
                  <a:rect l="0" t="0" r="r" b="b"/>
                  <a:pathLst>
                    <a:path w="20" h="14">
                      <a:moveTo>
                        <a:pt x="0" y="14"/>
                      </a:moveTo>
                      <a:lnTo>
                        <a:pt x="20" y="14"/>
                      </a:lnTo>
                      <a:lnTo>
                        <a:pt x="16" y="4"/>
                      </a:lnTo>
                      <a:lnTo>
                        <a:pt x="14" y="0"/>
                      </a:lnTo>
                      <a:lnTo>
                        <a:pt x="12" y="2"/>
                      </a:lnTo>
                      <a:lnTo>
                        <a:pt x="2" y="14"/>
                      </a:lnTo>
                    </a:path>
                  </a:pathLst>
                </a:custGeom>
                <a:grp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98" name="Zanaibar">
                  <a:extLst>
                    <a:ext uri="{FF2B5EF4-FFF2-40B4-BE49-F238E27FC236}">
                      <a16:creationId xmlns:a16="http://schemas.microsoft.com/office/drawing/2014/main" id="{DC48E734-4FA7-4376-B94F-94A801F81CD4}"/>
                    </a:ext>
                  </a:extLst>
                </p:cNvPr>
                <p:cNvSpPr>
                  <a:spLocks/>
                </p:cNvSpPr>
                <p:nvPr/>
              </p:nvSpPr>
              <p:spPr bwMode="gray">
                <a:xfrm>
                  <a:off x="6400800" y="4905375"/>
                  <a:ext cx="26987" cy="31750"/>
                </a:xfrm>
                <a:custGeom>
                  <a:avLst/>
                  <a:gdLst/>
                  <a:ahLst/>
                  <a:cxnLst>
                    <a:cxn ang="0">
                      <a:pos x="16" y="10"/>
                    </a:cxn>
                    <a:cxn ang="0">
                      <a:pos x="20" y="16"/>
                    </a:cxn>
                    <a:cxn ang="0">
                      <a:pos x="24" y="26"/>
                    </a:cxn>
                    <a:cxn ang="0">
                      <a:pos x="20" y="28"/>
                    </a:cxn>
                    <a:cxn ang="0">
                      <a:pos x="18" y="28"/>
                    </a:cxn>
                    <a:cxn ang="0">
                      <a:pos x="16" y="28"/>
                    </a:cxn>
                    <a:cxn ang="0">
                      <a:pos x="12" y="26"/>
                    </a:cxn>
                    <a:cxn ang="0">
                      <a:pos x="8" y="26"/>
                    </a:cxn>
                    <a:cxn ang="0">
                      <a:pos x="4" y="24"/>
                    </a:cxn>
                    <a:cxn ang="0">
                      <a:pos x="2" y="20"/>
                    </a:cxn>
                    <a:cxn ang="0">
                      <a:pos x="0" y="14"/>
                    </a:cxn>
                    <a:cxn ang="0">
                      <a:pos x="2" y="8"/>
                    </a:cxn>
                    <a:cxn ang="0">
                      <a:pos x="4" y="4"/>
                    </a:cxn>
                    <a:cxn ang="0">
                      <a:pos x="8" y="2"/>
                    </a:cxn>
                    <a:cxn ang="0">
                      <a:pos x="12" y="0"/>
                    </a:cxn>
                    <a:cxn ang="0">
                      <a:pos x="14" y="6"/>
                    </a:cxn>
                    <a:cxn ang="0">
                      <a:pos x="14" y="10"/>
                    </a:cxn>
                    <a:cxn ang="0">
                      <a:pos x="16" y="10"/>
                    </a:cxn>
                  </a:cxnLst>
                  <a:rect l="0" t="0" r="r" b="b"/>
                  <a:pathLst>
                    <a:path w="24" h="28">
                      <a:moveTo>
                        <a:pt x="16" y="10"/>
                      </a:moveTo>
                      <a:lnTo>
                        <a:pt x="20" y="16"/>
                      </a:lnTo>
                      <a:lnTo>
                        <a:pt x="24" y="26"/>
                      </a:lnTo>
                      <a:lnTo>
                        <a:pt x="20" y="28"/>
                      </a:lnTo>
                      <a:lnTo>
                        <a:pt x="18" y="28"/>
                      </a:lnTo>
                      <a:lnTo>
                        <a:pt x="16" y="28"/>
                      </a:lnTo>
                      <a:lnTo>
                        <a:pt x="12" y="26"/>
                      </a:lnTo>
                      <a:lnTo>
                        <a:pt x="8" y="26"/>
                      </a:lnTo>
                      <a:lnTo>
                        <a:pt x="4" y="24"/>
                      </a:lnTo>
                      <a:lnTo>
                        <a:pt x="2" y="20"/>
                      </a:lnTo>
                      <a:lnTo>
                        <a:pt x="0" y="14"/>
                      </a:lnTo>
                      <a:lnTo>
                        <a:pt x="2" y="8"/>
                      </a:lnTo>
                      <a:lnTo>
                        <a:pt x="4" y="4"/>
                      </a:lnTo>
                      <a:lnTo>
                        <a:pt x="8" y="2"/>
                      </a:lnTo>
                      <a:lnTo>
                        <a:pt x="12" y="0"/>
                      </a:lnTo>
                      <a:lnTo>
                        <a:pt x="14" y="6"/>
                      </a:lnTo>
                      <a:lnTo>
                        <a:pt x="14" y="10"/>
                      </a:lnTo>
                      <a:lnTo>
                        <a:pt x="16" y="10"/>
                      </a:lnTo>
                      <a:close/>
                    </a:path>
                  </a:pathLst>
                </a:custGeom>
                <a:grp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99" name="Egypt">
                  <a:extLst>
                    <a:ext uri="{FF2B5EF4-FFF2-40B4-BE49-F238E27FC236}">
                      <a16:creationId xmlns:a16="http://schemas.microsoft.com/office/drawing/2014/main" id="{ACF4AC6B-C736-43B8-9DF3-FA6AF231D492}"/>
                    </a:ext>
                  </a:extLst>
                </p:cNvPr>
                <p:cNvSpPr>
                  <a:spLocks/>
                </p:cNvSpPr>
                <p:nvPr/>
              </p:nvSpPr>
              <p:spPr bwMode="gray">
                <a:xfrm>
                  <a:off x="5440363" y="2535238"/>
                  <a:ext cx="666750" cy="609600"/>
                </a:xfrm>
                <a:custGeom>
                  <a:avLst/>
                  <a:gdLst/>
                  <a:ahLst/>
                  <a:cxnLst>
                    <a:cxn ang="0">
                      <a:pos x="6" y="48"/>
                    </a:cxn>
                    <a:cxn ang="0">
                      <a:pos x="10" y="72"/>
                    </a:cxn>
                    <a:cxn ang="0">
                      <a:pos x="0" y="92"/>
                    </a:cxn>
                    <a:cxn ang="0">
                      <a:pos x="10" y="126"/>
                    </a:cxn>
                    <a:cxn ang="0">
                      <a:pos x="446" y="512"/>
                    </a:cxn>
                    <a:cxn ang="0">
                      <a:pos x="464" y="520"/>
                    </a:cxn>
                    <a:cxn ang="0">
                      <a:pos x="480" y="518"/>
                    </a:cxn>
                    <a:cxn ang="0">
                      <a:pos x="486" y="500"/>
                    </a:cxn>
                    <a:cxn ang="0">
                      <a:pos x="502" y="494"/>
                    </a:cxn>
                    <a:cxn ang="0">
                      <a:pos x="522" y="488"/>
                    </a:cxn>
                    <a:cxn ang="0">
                      <a:pos x="538" y="462"/>
                    </a:cxn>
                    <a:cxn ang="0">
                      <a:pos x="562" y="430"/>
                    </a:cxn>
                    <a:cxn ang="0">
                      <a:pos x="556" y="408"/>
                    </a:cxn>
                    <a:cxn ang="0">
                      <a:pos x="550" y="376"/>
                    </a:cxn>
                    <a:cxn ang="0">
                      <a:pos x="502" y="306"/>
                    </a:cxn>
                    <a:cxn ang="0">
                      <a:pos x="468" y="256"/>
                    </a:cxn>
                    <a:cxn ang="0">
                      <a:pos x="454" y="226"/>
                    </a:cxn>
                    <a:cxn ang="0">
                      <a:pos x="436" y="208"/>
                    </a:cxn>
                    <a:cxn ang="0">
                      <a:pos x="430" y="190"/>
                    </a:cxn>
                    <a:cxn ang="0">
                      <a:pos x="392" y="140"/>
                    </a:cxn>
                    <a:cxn ang="0">
                      <a:pos x="376" y="110"/>
                    </a:cxn>
                    <a:cxn ang="0">
                      <a:pos x="372" y="94"/>
                    </a:cxn>
                    <a:cxn ang="0">
                      <a:pos x="392" y="106"/>
                    </a:cxn>
                    <a:cxn ang="0">
                      <a:pos x="418" y="150"/>
                    </a:cxn>
                    <a:cxn ang="0">
                      <a:pos x="450" y="186"/>
                    </a:cxn>
                    <a:cxn ang="0">
                      <a:pos x="466" y="196"/>
                    </a:cxn>
                    <a:cxn ang="0">
                      <a:pos x="482" y="176"/>
                    </a:cxn>
                    <a:cxn ang="0">
                      <a:pos x="484" y="140"/>
                    </a:cxn>
                    <a:cxn ang="0">
                      <a:pos x="486" y="118"/>
                    </a:cxn>
                    <a:cxn ang="0">
                      <a:pos x="482" y="96"/>
                    </a:cxn>
                    <a:cxn ang="0">
                      <a:pos x="458" y="54"/>
                    </a:cxn>
                    <a:cxn ang="0">
                      <a:pos x="426" y="20"/>
                    </a:cxn>
                    <a:cxn ang="0">
                      <a:pos x="376" y="28"/>
                    </a:cxn>
                    <a:cxn ang="0">
                      <a:pos x="336" y="14"/>
                    </a:cxn>
                    <a:cxn ang="0">
                      <a:pos x="298" y="0"/>
                    </a:cxn>
                    <a:cxn ang="0">
                      <a:pos x="262" y="14"/>
                    </a:cxn>
                    <a:cxn ang="0">
                      <a:pos x="232" y="36"/>
                    </a:cxn>
                    <a:cxn ang="0">
                      <a:pos x="184" y="42"/>
                    </a:cxn>
                    <a:cxn ang="0">
                      <a:pos x="128" y="26"/>
                    </a:cxn>
                    <a:cxn ang="0">
                      <a:pos x="74" y="12"/>
                    </a:cxn>
                    <a:cxn ang="0">
                      <a:pos x="40" y="14"/>
                    </a:cxn>
                    <a:cxn ang="0">
                      <a:pos x="16" y="18"/>
                    </a:cxn>
                    <a:cxn ang="0">
                      <a:pos x="2" y="24"/>
                    </a:cxn>
                  </a:cxnLst>
                  <a:rect l="0" t="0" r="r" b="b"/>
                  <a:pathLst>
                    <a:path w="570" h="522">
                      <a:moveTo>
                        <a:pt x="0" y="34"/>
                      </a:moveTo>
                      <a:lnTo>
                        <a:pt x="2" y="42"/>
                      </a:lnTo>
                      <a:lnTo>
                        <a:pt x="6" y="48"/>
                      </a:lnTo>
                      <a:lnTo>
                        <a:pt x="10" y="54"/>
                      </a:lnTo>
                      <a:lnTo>
                        <a:pt x="12" y="62"/>
                      </a:lnTo>
                      <a:lnTo>
                        <a:pt x="10" y="72"/>
                      </a:lnTo>
                      <a:lnTo>
                        <a:pt x="6" y="78"/>
                      </a:lnTo>
                      <a:lnTo>
                        <a:pt x="2" y="84"/>
                      </a:lnTo>
                      <a:lnTo>
                        <a:pt x="0" y="92"/>
                      </a:lnTo>
                      <a:lnTo>
                        <a:pt x="2" y="104"/>
                      </a:lnTo>
                      <a:lnTo>
                        <a:pt x="6" y="116"/>
                      </a:lnTo>
                      <a:lnTo>
                        <a:pt x="10" y="126"/>
                      </a:lnTo>
                      <a:lnTo>
                        <a:pt x="12" y="132"/>
                      </a:lnTo>
                      <a:lnTo>
                        <a:pt x="32" y="522"/>
                      </a:lnTo>
                      <a:lnTo>
                        <a:pt x="446" y="512"/>
                      </a:lnTo>
                      <a:lnTo>
                        <a:pt x="454" y="514"/>
                      </a:lnTo>
                      <a:lnTo>
                        <a:pt x="460" y="518"/>
                      </a:lnTo>
                      <a:lnTo>
                        <a:pt x="464" y="520"/>
                      </a:lnTo>
                      <a:lnTo>
                        <a:pt x="472" y="520"/>
                      </a:lnTo>
                      <a:lnTo>
                        <a:pt x="476" y="520"/>
                      </a:lnTo>
                      <a:lnTo>
                        <a:pt x="480" y="518"/>
                      </a:lnTo>
                      <a:lnTo>
                        <a:pt x="482" y="512"/>
                      </a:lnTo>
                      <a:lnTo>
                        <a:pt x="484" y="504"/>
                      </a:lnTo>
                      <a:lnTo>
                        <a:pt x="486" y="500"/>
                      </a:lnTo>
                      <a:lnTo>
                        <a:pt x="488" y="498"/>
                      </a:lnTo>
                      <a:lnTo>
                        <a:pt x="494" y="496"/>
                      </a:lnTo>
                      <a:lnTo>
                        <a:pt x="502" y="494"/>
                      </a:lnTo>
                      <a:lnTo>
                        <a:pt x="510" y="494"/>
                      </a:lnTo>
                      <a:lnTo>
                        <a:pt x="516" y="492"/>
                      </a:lnTo>
                      <a:lnTo>
                        <a:pt x="522" y="488"/>
                      </a:lnTo>
                      <a:lnTo>
                        <a:pt x="524" y="484"/>
                      </a:lnTo>
                      <a:lnTo>
                        <a:pt x="530" y="470"/>
                      </a:lnTo>
                      <a:lnTo>
                        <a:pt x="538" y="462"/>
                      </a:lnTo>
                      <a:lnTo>
                        <a:pt x="548" y="454"/>
                      </a:lnTo>
                      <a:lnTo>
                        <a:pt x="570" y="442"/>
                      </a:lnTo>
                      <a:lnTo>
                        <a:pt x="562" y="430"/>
                      </a:lnTo>
                      <a:lnTo>
                        <a:pt x="558" y="422"/>
                      </a:lnTo>
                      <a:lnTo>
                        <a:pt x="556" y="414"/>
                      </a:lnTo>
                      <a:lnTo>
                        <a:pt x="556" y="408"/>
                      </a:lnTo>
                      <a:lnTo>
                        <a:pt x="560" y="404"/>
                      </a:lnTo>
                      <a:lnTo>
                        <a:pt x="568" y="396"/>
                      </a:lnTo>
                      <a:lnTo>
                        <a:pt x="550" y="376"/>
                      </a:lnTo>
                      <a:lnTo>
                        <a:pt x="534" y="354"/>
                      </a:lnTo>
                      <a:lnTo>
                        <a:pt x="518" y="330"/>
                      </a:lnTo>
                      <a:lnTo>
                        <a:pt x="502" y="306"/>
                      </a:lnTo>
                      <a:lnTo>
                        <a:pt x="478" y="278"/>
                      </a:lnTo>
                      <a:lnTo>
                        <a:pt x="470" y="264"/>
                      </a:lnTo>
                      <a:lnTo>
                        <a:pt x="468" y="256"/>
                      </a:lnTo>
                      <a:lnTo>
                        <a:pt x="466" y="246"/>
                      </a:lnTo>
                      <a:lnTo>
                        <a:pt x="462" y="238"/>
                      </a:lnTo>
                      <a:lnTo>
                        <a:pt x="454" y="226"/>
                      </a:lnTo>
                      <a:lnTo>
                        <a:pt x="440" y="210"/>
                      </a:lnTo>
                      <a:lnTo>
                        <a:pt x="438" y="210"/>
                      </a:lnTo>
                      <a:lnTo>
                        <a:pt x="436" y="208"/>
                      </a:lnTo>
                      <a:lnTo>
                        <a:pt x="434" y="202"/>
                      </a:lnTo>
                      <a:lnTo>
                        <a:pt x="432" y="194"/>
                      </a:lnTo>
                      <a:lnTo>
                        <a:pt x="430" y="190"/>
                      </a:lnTo>
                      <a:lnTo>
                        <a:pt x="414" y="176"/>
                      </a:lnTo>
                      <a:lnTo>
                        <a:pt x="402" y="160"/>
                      </a:lnTo>
                      <a:lnTo>
                        <a:pt x="392" y="140"/>
                      </a:lnTo>
                      <a:lnTo>
                        <a:pt x="384" y="118"/>
                      </a:lnTo>
                      <a:lnTo>
                        <a:pt x="380" y="114"/>
                      </a:lnTo>
                      <a:lnTo>
                        <a:pt x="376" y="110"/>
                      </a:lnTo>
                      <a:lnTo>
                        <a:pt x="374" y="106"/>
                      </a:lnTo>
                      <a:lnTo>
                        <a:pt x="372" y="100"/>
                      </a:lnTo>
                      <a:lnTo>
                        <a:pt x="372" y="94"/>
                      </a:lnTo>
                      <a:lnTo>
                        <a:pt x="372" y="90"/>
                      </a:lnTo>
                      <a:lnTo>
                        <a:pt x="384" y="98"/>
                      </a:lnTo>
                      <a:lnTo>
                        <a:pt x="392" y="106"/>
                      </a:lnTo>
                      <a:lnTo>
                        <a:pt x="400" y="118"/>
                      </a:lnTo>
                      <a:lnTo>
                        <a:pt x="406" y="128"/>
                      </a:lnTo>
                      <a:lnTo>
                        <a:pt x="418" y="150"/>
                      </a:lnTo>
                      <a:lnTo>
                        <a:pt x="426" y="162"/>
                      </a:lnTo>
                      <a:lnTo>
                        <a:pt x="436" y="170"/>
                      </a:lnTo>
                      <a:lnTo>
                        <a:pt x="450" y="186"/>
                      </a:lnTo>
                      <a:lnTo>
                        <a:pt x="458" y="194"/>
                      </a:lnTo>
                      <a:lnTo>
                        <a:pt x="462" y="196"/>
                      </a:lnTo>
                      <a:lnTo>
                        <a:pt x="466" y="196"/>
                      </a:lnTo>
                      <a:lnTo>
                        <a:pt x="470" y="194"/>
                      </a:lnTo>
                      <a:lnTo>
                        <a:pt x="476" y="186"/>
                      </a:lnTo>
                      <a:lnTo>
                        <a:pt x="482" y="176"/>
                      </a:lnTo>
                      <a:lnTo>
                        <a:pt x="484" y="170"/>
                      </a:lnTo>
                      <a:lnTo>
                        <a:pt x="484" y="150"/>
                      </a:lnTo>
                      <a:lnTo>
                        <a:pt x="484" y="140"/>
                      </a:lnTo>
                      <a:lnTo>
                        <a:pt x="486" y="128"/>
                      </a:lnTo>
                      <a:lnTo>
                        <a:pt x="484" y="124"/>
                      </a:lnTo>
                      <a:lnTo>
                        <a:pt x="486" y="118"/>
                      </a:lnTo>
                      <a:lnTo>
                        <a:pt x="488" y="106"/>
                      </a:lnTo>
                      <a:lnTo>
                        <a:pt x="486" y="102"/>
                      </a:lnTo>
                      <a:lnTo>
                        <a:pt x="482" y="96"/>
                      </a:lnTo>
                      <a:lnTo>
                        <a:pt x="476" y="88"/>
                      </a:lnTo>
                      <a:lnTo>
                        <a:pt x="468" y="72"/>
                      </a:lnTo>
                      <a:lnTo>
                        <a:pt x="458" y="54"/>
                      </a:lnTo>
                      <a:lnTo>
                        <a:pt x="450" y="36"/>
                      </a:lnTo>
                      <a:lnTo>
                        <a:pt x="442" y="16"/>
                      </a:lnTo>
                      <a:lnTo>
                        <a:pt x="426" y="20"/>
                      </a:lnTo>
                      <a:lnTo>
                        <a:pt x="410" y="24"/>
                      </a:lnTo>
                      <a:lnTo>
                        <a:pt x="394" y="28"/>
                      </a:lnTo>
                      <a:lnTo>
                        <a:pt x="376" y="28"/>
                      </a:lnTo>
                      <a:lnTo>
                        <a:pt x="364" y="28"/>
                      </a:lnTo>
                      <a:lnTo>
                        <a:pt x="354" y="24"/>
                      </a:lnTo>
                      <a:lnTo>
                        <a:pt x="336" y="14"/>
                      </a:lnTo>
                      <a:lnTo>
                        <a:pt x="318" y="6"/>
                      </a:lnTo>
                      <a:lnTo>
                        <a:pt x="308" y="2"/>
                      </a:lnTo>
                      <a:lnTo>
                        <a:pt x="298" y="0"/>
                      </a:lnTo>
                      <a:lnTo>
                        <a:pt x="284" y="2"/>
                      </a:lnTo>
                      <a:lnTo>
                        <a:pt x="274" y="8"/>
                      </a:lnTo>
                      <a:lnTo>
                        <a:pt x="262" y="14"/>
                      </a:lnTo>
                      <a:lnTo>
                        <a:pt x="252" y="22"/>
                      </a:lnTo>
                      <a:lnTo>
                        <a:pt x="244" y="30"/>
                      </a:lnTo>
                      <a:lnTo>
                        <a:pt x="232" y="36"/>
                      </a:lnTo>
                      <a:lnTo>
                        <a:pt x="222" y="40"/>
                      </a:lnTo>
                      <a:lnTo>
                        <a:pt x="208" y="42"/>
                      </a:lnTo>
                      <a:lnTo>
                        <a:pt x="184" y="42"/>
                      </a:lnTo>
                      <a:lnTo>
                        <a:pt x="164" y="38"/>
                      </a:lnTo>
                      <a:lnTo>
                        <a:pt x="146" y="32"/>
                      </a:lnTo>
                      <a:lnTo>
                        <a:pt x="128" y="26"/>
                      </a:lnTo>
                      <a:lnTo>
                        <a:pt x="112" y="20"/>
                      </a:lnTo>
                      <a:lnTo>
                        <a:pt x="92" y="16"/>
                      </a:lnTo>
                      <a:lnTo>
                        <a:pt x="74" y="12"/>
                      </a:lnTo>
                      <a:lnTo>
                        <a:pt x="52" y="10"/>
                      </a:lnTo>
                      <a:lnTo>
                        <a:pt x="46" y="12"/>
                      </a:lnTo>
                      <a:lnTo>
                        <a:pt x="40" y="14"/>
                      </a:lnTo>
                      <a:lnTo>
                        <a:pt x="36" y="16"/>
                      </a:lnTo>
                      <a:lnTo>
                        <a:pt x="30" y="16"/>
                      </a:lnTo>
                      <a:lnTo>
                        <a:pt x="16" y="18"/>
                      </a:lnTo>
                      <a:lnTo>
                        <a:pt x="8" y="20"/>
                      </a:lnTo>
                      <a:lnTo>
                        <a:pt x="4" y="22"/>
                      </a:lnTo>
                      <a:lnTo>
                        <a:pt x="2" y="24"/>
                      </a:lnTo>
                      <a:lnTo>
                        <a:pt x="2" y="34"/>
                      </a:lnTo>
                      <a:lnTo>
                        <a:pt x="0" y="34"/>
                      </a:lnTo>
                      <a:close/>
                    </a:path>
                  </a:pathLst>
                </a:custGeom>
                <a:solidFill>
                  <a:schemeClr val="accent3"/>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0" name="Djibouti">
                  <a:extLst>
                    <a:ext uri="{FF2B5EF4-FFF2-40B4-BE49-F238E27FC236}">
                      <a16:creationId xmlns:a16="http://schemas.microsoft.com/office/drawing/2014/main" id="{5AEFD5BA-39E5-43D5-9CB2-2DFD603377B7}"/>
                    </a:ext>
                  </a:extLst>
                </p:cNvPr>
                <p:cNvSpPr>
                  <a:spLocks/>
                </p:cNvSpPr>
                <p:nvPr/>
              </p:nvSpPr>
              <p:spPr bwMode="gray">
                <a:xfrm>
                  <a:off x="6535738" y="3697288"/>
                  <a:ext cx="100012" cy="112712"/>
                </a:xfrm>
                <a:custGeom>
                  <a:avLst/>
                  <a:gdLst/>
                  <a:ahLst/>
                  <a:cxnLst>
                    <a:cxn ang="0">
                      <a:pos x="70" y="88"/>
                    </a:cxn>
                    <a:cxn ang="0">
                      <a:pos x="66" y="84"/>
                    </a:cxn>
                    <a:cxn ang="0">
                      <a:pos x="62" y="82"/>
                    </a:cxn>
                    <a:cxn ang="0">
                      <a:pos x="60" y="80"/>
                    </a:cxn>
                    <a:cxn ang="0">
                      <a:pos x="52" y="82"/>
                    </a:cxn>
                    <a:cxn ang="0">
                      <a:pos x="40" y="88"/>
                    </a:cxn>
                    <a:cxn ang="0">
                      <a:pos x="28" y="92"/>
                    </a:cxn>
                    <a:cxn ang="0">
                      <a:pos x="18" y="96"/>
                    </a:cxn>
                    <a:cxn ang="0">
                      <a:pos x="0" y="96"/>
                    </a:cxn>
                    <a:cxn ang="0">
                      <a:pos x="2" y="88"/>
                    </a:cxn>
                    <a:cxn ang="0">
                      <a:pos x="2" y="78"/>
                    </a:cxn>
                    <a:cxn ang="0">
                      <a:pos x="0" y="54"/>
                    </a:cxn>
                    <a:cxn ang="0">
                      <a:pos x="2" y="46"/>
                    </a:cxn>
                    <a:cxn ang="0">
                      <a:pos x="6" y="38"/>
                    </a:cxn>
                    <a:cxn ang="0">
                      <a:pos x="12" y="30"/>
                    </a:cxn>
                    <a:cxn ang="0">
                      <a:pos x="22" y="22"/>
                    </a:cxn>
                    <a:cxn ang="0">
                      <a:pos x="40" y="8"/>
                    </a:cxn>
                    <a:cxn ang="0">
                      <a:pos x="58" y="0"/>
                    </a:cxn>
                    <a:cxn ang="0">
                      <a:pos x="68" y="2"/>
                    </a:cxn>
                    <a:cxn ang="0">
                      <a:pos x="76" y="10"/>
                    </a:cxn>
                    <a:cxn ang="0">
                      <a:pos x="84" y="18"/>
                    </a:cxn>
                    <a:cxn ang="0">
                      <a:pos x="86" y="24"/>
                    </a:cxn>
                    <a:cxn ang="0">
                      <a:pos x="86" y="28"/>
                    </a:cxn>
                    <a:cxn ang="0">
                      <a:pos x="84" y="32"/>
                    </a:cxn>
                    <a:cxn ang="0">
                      <a:pos x="82" y="36"/>
                    </a:cxn>
                    <a:cxn ang="0">
                      <a:pos x="70" y="46"/>
                    </a:cxn>
                    <a:cxn ang="0">
                      <a:pos x="48" y="62"/>
                    </a:cxn>
                    <a:cxn ang="0">
                      <a:pos x="80" y="66"/>
                    </a:cxn>
                    <a:cxn ang="0">
                      <a:pos x="78" y="72"/>
                    </a:cxn>
                    <a:cxn ang="0">
                      <a:pos x="76" y="76"/>
                    </a:cxn>
                    <a:cxn ang="0">
                      <a:pos x="72" y="80"/>
                    </a:cxn>
                    <a:cxn ang="0">
                      <a:pos x="68" y="82"/>
                    </a:cxn>
                    <a:cxn ang="0">
                      <a:pos x="70" y="82"/>
                    </a:cxn>
                    <a:cxn ang="0">
                      <a:pos x="70" y="88"/>
                    </a:cxn>
                  </a:cxnLst>
                  <a:rect l="0" t="0" r="r" b="b"/>
                  <a:pathLst>
                    <a:path w="86" h="96">
                      <a:moveTo>
                        <a:pt x="70" y="88"/>
                      </a:moveTo>
                      <a:lnTo>
                        <a:pt x="66" y="84"/>
                      </a:lnTo>
                      <a:lnTo>
                        <a:pt x="62" y="82"/>
                      </a:lnTo>
                      <a:lnTo>
                        <a:pt x="60" y="80"/>
                      </a:lnTo>
                      <a:lnTo>
                        <a:pt x="52" y="82"/>
                      </a:lnTo>
                      <a:lnTo>
                        <a:pt x="40" y="88"/>
                      </a:lnTo>
                      <a:lnTo>
                        <a:pt x="28" y="92"/>
                      </a:lnTo>
                      <a:lnTo>
                        <a:pt x="18" y="96"/>
                      </a:lnTo>
                      <a:lnTo>
                        <a:pt x="0" y="96"/>
                      </a:lnTo>
                      <a:lnTo>
                        <a:pt x="2" y="88"/>
                      </a:lnTo>
                      <a:lnTo>
                        <a:pt x="2" y="78"/>
                      </a:lnTo>
                      <a:lnTo>
                        <a:pt x="0" y="54"/>
                      </a:lnTo>
                      <a:lnTo>
                        <a:pt x="2" y="46"/>
                      </a:lnTo>
                      <a:lnTo>
                        <a:pt x="6" y="38"/>
                      </a:lnTo>
                      <a:lnTo>
                        <a:pt x="12" y="30"/>
                      </a:lnTo>
                      <a:lnTo>
                        <a:pt x="22" y="22"/>
                      </a:lnTo>
                      <a:lnTo>
                        <a:pt x="40" y="8"/>
                      </a:lnTo>
                      <a:lnTo>
                        <a:pt x="58" y="0"/>
                      </a:lnTo>
                      <a:lnTo>
                        <a:pt x="68" y="2"/>
                      </a:lnTo>
                      <a:lnTo>
                        <a:pt x="76" y="10"/>
                      </a:lnTo>
                      <a:lnTo>
                        <a:pt x="84" y="18"/>
                      </a:lnTo>
                      <a:lnTo>
                        <a:pt x="86" y="24"/>
                      </a:lnTo>
                      <a:lnTo>
                        <a:pt x="86" y="28"/>
                      </a:lnTo>
                      <a:lnTo>
                        <a:pt x="84" y="32"/>
                      </a:lnTo>
                      <a:lnTo>
                        <a:pt x="82" y="36"/>
                      </a:lnTo>
                      <a:lnTo>
                        <a:pt x="70" y="46"/>
                      </a:lnTo>
                      <a:lnTo>
                        <a:pt x="48" y="62"/>
                      </a:lnTo>
                      <a:lnTo>
                        <a:pt x="80" y="66"/>
                      </a:lnTo>
                      <a:lnTo>
                        <a:pt x="78" y="72"/>
                      </a:lnTo>
                      <a:lnTo>
                        <a:pt x="76" y="76"/>
                      </a:lnTo>
                      <a:lnTo>
                        <a:pt x="72" y="80"/>
                      </a:lnTo>
                      <a:lnTo>
                        <a:pt x="68" y="82"/>
                      </a:lnTo>
                      <a:lnTo>
                        <a:pt x="70" y="82"/>
                      </a:lnTo>
                      <a:lnTo>
                        <a:pt x="70" y="8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1" name="Somalia">
                  <a:extLst>
                    <a:ext uri="{FF2B5EF4-FFF2-40B4-BE49-F238E27FC236}">
                      <a16:creationId xmlns:a16="http://schemas.microsoft.com/office/drawing/2014/main" id="{33F564D1-33CD-4575-8589-98EC9404E960}"/>
                    </a:ext>
                  </a:extLst>
                </p:cNvPr>
                <p:cNvSpPr>
                  <a:spLocks/>
                </p:cNvSpPr>
                <p:nvPr/>
              </p:nvSpPr>
              <p:spPr bwMode="gray">
                <a:xfrm>
                  <a:off x="6515100" y="3708400"/>
                  <a:ext cx="593725" cy="920750"/>
                </a:xfrm>
                <a:custGeom>
                  <a:avLst/>
                  <a:gdLst/>
                  <a:ahLst/>
                  <a:cxnLst>
                    <a:cxn ang="0">
                      <a:pos x="38" y="480"/>
                    </a:cxn>
                    <a:cxn ang="0">
                      <a:pos x="26" y="508"/>
                    </a:cxn>
                    <a:cxn ang="0">
                      <a:pos x="6" y="530"/>
                    </a:cxn>
                    <a:cxn ang="0">
                      <a:pos x="0" y="739"/>
                    </a:cxn>
                    <a:cxn ang="0">
                      <a:pos x="38" y="781"/>
                    </a:cxn>
                    <a:cxn ang="0">
                      <a:pos x="54" y="761"/>
                    </a:cxn>
                    <a:cxn ang="0">
                      <a:pos x="64" y="741"/>
                    </a:cxn>
                    <a:cxn ang="0">
                      <a:pos x="76" y="724"/>
                    </a:cxn>
                    <a:cxn ang="0">
                      <a:pos x="108" y="692"/>
                    </a:cxn>
                    <a:cxn ang="0">
                      <a:pos x="152" y="646"/>
                    </a:cxn>
                    <a:cxn ang="0">
                      <a:pos x="252" y="560"/>
                    </a:cxn>
                    <a:cxn ang="0">
                      <a:pos x="298" y="512"/>
                    </a:cxn>
                    <a:cxn ang="0">
                      <a:pos x="320" y="492"/>
                    </a:cxn>
                    <a:cxn ang="0">
                      <a:pos x="340" y="470"/>
                    </a:cxn>
                    <a:cxn ang="0">
                      <a:pos x="376" y="414"/>
                    </a:cxn>
                    <a:cxn ang="0">
                      <a:pos x="402" y="368"/>
                    </a:cxn>
                    <a:cxn ang="0">
                      <a:pos x="418" y="316"/>
                    </a:cxn>
                    <a:cxn ang="0">
                      <a:pos x="432" y="280"/>
                    </a:cxn>
                    <a:cxn ang="0">
                      <a:pos x="478" y="186"/>
                    </a:cxn>
                    <a:cxn ang="0">
                      <a:pos x="492" y="152"/>
                    </a:cxn>
                    <a:cxn ang="0">
                      <a:pos x="496" y="132"/>
                    </a:cxn>
                    <a:cxn ang="0">
                      <a:pos x="494" y="104"/>
                    </a:cxn>
                    <a:cxn ang="0">
                      <a:pos x="500" y="90"/>
                    </a:cxn>
                    <a:cxn ang="0">
                      <a:pos x="500" y="32"/>
                    </a:cxn>
                    <a:cxn ang="0">
                      <a:pos x="504" y="18"/>
                    </a:cxn>
                    <a:cxn ang="0">
                      <a:pos x="508" y="0"/>
                    </a:cxn>
                    <a:cxn ang="0">
                      <a:pos x="502" y="2"/>
                    </a:cxn>
                    <a:cxn ang="0">
                      <a:pos x="484" y="2"/>
                    </a:cxn>
                    <a:cxn ang="0">
                      <a:pos x="472" y="10"/>
                    </a:cxn>
                    <a:cxn ang="0">
                      <a:pos x="458" y="26"/>
                    </a:cxn>
                    <a:cxn ang="0">
                      <a:pos x="446" y="32"/>
                    </a:cxn>
                    <a:cxn ang="0">
                      <a:pos x="414" y="40"/>
                    </a:cxn>
                    <a:cxn ang="0">
                      <a:pos x="348" y="48"/>
                    </a:cxn>
                    <a:cxn ang="0">
                      <a:pos x="314" y="56"/>
                    </a:cxn>
                    <a:cxn ang="0">
                      <a:pos x="300" y="64"/>
                    </a:cxn>
                    <a:cxn ang="0">
                      <a:pos x="284" y="78"/>
                    </a:cxn>
                    <a:cxn ang="0">
                      <a:pos x="270" y="86"/>
                    </a:cxn>
                    <a:cxn ang="0">
                      <a:pos x="254" y="86"/>
                    </a:cxn>
                    <a:cxn ang="0">
                      <a:pos x="240" y="82"/>
                    </a:cxn>
                    <a:cxn ang="0">
                      <a:pos x="224" y="82"/>
                    </a:cxn>
                    <a:cxn ang="0">
                      <a:pos x="202" y="96"/>
                    </a:cxn>
                    <a:cxn ang="0">
                      <a:pos x="186" y="106"/>
                    </a:cxn>
                    <a:cxn ang="0">
                      <a:pos x="166" y="110"/>
                    </a:cxn>
                    <a:cxn ang="0">
                      <a:pos x="144" y="104"/>
                    </a:cxn>
                    <a:cxn ang="0">
                      <a:pos x="126" y="90"/>
                    </a:cxn>
                    <a:cxn ang="0">
                      <a:pos x="98" y="56"/>
                    </a:cxn>
                    <a:cxn ang="0">
                      <a:pos x="94" y="66"/>
                    </a:cxn>
                    <a:cxn ang="0">
                      <a:pos x="86" y="72"/>
                    </a:cxn>
                    <a:cxn ang="0">
                      <a:pos x="74" y="88"/>
                    </a:cxn>
                    <a:cxn ang="0">
                      <a:pos x="66" y="104"/>
                    </a:cxn>
                    <a:cxn ang="0">
                      <a:pos x="98" y="144"/>
                    </a:cxn>
                    <a:cxn ang="0">
                      <a:pos x="118" y="172"/>
                    </a:cxn>
                    <a:cxn ang="0">
                      <a:pos x="134" y="186"/>
                    </a:cxn>
                    <a:cxn ang="0">
                      <a:pos x="294" y="236"/>
                    </a:cxn>
                    <a:cxn ang="0">
                      <a:pos x="352" y="234"/>
                    </a:cxn>
                    <a:cxn ang="0">
                      <a:pos x="142" y="414"/>
                    </a:cxn>
                    <a:cxn ang="0">
                      <a:pos x="100" y="446"/>
                    </a:cxn>
                    <a:cxn ang="0">
                      <a:pos x="60" y="466"/>
                    </a:cxn>
                    <a:cxn ang="0">
                      <a:pos x="40" y="472"/>
                    </a:cxn>
                  </a:cxnLst>
                  <a:rect l="0" t="0" r="r" b="b"/>
                  <a:pathLst>
                    <a:path w="508" h="787">
                      <a:moveTo>
                        <a:pt x="40" y="472"/>
                      </a:moveTo>
                      <a:lnTo>
                        <a:pt x="38" y="480"/>
                      </a:lnTo>
                      <a:lnTo>
                        <a:pt x="36" y="490"/>
                      </a:lnTo>
                      <a:lnTo>
                        <a:pt x="26" y="508"/>
                      </a:lnTo>
                      <a:lnTo>
                        <a:pt x="14" y="524"/>
                      </a:lnTo>
                      <a:lnTo>
                        <a:pt x="6" y="530"/>
                      </a:lnTo>
                      <a:lnTo>
                        <a:pt x="0" y="534"/>
                      </a:lnTo>
                      <a:lnTo>
                        <a:pt x="0" y="739"/>
                      </a:lnTo>
                      <a:lnTo>
                        <a:pt x="34" y="787"/>
                      </a:lnTo>
                      <a:lnTo>
                        <a:pt x="38" y="781"/>
                      </a:lnTo>
                      <a:lnTo>
                        <a:pt x="42" y="775"/>
                      </a:lnTo>
                      <a:lnTo>
                        <a:pt x="54" y="761"/>
                      </a:lnTo>
                      <a:lnTo>
                        <a:pt x="58" y="751"/>
                      </a:lnTo>
                      <a:lnTo>
                        <a:pt x="64" y="741"/>
                      </a:lnTo>
                      <a:lnTo>
                        <a:pt x="70" y="733"/>
                      </a:lnTo>
                      <a:lnTo>
                        <a:pt x="76" y="724"/>
                      </a:lnTo>
                      <a:lnTo>
                        <a:pt x="92" y="710"/>
                      </a:lnTo>
                      <a:lnTo>
                        <a:pt x="108" y="692"/>
                      </a:lnTo>
                      <a:lnTo>
                        <a:pt x="130" y="668"/>
                      </a:lnTo>
                      <a:lnTo>
                        <a:pt x="152" y="646"/>
                      </a:lnTo>
                      <a:lnTo>
                        <a:pt x="202" y="604"/>
                      </a:lnTo>
                      <a:lnTo>
                        <a:pt x="252" y="560"/>
                      </a:lnTo>
                      <a:lnTo>
                        <a:pt x="276" y="538"/>
                      </a:lnTo>
                      <a:lnTo>
                        <a:pt x="298" y="512"/>
                      </a:lnTo>
                      <a:lnTo>
                        <a:pt x="308" y="502"/>
                      </a:lnTo>
                      <a:lnTo>
                        <a:pt x="320" y="492"/>
                      </a:lnTo>
                      <a:lnTo>
                        <a:pt x="330" y="482"/>
                      </a:lnTo>
                      <a:lnTo>
                        <a:pt x="340" y="470"/>
                      </a:lnTo>
                      <a:lnTo>
                        <a:pt x="358" y="444"/>
                      </a:lnTo>
                      <a:lnTo>
                        <a:pt x="376" y="414"/>
                      </a:lnTo>
                      <a:lnTo>
                        <a:pt x="396" y="384"/>
                      </a:lnTo>
                      <a:lnTo>
                        <a:pt x="402" y="368"/>
                      </a:lnTo>
                      <a:lnTo>
                        <a:pt x="408" y="354"/>
                      </a:lnTo>
                      <a:lnTo>
                        <a:pt x="418" y="316"/>
                      </a:lnTo>
                      <a:lnTo>
                        <a:pt x="424" y="300"/>
                      </a:lnTo>
                      <a:lnTo>
                        <a:pt x="432" y="280"/>
                      </a:lnTo>
                      <a:lnTo>
                        <a:pt x="456" y="232"/>
                      </a:lnTo>
                      <a:lnTo>
                        <a:pt x="478" y="186"/>
                      </a:lnTo>
                      <a:lnTo>
                        <a:pt x="486" y="170"/>
                      </a:lnTo>
                      <a:lnTo>
                        <a:pt x="492" y="152"/>
                      </a:lnTo>
                      <a:lnTo>
                        <a:pt x="494" y="142"/>
                      </a:lnTo>
                      <a:lnTo>
                        <a:pt x="496" y="132"/>
                      </a:lnTo>
                      <a:lnTo>
                        <a:pt x="494" y="114"/>
                      </a:lnTo>
                      <a:lnTo>
                        <a:pt x="494" y="104"/>
                      </a:lnTo>
                      <a:lnTo>
                        <a:pt x="496" y="98"/>
                      </a:lnTo>
                      <a:lnTo>
                        <a:pt x="500" y="90"/>
                      </a:lnTo>
                      <a:lnTo>
                        <a:pt x="508" y="84"/>
                      </a:lnTo>
                      <a:lnTo>
                        <a:pt x="500" y="32"/>
                      </a:lnTo>
                      <a:lnTo>
                        <a:pt x="502" y="24"/>
                      </a:lnTo>
                      <a:lnTo>
                        <a:pt x="504" y="18"/>
                      </a:lnTo>
                      <a:lnTo>
                        <a:pt x="506" y="10"/>
                      </a:lnTo>
                      <a:lnTo>
                        <a:pt x="508" y="0"/>
                      </a:lnTo>
                      <a:lnTo>
                        <a:pt x="504" y="2"/>
                      </a:lnTo>
                      <a:lnTo>
                        <a:pt x="502" y="2"/>
                      </a:lnTo>
                      <a:lnTo>
                        <a:pt x="492" y="0"/>
                      </a:lnTo>
                      <a:lnTo>
                        <a:pt x="484" y="2"/>
                      </a:lnTo>
                      <a:lnTo>
                        <a:pt x="478" y="4"/>
                      </a:lnTo>
                      <a:lnTo>
                        <a:pt x="472" y="10"/>
                      </a:lnTo>
                      <a:lnTo>
                        <a:pt x="468" y="14"/>
                      </a:lnTo>
                      <a:lnTo>
                        <a:pt x="458" y="26"/>
                      </a:lnTo>
                      <a:lnTo>
                        <a:pt x="452" y="30"/>
                      </a:lnTo>
                      <a:lnTo>
                        <a:pt x="446" y="32"/>
                      </a:lnTo>
                      <a:lnTo>
                        <a:pt x="430" y="38"/>
                      </a:lnTo>
                      <a:lnTo>
                        <a:pt x="414" y="40"/>
                      </a:lnTo>
                      <a:lnTo>
                        <a:pt x="382" y="44"/>
                      </a:lnTo>
                      <a:lnTo>
                        <a:pt x="348" y="48"/>
                      </a:lnTo>
                      <a:lnTo>
                        <a:pt x="332" y="52"/>
                      </a:lnTo>
                      <a:lnTo>
                        <a:pt x="314" y="56"/>
                      </a:lnTo>
                      <a:lnTo>
                        <a:pt x="306" y="60"/>
                      </a:lnTo>
                      <a:lnTo>
                        <a:pt x="300" y="64"/>
                      </a:lnTo>
                      <a:lnTo>
                        <a:pt x="290" y="74"/>
                      </a:lnTo>
                      <a:lnTo>
                        <a:pt x="284" y="78"/>
                      </a:lnTo>
                      <a:lnTo>
                        <a:pt x="276" y="82"/>
                      </a:lnTo>
                      <a:lnTo>
                        <a:pt x="270" y="86"/>
                      </a:lnTo>
                      <a:lnTo>
                        <a:pt x="260" y="86"/>
                      </a:lnTo>
                      <a:lnTo>
                        <a:pt x="254" y="86"/>
                      </a:lnTo>
                      <a:lnTo>
                        <a:pt x="246" y="84"/>
                      </a:lnTo>
                      <a:lnTo>
                        <a:pt x="240" y="82"/>
                      </a:lnTo>
                      <a:lnTo>
                        <a:pt x="234" y="80"/>
                      </a:lnTo>
                      <a:lnTo>
                        <a:pt x="224" y="82"/>
                      </a:lnTo>
                      <a:lnTo>
                        <a:pt x="216" y="86"/>
                      </a:lnTo>
                      <a:lnTo>
                        <a:pt x="202" y="96"/>
                      </a:lnTo>
                      <a:lnTo>
                        <a:pt x="194" y="100"/>
                      </a:lnTo>
                      <a:lnTo>
                        <a:pt x="186" y="106"/>
                      </a:lnTo>
                      <a:lnTo>
                        <a:pt x="178" y="110"/>
                      </a:lnTo>
                      <a:lnTo>
                        <a:pt x="166" y="110"/>
                      </a:lnTo>
                      <a:lnTo>
                        <a:pt x="154" y="108"/>
                      </a:lnTo>
                      <a:lnTo>
                        <a:pt x="144" y="104"/>
                      </a:lnTo>
                      <a:lnTo>
                        <a:pt x="134" y="98"/>
                      </a:lnTo>
                      <a:lnTo>
                        <a:pt x="126" y="90"/>
                      </a:lnTo>
                      <a:lnTo>
                        <a:pt x="110" y="72"/>
                      </a:lnTo>
                      <a:lnTo>
                        <a:pt x="98" y="56"/>
                      </a:lnTo>
                      <a:lnTo>
                        <a:pt x="96" y="62"/>
                      </a:lnTo>
                      <a:lnTo>
                        <a:pt x="94" y="66"/>
                      </a:lnTo>
                      <a:lnTo>
                        <a:pt x="90" y="70"/>
                      </a:lnTo>
                      <a:lnTo>
                        <a:pt x="86" y="72"/>
                      </a:lnTo>
                      <a:lnTo>
                        <a:pt x="80" y="78"/>
                      </a:lnTo>
                      <a:lnTo>
                        <a:pt x="74" y="88"/>
                      </a:lnTo>
                      <a:lnTo>
                        <a:pt x="68" y="98"/>
                      </a:lnTo>
                      <a:lnTo>
                        <a:pt x="66" y="104"/>
                      </a:lnTo>
                      <a:lnTo>
                        <a:pt x="84" y="124"/>
                      </a:lnTo>
                      <a:lnTo>
                        <a:pt x="98" y="144"/>
                      </a:lnTo>
                      <a:lnTo>
                        <a:pt x="110" y="164"/>
                      </a:lnTo>
                      <a:lnTo>
                        <a:pt x="118" y="172"/>
                      </a:lnTo>
                      <a:lnTo>
                        <a:pt x="126" y="178"/>
                      </a:lnTo>
                      <a:lnTo>
                        <a:pt x="134" y="186"/>
                      </a:lnTo>
                      <a:lnTo>
                        <a:pt x="146" y="190"/>
                      </a:lnTo>
                      <a:lnTo>
                        <a:pt x="294" y="236"/>
                      </a:lnTo>
                      <a:lnTo>
                        <a:pt x="352" y="236"/>
                      </a:lnTo>
                      <a:lnTo>
                        <a:pt x="352" y="234"/>
                      </a:lnTo>
                      <a:lnTo>
                        <a:pt x="206" y="414"/>
                      </a:lnTo>
                      <a:lnTo>
                        <a:pt x="142" y="414"/>
                      </a:lnTo>
                      <a:lnTo>
                        <a:pt x="124" y="430"/>
                      </a:lnTo>
                      <a:lnTo>
                        <a:pt x="100" y="446"/>
                      </a:lnTo>
                      <a:lnTo>
                        <a:pt x="74" y="460"/>
                      </a:lnTo>
                      <a:lnTo>
                        <a:pt x="60" y="466"/>
                      </a:lnTo>
                      <a:lnTo>
                        <a:pt x="46" y="470"/>
                      </a:lnTo>
                      <a:lnTo>
                        <a:pt x="40" y="472"/>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2" name="Kenya">
                  <a:extLst>
                    <a:ext uri="{FF2B5EF4-FFF2-40B4-BE49-F238E27FC236}">
                      <a16:creationId xmlns:a16="http://schemas.microsoft.com/office/drawing/2014/main" id="{692507DA-E063-4CC0-B12A-04365E6E9A7C}"/>
                    </a:ext>
                  </a:extLst>
                </p:cNvPr>
                <p:cNvSpPr>
                  <a:spLocks/>
                </p:cNvSpPr>
                <p:nvPr/>
              </p:nvSpPr>
              <p:spPr bwMode="gray">
                <a:xfrm>
                  <a:off x="6080126" y="4216400"/>
                  <a:ext cx="481011" cy="612775"/>
                </a:xfrm>
                <a:custGeom>
                  <a:avLst/>
                  <a:gdLst/>
                  <a:ahLst/>
                  <a:cxnLst>
                    <a:cxn ang="0">
                      <a:pos x="0" y="323"/>
                    </a:cxn>
                    <a:cxn ang="0">
                      <a:pos x="4" y="317"/>
                    </a:cxn>
                    <a:cxn ang="0">
                      <a:pos x="8" y="299"/>
                    </a:cxn>
                    <a:cxn ang="0">
                      <a:pos x="14" y="293"/>
                    </a:cxn>
                    <a:cxn ang="0">
                      <a:pos x="28" y="290"/>
                    </a:cxn>
                    <a:cxn ang="0">
                      <a:pos x="42" y="282"/>
                    </a:cxn>
                    <a:cxn ang="0">
                      <a:pos x="34" y="278"/>
                    </a:cxn>
                    <a:cxn ang="0">
                      <a:pos x="14" y="280"/>
                    </a:cxn>
                    <a:cxn ang="0">
                      <a:pos x="2" y="276"/>
                    </a:cxn>
                    <a:cxn ang="0">
                      <a:pos x="4" y="256"/>
                    </a:cxn>
                    <a:cxn ang="0">
                      <a:pos x="18" y="232"/>
                    </a:cxn>
                    <a:cxn ang="0">
                      <a:pos x="42" y="200"/>
                    </a:cxn>
                    <a:cxn ang="0">
                      <a:pos x="54" y="176"/>
                    </a:cxn>
                    <a:cxn ang="0">
                      <a:pos x="54" y="142"/>
                    </a:cxn>
                    <a:cxn ang="0">
                      <a:pos x="44" y="106"/>
                    </a:cxn>
                    <a:cxn ang="0">
                      <a:pos x="18" y="60"/>
                    </a:cxn>
                    <a:cxn ang="0">
                      <a:pos x="2" y="30"/>
                    </a:cxn>
                    <a:cxn ang="0">
                      <a:pos x="98" y="12"/>
                    </a:cxn>
                    <a:cxn ang="0">
                      <a:pos x="96" y="6"/>
                    </a:cxn>
                    <a:cxn ang="0">
                      <a:pos x="130" y="24"/>
                    </a:cxn>
                    <a:cxn ang="0">
                      <a:pos x="168" y="38"/>
                    </a:cxn>
                    <a:cxn ang="0">
                      <a:pos x="194" y="52"/>
                    </a:cxn>
                    <a:cxn ang="0">
                      <a:pos x="248" y="62"/>
                    </a:cxn>
                    <a:cxn ang="0">
                      <a:pos x="264" y="70"/>
                    </a:cxn>
                    <a:cxn ang="0">
                      <a:pos x="286" y="72"/>
                    </a:cxn>
                    <a:cxn ang="0">
                      <a:pos x="302" y="64"/>
                    </a:cxn>
                    <a:cxn ang="0">
                      <a:pos x="318" y="48"/>
                    </a:cxn>
                    <a:cxn ang="0">
                      <a:pos x="334" y="32"/>
                    </a:cxn>
                    <a:cxn ang="0">
                      <a:pos x="354" y="24"/>
                    </a:cxn>
                    <a:cxn ang="0">
                      <a:pos x="362" y="26"/>
                    </a:cxn>
                    <a:cxn ang="0">
                      <a:pos x="374" y="38"/>
                    </a:cxn>
                    <a:cxn ang="0">
                      <a:pos x="384" y="40"/>
                    </a:cxn>
                    <a:cxn ang="0">
                      <a:pos x="412" y="38"/>
                    </a:cxn>
                    <a:cxn ang="0">
                      <a:pos x="408" y="56"/>
                    </a:cxn>
                    <a:cxn ang="0">
                      <a:pos x="398" y="74"/>
                    </a:cxn>
                    <a:cxn ang="0">
                      <a:pos x="378" y="96"/>
                    </a:cxn>
                    <a:cxn ang="0">
                      <a:pos x="372" y="305"/>
                    </a:cxn>
                    <a:cxn ang="0">
                      <a:pos x="398" y="363"/>
                    </a:cxn>
                    <a:cxn ang="0">
                      <a:pos x="374" y="391"/>
                    </a:cxn>
                    <a:cxn ang="0">
                      <a:pos x="344" y="411"/>
                    </a:cxn>
                    <a:cxn ang="0">
                      <a:pos x="336" y="421"/>
                    </a:cxn>
                    <a:cxn ang="0">
                      <a:pos x="332" y="433"/>
                    </a:cxn>
                    <a:cxn ang="0">
                      <a:pos x="324" y="457"/>
                    </a:cxn>
                    <a:cxn ang="0">
                      <a:pos x="294" y="507"/>
                    </a:cxn>
                    <a:cxn ang="0">
                      <a:pos x="194" y="459"/>
                    </a:cxn>
                    <a:cxn ang="0">
                      <a:pos x="4" y="325"/>
                    </a:cxn>
                  </a:cxnLst>
                  <a:rect l="0" t="0" r="r" b="b"/>
                  <a:pathLst>
                    <a:path w="412" h="523">
                      <a:moveTo>
                        <a:pt x="4" y="325"/>
                      </a:moveTo>
                      <a:lnTo>
                        <a:pt x="0" y="323"/>
                      </a:lnTo>
                      <a:lnTo>
                        <a:pt x="2" y="321"/>
                      </a:lnTo>
                      <a:lnTo>
                        <a:pt x="4" y="317"/>
                      </a:lnTo>
                      <a:lnTo>
                        <a:pt x="6" y="309"/>
                      </a:lnTo>
                      <a:lnTo>
                        <a:pt x="8" y="299"/>
                      </a:lnTo>
                      <a:lnTo>
                        <a:pt x="10" y="295"/>
                      </a:lnTo>
                      <a:lnTo>
                        <a:pt x="14" y="293"/>
                      </a:lnTo>
                      <a:lnTo>
                        <a:pt x="22" y="290"/>
                      </a:lnTo>
                      <a:lnTo>
                        <a:pt x="28" y="290"/>
                      </a:lnTo>
                      <a:lnTo>
                        <a:pt x="36" y="288"/>
                      </a:lnTo>
                      <a:lnTo>
                        <a:pt x="42" y="282"/>
                      </a:lnTo>
                      <a:lnTo>
                        <a:pt x="38" y="280"/>
                      </a:lnTo>
                      <a:lnTo>
                        <a:pt x="34" y="278"/>
                      </a:lnTo>
                      <a:lnTo>
                        <a:pt x="26" y="278"/>
                      </a:lnTo>
                      <a:lnTo>
                        <a:pt x="14" y="280"/>
                      </a:lnTo>
                      <a:lnTo>
                        <a:pt x="8" y="278"/>
                      </a:lnTo>
                      <a:lnTo>
                        <a:pt x="2" y="276"/>
                      </a:lnTo>
                      <a:lnTo>
                        <a:pt x="2" y="268"/>
                      </a:lnTo>
                      <a:lnTo>
                        <a:pt x="4" y="256"/>
                      </a:lnTo>
                      <a:lnTo>
                        <a:pt x="10" y="244"/>
                      </a:lnTo>
                      <a:lnTo>
                        <a:pt x="18" y="232"/>
                      </a:lnTo>
                      <a:lnTo>
                        <a:pt x="34" y="210"/>
                      </a:lnTo>
                      <a:lnTo>
                        <a:pt x="42" y="200"/>
                      </a:lnTo>
                      <a:lnTo>
                        <a:pt x="50" y="188"/>
                      </a:lnTo>
                      <a:lnTo>
                        <a:pt x="54" y="176"/>
                      </a:lnTo>
                      <a:lnTo>
                        <a:pt x="56" y="160"/>
                      </a:lnTo>
                      <a:lnTo>
                        <a:pt x="54" y="142"/>
                      </a:lnTo>
                      <a:lnTo>
                        <a:pt x="50" y="124"/>
                      </a:lnTo>
                      <a:lnTo>
                        <a:pt x="44" y="106"/>
                      </a:lnTo>
                      <a:lnTo>
                        <a:pt x="36" y="90"/>
                      </a:lnTo>
                      <a:lnTo>
                        <a:pt x="18" y="60"/>
                      </a:lnTo>
                      <a:lnTo>
                        <a:pt x="8" y="44"/>
                      </a:lnTo>
                      <a:lnTo>
                        <a:pt x="2" y="30"/>
                      </a:lnTo>
                      <a:lnTo>
                        <a:pt x="18" y="12"/>
                      </a:lnTo>
                      <a:lnTo>
                        <a:pt x="98" y="12"/>
                      </a:lnTo>
                      <a:lnTo>
                        <a:pt x="94" y="0"/>
                      </a:lnTo>
                      <a:lnTo>
                        <a:pt x="96" y="6"/>
                      </a:lnTo>
                      <a:lnTo>
                        <a:pt x="98" y="12"/>
                      </a:lnTo>
                      <a:lnTo>
                        <a:pt x="130" y="24"/>
                      </a:lnTo>
                      <a:lnTo>
                        <a:pt x="156" y="32"/>
                      </a:lnTo>
                      <a:lnTo>
                        <a:pt x="168" y="38"/>
                      </a:lnTo>
                      <a:lnTo>
                        <a:pt x="182" y="44"/>
                      </a:lnTo>
                      <a:lnTo>
                        <a:pt x="194" y="52"/>
                      </a:lnTo>
                      <a:lnTo>
                        <a:pt x="208" y="62"/>
                      </a:lnTo>
                      <a:lnTo>
                        <a:pt x="248" y="62"/>
                      </a:lnTo>
                      <a:lnTo>
                        <a:pt x="256" y="66"/>
                      </a:lnTo>
                      <a:lnTo>
                        <a:pt x="264" y="70"/>
                      </a:lnTo>
                      <a:lnTo>
                        <a:pt x="276" y="72"/>
                      </a:lnTo>
                      <a:lnTo>
                        <a:pt x="286" y="72"/>
                      </a:lnTo>
                      <a:lnTo>
                        <a:pt x="294" y="70"/>
                      </a:lnTo>
                      <a:lnTo>
                        <a:pt x="302" y="64"/>
                      </a:lnTo>
                      <a:lnTo>
                        <a:pt x="310" y="58"/>
                      </a:lnTo>
                      <a:lnTo>
                        <a:pt x="318" y="48"/>
                      </a:lnTo>
                      <a:lnTo>
                        <a:pt x="324" y="40"/>
                      </a:lnTo>
                      <a:lnTo>
                        <a:pt x="334" y="32"/>
                      </a:lnTo>
                      <a:lnTo>
                        <a:pt x="342" y="26"/>
                      </a:lnTo>
                      <a:lnTo>
                        <a:pt x="354" y="24"/>
                      </a:lnTo>
                      <a:lnTo>
                        <a:pt x="358" y="24"/>
                      </a:lnTo>
                      <a:lnTo>
                        <a:pt x="362" y="26"/>
                      </a:lnTo>
                      <a:lnTo>
                        <a:pt x="368" y="32"/>
                      </a:lnTo>
                      <a:lnTo>
                        <a:pt x="374" y="38"/>
                      </a:lnTo>
                      <a:lnTo>
                        <a:pt x="378" y="40"/>
                      </a:lnTo>
                      <a:lnTo>
                        <a:pt x="384" y="40"/>
                      </a:lnTo>
                      <a:lnTo>
                        <a:pt x="398" y="40"/>
                      </a:lnTo>
                      <a:lnTo>
                        <a:pt x="412" y="38"/>
                      </a:lnTo>
                      <a:lnTo>
                        <a:pt x="412" y="46"/>
                      </a:lnTo>
                      <a:lnTo>
                        <a:pt x="408" y="56"/>
                      </a:lnTo>
                      <a:lnTo>
                        <a:pt x="404" y="66"/>
                      </a:lnTo>
                      <a:lnTo>
                        <a:pt x="398" y="74"/>
                      </a:lnTo>
                      <a:lnTo>
                        <a:pt x="386" y="90"/>
                      </a:lnTo>
                      <a:lnTo>
                        <a:pt x="378" y="96"/>
                      </a:lnTo>
                      <a:lnTo>
                        <a:pt x="372" y="100"/>
                      </a:lnTo>
                      <a:lnTo>
                        <a:pt x="372" y="305"/>
                      </a:lnTo>
                      <a:lnTo>
                        <a:pt x="406" y="353"/>
                      </a:lnTo>
                      <a:lnTo>
                        <a:pt x="398" y="363"/>
                      </a:lnTo>
                      <a:lnTo>
                        <a:pt x="386" y="377"/>
                      </a:lnTo>
                      <a:lnTo>
                        <a:pt x="374" y="391"/>
                      </a:lnTo>
                      <a:lnTo>
                        <a:pt x="364" y="399"/>
                      </a:lnTo>
                      <a:lnTo>
                        <a:pt x="344" y="411"/>
                      </a:lnTo>
                      <a:lnTo>
                        <a:pt x="340" y="415"/>
                      </a:lnTo>
                      <a:lnTo>
                        <a:pt x="336" y="421"/>
                      </a:lnTo>
                      <a:lnTo>
                        <a:pt x="334" y="425"/>
                      </a:lnTo>
                      <a:lnTo>
                        <a:pt x="332" y="433"/>
                      </a:lnTo>
                      <a:lnTo>
                        <a:pt x="330" y="445"/>
                      </a:lnTo>
                      <a:lnTo>
                        <a:pt x="324" y="457"/>
                      </a:lnTo>
                      <a:lnTo>
                        <a:pt x="310" y="483"/>
                      </a:lnTo>
                      <a:lnTo>
                        <a:pt x="294" y="507"/>
                      </a:lnTo>
                      <a:lnTo>
                        <a:pt x="278" y="523"/>
                      </a:lnTo>
                      <a:lnTo>
                        <a:pt x="194" y="459"/>
                      </a:lnTo>
                      <a:lnTo>
                        <a:pt x="200" y="435"/>
                      </a:lnTo>
                      <a:lnTo>
                        <a:pt x="4" y="325"/>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3" name="Tanzania">
                  <a:extLst>
                    <a:ext uri="{FF2B5EF4-FFF2-40B4-BE49-F238E27FC236}">
                      <a16:creationId xmlns:a16="http://schemas.microsoft.com/office/drawing/2014/main" id="{5867B4A8-3AEC-4C43-B81D-E11CF6B4CD04}"/>
                    </a:ext>
                  </a:extLst>
                </p:cNvPr>
                <p:cNvSpPr>
                  <a:spLocks/>
                </p:cNvSpPr>
                <p:nvPr/>
              </p:nvSpPr>
              <p:spPr bwMode="gray">
                <a:xfrm>
                  <a:off x="5803900" y="4592638"/>
                  <a:ext cx="654050" cy="673100"/>
                </a:xfrm>
                <a:custGeom>
                  <a:avLst/>
                  <a:gdLst/>
                  <a:ahLst/>
                  <a:cxnLst>
                    <a:cxn ang="0">
                      <a:pos x="240" y="4"/>
                    </a:cxn>
                    <a:cxn ang="0">
                      <a:pos x="200" y="56"/>
                    </a:cxn>
                    <a:cxn ang="0">
                      <a:pos x="222" y="66"/>
                    </a:cxn>
                    <a:cxn ang="0">
                      <a:pos x="204" y="90"/>
                    </a:cxn>
                    <a:cxn ang="0">
                      <a:pos x="186" y="80"/>
                    </a:cxn>
                    <a:cxn ang="0">
                      <a:pos x="172" y="88"/>
                    </a:cxn>
                    <a:cxn ang="0">
                      <a:pos x="144" y="76"/>
                    </a:cxn>
                    <a:cxn ang="0">
                      <a:pos x="120" y="90"/>
                    </a:cxn>
                    <a:cxn ang="0">
                      <a:pos x="124" y="76"/>
                    </a:cxn>
                    <a:cxn ang="0">
                      <a:pos x="116" y="72"/>
                    </a:cxn>
                    <a:cxn ang="0">
                      <a:pos x="120" y="36"/>
                    </a:cxn>
                    <a:cxn ang="0">
                      <a:pos x="122" y="6"/>
                    </a:cxn>
                    <a:cxn ang="0">
                      <a:pos x="44" y="14"/>
                    </a:cxn>
                    <a:cxn ang="0">
                      <a:pos x="62" y="48"/>
                    </a:cxn>
                    <a:cxn ang="0">
                      <a:pos x="68" y="64"/>
                    </a:cxn>
                    <a:cxn ang="0">
                      <a:pos x="56" y="82"/>
                    </a:cxn>
                    <a:cxn ang="0">
                      <a:pos x="50" y="90"/>
                    </a:cxn>
                    <a:cxn ang="0">
                      <a:pos x="58" y="114"/>
                    </a:cxn>
                    <a:cxn ang="0">
                      <a:pos x="64" y="120"/>
                    </a:cxn>
                    <a:cxn ang="0">
                      <a:pos x="52" y="142"/>
                    </a:cxn>
                    <a:cxn ang="0">
                      <a:pos x="32" y="170"/>
                    </a:cxn>
                    <a:cxn ang="0">
                      <a:pos x="6" y="194"/>
                    </a:cxn>
                    <a:cxn ang="0">
                      <a:pos x="10" y="234"/>
                    </a:cxn>
                    <a:cxn ang="0">
                      <a:pos x="12" y="256"/>
                    </a:cxn>
                    <a:cxn ang="0">
                      <a:pos x="12" y="276"/>
                    </a:cxn>
                    <a:cxn ang="0">
                      <a:pos x="12" y="296"/>
                    </a:cxn>
                    <a:cxn ang="0">
                      <a:pos x="40" y="318"/>
                    </a:cxn>
                    <a:cxn ang="0">
                      <a:pos x="62" y="372"/>
                    </a:cxn>
                    <a:cxn ang="0">
                      <a:pos x="84" y="414"/>
                    </a:cxn>
                    <a:cxn ang="0">
                      <a:pos x="102" y="428"/>
                    </a:cxn>
                    <a:cxn ang="0">
                      <a:pos x="168" y="458"/>
                    </a:cxn>
                    <a:cxn ang="0">
                      <a:pos x="214" y="470"/>
                    </a:cxn>
                    <a:cxn ang="0">
                      <a:pos x="242" y="478"/>
                    </a:cxn>
                    <a:cxn ang="0">
                      <a:pos x="262" y="546"/>
                    </a:cxn>
                    <a:cxn ang="0">
                      <a:pos x="272" y="574"/>
                    </a:cxn>
                    <a:cxn ang="0">
                      <a:pos x="326" y="562"/>
                    </a:cxn>
                    <a:cxn ang="0">
                      <a:pos x="380" y="576"/>
                    </a:cxn>
                    <a:cxn ang="0">
                      <a:pos x="428" y="558"/>
                    </a:cxn>
                    <a:cxn ang="0">
                      <a:pos x="474" y="552"/>
                    </a:cxn>
                    <a:cxn ang="0">
                      <a:pos x="532" y="530"/>
                    </a:cxn>
                    <a:cxn ang="0">
                      <a:pos x="552" y="502"/>
                    </a:cxn>
                    <a:cxn ang="0">
                      <a:pos x="532" y="470"/>
                    </a:cxn>
                    <a:cxn ang="0">
                      <a:pos x="518" y="422"/>
                    </a:cxn>
                    <a:cxn ang="0">
                      <a:pos x="522" y="390"/>
                    </a:cxn>
                    <a:cxn ang="0">
                      <a:pos x="518" y="366"/>
                    </a:cxn>
                    <a:cxn ang="0">
                      <a:pos x="524" y="346"/>
                    </a:cxn>
                    <a:cxn ang="0">
                      <a:pos x="530" y="328"/>
                    </a:cxn>
                    <a:cxn ang="0">
                      <a:pos x="508" y="306"/>
                    </a:cxn>
                    <a:cxn ang="0">
                      <a:pos x="492" y="278"/>
                    </a:cxn>
                    <a:cxn ang="0">
                      <a:pos x="510" y="222"/>
                    </a:cxn>
                  </a:cxnLst>
                  <a:rect l="0" t="0" r="r" b="b"/>
                  <a:pathLst>
                    <a:path w="560" h="576">
                      <a:moveTo>
                        <a:pt x="514" y="202"/>
                      </a:moveTo>
                      <a:lnTo>
                        <a:pt x="430" y="138"/>
                      </a:lnTo>
                      <a:lnTo>
                        <a:pt x="436" y="114"/>
                      </a:lnTo>
                      <a:lnTo>
                        <a:pt x="240" y="4"/>
                      </a:lnTo>
                      <a:lnTo>
                        <a:pt x="238" y="0"/>
                      </a:lnTo>
                      <a:lnTo>
                        <a:pt x="212" y="46"/>
                      </a:lnTo>
                      <a:lnTo>
                        <a:pt x="206" y="52"/>
                      </a:lnTo>
                      <a:lnTo>
                        <a:pt x="200" y="56"/>
                      </a:lnTo>
                      <a:lnTo>
                        <a:pt x="194" y="60"/>
                      </a:lnTo>
                      <a:lnTo>
                        <a:pt x="192" y="62"/>
                      </a:lnTo>
                      <a:lnTo>
                        <a:pt x="190" y="66"/>
                      </a:lnTo>
                      <a:lnTo>
                        <a:pt x="222" y="66"/>
                      </a:lnTo>
                      <a:lnTo>
                        <a:pt x="218" y="74"/>
                      </a:lnTo>
                      <a:lnTo>
                        <a:pt x="214" y="80"/>
                      </a:lnTo>
                      <a:lnTo>
                        <a:pt x="208" y="84"/>
                      </a:lnTo>
                      <a:lnTo>
                        <a:pt x="204" y="90"/>
                      </a:lnTo>
                      <a:lnTo>
                        <a:pt x="200" y="88"/>
                      </a:lnTo>
                      <a:lnTo>
                        <a:pt x="198" y="84"/>
                      </a:lnTo>
                      <a:lnTo>
                        <a:pt x="192" y="82"/>
                      </a:lnTo>
                      <a:lnTo>
                        <a:pt x="186" y="80"/>
                      </a:lnTo>
                      <a:lnTo>
                        <a:pt x="180" y="82"/>
                      </a:lnTo>
                      <a:lnTo>
                        <a:pt x="178" y="84"/>
                      </a:lnTo>
                      <a:lnTo>
                        <a:pt x="176" y="88"/>
                      </a:lnTo>
                      <a:lnTo>
                        <a:pt x="172" y="88"/>
                      </a:lnTo>
                      <a:lnTo>
                        <a:pt x="166" y="86"/>
                      </a:lnTo>
                      <a:lnTo>
                        <a:pt x="160" y="82"/>
                      </a:lnTo>
                      <a:lnTo>
                        <a:pt x="152" y="78"/>
                      </a:lnTo>
                      <a:lnTo>
                        <a:pt x="144" y="76"/>
                      </a:lnTo>
                      <a:lnTo>
                        <a:pt x="138" y="78"/>
                      </a:lnTo>
                      <a:lnTo>
                        <a:pt x="132" y="82"/>
                      </a:lnTo>
                      <a:lnTo>
                        <a:pt x="124" y="94"/>
                      </a:lnTo>
                      <a:lnTo>
                        <a:pt x="120" y="90"/>
                      </a:lnTo>
                      <a:lnTo>
                        <a:pt x="122" y="86"/>
                      </a:lnTo>
                      <a:lnTo>
                        <a:pt x="122" y="84"/>
                      </a:lnTo>
                      <a:lnTo>
                        <a:pt x="124" y="80"/>
                      </a:lnTo>
                      <a:lnTo>
                        <a:pt x="124" y="76"/>
                      </a:lnTo>
                      <a:lnTo>
                        <a:pt x="124" y="74"/>
                      </a:lnTo>
                      <a:lnTo>
                        <a:pt x="122" y="72"/>
                      </a:lnTo>
                      <a:lnTo>
                        <a:pt x="120" y="72"/>
                      </a:lnTo>
                      <a:lnTo>
                        <a:pt x="116" y="72"/>
                      </a:lnTo>
                      <a:lnTo>
                        <a:pt x="116" y="64"/>
                      </a:lnTo>
                      <a:lnTo>
                        <a:pt x="114" y="54"/>
                      </a:lnTo>
                      <a:lnTo>
                        <a:pt x="116" y="44"/>
                      </a:lnTo>
                      <a:lnTo>
                        <a:pt x="120" y="36"/>
                      </a:lnTo>
                      <a:lnTo>
                        <a:pt x="124" y="26"/>
                      </a:lnTo>
                      <a:lnTo>
                        <a:pt x="126" y="16"/>
                      </a:lnTo>
                      <a:lnTo>
                        <a:pt x="124" y="10"/>
                      </a:lnTo>
                      <a:lnTo>
                        <a:pt x="122" y="6"/>
                      </a:lnTo>
                      <a:lnTo>
                        <a:pt x="50" y="6"/>
                      </a:lnTo>
                      <a:lnTo>
                        <a:pt x="46" y="10"/>
                      </a:lnTo>
                      <a:lnTo>
                        <a:pt x="46" y="14"/>
                      </a:lnTo>
                      <a:lnTo>
                        <a:pt x="44" y="14"/>
                      </a:lnTo>
                      <a:lnTo>
                        <a:pt x="50" y="22"/>
                      </a:lnTo>
                      <a:lnTo>
                        <a:pt x="56" y="30"/>
                      </a:lnTo>
                      <a:lnTo>
                        <a:pt x="60" y="38"/>
                      </a:lnTo>
                      <a:lnTo>
                        <a:pt x="62" y="48"/>
                      </a:lnTo>
                      <a:lnTo>
                        <a:pt x="62" y="52"/>
                      </a:lnTo>
                      <a:lnTo>
                        <a:pt x="66" y="56"/>
                      </a:lnTo>
                      <a:lnTo>
                        <a:pt x="68" y="60"/>
                      </a:lnTo>
                      <a:lnTo>
                        <a:pt x="68" y="64"/>
                      </a:lnTo>
                      <a:lnTo>
                        <a:pt x="68" y="72"/>
                      </a:lnTo>
                      <a:lnTo>
                        <a:pt x="66" y="78"/>
                      </a:lnTo>
                      <a:lnTo>
                        <a:pt x="62" y="82"/>
                      </a:lnTo>
                      <a:lnTo>
                        <a:pt x="56" y="82"/>
                      </a:lnTo>
                      <a:lnTo>
                        <a:pt x="42" y="82"/>
                      </a:lnTo>
                      <a:lnTo>
                        <a:pt x="44" y="82"/>
                      </a:lnTo>
                      <a:lnTo>
                        <a:pt x="48" y="86"/>
                      </a:lnTo>
                      <a:lnTo>
                        <a:pt x="50" y="90"/>
                      </a:lnTo>
                      <a:lnTo>
                        <a:pt x="50" y="102"/>
                      </a:lnTo>
                      <a:lnTo>
                        <a:pt x="50" y="106"/>
                      </a:lnTo>
                      <a:lnTo>
                        <a:pt x="54" y="112"/>
                      </a:lnTo>
                      <a:lnTo>
                        <a:pt x="58" y="114"/>
                      </a:lnTo>
                      <a:lnTo>
                        <a:pt x="64" y="116"/>
                      </a:lnTo>
                      <a:lnTo>
                        <a:pt x="64" y="120"/>
                      </a:lnTo>
                      <a:lnTo>
                        <a:pt x="62" y="116"/>
                      </a:lnTo>
                      <a:lnTo>
                        <a:pt x="64" y="120"/>
                      </a:lnTo>
                      <a:lnTo>
                        <a:pt x="66" y="122"/>
                      </a:lnTo>
                      <a:lnTo>
                        <a:pt x="64" y="128"/>
                      </a:lnTo>
                      <a:lnTo>
                        <a:pt x="62" y="132"/>
                      </a:lnTo>
                      <a:lnTo>
                        <a:pt x="52" y="142"/>
                      </a:lnTo>
                      <a:lnTo>
                        <a:pt x="42" y="150"/>
                      </a:lnTo>
                      <a:lnTo>
                        <a:pt x="38" y="156"/>
                      </a:lnTo>
                      <a:lnTo>
                        <a:pt x="36" y="160"/>
                      </a:lnTo>
                      <a:lnTo>
                        <a:pt x="32" y="170"/>
                      </a:lnTo>
                      <a:lnTo>
                        <a:pt x="26" y="182"/>
                      </a:lnTo>
                      <a:lnTo>
                        <a:pt x="16" y="190"/>
                      </a:lnTo>
                      <a:lnTo>
                        <a:pt x="12" y="194"/>
                      </a:lnTo>
                      <a:lnTo>
                        <a:pt x="6" y="194"/>
                      </a:lnTo>
                      <a:lnTo>
                        <a:pt x="0" y="194"/>
                      </a:lnTo>
                      <a:lnTo>
                        <a:pt x="4" y="210"/>
                      </a:lnTo>
                      <a:lnTo>
                        <a:pt x="8" y="226"/>
                      </a:lnTo>
                      <a:lnTo>
                        <a:pt x="10" y="234"/>
                      </a:lnTo>
                      <a:lnTo>
                        <a:pt x="10" y="240"/>
                      </a:lnTo>
                      <a:lnTo>
                        <a:pt x="10" y="250"/>
                      </a:lnTo>
                      <a:lnTo>
                        <a:pt x="10" y="252"/>
                      </a:lnTo>
                      <a:lnTo>
                        <a:pt x="12" y="256"/>
                      </a:lnTo>
                      <a:lnTo>
                        <a:pt x="14" y="260"/>
                      </a:lnTo>
                      <a:lnTo>
                        <a:pt x="18" y="262"/>
                      </a:lnTo>
                      <a:lnTo>
                        <a:pt x="16" y="270"/>
                      </a:lnTo>
                      <a:lnTo>
                        <a:pt x="12" y="276"/>
                      </a:lnTo>
                      <a:lnTo>
                        <a:pt x="10" y="282"/>
                      </a:lnTo>
                      <a:lnTo>
                        <a:pt x="8" y="288"/>
                      </a:lnTo>
                      <a:lnTo>
                        <a:pt x="8" y="292"/>
                      </a:lnTo>
                      <a:lnTo>
                        <a:pt x="12" y="296"/>
                      </a:lnTo>
                      <a:lnTo>
                        <a:pt x="18" y="300"/>
                      </a:lnTo>
                      <a:lnTo>
                        <a:pt x="28" y="304"/>
                      </a:lnTo>
                      <a:lnTo>
                        <a:pt x="32" y="308"/>
                      </a:lnTo>
                      <a:lnTo>
                        <a:pt x="40" y="318"/>
                      </a:lnTo>
                      <a:lnTo>
                        <a:pt x="46" y="328"/>
                      </a:lnTo>
                      <a:lnTo>
                        <a:pt x="48" y="338"/>
                      </a:lnTo>
                      <a:lnTo>
                        <a:pt x="52" y="350"/>
                      </a:lnTo>
                      <a:lnTo>
                        <a:pt x="62" y="372"/>
                      </a:lnTo>
                      <a:lnTo>
                        <a:pt x="70" y="394"/>
                      </a:lnTo>
                      <a:lnTo>
                        <a:pt x="76" y="402"/>
                      </a:lnTo>
                      <a:lnTo>
                        <a:pt x="80" y="408"/>
                      </a:lnTo>
                      <a:lnTo>
                        <a:pt x="84" y="414"/>
                      </a:lnTo>
                      <a:lnTo>
                        <a:pt x="86" y="422"/>
                      </a:lnTo>
                      <a:lnTo>
                        <a:pt x="94" y="422"/>
                      </a:lnTo>
                      <a:lnTo>
                        <a:pt x="96" y="422"/>
                      </a:lnTo>
                      <a:lnTo>
                        <a:pt x="102" y="428"/>
                      </a:lnTo>
                      <a:lnTo>
                        <a:pt x="110" y="434"/>
                      </a:lnTo>
                      <a:lnTo>
                        <a:pt x="130" y="442"/>
                      </a:lnTo>
                      <a:lnTo>
                        <a:pt x="148" y="448"/>
                      </a:lnTo>
                      <a:lnTo>
                        <a:pt x="168" y="458"/>
                      </a:lnTo>
                      <a:lnTo>
                        <a:pt x="186" y="466"/>
                      </a:lnTo>
                      <a:lnTo>
                        <a:pt x="194" y="468"/>
                      </a:lnTo>
                      <a:lnTo>
                        <a:pt x="204" y="470"/>
                      </a:lnTo>
                      <a:lnTo>
                        <a:pt x="214" y="470"/>
                      </a:lnTo>
                      <a:lnTo>
                        <a:pt x="226" y="468"/>
                      </a:lnTo>
                      <a:lnTo>
                        <a:pt x="228" y="468"/>
                      </a:lnTo>
                      <a:lnTo>
                        <a:pt x="230" y="468"/>
                      </a:lnTo>
                      <a:lnTo>
                        <a:pt x="242" y="478"/>
                      </a:lnTo>
                      <a:lnTo>
                        <a:pt x="248" y="486"/>
                      </a:lnTo>
                      <a:lnTo>
                        <a:pt x="258" y="510"/>
                      </a:lnTo>
                      <a:lnTo>
                        <a:pt x="258" y="536"/>
                      </a:lnTo>
                      <a:lnTo>
                        <a:pt x="262" y="546"/>
                      </a:lnTo>
                      <a:lnTo>
                        <a:pt x="262" y="556"/>
                      </a:lnTo>
                      <a:lnTo>
                        <a:pt x="262" y="562"/>
                      </a:lnTo>
                      <a:lnTo>
                        <a:pt x="266" y="566"/>
                      </a:lnTo>
                      <a:lnTo>
                        <a:pt x="272" y="574"/>
                      </a:lnTo>
                      <a:lnTo>
                        <a:pt x="298" y="566"/>
                      </a:lnTo>
                      <a:lnTo>
                        <a:pt x="310" y="562"/>
                      </a:lnTo>
                      <a:lnTo>
                        <a:pt x="320" y="560"/>
                      </a:lnTo>
                      <a:lnTo>
                        <a:pt x="326" y="562"/>
                      </a:lnTo>
                      <a:lnTo>
                        <a:pt x="332" y="564"/>
                      </a:lnTo>
                      <a:lnTo>
                        <a:pt x="342" y="570"/>
                      </a:lnTo>
                      <a:lnTo>
                        <a:pt x="360" y="574"/>
                      </a:lnTo>
                      <a:lnTo>
                        <a:pt x="380" y="576"/>
                      </a:lnTo>
                      <a:lnTo>
                        <a:pt x="392" y="574"/>
                      </a:lnTo>
                      <a:lnTo>
                        <a:pt x="400" y="572"/>
                      </a:lnTo>
                      <a:lnTo>
                        <a:pt x="414" y="564"/>
                      </a:lnTo>
                      <a:lnTo>
                        <a:pt x="428" y="558"/>
                      </a:lnTo>
                      <a:lnTo>
                        <a:pt x="434" y="554"/>
                      </a:lnTo>
                      <a:lnTo>
                        <a:pt x="442" y="554"/>
                      </a:lnTo>
                      <a:lnTo>
                        <a:pt x="462" y="554"/>
                      </a:lnTo>
                      <a:lnTo>
                        <a:pt x="474" y="552"/>
                      </a:lnTo>
                      <a:lnTo>
                        <a:pt x="488" y="550"/>
                      </a:lnTo>
                      <a:lnTo>
                        <a:pt x="504" y="544"/>
                      </a:lnTo>
                      <a:lnTo>
                        <a:pt x="518" y="538"/>
                      </a:lnTo>
                      <a:lnTo>
                        <a:pt x="532" y="530"/>
                      </a:lnTo>
                      <a:lnTo>
                        <a:pt x="544" y="522"/>
                      </a:lnTo>
                      <a:lnTo>
                        <a:pt x="554" y="514"/>
                      </a:lnTo>
                      <a:lnTo>
                        <a:pt x="560" y="504"/>
                      </a:lnTo>
                      <a:lnTo>
                        <a:pt x="552" y="502"/>
                      </a:lnTo>
                      <a:lnTo>
                        <a:pt x="546" y="498"/>
                      </a:lnTo>
                      <a:lnTo>
                        <a:pt x="540" y="494"/>
                      </a:lnTo>
                      <a:lnTo>
                        <a:pt x="536" y="486"/>
                      </a:lnTo>
                      <a:lnTo>
                        <a:pt x="532" y="470"/>
                      </a:lnTo>
                      <a:lnTo>
                        <a:pt x="530" y="454"/>
                      </a:lnTo>
                      <a:lnTo>
                        <a:pt x="528" y="444"/>
                      </a:lnTo>
                      <a:lnTo>
                        <a:pt x="524" y="432"/>
                      </a:lnTo>
                      <a:lnTo>
                        <a:pt x="518" y="422"/>
                      </a:lnTo>
                      <a:lnTo>
                        <a:pt x="516" y="410"/>
                      </a:lnTo>
                      <a:lnTo>
                        <a:pt x="518" y="404"/>
                      </a:lnTo>
                      <a:lnTo>
                        <a:pt x="520" y="396"/>
                      </a:lnTo>
                      <a:lnTo>
                        <a:pt x="522" y="390"/>
                      </a:lnTo>
                      <a:lnTo>
                        <a:pt x="522" y="382"/>
                      </a:lnTo>
                      <a:lnTo>
                        <a:pt x="522" y="376"/>
                      </a:lnTo>
                      <a:lnTo>
                        <a:pt x="520" y="370"/>
                      </a:lnTo>
                      <a:lnTo>
                        <a:pt x="518" y="366"/>
                      </a:lnTo>
                      <a:lnTo>
                        <a:pt x="516" y="360"/>
                      </a:lnTo>
                      <a:lnTo>
                        <a:pt x="516" y="354"/>
                      </a:lnTo>
                      <a:lnTo>
                        <a:pt x="518" y="352"/>
                      </a:lnTo>
                      <a:lnTo>
                        <a:pt x="524" y="346"/>
                      </a:lnTo>
                      <a:lnTo>
                        <a:pt x="528" y="340"/>
                      </a:lnTo>
                      <a:lnTo>
                        <a:pt x="530" y="338"/>
                      </a:lnTo>
                      <a:lnTo>
                        <a:pt x="530" y="334"/>
                      </a:lnTo>
                      <a:lnTo>
                        <a:pt x="530" y="328"/>
                      </a:lnTo>
                      <a:lnTo>
                        <a:pt x="530" y="324"/>
                      </a:lnTo>
                      <a:lnTo>
                        <a:pt x="526" y="318"/>
                      </a:lnTo>
                      <a:lnTo>
                        <a:pt x="520" y="314"/>
                      </a:lnTo>
                      <a:lnTo>
                        <a:pt x="508" y="306"/>
                      </a:lnTo>
                      <a:lnTo>
                        <a:pt x="502" y="300"/>
                      </a:lnTo>
                      <a:lnTo>
                        <a:pt x="498" y="294"/>
                      </a:lnTo>
                      <a:lnTo>
                        <a:pt x="494" y="288"/>
                      </a:lnTo>
                      <a:lnTo>
                        <a:pt x="492" y="278"/>
                      </a:lnTo>
                      <a:lnTo>
                        <a:pt x="494" y="268"/>
                      </a:lnTo>
                      <a:lnTo>
                        <a:pt x="496" y="258"/>
                      </a:lnTo>
                      <a:lnTo>
                        <a:pt x="504" y="240"/>
                      </a:lnTo>
                      <a:lnTo>
                        <a:pt x="510" y="222"/>
                      </a:lnTo>
                      <a:lnTo>
                        <a:pt x="512" y="214"/>
                      </a:lnTo>
                      <a:lnTo>
                        <a:pt x="512" y="202"/>
                      </a:lnTo>
                    </a:path>
                  </a:pathLst>
                </a:custGeom>
                <a:grp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4" name="Madagascar">
                  <a:extLst>
                    <a:ext uri="{FF2B5EF4-FFF2-40B4-BE49-F238E27FC236}">
                      <a16:creationId xmlns:a16="http://schemas.microsoft.com/office/drawing/2014/main" id="{53BE4E0C-A30E-4BCE-84B2-AEAA447E2EAE}"/>
                    </a:ext>
                  </a:extLst>
                </p:cNvPr>
                <p:cNvSpPr>
                  <a:spLocks/>
                </p:cNvSpPr>
                <p:nvPr/>
              </p:nvSpPr>
              <p:spPr bwMode="gray">
                <a:xfrm>
                  <a:off x="6570663" y="5295900"/>
                  <a:ext cx="479425" cy="866775"/>
                </a:xfrm>
                <a:custGeom>
                  <a:avLst/>
                  <a:gdLst/>
                  <a:ahLst/>
                  <a:cxnLst>
                    <a:cxn ang="0">
                      <a:pos x="2" y="540"/>
                    </a:cxn>
                    <a:cxn ang="0">
                      <a:pos x="10" y="522"/>
                    </a:cxn>
                    <a:cxn ang="0">
                      <a:pos x="28" y="498"/>
                    </a:cxn>
                    <a:cxn ang="0">
                      <a:pos x="56" y="470"/>
                    </a:cxn>
                    <a:cxn ang="0">
                      <a:pos x="74" y="444"/>
                    </a:cxn>
                    <a:cxn ang="0">
                      <a:pos x="80" y="422"/>
                    </a:cxn>
                    <a:cxn ang="0">
                      <a:pos x="78" y="388"/>
                    </a:cxn>
                    <a:cxn ang="0">
                      <a:pos x="72" y="342"/>
                    </a:cxn>
                    <a:cxn ang="0">
                      <a:pos x="72" y="306"/>
                    </a:cxn>
                    <a:cxn ang="0">
                      <a:pos x="88" y="278"/>
                    </a:cxn>
                    <a:cxn ang="0">
                      <a:pos x="96" y="258"/>
                    </a:cxn>
                    <a:cxn ang="0">
                      <a:pos x="106" y="240"/>
                    </a:cxn>
                    <a:cxn ang="0">
                      <a:pos x="124" y="228"/>
                    </a:cxn>
                    <a:cxn ang="0">
                      <a:pos x="164" y="216"/>
                    </a:cxn>
                    <a:cxn ang="0">
                      <a:pos x="200" y="200"/>
                    </a:cxn>
                    <a:cxn ang="0">
                      <a:pos x="226" y="180"/>
                    </a:cxn>
                    <a:cxn ang="0">
                      <a:pos x="260" y="158"/>
                    </a:cxn>
                    <a:cxn ang="0">
                      <a:pos x="276" y="144"/>
                    </a:cxn>
                    <a:cxn ang="0">
                      <a:pos x="292" y="108"/>
                    </a:cxn>
                    <a:cxn ang="0">
                      <a:pos x="312" y="90"/>
                    </a:cxn>
                    <a:cxn ang="0">
                      <a:pos x="332" y="78"/>
                    </a:cxn>
                    <a:cxn ang="0">
                      <a:pos x="340" y="68"/>
                    </a:cxn>
                    <a:cxn ang="0">
                      <a:pos x="344" y="48"/>
                    </a:cxn>
                    <a:cxn ang="0">
                      <a:pos x="346" y="24"/>
                    </a:cxn>
                    <a:cxn ang="0">
                      <a:pos x="370" y="0"/>
                    </a:cxn>
                    <a:cxn ang="0">
                      <a:pos x="398" y="90"/>
                    </a:cxn>
                    <a:cxn ang="0">
                      <a:pos x="406" y="140"/>
                    </a:cxn>
                    <a:cxn ang="0">
                      <a:pos x="410" y="190"/>
                    </a:cxn>
                    <a:cxn ang="0">
                      <a:pos x="404" y="208"/>
                    </a:cxn>
                    <a:cxn ang="0">
                      <a:pos x="394" y="218"/>
                    </a:cxn>
                    <a:cxn ang="0">
                      <a:pos x="388" y="210"/>
                    </a:cxn>
                    <a:cxn ang="0">
                      <a:pos x="378" y="196"/>
                    </a:cxn>
                    <a:cxn ang="0">
                      <a:pos x="372" y="208"/>
                    </a:cxn>
                    <a:cxn ang="0">
                      <a:pos x="374" y="238"/>
                    </a:cxn>
                    <a:cxn ang="0">
                      <a:pos x="370" y="262"/>
                    </a:cxn>
                    <a:cxn ang="0">
                      <a:pos x="358" y="278"/>
                    </a:cxn>
                    <a:cxn ang="0">
                      <a:pos x="346" y="302"/>
                    </a:cxn>
                    <a:cxn ang="0">
                      <a:pos x="340" y="338"/>
                    </a:cxn>
                    <a:cxn ang="0">
                      <a:pos x="330" y="376"/>
                    </a:cxn>
                    <a:cxn ang="0">
                      <a:pos x="302" y="430"/>
                    </a:cxn>
                    <a:cxn ang="0">
                      <a:pos x="272" y="484"/>
                    </a:cxn>
                    <a:cxn ang="0">
                      <a:pos x="256" y="530"/>
                    </a:cxn>
                    <a:cxn ang="0">
                      <a:pos x="232" y="574"/>
                    </a:cxn>
                    <a:cxn ang="0">
                      <a:pos x="210" y="632"/>
                    </a:cxn>
                    <a:cxn ang="0">
                      <a:pos x="190" y="680"/>
                    </a:cxn>
                    <a:cxn ang="0">
                      <a:pos x="170" y="706"/>
                    </a:cxn>
                    <a:cxn ang="0">
                      <a:pos x="150" y="720"/>
                    </a:cxn>
                    <a:cxn ang="0">
                      <a:pos x="126" y="722"/>
                    </a:cxn>
                    <a:cxn ang="0">
                      <a:pos x="104" y="734"/>
                    </a:cxn>
                    <a:cxn ang="0">
                      <a:pos x="86" y="740"/>
                    </a:cxn>
                    <a:cxn ang="0">
                      <a:pos x="66" y="738"/>
                    </a:cxn>
                    <a:cxn ang="0">
                      <a:pos x="40" y="724"/>
                    </a:cxn>
                    <a:cxn ang="0">
                      <a:pos x="18" y="700"/>
                    </a:cxn>
                    <a:cxn ang="0">
                      <a:pos x="6" y="672"/>
                    </a:cxn>
                    <a:cxn ang="0">
                      <a:pos x="6" y="650"/>
                    </a:cxn>
                    <a:cxn ang="0">
                      <a:pos x="16" y="634"/>
                    </a:cxn>
                    <a:cxn ang="0">
                      <a:pos x="16" y="618"/>
                    </a:cxn>
                    <a:cxn ang="0">
                      <a:pos x="8" y="598"/>
                    </a:cxn>
                    <a:cxn ang="0">
                      <a:pos x="0" y="578"/>
                    </a:cxn>
                    <a:cxn ang="0">
                      <a:pos x="0" y="550"/>
                    </a:cxn>
                  </a:cxnLst>
                  <a:rect l="0" t="0" r="r" b="b"/>
                  <a:pathLst>
                    <a:path w="410" h="740">
                      <a:moveTo>
                        <a:pt x="0" y="550"/>
                      </a:moveTo>
                      <a:lnTo>
                        <a:pt x="2" y="540"/>
                      </a:lnTo>
                      <a:lnTo>
                        <a:pt x="4" y="530"/>
                      </a:lnTo>
                      <a:lnTo>
                        <a:pt x="10" y="522"/>
                      </a:lnTo>
                      <a:lnTo>
                        <a:pt x="14" y="512"/>
                      </a:lnTo>
                      <a:lnTo>
                        <a:pt x="28" y="498"/>
                      </a:lnTo>
                      <a:lnTo>
                        <a:pt x="42" y="484"/>
                      </a:lnTo>
                      <a:lnTo>
                        <a:pt x="56" y="470"/>
                      </a:lnTo>
                      <a:lnTo>
                        <a:pt x="68" y="452"/>
                      </a:lnTo>
                      <a:lnTo>
                        <a:pt x="74" y="444"/>
                      </a:lnTo>
                      <a:lnTo>
                        <a:pt x="76" y="434"/>
                      </a:lnTo>
                      <a:lnTo>
                        <a:pt x="80" y="422"/>
                      </a:lnTo>
                      <a:lnTo>
                        <a:pt x="80" y="410"/>
                      </a:lnTo>
                      <a:lnTo>
                        <a:pt x="78" y="388"/>
                      </a:lnTo>
                      <a:lnTo>
                        <a:pt x="74" y="364"/>
                      </a:lnTo>
                      <a:lnTo>
                        <a:pt x="72" y="342"/>
                      </a:lnTo>
                      <a:lnTo>
                        <a:pt x="70" y="318"/>
                      </a:lnTo>
                      <a:lnTo>
                        <a:pt x="72" y="306"/>
                      </a:lnTo>
                      <a:lnTo>
                        <a:pt x="76" y="294"/>
                      </a:lnTo>
                      <a:lnTo>
                        <a:pt x="88" y="278"/>
                      </a:lnTo>
                      <a:lnTo>
                        <a:pt x="92" y="268"/>
                      </a:lnTo>
                      <a:lnTo>
                        <a:pt x="96" y="258"/>
                      </a:lnTo>
                      <a:lnTo>
                        <a:pt x="100" y="248"/>
                      </a:lnTo>
                      <a:lnTo>
                        <a:pt x="106" y="240"/>
                      </a:lnTo>
                      <a:lnTo>
                        <a:pt x="116" y="234"/>
                      </a:lnTo>
                      <a:lnTo>
                        <a:pt x="124" y="228"/>
                      </a:lnTo>
                      <a:lnTo>
                        <a:pt x="144" y="220"/>
                      </a:lnTo>
                      <a:lnTo>
                        <a:pt x="164" y="216"/>
                      </a:lnTo>
                      <a:lnTo>
                        <a:pt x="184" y="208"/>
                      </a:lnTo>
                      <a:lnTo>
                        <a:pt x="200" y="200"/>
                      </a:lnTo>
                      <a:lnTo>
                        <a:pt x="214" y="190"/>
                      </a:lnTo>
                      <a:lnTo>
                        <a:pt x="226" y="180"/>
                      </a:lnTo>
                      <a:lnTo>
                        <a:pt x="240" y="168"/>
                      </a:lnTo>
                      <a:lnTo>
                        <a:pt x="260" y="158"/>
                      </a:lnTo>
                      <a:lnTo>
                        <a:pt x="270" y="152"/>
                      </a:lnTo>
                      <a:lnTo>
                        <a:pt x="276" y="144"/>
                      </a:lnTo>
                      <a:lnTo>
                        <a:pt x="288" y="118"/>
                      </a:lnTo>
                      <a:lnTo>
                        <a:pt x="292" y="108"/>
                      </a:lnTo>
                      <a:lnTo>
                        <a:pt x="302" y="98"/>
                      </a:lnTo>
                      <a:lnTo>
                        <a:pt x="312" y="90"/>
                      </a:lnTo>
                      <a:lnTo>
                        <a:pt x="322" y="84"/>
                      </a:lnTo>
                      <a:lnTo>
                        <a:pt x="332" y="78"/>
                      </a:lnTo>
                      <a:lnTo>
                        <a:pt x="336" y="74"/>
                      </a:lnTo>
                      <a:lnTo>
                        <a:pt x="340" y="68"/>
                      </a:lnTo>
                      <a:lnTo>
                        <a:pt x="344" y="58"/>
                      </a:lnTo>
                      <a:lnTo>
                        <a:pt x="344" y="48"/>
                      </a:lnTo>
                      <a:lnTo>
                        <a:pt x="342" y="28"/>
                      </a:lnTo>
                      <a:lnTo>
                        <a:pt x="346" y="24"/>
                      </a:lnTo>
                      <a:lnTo>
                        <a:pt x="354" y="14"/>
                      </a:lnTo>
                      <a:lnTo>
                        <a:pt x="370" y="0"/>
                      </a:lnTo>
                      <a:lnTo>
                        <a:pt x="384" y="42"/>
                      </a:lnTo>
                      <a:lnTo>
                        <a:pt x="398" y="90"/>
                      </a:lnTo>
                      <a:lnTo>
                        <a:pt x="402" y="114"/>
                      </a:lnTo>
                      <a:lnTo>
                        <a:pt x="406" y="140"/>
                      </a:lnTo>
                      <a:lnTo>
                        <a:pt x="408" y="166"/>
                      </a:lnTo>
                      <a:lnTo>
                        <a:pt x="410" y="190"/>
                      </a:lnTo>
                      <a:lnTo>
                        <a:pt x="408" y="200"/>
                      </a:lnTo>
                      <a:lnTo>
                        <a:pt x="404" y="208"/>
                      </a:lnTo>
                      <a:lnTo>
                        <a:pt x="398" y="216"/>
                      </a:lnTo>
                      <a:lnTo>
                        <a:pt x="394" y="218"/>
                      </a:lnTo>
                      <a:lnTo>
                        <a:pt x="390" y="218"/>
                      </a:lnTo>
                      <a:lnTo>
                        <a:pt x="388" y="210"/>
                      </a:lnTo>
                      <a:lnTo>
                        <a:pt x="384" y="204"/>
                      </a:lnTo>
                      <a:lnTo>
                        <a:pt x="378" y="196"/>
                      </a:lnTo>
                      <a:lnTo>
                        <a:pt x="374" y="202"/>
                      </a:lnTo>
                      <a:lnTo>
                        <a:pt x="372" y="208"/>
                      </a:lnTo>
                      <a:lnTo>
                        <a:pt x="372" y="222"/>
                      </a:lnTo>
                      <a:lnTo>
                        <a:pt x="374" y="238"/>
                      </a:lnTo>
                      <a:lnTo>
                        <a:pt x="374" y="252"/>
                      </a:lnTo>
                      <a:lnTo>
                        <a:pt x="370" y="262"/>
                      </a:lnTo>
                      <a:lnTo>
                        <a:pt x="364" y="270"/>
                      </a:lnTo>
                      <a:lnTo>
                        <a:pt x="358" y="278"/>
                      </a:lnTo>
                      <a:lnTo>
                        <a:pt x="354" y="284"/>
                      </a:lnTo>
                      <a:lnTo>
                        <a:pt x="346" y="302"/>
                      </a:lnTo>
                      <a:lnTo>
                        <a:pt x="344" y="320"/>
                      </a:lnTo>
                      <a:lnTo>
                        <a:pt x="340" y="338"/>
                      </a:lnTo>
                      <a:lnTo>
                        <a:pt x="336" y="356"/>
                      </a:lnTo>
                      <a:lnTo>
                        <a:pt x="330" y="376"/>
                      </a:lnTo>
                      <a:lnTo>
                        <a:pt x="322" y="394"/>
                      </a:lnTo>
                      <a:lnTo>
                        <a:pt x="302" y="430"/>
                      </a:lnTo>
                      <a:lnTo>
                        <a:pt x="282" y="464"/>
                      </a:lnTo>
                      <a:lnTo>
                        <a:pt x="272" y="484"/>
                      </a:lnTo>
                      <a:lnTo>
                        <a:pt x="266" y="502"/>
                      </a:lnTo>
                      <a:lnTo>
                        <a:pt x="256" y="530"/>
                      </a:lnTo>
                      <a:lnTo>
                        <a:pt x="244" y="552"/>
                      </a:lnTo>
                      <a:lnTo>
                        <a:pt x="232" y="574"/>
                      </a:lnTo>
                      <a:lnTo>
                        <a:pt x="222" y="598"/>
                      </a:lnTo>
                      <a:lnTo>
                        <a:pt x="210" y="632"/>
                      </a:lnTo>
                      <a:lnTo>
                        <a:pt x="198" y="664"/>
                      </a:lnTo>
                      <a:lnTo>
                        <a:pt x="190" y="680"/>
                      </a:lnTo>
                      <a:lnTo>
                        <a:pt x="182" y="694"/>
                      </a:lnTo>
                      <a:lnTo>
                        <a:pt x="170" y="706"/>
                      </a:lnTo>
                      <a:lnTo>
                        <a:pt x="158" y="718"/>
                      </a:lnTo>
                      <a:lnTo>
                        <a:pt x="150" y="720"/>
                      </a:lnTo>
                      <a:lnTo>
                        <a:pt x="140" y="722"/>
                      </a:lnTo>
                      <a:lnTo>
                        <a:pt x="126" y="722"/>
                      </a:lnTo>
                      <a:lnTo>
                        <a:pt x="114" y="728"/>
                      </a:lnTo>
                      <a:lnTo>
                        <a:pt x="104" y="734"/>
                      </a:lnTo>
                      <a:lnTo>
                        <a:pt x="92" y="738"/>
                      </a:lnTo>
                      <a:lnTo>
                        <a:pt x="86" y="740"/>
                      </a:lnTo>
                      <a:lnTo>
                        <a:pt x="78" y="740"/>
                      </a:lnTo>
                      <a:lnTo>
                        <a:pt x="66" y="738"/>
                      </a:lnTo>
                      <a:lnTo>
                        <a:pt x="52" y="732"/>
                      </a:lnTo>
                      <a:lnTo>
                        <a:pt x="40" y="724"/>
                      </a:lnTo>
                      <a:lnTo>
                        <a:pt x="28" y="712"/>
                      </a:lnTo>
                      <a:lnTo>
                        <a:pt x="18" y="700"/>
                      </a:lnTo>
                      <a:lnTo>
                        <a:pt x="10" y="686"/>
                      </a:lnTo>
                      <a:lnTo>
                        <a:pt x="6" y="672"/>
                      </a:lnTo>
                      <a:lnTo>
                        <a:pt x="4" y="658"/>
                      </a:lnTo>
                      <a:lnTo>
                        <a:pt x="6" y="650"/>
                      </a:lnTo>
                      <a:lnTo>
                        <a:pt x="10" y="642"/>
                      </a:lnTo>
                      <a:lnTo>
                        <a:pt x="16" y="634"/>
                      </a:lnTo>
                      <a:lnTo>
                        <a:pt x="18" y="626"/>
                      </a:lnTo>
                      <a:lnTo>
                        <a:pt x="16" y="618"/>
                      </a:lnTo>
                      <a:lnTo>
                        <a:pt x="14" y="612"/>
                      </a:lnTo>
                      <a:lnTo>
                        <a:pt x="8" y="598"/>
                      </a:lnTo>
                      <a:lnTo>
                        <a:pt x="2" y="584"/>
                      </a:lnTo>
                      <a:lnTo>
                        <a:pt x="0" y="578"/>
                      </a:lnTo>
                      <a:lnTo>
                        <a:pt x="0" y="568"/>
                      </a:lnTo>
                      <a:lnTo>
                        <a:pt x="0" y="550"/>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5" name="Zimbabwe">
                  <a:extLst>
                    <a:ext uri="{FF2B5EF4-FFF2-40B4-BE49-F238E27FC236}">
                      <a16:creationId xmlns:a16="http://schemas.microsoft.com/office/drawing/2014/main" id="{2B8572CB-6F76-4E9E-883C-58646709026D}"/>
                    </a:ext>
                  </a:extLst>
                </p:cNvPr>
                <p:cNvSpPr>
                  <a:spLocks/>
                </p:cNvSpPr>
                <p:nvPr/>
              </p:nvSpPr>
              <p:spPr bwMode="gray">
                <a:xfrm>
                  <a:off x="5518150" y="5522913"/>
                  <a:ext cx="465137" cy="423862"/>
                </a:xfrm>
                <a:custGeom>
                  <a:avLst/>
                  <a:gdLst/>
                  <a:ahLst/>
                  <a:cxnLst>
                    <a:cxn ang="0">
                      <a:pos x="18" y="122"/>
                    </a:cxn>
                    <a:cxn ang="0">
                      <a:pos x="54" y="132"/>
                    </a:cxn>
                    <a:cxn ang="0">
                      <a:pos x="80" y="132"/>
                    </a:cxn>
                    <a:cxn ang="0">
                      <a:pos x="96" y="122"/>
                    </a:cxn>
                    <a:cxn ang="0">
                      <a:pos x="116" y="96"/>
                    </a:cxn>
                    <a:cxn ang="0">
                      <a:pos x="130" y="74"/>
                    </a:cxn>
                    <a:cxn ang="0">
                      <a:pos x="148" y="64"/>
                    </a:cxn>
                    <a:cxn ang="0">
                      <a:pos x="180" y="52"/>
                    </a:cxn>
                    <a:cxn ang="0">
                      <a:pos x="184" y="44"/>
                    </a:cxn>
                    <a:cxn ang="0">
                      <a:pos x="186" y="32"/>
                    </a:cxn>
                    <a:cxn ang="0">
                      <a:pos x="198" y="18"/>
                    </a:cxn>
                    <a:cxn ang="0">
                      <a:pos x="214" y="8"/>
                    </a:cxn>
                    <a:cxn ang="0">
                      <a:pos x="252" y="0"/>
                    </a:cxn>
                    <a:cxn ang="0">
                      <a:pos x="264" y="2"/>
                    </a:cxn>
                    <a:cxn ang="0">
                      <a:pos x="268" y="26"/>
                    </a:cxn>
                    <a:cxn ang="0">
                      <a:pos x="316" y="32"/>
                    </a:cxn>
                    <a:cxn ang="0">
                      <a:pos x="332" y="44"/>
                    </a:cxn>
                    <a:cxn ang="0">
                      <a:pos x="374" y="62"/>
                    </a:cxn>
                    <a:cxn ang="0">
                      <a:pos x="392" y="76"/>
                    </a:cxn>
                    <a:cxn ang="0">
                      <a:pos x="396" y="90"/>
                    </a:cxn>
                    <a:cxn ang="0">
                      <a:pos x="396" y="112"/>
                    </a:cxn>
                    <a:cxn ang="0">
                      <a:pos x="388" y="148"/>
                    </a:cxn>
                    <a:cxn ang="0">
                      <a:pos x="378" y="180"/>
                    </a:cxn>
                    <a:cxn ang="0">
                      <a:pos x="380" y="202"/>
                    </a:cxn>
                    <a:cxn ang="0">
                      <a:pos x="386" y="220"/>
                    </a:cxn>
                    <a:cxn ang="0">
                      <a:pos x="386" y="234"/>
                    </a:cxn>
                    <a:cxn ang="0">
                      <a:pos x="374" y="252"/>
                    </a:cxn>
                    <a:cxn ang="0">
                      <a:pos x="358" y="270"/>
                    </a:cxn>
                    <a:cxn ang="0">
                      <a:pos x="354" y="284"/>
                    </a:cxn>
                    <a:cxn ang="0">
                      <a:pos x="352" y="300"/>
                    </a:cxn>
                    <a:cxn ang="0">
                      <a:pos x="320" y="336"/>
                    </a:cxn>
                    <a:cxn ang="0">
                      <a:pos x="290" y="362"/>
                    </a:cxn>
                    <a:cxn ang="0">
                      <a:pos x="234" y="358"/>
                    </a:cxn>
                    <a:cxn ang="0">
                      <a:pos x="222" y="354"/>
                    </a:cxn>
                    <a:cxn ang="0">
                      <a:pos x="202" y="350"/>
                    </a:cxn>
                    <a:cxn ang="0">
                      <a:pos x="180" y="336"/>
                    </a:cxn>
                    <a:cxn ang="0">
                      <a:pos x="164" y="324"/>
                    </a:cxn>
                    <a:cxn ang="0">
                      <a:pos x="136" y="314"/>
                    </a:cxn>
                    <a:cxn ang="0">
                      <a:pos x="124" y="306"/>
                    </a:cxn>
                    <a:cxn ang="0">
                      <a:pos x="120" y="294"/>
                    </a:cxn>
                    <a:cxn ang="0">
                      <a:pos x="120" y="272"/>
                    </a:cxn>
                    <a:cxn ang="0">
                      <a:pos x="118" y="260"/>
                    </a:cxn>
                    <a:cxn ang="0">
                      <a:pos x="108" y="252"/>
                    </a:cxn>
                    <a:cxn ang="0">
                      <a:pos x="100" y="242"/>
                    </a:cxn>
                    <a:cxn ang="0">
                      <a:pos x="92" y="232"/>
                    </a:cxn>
                    <a:cxn ang="0">
                      <a:pos x="70" y="222"/>
                    </a:cxn>
                    <a:cxn ang="0">
                      <a:pos x="48" y="212"/>
                    </a:cxn>
                    <a:cxn ang="0">
                      <a:pos x="40" y="202"/>
                    </a:cxn>
                    <a:cxn ang="0">
                      <a:pos x="32" y="178"/>
                    </a:cxn>
                    <a:cxn ang="0">
                      <a:pos x="16" y="154"/>
                    </a:cxn>
                    <a:cxn ang="0">
                      <a:pos x="4" y="140"/>
                    </a:cxn>
                    <a:cxn ang="0">
                      <a:pos x="2" y="120"/>
                    </a:cxn>
                  </a:cxnLst>
                  <a:rect l="0" t="0" r="r" b="b"/>
                  <a:pathLst>
                    <a:path w="398" h="362">
                      <a:moveTo>
                        <a:pt x="0" y="120"/>
                      </a:moveTo>
                      <a:lnTo>
                        <a:pt x="18" y="122"/>
                      </a:lnTo>
                      <a:lnTo>
                        <a:pt x="36" y="128"/>
                      </a:lnTo>
                      <a:lnTo>
                        <a:pt x="54" y="132"/>
                      </a:lnTo>
                      <a:lnTo>
                        <a:pt x="70" y="134"/>
                      </a:lnTo>
                      <a:lnTo>
                        <a:pt x="80" y="132"/>
                      </a:lnTo>
                      <a:lnTo>
                        <a:pt x="88" y="128"/>
                      </a:lnTo>
                      <a:lnTo>
                        <a:pt x="96" y="122"/>
                      </a:lnTo>
                      <a:lnTo>
                        <a:pt x="104" y="114"/>
                      </a:lnTo>
                      <a:lnTo>
                        <a:pt x="116" y="96"/>
                      </a:lnTo>
                      <a:lnTo>
                        <a:pt x="126" y="80"/>
                      </a:lnTo>
                      <a:lnTo>
                        <a:pt x="130" y="74"/>
                      </a:lnTo>
                      <a:lnTo>
                        <a:pt x="136" y="70"/>
                      </a:lnTo>
                      <a:lnTo>
                        <a:pt x="148" y="64"/>
                      </a:lnTo>
                      <a:lnTo>
                        <a:pt x="178" y="54"/>
                      </a:lnTo>
                      <a:lnTo>
                        <a:pt x="180" y="52"/>
                      </a:lnTo>
                      <a:lnTo>
                        <a:pt x="182" y="50"/>
                      </a:lnTo>
                      <a:lnTo>
                        <a:pt x="184" y="44"/>
                      </a:lnTo>
                      <a:lnTo>
                        <a:pt x="184" y="38"/>
                      </a:lnTo>
                      <a:lnTo>
                        <a:pt x="186" y="32"/>
                      </a:lnTo>
                      <a:lnTo>
                        <a:pt x="192" y="24"/>
                      </a:lnTo>
                      <a:lnTo>
                        <a:pt x="198" y="18"/>
                      </a:lnTo>
                      <a:lnTo>
                        <a:pt x="206" y="12"/>
                      </a:lnTo>
                      <a:lnTo>
                        <a:pt x="214" y="8"/>
                      </a:lnTo>
                      <a:lnTo>
                        <a:pt x="232" y="2"/>
                      </a:lnTo>
                      <a:lnTo>
                        <a:pt x="252" y="0"/>
                      </a:lnTo>
                      <a:lnTo>
                        <a:pt x="260" y="2"/>
                      </a:lnTo>
                      <a:lnTo>
                        <a:pt x="264" y="2"/>
                      </a:lnTo>
                      <a:lnTo>
                        <a:pt x="268" y="0"/>
                      </a:lnTo>
                      <a:lnTo>
                        <a:pt x="268" y="26"/>
                      </a:lnTo>
                      <a:lnTo>
                        <a:pt x="314" y="26"/>
                      </a:lnTo>
                      <a:lnTo>
                        <a:pt x="316" y="32"/>
                      </a:lnTo>
                      <a:lnTo>
                        <a:pt x="322" y="36"/>
                      </a:lnTo>
                      <a:lnTo>
                        <a:pt x="332" y="44"/>
                      </a:lnTo>
                      <a:lnTo>
                        <a:pt x="360" y="54"/>
                      </a:lnTo>
                      <a:lnTo>
                        <a:pt x="374" y="62"/>
                      </a:lnTo>
                      <a:lnTo>
                        <a:pt x="386" y="70"/>
                      </a:lnTo>
                      <a:lnTo>
                        <a:pt x="392" y="76"/>
                      </a:lnTo>
                      <a:lnTo>
                        <a:pt x="394" y="82"/>
                      </a:lnTo>
                      <a:lnTo>
                        <a:pt x="396" y="90"/>
                      </a:lnTo>
                      <a:lnTo>
                        <a:pt x="398" y="98"/>
                      </a:lnTo>
                      <a:lnTo>
                        <a:pt x="396" y="112"/>
                      </a:lnTo>
                      <a:lnTo>
                        <a:pt x="394" y="124"/>
                      </a:lnTo>
                      <a:lnTo>
                        <a:pt x="388" y="148"/>
                      </a:lnTo>
                      <a:lnTo>
                        <a:pt x="380" y="170"/>
                      </a:lnTo>
                      <a:lnTo>
                        <a:pt x="378" y="180"/>
                      </a:lnTo>
                      <a:lnTo>
                        <a:pt x="378" y="190"/>
                      </a:lnTo>
                      <a:lnTo>
                        <a:pt x="380" y="202"/>
                      </a:lnTo>
                      <a:lnTo>
                        <a:pt x="382" y="210"/>
                      </a:lnTo>
                      <a:lnTo>
                        <a:pt x="386" y="220"/>
                      </a:lnTo>
                      <a:lnTo>
                        <a:pt x="388" y="228"/>
                      </a:lnTo>
                      <a:lnTo>
                        <a:pt x="386" y="234"/>
                      </a:lnTo>
                      <a:lnTo>
                        <a:pt x="384" y="240"/>
                      </a:lnTo>
                      <a:lnTo>
                        <a:pt x="374" y="252"/>
                      </a:lnTo>
                      <a:lnTo>
                        <a:pt x="364" y="266"/>
                      </a:lnTo>
                      <a:lnTo>
                        <a:pt x="358" y="270"/>
                      </a:lnTo>
                      <a:lnTo>
                        <a:pt x="356" y="276"/>
                      </a:lnTo>
                      <a:lnTo>
                        <a:pt x="354" y="284"/>
                      </a:lnTo>
                      <a:lnTo>
                        <a:pt x="354" y="292"/>
                      </a:lnTo>
                      <a:lnTo>
                        <a:pt x="352" y="300"/>
                      </a:lnTo>
                      <a:lnTo>
                        <a:pt x="350" y="306"/>
                      </a:lnTo>
                      <a:lnTo>
                        <a:pt x="320" y="336"/>
                      </a:lnTo>
                      <a:lnTo>
                        <a:pt x="300" y="354"/>
                      </a:lnTo>
                      <a:lnTo>
                        <a:pt x="290" y="362"/>
                      </a:lnTo>
                      <a:lnTo>
                        <a:pt x="238" y="362"/>
                      </a:lnTo>
                      <a:lnTo>
                        <a:pt x="234" y="358"/>
                      </a:lnTo>
                      <a:lnTo>
                        <a:pt x="230" y="356"/>
                      </a:lnTo>
                      <a:lnTo>
                        <a:pt x="222" y="354"/>
                      </a:lnTo>
                      <a:lnTo>
                        <a:pt x="212" y="352"/>
                      </a:lnTo>
                      <a:lnTo>
                        <a:pt x="202" y="350"/>
                      </a:lnTo>
                      <a:lnTo>
                        <a:pt x="190" y="344"/>
                      </a:lnTo>
                      <a:lnTo>
                        <a:pt x="180" y="336"/>
                      </a:lnTo>
                      <a:lnTo>
                        <a:pt x="170" y="326"/>
                      </a:lnTo>
                      <a:lnTo>
                        <a:pt x="164" y="324"/>
                      </a:lnTo>
                      <a:lnTo>
                        <a:pt x="156" y="320"/>
                      </a:lnTo>
                      <a:lnTo>
                        <a:pt x="136" y="314"/>
                      </a:lnTo>
                      <a:lnTo>
                        <a:pt x="126" y="308"/>
                      </a:lnTo>
                      <a:lnTo>
                        <a:pt x="124" y="306"/>
                      </a:lnTo>
                      <a:lnTo>
                        <a:pt x="122" y="302"/>
                      </a:lnTo>
                      <a:lnTo>
                        <a:pt x="120" y="294"/>
                      </a:lnTo>
                      <a:lnTo>
                        <a:pt x="120" y="286"/>
                      </a:lnTo>
                      <a:lnTo>
                        <a:pt x="120" y="272"/>
                      </a:lnTo>
                      <a:lnTo>
                        <a:pt x="120" y="266"/>
                      </a:lnTo>
                      <a:lnTo>
                        <a:pt x="118" y="260"/>
                      </a:lnTo>
                      <a:lnTo>
                        <a:pt x="114" y="256"/>
                      </a:lnTo>
                      <a:lnTo>
                        <a:pt x="108" y="252"/>
                      </a:lnTo>
                      <a:lnTo>
                        <a:pt x="102" y="248"/>
                      </a:lnTo>
                      <a:lnTo>
                        <a:pt x="100" y="242"/>
                      </a:lnTo>
                      <a:lnTo>
                        <a:pt x="96" y="236"/>
                      </a:lnTo>
                      <a:lnTo>
                        <a:pt x="92" y="232"/>
                      </a:lnTo>
                      <a:lnTo>
                        <a:pt x="82" y="226"/>
                      </a:lnTo>
                      <a:lnTo>
                        <a:pt x="70" y="222"/>
                      </a:lnTo>
                      <a:lnTo>
                        <a:pt x="58" y="216"/>
                      </a:lnTo>
                      <a:lnTo>
                        <a:pt x="48" y="212"/>
                      </a:lnTo>
                      <a:lnTo>
                        <a:pt x="42" y="208"/>
                      </a:lnTo>
                      <a:lnTo>
                        <a:pt x="40" y="202"/>
                      </a:lnTo>
                      <a:lnTo>
                        <a:pt x="36" y="188"/>
                      </a:lnTo>
                      <a:lnTo>
                        <a:pt x="32" y="178"/>
                      </a:lnTo>
                      <a:lnTo>
                        <a:pt x="28" y="170"/>
                      </a:lnTo>
                      <a:lnTo>
                        <a:pt x="16" y="154"/>
                      </a:lnTo>
                      <a:lnTo>
                        <a:pt x="10" y="148"/>
                      </a:lnTo>
                      <a:lnTo>
                        <a:pt x="4" y="140"/>
                      </a:lnTo>
                      <a:lnTo>
                        <a:pt x="2" y="130"/>
                      </a:lnTo>
                      <a:lnTo>
                        <a:pt x="2" y="120"/>
                      </a:lnTo>
                      <a:lnTo>
                        <a:pt x="0" y="120"/>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6" name="Malawi">
                  <a:extLst>
                    <a:ext uri="{FF2B5EF4-FFF2-40B4-BE49-F238E27FC236}">
                      <a16:creationId xmlns:a16="http://schemas.microsoft.com/office/drawing/2014/main" id="{4D42C361-3923-4114-AD80-0A2A6689E7FB}"/>
                    </a:ext>
                  </a:extLst>
                </p:cNvPr>
                <p:cNvSpPr>
                  <a:spLocks/>
                </p:cNvSpPr>
                <p:nvPr/>
              </p:nvSpPr>
              <p:spPr bwMode="gray">
                <a:xfrm>
                  <a:off x="5981700" y="5137150"/>
                  <a:ext cx="182562" cy="458787"/>
                </a:xfrm>
                <a:custGeom>
                  <a:avLst/>
                  <a:gdLst/>
                  <a:ahLst/>
                  <a:cxnLst>
                    <a:cxn ang="0">
                      <a:pos x="146" y="272"/>
                    </a:cxn>
                    <a:cxn ang="0">
                      <a:pos x="156" y="294"/>
                    </a:cxn>
                    <a:cxn ang="0">
                      <a:pos x="152" y="300"/>
                    </a:cxn>
                    <a:cxn ang="0">
                      <a:pos x="154" y="336"/>
                    </a:cxn>
                    <a:cxn ang="0">
                      <a:pos x="146" y="350"/>
                    </a:cxn>
                    <a:cxn ang="0">
                      <a:pos x="120" y="364"/>
                    </a:cxn>
                    <a:cxn ang="0">
                      <a:pos x="120" y="374"/>
                    </a:cxn>
                    <a:cxn ang="0">
                      <a:pos x="118" y="390"/>
                    </a:cxn>
                    <a:cxn ang="0">
                      <a:pos x="112" y="390"/>
                    </a:cxn>
                    <a:cxn ang="0">
                      <a:pos x="88" y="360"/>
                    </a:cxn>
                    <a:cxn ang="0">
                      <a:pos x="86" y="342"/>
                    </a:cxn>
                    <a:cxn ang="0">
                      <a:pos x="98" y="312"/>
                    </a:cxn>
                    <a:cxn ang="0">
                      <a:pos x="100" y="286"/>
                    </a:cxn>
                    <a:cxn ang="0">
                      <a:pos x="86" y="262"/>
                    </a:cxn>
                    <a:cxn ang="0">
                      <a:pos x="68" y="260"/>
                    </a:cxn>
                    <a:cxn ang="0">
                      <a:pos x="52" y="268"/>
                    </a:cxn>
                    <a:cxn ang="0">
                      <a:pos x="40" y="256"/>
                    </a:cxn>
                    <a:cxn ang="0">
                      <a:pos x="20" y="236"/>
                    </a:cxn>
                    <a:cxn ang="0">
                      <a:pos x="4" y="230"/>
                    </a:cxn>
                    <a:cxn ang="0">
                      <a:pos x="2" y="214"/>
                    </a:cxn>
                    <a:cxn ang="0">
                      <a:pos x="14" y="204"/>
                    </a:cxn>
                    <a:cxn ang="0">
                      <a:pos x="28" y="174"/>
                    </a:cxn>
                    <a:cxn ang="0">
                      <a:pos x="32" y="156"/>
                    </a:cxn>
                    <a:cxn ang="0">
                      <a:pos x="42" y="140"/>
                    </a:cxn>
                    <a:cxn ang="0">
                      <a:pos x="36" y="116"/>
                    </a:cxn>
                    <a:cxn ang="0">
                      <a:pos x="36" y="98"/>
                    </a:cxn>
                    <a:cxn ang="0">
                      <a:pos x="40" y="78"/>
                    </a:cxn>
                    <a:cxn ang="0">
                      <a:pos x="52" y="60"/>
                    </a:cxn>
                    <a:cxn ang="0">
                      <a:pos x="50" y="42"/>
                    </a:cxn>
                    <a:cxn ang="0">
                      <a:pos x="38" y="8"/>
                    </a:cxn>
                    <a:cxn ang="0">
                      <a:pos x="44" y="2"/>
                    </a:cxn>
                    <a:cxn ang="0">
                      <a:pos x="74" y="2"/>
                    </a:cxn>
                    <a:cxn ang="0">
                      <a:pos x="82" y="38"/>
                    </a:cxn>
                    <a:cxn ang="0">
                      <a:pos x="86" y="44"/>
                    </a:cxn>
                    <a:cxn ang="0">
                      <a:pos x="92" y="108"/>
                    </a:cxn>
                    <a:cxn ang="0">
                      <a:pos x="78" y="150"/>
                    </a:cxn>
                    <a:cxn ang="0">
                      <a:pos x="80" y="164"/>
                    </a:cxn>
                    <a:cxn ang="0">
                      <a:pos x="86" y="200"/>
                    </a:cxn>
                    <a:cxn ang="0">
                      <a:pos x="94" y="224"/>
                    </a:cxn>
                    <a:cxn ang="0">
                      <a:pos x="100" y="232"/>
                    </a:cxn>
                    <a:cxn ang="0">
                      <a:pos x="98" y="250"/>
                    </a:cxn>
                    <a:cxn ang="0">
                      <a:pos x="108" y="258"/>
                    </a:cxn>
                    <a:cxn ang="0">
                      <a:pos x="128" y="258"/>
                    </a:cxn>
                    <a:cxn ang="0">
                      <a:pos x="128" y="250"/>
                    </a:cxn>
                  </a:cxnLst>
                  <a:rect l="0" t="0" r="r" b="b"/>
                  <a:pathLst>
                    <a:path w="156" h="392">
                      <a:moveTo>
                        <a:pt x="128" y="256"/>
                      </a:moveTo>
                      <a:lnTo>
                        <a:pt x="136" y="262"/>
                      </a:lnTo>
                      <a:lnTo>
                        <a:pt x="146" y="272"/>
                      </a:lnTo>
                      <a:lnTo>
                        <a:pt x="154" y="282"/>
                      </a:lnTo>
                      <a:lnTo>
                        <a:pt x="156" y="288"/>
                      </a:lnTo>
                      <a:lnTo>
                        <a:pt x="156" y="294"/>
                      </a:lnTo>
                      <a:lnTo>
                        <a:pt x="156" y="296"/>
                      </a:lnTo>
                      <a:lnTo>
                        <a:pt x="154" y="298"/>
                      </a:lnTo>
                      <a:lnTo>
                        <a:pt x="152" y="300"/>
                      </a:lnTo>
                      <a:lnTo>
                        <a:pt x="150" y="304"/>
                      </a:lnTo>
                      <a:lnTo>
                        <a:pt x="154" y="326"/>
                      </a:lnTo>
                      <a:lnTo>
                        <a:pt x="154" y="336"/>
                      </a:lnTo>
                      <a:lnTo>
                        <a:pt x="152" y="346"/>
                      </a:lnTo>
                      <a:lnTo>
                        <a:pt x="150" y="348"/>
                      </a:lnTo>
                      <a:lnTo>
                        <a:pt x="146" y="350"/>
                      </a:lnTo>
                      <a:lnTo>
                        <a:pt x="138" y="350"/>
                      </a:lnTo>
                      <a:lnTo>
                        <a:pt x="128" y="358"/>
                      </a:lnTo>
                      <a:lnTo>
                        <a:pt x="120" y="364"/>
                      </a:lnTo>
                      <a:lnTo>
                        <a:pt x="116" y="368"/>
                      </a:lnTo>
                      <a:lnTo>
                        <a:pt x="118" y="372"/>
                      </a:lnTo>
                      <a:lnTo>
                        <a:pt x="120" y="374"/>
                      </a:lnTo>
                      <a:lnTo>
                        <a:pt x="118" y="380"/>
                      </a:lnTo>
                      <a:lnTo>
                        <a:pt x="116" y="384"/>
                      </a:lnTo>
                      <a:lnTo>
                        <a:pt x="118" y="390"/>
                      </a:lnTo>
                      <a:lnTo>
                        <a:pt x="118" y="392"/>
                      </a:lnTo>
                      <a:lnTo>
                        <a:pt x="116" y="392"/>
                      </a:lnTo>
                      <a:lnTo>
                        <a:pt x="112" y="390"/>
                      </a:lnTo>
                      <a:lnTo>
                        <a:pt x="108" y="386"/>
                      </a:lnTo>
                      <a:lnTo>
                        <a:pt x="98" y="374"/>
                      </a:lnTo>
                      <a:lnTo>
                        <a:pt x="88" y="360"/>
                      </a:lnTo>
                      <a:lnTo>
                        <a:pt x="86" y="354"/>
                      </a:lnTo>
                      <a:lnTo>
                        <a:pt x="84" y="348"/>
                      </a:lnTo>
                      <a:lnTo>
                        <a:pt x="86" y="342"/>
                      </a:lnTo>
                      <a:lnTo>
                        <a:pt x="88" y="336"/>
                      </a:lnTo>
                      <a:lnTo>
                        <a:pt x="92" y="324"/>
                      </a:lnTo>
                      <a:lnTo>
                        <a:pt x="98" y="312"/>
                      </a:lnTo>
                      <a:lnTo>
                        <a:pt x="100" y="306"/>
                      </a:lnTo>
                      <a:lnTo>
                        <a:pt x="100" y="300"/>
                      </a:lnTo>
                      <a:lnTo>
                        <a:pt x="100" y="286"/>
                      </a:lnTo>
                      <a:lnTo>
                        <a:pt x="94" y="272"/>
                      </a:lnTo>
                      <a:lnTo>
                        <a:pt x="90" y="266"/>
                      </a:lnTo>
                      <a:lnTo>
                        <a:pt x="86" y="262"/>
                      </a:lnTo>
                      <a:lnTo>
                        <a:pt x="80" y="258"/>
                      </a:lnTo>
                      <a:lnTo>
                        <a:pt x="74" y="258"/>
                      </a:lnTo>
                      <a:lnTo>
                        <a:pt x="68" y="260"/>
                      </a:lnTo>
                      <a:lnTo>
                        <a:pt x="64" y="264"/>
                      </a:lnTo>
                      <a:lnTo>
                        <a:pt x="58" y="266"/>
                      </a:lnTo>
                      <a:lnTo>
                        <a:pt x="52" y="268"/>
                      </a:lnTo>
                      <a:lnTo>
                        <a:pt x="50" y="268"/>
                      </a:lnTo>
                      <a:lnTo>
                        <a:pt x="46" y="264"/>
                      </a:lnTo>
                      <a:lnTo>
                        <a:pt x="40" y="256"/>
                      </a:lnTo>
                      <a:lnTo>
                        <a:pt x="30" y="240"/>
                      </a:lnTo>
                      <a:lnTo>
                        <a:pt x="26" y="238"/>
                      </a:lnTo>
                      <a:lnTo>
                        <a:pt x="20" y="236"/>
                      </a:lnTo>
                      <a:lnTo>
                        <a:pt x="10" y="234"/>
                      </a:lnTo>
                      <a:lnTo>
                        <a:pt x="6" y="232"/>
                      </a:lnTo>
                      <a:lnTo>
                        <a:pt x="4" y="230"/>
                      </a:lnTo>
                      <a:lnTo>
                        <a:pt x="0" y="226"/>
                      </a:lnTo>
                      <a:lnTo>
                        <a:pt x="0" y="220"/>
                      </a:lnTo>
                      <a:lnTo>
                        <a:pt x="2" y="214"/>
                      </a:lnTo>
                      <a:lnTo>
                        <a:pt x="6" y="212"/>
                      </a:lnTo>
                      <a:lnTo>
                        <a:pt x="10" y="208"/>
                      </a:lnTo>
                      <a:lnTo>
                        <a:pt x="14" y="204"/>
                      </a:lnTo>
                      <a:lnTo>
                        <a:pt x="20" y="192"/>
                      </a:lnTo>
                      <a:lnTo>
                        <a:pt x="26" y="182"/>
                      </a:lnTo>
                      <a:lnTo>
                        <a:pt x="28" y="174"/>
                      </a:lnTo>
                      <a:lnTo>
                        <a:pt x="28" y="168"/>
                      </a:lnTo>
                      <a:lnTo>
                        <a:pt x="28" y="162"/>
                      </a:lnTo>
                      <a:lnTo>
                        <a:pt x="32" y="156"/>
                      </a:lnTo>
                      <a:lnTo>
                        <a:pt x="38" y="148"/>
                      </a:lnTo>
                      <a:lnTo>
                        <a:pt x="40" y="144"/>
                      </a:lnTo>
                      <a:lnTo>
                        <a:pt x="42" y="140"/>
                      </a:lnTo>
                      <a:lnTo>
                        <a:pt x="40" y="130"/>
                      </a:lnTo>
                      <a:lnTo>
                        <a:pt x="38" y="124"/>
                      </a:lnTo>
                      <a:lnTo>
                        <a:pt x="36" y="116"/>
                      </a:lnTo>
                      <a:lnTo>
                        <a:pt x="34" y="108"/>
                      </a:lnTo>
                      <a:lnTo>
                        <a:pt x="36" y="102"/>
                      </a:lnTo>
                      <a:lnTo>
                        <a:pt x="36" y="98"/>
                      </a:lnTo>
                      <a:lnTo>
                        <a:pt x="38" y="88"/>
                      </a:lnTo>
                      <a:lnTo>
                        <a:pt x="40" y="84"/>
                      </a:lnTo>
                      <a:lnTo>
                        <a:pt x="40" y="78"/>
                      </a:lnTo>
                      <a:lnTo>
                        <a:pt x="46" y="72"/>
                      </a:lnTo>
                      <a:lnTo>
                        <a:pt x="50" y="64"/>
                      </a:lnTo>
                      <a:lnTo>
                        <a:pt x="52" y="60"/>
                      </a:lnTo>
                      <a:lnTo>
                        <a:pt x="52" y="54"/>
                      </a:lnTo>
                      <a:lnTo>
                        <a:pt x="52" y="48"/>
                      </a:lnTo>
                      <a:lnTo>
                        <a:pt x="50" y="42"/>
                      </a:lnTo>
                      <a:lnTo>
                        <a:pt x="44" y="28"/>
                      </a:lnTo>
                      <a:lnTo>
                        <a:pt x="40" y="14"/>
                      </a:lnTo>
                      <a:lnTo>
                        <a:pt x="38" y="8"/>
                      </a:lnTo>
                      <a:lnTo>
                        <a:pt x="36" y="2"/>
                      </a:lnTo>
                      <a:lnTo>
                        <a:pt x="34" y="0"/>
                      </a:lnTo>
                      <a:lnTo>
                        <a:pt x="44" y="2"/>
                      </a:lnTo>
                      <a:lnTo>
                        <a:pt x="52" y="4"/>
                      </a:lnTo>
                      <a:lnTo>
                        <a:pt x="62" y="4"/>
                      </a:lnTo>
                      <a:lnTo>
                        <a:pt x="74" y="2"/>
                      </a:lnTo>
                      <a:lnTo>
                        <a:pt x="76" y="20"/>
                      </a:lnTo>
                      <a:lnTo>
                        <a:pt x="80" y="34"/>
                      </a:lnTo>
                      <a:lnTo>
                        <a:pt x="82" y="38"/>
                      </a:lnTo>
                      <a:lnTo>
                        <a:pt x="82" y="40"/>
                      </a:lnTo>
                      <a:lnTo>
                        <a:pt x="84" y="42"/>
                      </a:lnTo>
                      <a:lnTo>
                        <a:pt x="86" y="44"/>
                      </a:lnTo>
                      <a:lnTo>
                        <a:pt x="90" y="48"/>
                      </a:lnTo>
                      <a:lnTo>
                        <a:pt x="92" y="50"/>
                      </a:lnTo>
                      <a:lnTo>
                        <a:pt x="92" y="108"/>
                      </a:lnTo>
                      <a:lnTo>
                        <a:pt x="86" y="132"/>
                      </a:lnTo>
                      <a:lnTo>
                        <a:pt x="80" y="146"/>
                      </a:lnTo>
                      <a:lnTo>
                        <a:pt x="78" y="150"/>
                      </a:lnTo>
                      <a:lnTo>
                        <a:pt x="74" y="152"/>
                      </a:lnTo>
                      <a:lnTo>
                        <a:pt x="76" y="160"/>
                      </a:lnTo>
                      <a:lnTo>
                        <a:pt x="80" y="164"/>
                      </a:lnTo>
                      <a:lnTo>
                        <a:pt x="84" y="170"/>
                      </a:lnTo>
                      <a:lnTo>
                        <a:pt x="86" y="178"/>
                      </a:lnTo>
                      <a:lnTo>
                        <a:pt x="86" y="200"/>
                      </a:lnTo>
                      <a:lnTo>
                        <a:pt x="90" y="210"/>
                      </a:lnTo>
                      <a:lnTo>
                        <a:pt x="92" y="220"/>
                      </a:lnTo>
                      <a:lnTo>
                        <a:pt x="94" y="224"/>
                      </a:lnTo>
                      <a:lnTo>
                        <a:pt x="98" y="226"/>
                      </a:lnTo>
                      <a:lnTo>
                        <a:pt x="100" y="228"/>
                      </a:lnTo>
                      <a:lnTo>
                        <a:pt x="100" y="232"/>
                      </a:lnTo>
                      <a:lnTo>
                        <a:pt x="98" y="238"/>
                      </a:lnTo>
                      <a:lnTo>
                        <a:pt x="96" y="244"/>
                      </a:lnTo>
                      <a:lnTo>
                        <a:pt x="98" y="250"/>
                      </a:lnTo>
                      <a:lnTo>
                        <a:pt x="100" y="254"/>
                      </a:lnTo>
                      <a:lnTo>
                        <a:pt x="104" y="256"/>
                      </a:lnTo>
                      <a:lnTo>
                        <a:pt x="108" y="258"/>
                      </a:lnTo>
                      <a:lnTo>
                        <a:pt x="110" y="254"/>
                      </a:lnTo>
                      <a:lnTo>
                        <a:pt x="112" y="248"/>
                      </a:lnTo>
                      <a:lnTo>
                        <a:pt x="128" y="258"/>
                      </a:lnTo>
                      <a:lnTo>
                        <a:pt x="126" y="254"/>
                      </a:lnTo>
                      <a:lnTo>
                        <a:pt x="128" y="252"/>
                      </a:lnTo>
                      <a:lnTo>
                        <a:pt x="128" y="250"/>
                      </a:lnTo>
                      <a:lnTo>
                        <a:pt x="128" y="246"/>
                      </a:lnTo>
                      <a:lnTo>
                        <a:pt x="128" y="256"/>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7" name="Mozambique">
                  <a:extLst>
                    <a:ext uri="{FF2B5EF4-FFF2-40B4-BE49-F238E27FC236}">
                      <a16:creationId xmlns:a16="http://schemas.microsoft.com/office/drawing/2014/main" id="{2263F00A-C6C8-4CCB-8892-C75AA7787C9E}"/>
                    </a:ext>
                  </a:extLst>
                </p:cNvPr>
                <p:cNvSpPr>
                  <a:spLocks/>
                </p:cNvSpPr>
                <p:nvPr/>
              </p:nvSpPr>
              <p:spPr bwMode="gray">
                <a:xfrm>
                  <a:off x="5818188" y="5181600"/>
                  <a:ext cx="663575" cy="1050925"/>
                </a:xfrm>
                <a:custGeom>
                  <a:avLst/>
                  <a:gdLst/>
                  <a:ahLst/>
                  <a:cxnLst>
                    <a:cxn ang="0">
                      <a:pos x="294" y="244"/>
                    </a:cxn>
                    <a:cxn ang="0">
                      <a:pos x="294" y="260"/>
                    </a:cxn>
                    <a:cxn ang="0">
                      <a:pos x="294" y="298"/>
                    </a:cxn>
                    <a:cxn ang="0">
                      <a:pos x="278" y="312"/>
                    </a:cxn>
                    <a:cxn ang="0">
                      <a:pos x="258" y="334"/>
                    </a:cxn>
                    <a:cxn ang="0">
                      <a:pos x="258" y="352"/>
                    </a:cxn>
                    <a:cxn ang="0">
                      <a:pos x="248" y="348"/>
                    </a:cxn>
                    <a:cxn ang="0">
                      <a:pos x="224" y="310"/>
                    </a:cxn>
                    <a:cxn ang="0">
                      <a:pos x="238" y="274"/>
                    </a:cxn>
                    <a:cxn ang="0">
                      <a:pos x="234" y="234"/>
                    </a:cxn>
                    <a:cxn ang="0">
                      <a:pos x="214" y="220"/>
                    </a:cxn>
                    <a:cxn ang="0">
                      <a:pos x="192" y="230"/>
                    </a:cxn>
                    <a:cxn ang="0">
                      <a:pos x="170" y="202"/>
                    </a:cxn>
                    <a:cxn ang="0">
                      <a:pos x="28" y="248"/>
                    </a:cxn>
                    <a:cxn ang="0">
                      <a:pos x="0" y="266"/>
                    </a:cxn>
                    <a:cxn ang="0">
                      <a:pos x="12" y="292"/>
                    </a:cxn>
                    <a:cxn ang="0">
                      <a:pos x="66" y="328"/>
                    </a:cxn>
                    <a:cxn ang="0">
                      <a:pos x="130" y="362"/>
                    </a:cxn>
                    <a:cxn ang="0">
                      <a:pos x="142" y="390"/>
                    </a:cxn>
                    <a:cxn ang="0">
                      <a:pos x="124" y="462"/>
                    </a:cxn>
                    <a:cxn ang="0">
                      <a:pos x="126" y="502"/>
                    </a:cxn>
                    <a:cxn ang="0">
                      <a:pos x="128" y="532"/>
                    </a:cxn>
                    <a:cxn ang="0">
                      <a:pos x="100" y="568"/>
                    </a:cxn>
                    <a:cxn ang="0">
                      <a:pos x="94" y="598"/>
                    </a:cxn>
                    <a:cxn ang="0">
                      <a:pos x="36" y="666"/>
                    </a:cxn>
                    <a:cxn ang="0">
                      <a:pos x="48" y="718"/>
                    </a:cxn>
                    <a:cxn ang="0">
                      <a:pos x="60" y="784"/>
                    </a:cxn>
                    <a:cxn ang="0">
                      <a:pos x="52" y="840"/>
                    </a:cxn>
                    <a:cxn ang="0">
                      <a:pos x="58" y="870"/>
                    </a:cxn>
                    <a:cxn ang="0">
                      <a:pos x="70" y="896"/>
                    </a:cxn>
                    <a:cxn ang="0">
                      <a:pos x="96" y="894"/>
                    </a:cxn>
                    <a:cxn ang="0">
                      <a:pos x="108" y="862"/>
                    </a:cxn>
                    <a:cxn ang="0">
                      <a:pos x="96" y="846"/>
                    </a:cxn>
                    <a:cxn ang="0">
                      <a:pos x="134" y="812"/>
                    </a:cxn>
                    <a:cxn ang="0">
                      <a:pos x="216" y="780"/>
                    </a:cxn>
                    <a:cxn ang="0">
                      <a:pos x="248" y="750"/>
                    </a:cxn>
                    <a:cxn ang="0">
                      <a:pos x="248" y="710"/>
                    </a:cxn>
                    <a:cxn ang="0">
                      <a:pos x="254" y="670"/>
                    </a:cxn>
                    <a:cxn ang="0">
                      <a:pos x="248" y="624"/>
                    </a:cxn>
                    <a:cxn ang="0">
                      <a:pos x="242" y="580"/>
                    </a:cxn>
                    <a:cxn ang="0">
                      <a:pos x="226" y="558"/>
                    </a:cxn>
                    <a:cxn ang="0">
                      <a:pos x="232" y="526"/>
                    </a:cxn>
                    <a:cxn ang="0">
                      <a:pos x="262" y="504"/>
                    </a:cxn>
                    <a:cxn ang="0">
                      <a:pos x="336" y="448"/>
                    </a:cxn>
                    <a:cxn ang="0">
                      <a:pos x="420" y="386"/>
                    </a:cxn>
                    <a:cxn ang="0">
                      <a:pos x="502" y="344"/>
                    </a:cxn>
                    <a:cxn ang="0">
                      <a:pos x="528" y="312"/>
                    </a:cxn>
                    <a:cxn ang="0">
                      <a:pos x="568" y="252"/>
                    </a:cxn>
                    <a:cxn ang="0">
                      <a:pos x="560" y="208"/>
                    </a:cxn>
                    <a:cxn ang="0">
                      <a:pos x="562" y="150"/>
                    </a:cxn>
                    <a:cxn ang="0">
                      <a:pos x="554" y="92"/>
                    </a:cxn>
                    <a:cxn ang="0">
                      <a:pos x="560" y="42"/>
                    </a:cxn>
                    <a:cxn ang="0">
                      <a:pos x="552" y="4"/>
                    </a:cxn>
                    <a:cxn ang="0">
                      <a:pos x="520" y="26"/>
                    </a:cxn>
                    <a:cxn ang="0">
                      <a:pos x="462" y="48"/>
                    </a:cxn>
                    <a:cxn ang="0">
                      <a:pos x="416" y="54"/>
                    </a:cxn>
                    <a:cxn ang="0">
                      <a:pos x="368" y="72"/>
                    </a:cxn>
                    <a:cxn ang="0">
                      <a:pos x="314" y="58"/>
                    </a:cxn>
                    <a:cxn ang="0">
                      <a:pos x="260" y="70"/>
                    </a:cxn>
                    <a:cxn ang="0">
                      <a:pos x="258" y="96"/>
                    </a:cxn>
                    <a:cxn ang="0">
                      <a:pos x="250" y="124"/>
                    </a:cxn>
                    <a:cxn ang="0">
                      <a:pos x="254" y="182"/>
                    </a:cxn>
                    <a:cxn ang="0">
                      <a:pos x="268" y="208"/>
                    </a:cxn>
                  </a:cxnLst>
                  <a:rect l="0" t="0" r="r" b="b"/>
                  <a:pathLst>
                    <a:path w="568" h="898">
                      <a:moveTo>
                        <a:pt x="268" y="218"/>
                      </a:moveTo>
                      <a:lnTo>
                        <a:pt x="276" y="224"/>
                      </a:lnTo>
                      <a:lnTo>
                        <a:pt x="286" y="234"/>
                      </a:lnTo>
                      <a:lnTo>
                        <a:pt x="294" y="244"/>
                      </a:lnTo>
                      <a:lnTo>
                        <a:pt x="296" y="250"/>
                      </a:lnTo>
                      <a:lnTo>
                        <a:pt x="296" y="256"/>
                      </a:lnTo>
                      <a:lnTo>
                        <a:pt x="296" y="258"/>
                      </a:lnTo>
                      <a:lnTo>
                        <a:pt x="294" y="260"/>
                      </a:lnTo>
                      <a:lnTo>
                        <a:pt x="292" y="262"/>
                      </a:lnTo>
                      <a:lnTo>
                        <a:pt x="290" y="266"/>
                      </a:lnTo>
                      <a:lnTo>
                        <a:pt x="294" y="288"/>
                      </a:lnTo>
                      <a:lnTo>
                        <a:pt x="294" y="298"/>
                      </a:lnTo>
                      <a:lnTo>
                        <a:pt x="292" y="308"/>
                      </a:lnTo>
                      <a:lnTo>
                        <a:pt x="290" y="310"/>
                      </a:lnTo>
                      <a:lnTo>
                        <a:pt x="286" y="312"/>
                      </a:lnTo>
                      <a:lnTo>
                        <a:pt x="278" y="312"/>
                      </a:lnTo>
                      <a:lnTo>
                        <a:pt x="268" y="320"/>
                      </a:lnTo>
                      <a:lnTo>
                        <a:pt x="260" y="326"/>
                      </a:lnTo>
                      <a:lnTo>
                        <a:pt x="256" y="330"/>
                      </a:lnTo>
                      <a:lnTo>
                        <a:pt x="258" y="334"/>
                      </a:lnTo>
                      <a:lnTo>
                        <a:pt x="260" y="336"/>
                      </a:lnTo>
                      <a:lnTo>
                        <a:pt x="258" y="342"/>
                      </a:lnTo>
                      <a:lnTo>
                        <a:pt x="256" y="346"/>
                      </a:lnTo>
                      <a:lnTo>
                        <a:pt x="258" y="352"/>
                      </a:lnTo>
                      <a:lnTo>
                        <a:pt x="258" y="354"/>
                      </a:lnTo>
                      <a:lnTo>
                        <a:pt x="256" y="354"/>
                      </a:lnTo>
                      <a:lnTo>
                        <a:pt x="252" y="352"/>
                      </a:lnTo>
                      <a:lnTo>
                        <a:pt x="248" y="348"/>
                      </a:lnTo>
                      <a:lnTo>
                        <a:pt x="238" y="336"/>
                      </a:lnTo>
                      <a:lnTo>
                        <a:pt x="228" y="322"/>
                      </a:lnTo>
                      <a:lnTo>
                        <a:pt x="226" y="316"/>
                      </a:lnTo>
                      <a:lnTo>
                        <a:pt x="224" y="310"/>
                      </a:lnTo>
                      <a:lnTo>
                        <a:pt x="226" y="304"/>
                      </a:lnTo>
                      <a:lnTo>
                        <a:pt x="228" y="298"/>
                      </a:lnTo>
                      <a:lnTo>
                        <a:pt x="232" y="286"/>
                      </a:lnTo>
                      <a:lnTo>
                        <a:pt x="238" y="274"/>
                      </a:lnTo>
                      <a:lnTo>
                        <a:pt x="240" y="268"/>
                      </a:lnTo>
                      <a:lnTo>
                        <a:pt x="240" y="262"/>
                      </a:lnTo>
                      <a:lnTo>
                        <a:pt x="240" y="248"/>
                      </a:lnTo>
                      <a:lnTo>
                        <a:pt x="234" y="234"/>
                      </a:lnTo>
                      <a:lnTo>
                        <a:pt x="230" y="228"/>
                      </a:lnTo>
                      <a:lnTo>
                        <a:pt x="226" y="224"/>
                      </a:lnTo>
                      <a:lnTo>
                        <a:pt x="220" y="220"/>
                      </a:lnTo>
                      <a:lnTo>
                        <a:pt x="214" y="220"/>
                      </a:lnTo>
                      <a:lnTo>
                        <a:pt x="208" y="222"/>
                      </a:lnTo>
                      <a:lnTo>
                        <a:pt x="204" y="226"/>
                      </a:lnTo>
                      <a:lnTo>
                        <a:pt x="198" y="228"/>
                      </a:lnTo>
                      <a:lnTo>
                        <a:pt x="192" y="230"/>
                      </a:lnTo>
                      <a:lnTo>
                        <a:pt x="190" y="230"/>
                      </a:lnTo>
                      <a:lnTo>
                        <a:pt x="186" y="226"/>
                      </a:lnTo>
                      <a:lnTo>
                        <a:pt x="180" y="218"/>
                      </a:lnTo>
                      <a:lnTo>
                        <a:pt x="170" y="202"/>
                      </a:lnTo>
                      <a:lnTo>
                        <a:pt x="128" y="216"/>
                      </a:lnTo>
                      <a:lnTo>
                        <a:pt x="84" y="230"/>
                      </a:lnTo>
                      <a:lnTo>
                        <a:pt x="56" y="238"/>
                      </a:lnTo>
                      <a:lnTo>
                        <a:pt x="28" y="248"/>
                      </a:lnTo>
                      <a:lnTo>
                        <a:pt x="16" y="254"/>
                      </a:lnTo>
                      <a:lnTo>
                        <a:pt x="8" y="258"/>
                      </a:lnTo>
                      <a:lnTo>
                        <a:pt x="0" y="258"/>
                      </a:lnTo>
                      <a:lnTo>
                        <a:pt x="0" y="266"/>
                      </a:lnTo>
                      <a:lnTo>
                        <a:pt x="4" y="274"/>
                      </a:lnTo>
                      <a:lnTo>
                        <a:pt x="6" y="282"/>
                      </a:lnTo>
                      <a:lnTo>
                        <a:pt x="6" y="294"/>
                      </a:lnTo>
                      <a:lnTo>
                        <a:pt x="12" y="292"/>
                      </a:lnTo>
                      <a:lnTo>
                        <a:pt x="12" y="318"/>
                      </a:lnTo>
                      <a:lnTo>
                        <a:pt x="58" y="318"/>
                      </a:lnTo>
                      <a:lnTo>
                        <a:pt x="60" y="324"/>
                      </a:lnTo>
                      <a:lnTo>
                        <a:pt x="66" y="328"/>
                      </a:lnTo>
                      <a:lnTo>
                        <a:pt x="76" y="336"/>
                      </a:lnTo>
                      <a:lnTo>
                        <a:pt x="104" y="346"/>
                      </a:lnTo>
                      <a:lnTo>
                        <a:pt x="118" y="354"/>
                      </a:lnTo>
                      <a:lnTo>
                        <a:pt x="130" y="362"/>
                      </a:lnTo>
                      <a:lnTo>
                        <a:pt x="136" y="368"/>
                      </a:lnTo>
                      <a:lnTo>
                        <a:pt x="138" y="374"/>
                      </a:lnTo>
                      <a:lnTo>
                        <a:pt x="140" y="382"/>
                      </a:lnTo>
                      <a:lnTo>
                        <a:pt x="142" y="390"/>
                      </a:lnTo>
                      <a:lnTo>
                        <a:pt x="140" y="404"/>
                      </a:lnTo>
                      <a:lnTo>
                        <a:pt x="138" y="416"/>
                      </a:lnTo>
                      <a:lnTo>
                        <a:pt x="132" y="440"/>
                      </a:lnTo>
                      <a:lnTo>
                        <a:pt x="124" y="462"/>
                      </a:lnTo>
                      <a:lnTo>
                        <a:pt x="122" y="472"/>
                      </a:lnTo>
                      <a:lnTo>
                        <a:pt x="122" y="482"/>
                      </a:lnTo>
                      <a:lnTo>
                        <a:pt x="124" y="494"/>
                      </a:lnTo>
                      <a:lnTo>
                        <a:pt x="126" y="502"/>
                      </a:lnTo>
                      <a:lnTo>
                        <a:pt x="130" y="512"/>
                      </a:lnTo>
                      <a:lnTo>
                        <a:pt x="132" y="520"/>
                      </a:lnTo>
                      <a:lnTo>
                        <a:pt x="130" y="526"/>
                      </a:lnTo>
                      <a:lnTo>
                        <a:pt x="128" y="532"/>
                      </a:lnTo>
                      <a:lnTo>
                        <a:pt x="118" y="544"/>
                      </a:lnTo>
                      <a:lnTo>
                        <a:pt x="108" y="558"/>
                      </a:lnTo>
                      <a:lnTo>
                        <a:pt x="102" y="562"/>
                      </a:lnTo>
                      <a:lnTo>
                        <a:pt x="100" y="568"/>
                      </a:lnTo>
                      <a:lnTo>
                        <a:pt x="98" y="576"/>
                      </a:lnTo>
                      <a:lnTo>
                        <a:pt x="98" y="584"/>
                      </a:lnTo>
                      <a:lnTo>
                        <a:pt x="96" y="592"/>
                      </a:lnTo>
                      <a:lnTo>
                        <a:pt x="94" y="598"/>
                      </a:lnTo>
                      <a:lnTo>
                        <a:pt x="64" y="628"/>
                      </a:lnTo>
                      <a:lnTo>
                        <a:pt x="44" y="646"/>
                      </a:lnTo>
                      <a:lnTo>
                        <a:pt x="34" y="654"/>
                      </a:lnTo>
                      <a:lnTo>
                        <a:pt x="36" y="666"/>
                      </a:lnTo>
                      <a:lnTo>
                        <a:pt x="38" y="676"/>
                      </a:lnTo>
                      <a:lnTo>
                        <a:pt x="42" y="698"/>
                      </a:lnTo>
                      <a:lnTo>
                        <a:pt x="42" y="708"/>
                      </a:lnTo>
                      <a:lnTo>
                        <a:pt x="48" y="718"/>
                      </a:lnTo>
                      <a:lnTo>
                        <a:pt x="54" y="732"/>
                      </a:lnTo>
                      <a:lnTo>
                        <a:pt x="60" y="746"/>
                      </a:lnTo>
                      <a:lnTo>
                        <a:pt x="60" y="762"/>
                      </a:lnTo>
                      <a:lnTo>
                        <a:pt x="60" y="784"/>
                      </a:lnTo>
                      <a:lnTo>
                        <a:pt x="60" y="796"/>
                      </a:lnTo>
                      <a:lnTo>
                        <a:pt x="56" y="808"/>
                      </a:lnTo>
                      <a:lnTo>
                        <a:pt x="56" y="836"/>
                      </a:lnTo>
                      <a:lnTo>
                        <a:pt x="52" y="840"/>
                      </a:lnTo>
                      <a:lnTo>
                        <a:pt x="56" y="848"/>
                      </a:lnTo>
                      <a:lnTo>
                        <a:pt x="58" y="852"/>
                      </a:lnTo>
                      <a:lnTo>
                        <a:pt x="58" y="856"/>
                      </a:lnTo>
                      <a:lnTo>
                        <a:pt x="58" y="870"/>
                      </a:lnTo>
                      <a:lnTo>
                        <a:pt x="60" y="882"/>
                      </a:lnTo>
                      <a:lnTo>
                        <a:pt x="62" y="890"/>
                      </a:lnTo>
                      <a:lnTo>
                        <a:pt x="66" y="894"/>
                      </a:lnTo>
                      <a:lnTo>
                        <a:pt x="70" y="896"/>
                      </a:lnTo>
                      <a:lnTo>
                        <a:pt x="74" y="898"/>
                      </a:lnTo>
                      <a:lnTo>
                        <a:pt x="82" y="898"/>
                      </a:lnTo>
                      <a:lnTo>
                        <a:pt x="90" y="898"/>
                      </a:lnTo>
                      <a:lnTo>
                        <a:pt x="96" y="894"/>
                      </a:lnTo>
                      <a:lnTo>
                        <a:pt x="100" y="890"/>
                      </a:lnTo>
                      <a:lnTo>
                        <a:pt x="102" y="886"/>
                      </a:lnTo>
                      <a:lnTo>
                        <a:pt x="104" y="874"/>
                      </a:lnTo>
                      <a:lnTo>
                        <a:pt x="108" y="862"/>
                      </a:lnTo>
                      <a:lnTo>
                        <a:pt x="100" y="860"/>
                      </a:lnTo>
                      <a:lnTo>
                        <a:pt x="98" y="856"/>
                      </a:lnTo>
                      <a:lnTo>
                        <a:pt x="96" y="852"/>
                      </a:lnTo>
                      <a:lnTo>
                        <a:pt x="96" y="846"/>
                      </a:lnTo>
                      <a:lnTo>
                        <a:pt x="98" y="842"/>
                      </a:lnTo>
                      <a:lnTo>
                        <a:pt x="104" y="834"/>
                      </a:lnTo>
                      <a:lnTo>
                        <a:pt x="120" y="822"/>
                      </a:lnTo>
                      <a:lnTo>
                        <a:pt x="134" y="812"/>
                      </a:lnTo>
                      <a:lnTo>
                        <a:pt x="148" y="806"/>
                      </a:lnTo>
                      <a:lnTo>
                        <a:pt x="180" y="794"/>
                      </a:lnTo>
                      <a:lnTo>
                        <a:pt x="198" y="790"/>
                      </a:lnTo>
                      <a:lnTo>
                        <a:pt x="216" y="780"/>
                      </a:lnTo>
                      <a:lnTo>
                        <a:pt x="230" y="770"/>
                      </a:lnTo>
                      <a:lnTo>
                        <a:pt x="242" y="760"/>
                      </a:lnTo>
                      <a:lnTo>
                        <a:pt x="246" y="754"/>
                      </a:lnTo>
                      <a:lnTo>
                        <a:pt x="248" y="750"/>
                      </a:lnTo>
                      <a:lnTo>
                        <a:pt x="248" y="744"/>
                      </a:lnTo>
                      <a:lnTo>
                        <a:pt x="248" y="734"/>
                      </a:lnTo>
                      <a:lnTo>
                        <a:pt x="246" y="720"/>
                      </a:lnTo>
                      <a:lnTo>
                        <a:pt x="248" y="710"/>
                      </a:lnTo>
                      <a:lnTo>
                        <a:pt x="250" y="702"/>
                      </a:lnTo>
                      <a:lnTo>
                        <a:pt x="252" y="692"/>
                      </a:lnTo>
                      <a:lnTo>
                        <a:pt x="252" y="680"/>
                      </a:lnTo>
                      <a:lnTo>
                        <a:pt x="254" y="670"/>
                      </a:lnTo>
                      <a:lnTo>
                        <a:pt x="256" y="658"/>
                      </a:lnTo>
                      <a:lnTo>
                        <a:pt x="256" y="650"/>
                      </a:lnTo>
                      <a:lnTo>
                        <a:pt x="248" y="650"/>
                      </a:lnTo>
                      <a:lnTo>
                        <a:pt x="248" y="624"/>
                      </a:lnTo>
                      <a:lnTo>
                        <a:pt x="244" y="616"/>
                      </a:lnTo>
                      <a:lnTo>
                        <a:pt x="242" y="606"/>
                      </a:lnTo>
                      <a:lnTo>
                        <a:pt x="242" y="586"/>
                      </a:lnTo>
                      <a:lnTo>
                        <a:pt x="242" y="580"/>
                      </a:lnTo>
                      <a:lnTo>
                        <a:pt x="240" y="576"/>
                      </a:lnTo>
                      <a:lnTo>
                        <a:pt x="234" y="570"/>
                      </a:lnTo>
                      <a:lnTo>
                        <a:pt x="228" y="562"/>
                      </a:lnTo>
                      <a:lnTo>
                        <a:pt x="226" y="558"/>
                      </a:lnTo>
                      <a:lnTo>
                        <a:pt x="226" y="554"/>
                      </a:lnTo>
                      <a:lnTo>
                        <a:pt x="226" y="548"/>
                      </a:lnTo>
                      <a:lnTo>
                        <a:pt x="230" y="530"/>
                      </a:lnTo>
                      <a:lnTo>
                        <a:pt x="232" y="526"/>
                      </a:lnTo>
                      <a:lnTo>
                        <a:pt x="238" y="522"/>
                      </a:lnTo>
                      <a:lnTo>
                        <a:pt x="246" y="518"/>
                      </a:lnTo>
                      <a:lnTo>
                        <a:pt x="252" y="512"/>
                      </a:lnTo>
                      <a:lnTo>
                        <a:pt x="262" y="504"/>
                      </a:lnTo>
                      <a:lnTo>
                        <a:pt x="274" y="494"/>
                      </a:lnTo>
                      <a:lnTo>
                        <a:pt x="296" y="480"/>
                      </a:lnTo>
                      <a:lnTo>
                        <a:pt x="318" y="464"/>
                      </a:lnTo>
                      <a:lnTo>
                        <a:pt x="336" y="448"/>
                      </a:lnTo>
                      <a:lnTo>
                        <a:pt x="376" y="412"/>
                      </a:lnTo>
                      <a:lnTo>
                        <a:pt x="384" y="404"/>
                      </a:lnTo>
                      <a:lnTo>
                        <a:pt x="394" y="396"/>
                      </a:lnTo>
                      <a:lnTo>
                        <a:pt x="420" y="386"/>
                      </a:lnTo>
                      <a:lnTo>
                        <a:pt x="446" y="374"/>
                      </a:lnTo>
                      <a:lnTo>
                        <a:pt x="470" y="364"/>
                      </a:lnTo>
                      <a:lnTo>
                        <a:pt x="490" y="352"/>
                      </a:lnTo>
                      <a:lnTo>
                        <a:pt x="502" y="344"/>
                      </a:lnTo>
                      <a:lnTo>
                        <a:pt x="508" y="340"/>
                      </a:lnTo>
                      <a:lnTo>
                        <a:pt x="514" y="328"/>
                      </a:lnTo>
                      <a:lnTo>
                        <a:pt x="520" y="320"/>
                      </a:lnTo>
                      <a:lnTo>
                        <a:pt x="528" y="312"/>
                      </a:lnTo>
                      <a:lnTo>
                        <a:pt x="538" y="306"/>
                      </a:lnTo>
                      <a:lnTo>
                        <a:pt x="558" y="278"/>
                      </a:lnTo>
                      <a:lnTo>
                        <a:pt x="564" y="260"/>
                      </a:lnTo>
                      <a:lnTo>
                        <a:pt x="568" y="252"/>
                      </a:lnTo>
                      <a:lnTo>
                        <a:pt x="568" y="242"/>
                      </a:lnTo>
                      <a:lnTo>
                        <a:pt x="566" y="232"/>
                      </a:lnTo>
                      <a:lnTo>
                        <a:pt x="562" y="220"/>
                      </a:lnTo>
                      <a:lnTo>
                        <a:pt x="560" y="208"/>
                      </a:lnTo>
                      <a:lnTo>
                        <a:pt x="558" y="194"/>
                      </a:lnTo>
                      <a:lnTo>
                        <a:pt x="560" y="174"/>
                      </a:lnTo>
                      <a:lnTo>
                        <a:pt x="562" y="162"/>
                      </a:lnTo>
                      <a:lnTo>
                        <a:pt x="562" y="150"/>
                      </a:lnTo>
                      <a:lnTo>
                        <a:pt x="560" y="134"/>
                      </a:lnTo>
                      <a:lnTo>
                        <a:pt x="558" y="122"/>
                      </a:lnTo>
                      <a:lnTo>
                        <a:pt x="556" y="108"/>
                      </a:lnTo>
                      <a:lnTo>
                        <a:pt x="554" y="92"/>
                      </a:lnTo>
                      <a:lnTo>
                        <a:pt x="556" y="78"/>
                      </a:lnTo>
                      <a:lnTo>
                        <a:pt x="558" y="66"/>
                      </a:lnTo>
                      <a:lnTo>
                        <a:pt x="560" y="54"/>
                      </a:lnTo>
                      <a:lnTo>
                        <a:pt x="560" y="42"/>
                      </a:lnTo>
                      <a:lnTo>
                        <a:pt x="560" y="20"/>
                      </a:lnTo>
                      <a:lnTo>
                        <a:pt x="558" y="16"/>
                      </a:lnTo>
                      <a:lnTo>
                        <a:pt x="554" y="10"/>
                      </a:lnTo>
                      <a:lnTo>
                        <a:pt x="552" y="4"/>
                      </a:lnTo>
                      <a:lnTo>
                        <a:pt x="548" y="0"/>
                      </a:lnTo>
                      <a:lnTo>
                        <a:pt x="542" y="10"/>
                      </a:lnTo>
                      <a:lnTo>
                        <a:pt x="532" y="18"/>
                      </a:lnTo>
                      <a:lnTo>
                        <a:pt x="520" y="26"/>
                      </a:lnTo>
                      <a:lnTo>
                        <a:pt x="506" y="34"/>
                      </a:lnTo>
                      <a:lnTo>
                        <a:pt x="492" y="40"/>
                      </a:lnTo>
                      <a:lnTo>
                        <a:pt x="476" y="46"/>
                      </a:lnTo>
                      <a:lnTo>
                        <a:pt x="462" y="48"/>
                      </a:lnTo>
                      <a:lnTo>
                        <a:pt x="450" y="50"/>
                      </a:lnTo>
                      <a:lnTo>
                        <a:pt x="430" y="50"/>
                      </a:lnTo>
                      <a:lnTo>
                        <a:pt x="422" y="50"/>
                      </a:lnTo>
                      <a:lnTo>
                        <a:pt x="416" y="54"/>
                      </a:lnTo>
                      <a:lnTo>
                        <a:pt x="402" y="60"/>
                      </a:lnTo>
                      <a:lnTo>
                        <a:pt x="388" y="68"/>
                      </a:lnTo>
                      <a:lnTo>
                        <a:pt x="380" y="70"/>
                      </a:lnTo>
                      <a:lnTo>
                        <a:pt x="368" y="72"/>
                      </a:lnTo>
                      <a:lnTo>
                        <a:pt x="348" y="70"/>
                      </a:lnTo>
                      <a:lnTo>
                        <a:pt x="330" y="66"/>
                      </a:lnTo>
                      <a:lnTo>
                        <a:pt x="320" y="60"/>
                      </a:lnTo>
                      <a:lnTo>
                        <a:pt x="314" y="58"/>
                      </a:lnTo>
                      <a:lnTo>
                        <a:pt x="308" y="56"/>
                      </a:lnTo>
                      <a:lnTo>
                        <a:pt x="298" y="58"/>
                      </a:lnTo>
                      <a:lnTo>
                        <a:pt x="286" y="62"/>
                      </a:lnTo>
                      <a:lnTo>
                        <a:pt x="260" y="70"/>
                      </a:lnTo>
                      <a:lnTo>
                        <a:pt x="264" y="74"/>
                      </a:lnTo>
                      <a:lnTo>
                        <a:pt x="264" y="80"/>
                      </a:lnTo>
                      <a:lnTo>
                        <a:pt x="262" y="88"/>
                      </a:lnTo>
                      <a:lnTo>
                        <a:pt x="258" y="96"/>
                      </a:lnTo>
                      <a:lnTo>
                        <a:pt x="254" y="102"/>
                      </a:lnTo>
                      <a:lnTo>
                        <a:pt x="250" y="108"/>
                      </a:lnTo>
                      <a:lnTo>
                        <a:pt x="250" y="116"/>
                      </a:lnTo>
                      <a:lnTo>
                        <a:pt x="250" y="124"/>
                      </a:lnTo>
                      <a:lnTo>
                        <a:pt x="252" y="138"/>
                      </a:lnTo>
                      <a:lnTo>
                        <a:pt x="252" y="168"/>
                      </a:lnTo>
                      <a:lnTo>
                        <a:pt x="252" y="176"/>
                      </a:lnTo>
                      <a:lnTo>
                        <a:pt x="254" y="182"/>
                      </a:lnTo>
                      <a:lnTo>
                        <a:pt x="260" y="190"/>
                      </a:lnTo>
                      <a:lnTo>
                        <a:pt x="266" y="198"/>
                      </a:lnTo>
                      <a:lnTo>
                        <a:pt x="268" y="202"/>
                      </a:lnTo>
                      <a:lnTo>
                        <a:pt x="268" y="208"/>
                      </a:lnTo>
                      <a:lnTo>
                        <a:pt x="268" y="21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8" name="Swaziland">
                  <a:extLst>
                    <a:ext uri="{FF2B5EF4-FFF2-40B4-BE49-F238E27FC236}">
                      <a16:creationId xmlns:a16="http://schemas.microsoft.com/office/drawing/2014/main" id="{8E228EC0-D701-4064-9A94-9619C7DC6B6E}"/>
                    </a:ext>
                  </a:extLst>
                </p:cNvPr>
                <p:cNvSpPr>
                  <a:spLocks/>
                </p:cNvSpPr>
                <p:nvPr/>
              </p:nvSpPr>
              <p:spPr bwMode="gray">
                <a:xfrm>
                  <a:off x="5805488" y="6154738"/>
                  <a:ext cx="88900" cy="103187"/>
                </a:xfrm>
                <a:custGeom>
                  <a:avLst/>
                  <a:gdLst/>
                  <a:ahLst/>
                  <a:cxnLst>
                    <a:cxn ang="0">
                      <a:pos x="66" y="4"/>
                    </a:cxn>
                    <a:cxn ang="0">
                      <a:pos x="62" y="8"/>
                    </a:cxn>
                    <a:cxn ang="0">
                      <a:pos x="66" y="16"/>
                    </a:cxn>
                    <a:cxn ang="0">
                      <a:pos x="68" y="20"/>
                    </a:cxn>
                    <a:cxn ang="0">
                      <a:pos x="68" y="24"/>
                    </a:cxn>
                    <a:cxn ang="0">
                      <a:pos x="68" y="38"/>
                    </a:cxn>
                    <a:cxn ang="0">
                      <a:pos x="70" y="52"/>
                    </a:cxn>
                    <a:cxn ang="0">
                      <a:pos x="72" y="58"/>
                    </a:cxn>
                    <a:cxn ang="0">
                      <a:pos x="76" y="62"/>
                    </a:cxn>
                    <a:cxn ang="0">
                      <a:pos x="66" y="78"/>
                    </a:cxn>
                    <a:cxn ang="0">
                      <a:pos x="58" y="86"/>
                    </a:cxn>
                    <a:cxn ang="0">
                      <a:pos x="52" y="88"/>
                    </a:cxn>
                    <a:cxn ang="0">
                      <a:pos x="46" y="88"/>
                    </a:cxn>
                    <a:cxn ang="0">
                      <a:pos x="30" y="86"/>
                    </a:cxn>
                    <a:cxn ang="0">
                      <a:pos x="22" y="84"/>
                    </a:cxn>
                    <a:cxn ang="0">
                      <a:pos x="14" y="80"/>
                    </a:cxn>
                    <a:cxn ang="0">
                      <a:pos x="10" y="76"/>
                    </a:cxn>
                    <a:cxn ang="0">
                      <a:pos x="4" y="70"/>
                    </a:cxn>
                    <a:cxn ang="0">
                      <a:pos x="2" y="64"/>
                    </a:cxn>
                    <a:cxn ang="0">
                      <a:pos x="0" y="56"/>
                    </a:cxn>
                    <a:cxn ang="0">
                      <a:pos x="2" y="48"/>
                    </a:cxn>
                    <a:cxn ang="0">
                      <a:pos x="4" y="40"/>
                    </a:cxn>
                    <a:cxn ang="0">
                      <a:pos x="14" y="22"/>
                    </a:cxn>
                    <a:cxn ang="0">
                      <a:pos x="20" y="14"/>
                    </a:cxn>
                    <a:cxn ang="0">
                      <a:pos x="26" y="6"/>
                    </a:cxn>
                    <a:cxn ang="0">
                      <a:pos x="34" y="2"/>
                    </a:cxn>
                    <a:cxn ang="0">
                      <a:pos x="40" y="0"/>
                    </a:cxn>
                    <a:cxn ang="0">
                      <a:pos x="46" y="2"/>
                    </a:cxn>
                    <a:cxn ang="0">
                      <a:pos x="50" y="6"/>
                    </a:cxn>
                    <a:cxn ang="0">
                      <a:pos x="56" y="8"/>
                    </a:cxn>
                    <a:cxn ang="0">
                      <a:pos x="62" y="10"/>
                    </a:cxn>
                    <a:cxn ang="0">
                      <a:pos x="66" y="4"/>
                    </a:cxn>
                  </a:cxnLst>
                  <a:rect l="0" t="0" r="r" b="b"/>
                  <a:pathLst>
                    <a:path w="76" h="88">
                      <a:moveTo>
                        <a:pt x="66" y="4"/>
                      </a:moveTo>
                      <a:lnTo>
                        <a:pt x="62" y="8"/>
                      </a:lnTo>
                      <a:lnTo>
                        <a:pt x="66" y="16"/>
                      </a:lnTo>
                      <a:lnTo>
                        <a:pt x="68" y="20"/>
                      </a:lnTo>
                      <a:lnTo>
                        <a:pt x="68" y="24"/>
                      </a:lnTo>
                      <a:lnTo>
                        <a:pt x="68" y="38"/>
                      </a:lnTo>
                      <a:lnTo>
                        <a:pt x="70" y="52"/>
                      </a:lnTo>
                      <a:lnTo>
                        <a:pt x="72" y="58"/>
                      </a:lnTo>
                      <a:lnTo>
                        <a:pt x="76" y="62"/>
                      </a:lnTo>
                      <a:lnTo>
                        <a:pt x="66" y="78"/>
                      </a:lnTo>
                      <a:lnTo>
                        <a:pt x="58" y="86"/>
                      </a:lnTo>
                      <a:lnTo>
                        <a:pt x="52" y="88"/>
                      </a:lnTo>
                      <a:lnTo>
                        <a:pt x="46" y="88"/>
                      </a:lnTo>
                      <a:lnTo>
                        <a:pt x="30" y="86"/>
                      </a:lnTo>
                      <a:lnTo>
                        <a:pt x="22" y="84"/>
                      </a:lnTo>
                      <a:lnTo>
                        <a:pt x="14" y="80"/>
                      </a:lnTo>
                      <a:lnTo>
                        <a:pt x="10" y="76"/>
                      </a:lnTo>
                      <a:lnTo>
                        <a:pt x="4" y="70"/>
                      </a:lnTo>
                      <a:lnTo>
                        <a:pt x="2" y="64"/>
                      </a:lnTo>
                      <a:lnTo>
                        <a:pt x="0" y="56"/>
                      </a:lnTo>
                      <a:lnTo>
                        <a:pt x="2" y="48"/>
                      </a:lnTo>
                      <a:lnTo>
                        <a:pt x="4" y="40"/>
                      </a:lnTo>
                      <a:lnTo>
                        <a:pt x="14" y="22"/>
                      </a:lnTo>
                      <a:lnTo>
                        <a:pt x="20" y="14"/>
                      </a:lnTo>
                      <a:lnTo>
                        <a:pt x="26" y="6"/>
                      </a:lnTo>
                      <a:lnTo>
                        <a:pt x="34" y="2"/>
                      </a:lnTo>
                      <a:lnTo>
                        <a:pt x="40" y="0"/>
                      </a:lnTo>
                      <a:lnTo>
                        <a:pt x="46" y="2"/>
                      </a:lnTo>
                      <a:lnTo>
                        <a:pt x="50" y="6"/>
                      </a:lnTo>
                      <a:lnTo>
                        <a:pt x="56" y="8"/>
                      </a:lnTo>
                      <a:lnTo>
                        <a:pt x="62" y="10"/>
                      </a:lnTo>
                      <a:lnTo>
                        <a:pt x="66" y="4"/>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09" name="South Africa">
                  <a:extLst>
                    <a:ext uri="{FF2B5EF4-FFF2-40B4-BE49-F238E27FC236}">
                      <a16:creationId xmlns:a16="http://schemas.microsoft.com/office/drawing/2014/main" id="{F4BBAAE3-69A0-40B7-AB08-0DF79F577F1B}"/>
                    </a:ext>
                  </a:extLst>
                </p:cNvPr>
                <p:cNvSpPr>
                  <a:spLocks/>
                </p:cNvSpPr>
                <p:nvPr/>
              </p:nvSpPr>
              <p:spPr bwMode="gray">
                <a:xfrm>
                  <a:off x="4973638" y="5930900"/>
                  <a:ext cx="958850" cy="766762"/>
                </a:xfrm>
                <a:custGeom>
                  <a:avLst/>
                  <a:gdLst/>
                  <a:ahLst/>
                  <a:cxnLst>
                    <a:cxn ang="0">
                      <a:pos x="757" y="194"/>
                    </a:cxn>
                    <a:cxn ang="0">
                      <a:pos x="731" y="206"/>
                    </a:cxn>
                    <a:cxn ang="0">
                      <a:pos x="711" y="248"/>
                    </a:cxn>
                    <a:cxn ang="0">
                      <a:pos x="725" y="272"/>
                    </a:cxn>
                    <a:cxn ang="0">
                      <a:pos x="763" y="280"/>
                    </a:cxn>
                    <a:cxn ang="0">
                      <a:pos x="793" y="258"/>
                    </a:cxn>
                    <a:cxn ang="0">
                      <a:pos x="811" y="274"/>
                    </a:cxn>
                    <a:cxn ang="0">
                      <a:pos x="785" y="342"/>
                    </a:cxn>
                    <a:cxn ang="0">
                      <a:pos x="749" y="368"/>
                    </a:cxn>
                    <a:cxn ang="0">
                      <a:pos x="727" y="394"/>
                    </a:cxn>
                    <a:cxn ang="0">
                      <a:pos x="699" y="428"/>
                    </a:cxn>
                    <a:cxn ang="0">
                      <a:pos x="653" y="486"/>
                    </a:cxn>
                    <a:cxn ang="0">
                      <a:pos x="599" y="530"/>
                    </a:cxn>
                    <a:cxn ang="0">
                      <a:pos x="511" y="596"/>
                    </a:cxn>
                    <a:cxn ang="0">
                      <a:pos x="445" y="606"/>
                    </a:cxn>
                    <a:cxn ang="0">
                      <a:pos x="401" y="624"/>
                    </a:cxn>
                    <a:cxn ang="0">
                      <a:pos x="315" y="620"/>
                    </a:cxn>
                    <a:cxn ang="0">
                      <a:pos x="253" y="636"/>
                    </a:cxn>
                    <a:cxn ang="0">
                      <a:pos x="203" y="636"/>
                    </a:cxn>
                    <a:cxn ang="0">
                      <a:pos x="165" y="656"/>
                    </a:cxn>
                    <a:cxn ang="0">
                      <a:pos x="131" y="644"/>
                    </a:cxn>
                    <a:cxn ang="0">
                      <a:pos x="107" y="628"/>
                    </a:cxn>
                    <a:cxn ang="0">
                      <a:pos x="91" y="620"/>
                    </a:cxn>
                    <a:cxn ang="0">
                      <a:pos x="87" y="608"/>
                    </a:cxn>
                    <a:cxn ang="0">
                      <a:pos x="77" y="580"/>
                    </a:cxn>
                    <a:cxn ang="0">
                      <a:pos x="65" y="556"/>
                    </a:cxn>
                    <a:cxn ang="0">
                      <a:pos x="83" y="534"/>
                    </a:cxn>
                    <a:cxn ang="0">
                      <a:pos x="73" y="484"/>
                    </a:cxn>
                    <a:cxn ang="0">
                      <a:pos x="27" y="420"/>
                    </a:cxn>
                    <a:cxn ang="0">
                      <a:pos x="4" y="350"/>
                    </a:cxn>
                    <a:cxn ang="0">
                      <a:pos x="10" y="318"/>
                    </a:cxn>
                    <a:cxn ang="0">
                      <a:pos x="31" y="308"/>
                    </a:cxn>
                    <a:cxn ang="0">
                      <a:pos x="47" y="332"/>
                    </a:cxn>
                    <a:cxn ang="0">
                      <a:pos x="85" y="350"/>
                    </a:cxn>
                    <a:cxn ang="0">
                      <a:pos x="137" y="348"/>
                    </a:cxn>
                    <a:cxn ang="0">
                      <a:pos x="175" y="328"/>
                    </a:cxn>
                    <a:cxn ang="0">
                      <a:pos x="193" y="156"/>
                    </a:cxn>
                    <a:cxn ang="0">
                      <a:pos x="213" y="192"/>
                    </a:cxn>
                    <a:cxn ang="0">
                      <a:pos x="207" y="226"/>
                    </a:cxn>
                    <a:cxn ang="0">
                      <a:pos x="213" y="242"/>
                    </a:cxn>
                    <a:cxn ang="0">
                      <a:pos x="251" y="246"/>
                    </a:cxn>
                    <a:cxn ang="0">
                      <a:pos x="295" y="220"/>
                    </a:cxn>
                    <a:cxn ang="0">
                      <a:pos x="319" y="182"/>
                    </a:cxn>
                    <a:cxn ang="0">
                      <a:pos x="339" y="168"/>
                    </a:cxn>
                    <a:cxn ang="0">
                      <a:pos x="367" y="184"/>
                    </a:cxn>
                    <a:cxn ang="0">
                      <a:pos x="455" y="184"/>
                    </a:cxn>
                    <a:cxn ang="0">
                      <a:pos x="479" y="142"/>
                    </a:cxn>
                    <a:cxn ang="0">
                      <a:pos x="495" y="136"/>
                    </a:cxn>
                    <a:cxn ang="0">
                      <a:pos x="523" y="112"/>
                    </a:cxn>
                    <a:cxn ang="0">
                      <a:pos x="553" y="76"/>
                    </a:cxn>
                    <a:cxn ang="0">
                      <a:pos x="581" y="46"/>
                    </a:cxn>
                    <a:cxn ang="0">
                      <a:pos x="613" y="26"/>
                    </a:cxn>
                    <a:cxn ang="0">
                      <a:pos x="667" y="0"/>
                    </a:cxn>
                    <a:cxn ang="0">
                      <a:pos x="699" y="10"/>
                    </a:cxn>
                    <a:cxn ang="0">
                      <a:pos x="759" y="36"/>
                    </a:cxn>
                    <a:cxn ang="0">
                      <a:pos x="775" y="92"/>
                    </a:cxn>
                    <a:cxn ang="0">
                      <a:pos x="781" y="156"/>
                    </a:cxn>
                  </a:cxnLst>
                  <a:rect l="0" t="0" r="r" b="b"/>
                  <a:pathLst>
                    <a:path w="819" h="656">
                      <a:moveTo>
                        <a:pt x="773" y="202"/>
                      </a:moveTo>
                      <a:lnTo>
                        <a:pt x="767" y="200"/>
                      </a:lnTo>
                      <a:lnTo>
                        <a:pt x="761" y="198"/>
                      </a:lnTo>
                      <a:lnTo>
                        <a:pt x="757" y="194"/>
                      </a:lnTo>
                      <a:lnTo>
                        <a:pt x="751" y="192"/>
                      </a:lnTo>
                      <a:lnTo>
                        <a:pt x="745" y="194"/>
                      </a:lnTo>
                      <a:lnTo>
                        <a:pt x="737" y="198"/>
                      </a:lnTo>
                      <a:lnTo>
                        <a:pt x="731" y="206"/>
                      </a:lnTo>
                      <a:lnTo>
                        <a:pt x="725" y="214"/>
                      </a:lnTo>
                      <a:lnTo>
                        <a:pt x="715" y="232"/>
                      </a:lnTo>
                      <a:lnTo>
                        <a:pt x="713" y="240"/>
                      </a:lnTo>
                      <a:lnTo>
                        <a:pt x="711" y="248"/>
                      </a:lnTo>
                      <a:lnTo>
                        <a:pt x="713" y="256"/>
                      </a:lnTo>
                      <a:lnTo>
                        <a:pt x="715" y="262"/>
                      </a:lnTo>
                      <a:lnTo>
                        <a:pt x="721" y="268"/>
                      </a:lnTo>
                      <a:lnTo>
                        <a:pt x="725" y="272"/>
                      </a:lnTo>
                      <a:lnTo>
                        <a:pt x="733" y="276"/>
                      </a:lnTo>
                      <a:lnTo>
                        <a:pt x="741" y="278"/>
                      </a:lnTo>
                      <a:lnTo>
                        <a:pt x="757" y="280"/>
                      </a:lnTo>
                      <a:lnTo>
                        <a:pt x="763" y="280"/>
                      </a:lnTo>
                      <a:lnTo>
                        <a:pt x="769" y="278"/>
                      </a:lnTo>
                      <a:lnTo>
                        <a:pt x="777" y="270"/>
                      </a:lnTo>
                      <a:lnTo>
                        <a:pt x="787" y="254"/>
                      </a:lnTo>
                      <a:lnTo>
                        <a:pt x="793" y="258"/>
                      </a:lnTo>
                      <a:lnTo>
                        <a:pt x="803" y="258"/>
                      </a:lnTo>
                      <a:lnTo>
                        <a:pt x="813" y="256"/>
                      </a:lnTo>
                      <a:lnTo>
                        <a:pt x="819" y="252"/>
                      </a:lnTo>
                      <a:lnTo>
                        <a:pt x="811" y="274"/>
                      </a:lnTo>
                      <a:lnTo>
                        <a:pt x="805" y="296"/>
                      </a:lnTo>
                      <a:lnTo>
                        <a:pt x="797" y="320"/>
                      </a:lnTo>
                      <a:lnTo>
                        <a:pt x="793" y="330"/>
                      </a:lnTo>
                      <a:lnTo>
                        <a:pt x="785" y="342"/>
                      </a:lnTo>
                      <a:lnTo>
                        <a:pt x="779" y="348"/>
                      </a:lnTo>
                      <a:lnTo>
                        <a:pt x="771" y="354"/>
                      </a:lnTo>
                      <a:lnTo>
                        <a:pt x="755" y="364"/>
                      </a:lnTo>
                      <a:lnTo>
                        <a:pt x="749" y="368"/>
                      </a:lnTo>
                      <a:lnTo>
                        <a:pt x="745" y="374"/>
                      </a:lnTo>
                      <a:lnTo>
                        <a:pt x="741" y="380"/>
                      </a:lnTo>
                      <a:lnTo>
                        <a:pt x="735" y="384"/>
                      </a:lnTo>
                      <a:lnTo>
                        <a:pt x="727" y="394"/>
                      </a:lnTo>
                      <a:lnTo>
                        <a:pt x="717" y="406"/>
                      </a:lnTo>
                      <a:lnTo>
                        <a:pt x="713" y="412"/>
                      </a:lnTo>
                      <a:lnTo>
                        <a:pt x="709" y="418"/>
                      </a:lnTo>
                      <a:lnTo>
                        <a:pt x="699" y="428"/>
                      </a:lnTo>
                      <a:lnTo>
                        <a:pt x="691" y="438"/>
                      </a:lnTo>
                      <a:lnTo>
                        <a:pt x="683" y="448"/>
                      </a:lnTo>
                      <a:lnTo>
                        <a:pt x="667" y="468"/>
                      </a:lnTo>
                      <a:lnTo>
                        <a:pt x="653" y="486"/>
                      </a:lnTo>
                      <a:lnTo>
                        <a:pt x="643" y="494"/>
                      </a:lnTo>
                      <a:lnTo>
                        <a:pt x="633" y="500"/>
                      </a:lnTo>
                      <a:lnTo>
                        <a:pt x="615" y="516"/>
                      </a:lnTo>
                      <a:lnTo>
                        <a:pt x="599" y="530"/>
                      </a:lnTo>
                      <a:lnTo>
                        <a:pt x="563" y="556"/>
                      </a:lnTo>
                      <a:lnTo>
                        <a:pt x="543" y="572"/>
                      </a:lnTo>
                      <a:lnTo>
                        <a:pt x="523" y="588"/>
                      </a:lnTo>
                      <a:lnTo>
                        <a:pt x="511" y="596"/>
                      </a:lnTo>
                      <a:lnTo>
                        <a:pt x="501" y="600"/>
                      </a:lnTo>
                      <a:lnTo>
                        <a:pt x="487" y="604"/>
                      </a:lnTo>
                      <a:lnTo>
                        <a:pt x="471" y="606"/>
                      </a:lnTo>
                      <a:lnTo>
                        <a:pt x="445" y="606"/>
                      </a:lnTo>
                      <a:lnTo>
                        <a:pt x="439" y="606"/>
                      </a:lnTo>
                      <a:lnTo>
                        <a:pt x="431" y="610"/>
                      </a:lnTo>
                      <a:lnTo>
                        <a:pt x="415" y="616"/>
                      </a:lnTo>
                      <a:lnTo>
                        <a:pt x="401" y="624"/>
                      </a:lnTo>
                      <a:lnTo>
                        <a:pt x="393" y="626"/>
                      </a:lnTo>
                      <a:lnTo>
                        <a:pt x="385" y="628"/>
                      </a:lnTo>
                      <a:lnTo>
                        <a:pt x="339" y="616"/>
                      </a:lnTo>
                      <a:lnTo>
                        <a:pt x="315" y="620"/>
                      </a:lnTo>
                      <a:lnTo>
                        <a:pt x="291" y="620"/>
                      </a:lnTo>
                      <a:lnTo>
                        <a:pt x="277" y="622"/>
                      </a:lnTo>
                      <a:lnTo>
                        <a:pt x="269" y="626"/>
                      </a:lnTo>
                      <a:lnTo>
                        <a:pt x="253" y="636"/>
                      </a:lnTo>
                      <a:lnTo>
                        <a:pt x="243" y="636"/>
                      </a:lnTo>
                      <a:lnTo>
                        <a:pt x="231" y="636"/>
                      </a:lnTo>
                      <a:lnTo>
                        <a:pt x="209" y="636"/>
                      </a:lnTo>
                      <a:lnTo>
                        <a:pt x="203" y="636"/>
                      </a:lnTo>
                      <a:lnTo>
                        <a:pt x="197" y="640"/>
                      </a:lnTo>
                      <a:lnTo>
                        <a:pt x="185" y="646"/>
                      </a:lnTo>
                      <a:lnTo>
                        <a:pt x="171" y="652"/>
                      </a:lnTo>
                      <a:lnTo>
                        <a:pt x="165" y="656"/>
                      </a:lnTo>
                      <a:lnTo>
                        <a:pt x="157" y="656"/>
                      </a:lnTo>
                      <a:lnTo>
                        <a:pt x="149" y="656"/>
                      </a:lnTo>
                      <a:lnTo>
                        <a:pt x="143" y="652"/>
                      </a:lnTo>
                      <a:lnTo>
                        <a:pt x="131" y="644"/>
                      </a:lnTo>
                      <a:lnTo>
                        <a:pt x="123" y="634"/>
                      </a:lnTo>
                      <a:lnTo>
                        <a:pt x="117" y="632"/>
                      </a:lnTo>
                      <a:lnTo>
                        <a:pt x="111" y="630"/>
                      </a:lnTo>
                      <a:lnTo>
                        <a:pt x="107" y="628"/>
                      </a:lnTo>
                      <a:lnTo>
                        <a:pt x="103" y="624"/>
                      </a:lnTo>
                      <a:lnTo>
                        <a:pt x="99" y="620"/>
                      </a:lnTo>
                      <a:lnTo>
                        <a:pt x="95" y="618"/>
                      </a:lnTo>
                      <a:lnTo>
                        <a:pt x="91" y="620"/>
                      </a:lnTo>
                      <a:lnTo>
                        <a:pt x="89" y="622"/>
                      </a:lnTo>
                      <a:lnTo>
                        <a:pt x="83" y="628"/>
                      </a:lnTo>
                      <a:lnTo>
                        <a:pt x="83" y="614"/>
                      </a:lnTo>
                      <a:lnTo>
                        <a:pt x="87" y="608"/>
                      </a:lnTo>
                      <a:lnTo>
                        <a:pt x="89" y="600"/>
                      </a:lnTo>
                      <a:lnTo>
                        <a:pt x="89" y="594"/>
                      </a:lnTo>
                      <a:lnTo>
                        <a:pt x="85" y="588"/>
                      </a:lnTo>
                      <a:lnTo>
                        <a:pt x="77" y="580"/>
                      </a:lnTo>
                      <a:lnTo>
                        <a:pt x="69" y="572"/>
                      </a:lnTo>
                      <a:lnTo>
                        <a:pt x="67" y="566"/>
                      </a:lnTo>
                      <a:lnTo>
                        <a:pt x="65" y="560"/>
                      </a:lnTo>
                      <a:lnTo>
                        <a:pt x="65" y="556"/>
                      </a:lnTo>
                      <a:lnTo>
                        <a:pt x="67" y="552"/>
                      </a:lnTo>
                      <a:lnTo>
                        <a:pt x="73" y="546"/>
                      </a:lnTo>
                      <a:lnTo>
                        <a:pt x="81" y="538"/>
                      </a:lnTo>
                      <a:lnTo>
                        <a:pt x="83" y="534"/>
                      </a:lnTo>
                      <a:lnTo>
                        <a:pt x="83" y="528"/>
                      </a:lnTo>
                      <a:lnTo>
                        <a:pt x="81" y="504"/>
                      </a:lnTo>
                      <a:lnTo>
                        <a:pt x="79" y="494"/>
                      </a:lnTo>
                      <a:lnTo>
                        <a:pt x="73" y="484"/>
                      </a:lnTo>
                      <a:lnTo>
                        <a:pt x="59" y="468"/>
                      </a:lnTo>
                      <a:lnTo>
                        <a:pt x="45" y="450"/>
                      </a:lnTo>
                      <a:lnTo>
                        <a:pt x="33" y="432"/>
                      </a:lnTo>
                      <a:lnTo>
                        <a:pt x="27" y="420"/>
                      </a:lnTo>
                      <a:lnTo>
                        <a:pt x="25" y="408"/>
                      </a:lnTo>
                      <a:lnTo>
                        <a:pt x="18" y="382"/>
                      </a:lnTo>
                      <a:lnTo>
                        <a:pt x="10" y="364"/>
                      </a:lnTo>
                      <a:lnTo>
                        <a:pt x="4" y="350"/>
                      </a:lnTo>
                      <a:lnTo>
                        <a:pt x="0" y="336"/>
                      </a:lnTo>
                      <a:lnTo>
                        <a:pt x="4" y="334"/>
                      </a:lnTo>
                      <a:lnTo>
                        <a:pt x="6" y="328"/>
                      </a:lnTo>
                      <a:lnTo>
                        <a:pt x="10" y="318"/>
                      </a:lnTo>
                      <a:lnTo>
                        <a:pt x="16" y="310"/>
                      </a:lnTo>
                      <a:lnTo>
                        <a:pt x="18" y="308"/>
                      </a:lnTo>
                      <a:lnTo>
                        <a:pt x="25" y="306"/>
                      </a:lnTo>
                      <a:lnTo>
                        <a:pt x="31" y="308"/>
                      </a:lnTo>
                      <a:lnTo>
                        <a:pt x="37" y="310"/>
                      </a:lnTo>
                      <a:lnTo>
                        <a:pt x="39" y="314"/>
                      </a:lnTo>
                      <a:lnTo>
                        <a:pt x="43" y="320"/>
                      </a:lnTo>
                      <a:lnTo>
                        <a:pt x="47" y="332"/>
                      </a:lnTo>
                      <a:lnTo>
                        <a:pt x="53" y="340"/>
                      </a:lnTo>
                      <a:lnTo>
                        <a:pt x="59" y="344"/>
                      </a:lnTo>
                      <a:lnTo>
                        <a:pt x="67" y="346"/>
                      </a:lnTo>
                      <a:lnTo>
                        <a:pt x="85" y="350"/>
                      </a:lnTo>
                      <a:lnTo>
                        <a:pt x="107" y="352"/>
                      </a:lnTo>
                      <a:lnTo>
                        <a:pt x="123" y="352"/>
                      </a:lnTo>
                      <a:lnTo>
                        <a:pt x="129" y="352"/>
                      </a:lnTo>
                      <a:lnTo>
                        <a:pt x="137" y="348"/>
                      </a:lnTo>
                      <a:lnTo>
                        <a:pt x="147" y="340"/>
                      </a:lnTo>
                      <a:lnTo>
                        <a:pt x="159" y="332"/>
                      </a:lnTo>
                      <a:lnTo>
                        <a:pt x="167" y="330"/>
                      </a:lnTo>
                      <a:lnTo>
                        <a:pt x="175" y="328"/>
                      </a:lnTo>
                      <a:lnTo>
                        <a:pt x="175" y="326"/>
                      </a:lnTo>
                      <a:lnTo>
                        <a:pt x="173" y="144"/>
                      </a:lnTo>
                      <a:lnTo>
                        <a:pt x="181" y="146"/>
                      </a:lnTo>
                      <a:lnTo>
                        <a:pt x="193" y="156"/>
                      </a:lnTo>
                      <a:lnTo>
                        <a:pt x="203" y="168"/>
                      </a:lnTo>
                      <a:lnTo>
                        <a:pt x="209" y="174"/>
                      </a:lnTo>
                      <a:lnTo>
                        <a:pt x="211" y="182"/>
                      </a:lnTo>
                      <a:lnTo>
                        <a:pt x="213" y="192"/>
                      </a:lnTo>
                      <a:lnTo>
                        <a:pt x="215" y="202"/>
                      </a:lnTo>
                      <a:lnTo>
                        <a:pt x="213" y="212"/>
                      </a:lnTo>
                      <a:lnTo>
                        <a:pt x="209" y="220"/>
                      </a:lnTo>
                      <a:lnTo>
                        <a:pt x="207" y="226"/>
                      </a:lnTo>
                      <a:lnTo>
                        <a:pt x="205" y="234"/>
                      </a:lnTo>
                      <a:lnTo>
                        <a:pt x="205" y="238"/>
                      </a:lnTo>
                      <a:lnTo>
                        <a:pt x="207" y="240"/>
                      </a:lnTo>
                      <a:lnTo>
                        <a:pt x="213" y="242"/>
                      </a:lnTo>
                      <a:lnTo>
                        <a:pt x="219" y="242"/>
                      </a:lnTo>
                      <a:lnTo>
                        <a:pt x="227" y="244"/>
                      </a:lnTo>
                      <a:lnTo>
                        <a:pt x="239" y="246"/>
                      </a:lnTo>
                      <a:lnTo>
                        <a:pt x="251" y="246"/>
                      </a:lnTo>
                      <a:lnTo>
                        <a:pt x="263" y="242"/>
                      </a:lnTo>
                      <a:lnTo>
                        <a:pt x="275" y="236"/>
                      </a:lnTo>
                      <a:lnTo>
                        <a:pt x="285" y="228"/>
                      </a:lnTo>
                      <a:lnTo>
                        <a:pt x="295" y="220"/>
                      </a:lnTo>
                      <a:lnTo>
                        <a:pt x="309" y="206"/>
                      </a:lnTo>
                      <a:lnTo>
                        <a:pt x="313" y="202"/>
                      </a:lnTo>
                      <a:lnTo>
                        <a:pt x="315" y="196"/>
                      </a:lnTo>
                      <a:lnTo>
                        <a:pt x="319" y="182"/>
                      </a:lnTo>
                      <a:lnTo>
                        <a:pt x="321" y="178"/>
                      </a:lnTo>
                      <a:lnTo>
                        <a:pt x="325" y="172"/>
                      </a:lnTo>
                      <a:lnTo>
                        <a:pt x="331" y="170"/>
                      </a:lnTo>
                      <a:lnTo>
                        <a:pt x="339" y="168"/>
                      </a:lnTo>
                      <a:lnTo>
                        <a:pt x="345" y="168"/>
                      </a:lnTo>
                      <a:lnTo>
                        <a:pt x="349" y="170"/>
                      </a:lnTo>
                      <a:lnTo>
                        <a:pt x="359" y="176"/>
                      </a:lnTo>
                      <a:lnTo>
                        <a:pt x="367" y="184"/>
                      </a:lnTo>
                      <a:lnTo>
                        <a:pt x="375" y="188"/>
                      </a:lnTo>
                      <a:lnTo>
                        <a:pt x="439" y="188"/>
                      </a:lnTo>
                      <a:lnTo>
                        <a:pt x="449" y="188"/>
                      </a:lnTo>
                      <a:lnTo>
                        <a:pt x="455" y="184"/>
                      </a:lnTo>
                      <a:lnTo>
                        <a:pt x="461" y="180"/>
                      </a:lnTo>
                      <a:lnTo>
                        <a:pt x="465" y="174"/>
                      </a:lnTo>
                      <a:lnTo>
                        <a:pt x="473" y="160"/>
                      </a:lnTo>
                      <a:lnTo>
                        <a:pt x="479" y="142"/>
                      </a:lnTo>
                      <a:lnTo>
                        <a:pt x="481" y="140"/>
                      </a:lnTo>
                      <a:lnTo>
                        <a:pt x="483" y="138"/>
                      </a:lnTo>
                      <a:lnTo>
                        <a:pt x="489" y="136"/>
                      </a:lnTo>
                      <a:lnTo>
                        <a:pt x="495" y="136"/>
                      </a:lnTo>
                      <a:lnTo>
                        <a:pt x="501" y="134"/>
                      </a:lnTo>
                      <a:lnTo>
                        <a:pt x="509" y="130"/>
                      </a:lnTo>
                      <a:lnTo>
                        <a:pt x="515" y="124"/>
                      </a:lnTo>
                      <a:lnTo>
                        <a:pt x="523" y="112"/>
                      </a:lnTo>
                      <a:lnTo>
                        <a:pt x="531" y="100"/>
                      </a:lnTo>
                      <a:lnTo>
                        <a:pt x="539" y="86"/>
                      </a:lnTo>
                      <a:lnTo>
                        <a:pt x="545" y="80"/>
                      </a:lnTo>
                      <a:lnTo>
                        <a:pt x="553" y="76"/>
                      </a:lnTo>
                      <a:lnTo>
                        <a:pt x="559" y="72"/>
                      </a:lnTo>
                      <a:lnTo>
                        <a:pt x="565" y="68"/>
                      </a:lnTo>
                      <a:lnTo>
                        <a:pt x="573" y="58"/>
                      </a:lnTo>
                      <a:lnTo>
                        <a:pt x="581" y="46"/>
                      </a:lnTo>
                      <a:lnTo>
                        <a:pt x="589" y="36"/>
                      </a:lnTo>
                      <a:lnTo>
                        <a:pt x="601" y="28"/>
                      </a:lnTo>
                      <a:lnTo>
                        <a:pt x="607" y="26"/>
                      </a:lnTo>
                      <a:lnTo>
                        <a:pt x="613" y="26"/>
                      </a:lnTo>
                      <a:lnTo>
                        <a:pt x="625" y="26"/>
                      </a:lnTo>
                      <a:lnTo>
                        <a:pt x="633" y="22"/>
                      </a:lnTo>
                      <a:lnTo>
                        <a:pt x="645" y="16"/>
                      </a:lnTo>
                      <a:lnTo>
                        <a:pt x="667" y="0"/>
                      </a:lnTo>
                      <a:lnTo>
                        <a:pt x="677" y="2"/>
                      </a:lnTo>
                      <a:lnTo>
                        <a:pt x="687" y="4"/>
                      </a:lnTo>
                      <a:lnTo>
                        <a:pt x="695" y="8"/>
                      </a:lnTo>
                      <a:lnTo>
                        <a:pt x="699" y="10"/>
                      </a:lnTo>
                      <a:lnTo>
                        <a:pt x="703" y="14"/>
                      </a:lnTo>
                      <a:lnTo>
                        <a:pt x="755" y="14"/>
                      </a:lnTo>
                      <a:lnTo>
                        <a:pt x="757" y="26"/>
                      </a:lnTo>
                      <a:lnTo>
                        <a:pt x="759" y="36"/>
                      </a:lnTo>
                      <a:lnTo>
                        <a:pt x="763" y="58"/>
                      </a:lnTo>
                      <a:lnTo>
                        <a:pt x="763" y="68"/>
                      </a:lnTo>
                      <a:lnTo>
                        <a:pt x="769" y="78"/>
                      </a:lnTo>
                      <a:lnTo>
                        <a:pt x="775" y="92"/>
                      </a:lnTo>
                      <a:lnTo>
                        <a:pt x="781" y="106"/>
                      </a:lnTo>
                      <a:lnTo>
                        <a:pt x="781" y="122"/>
                      </a:lnTo>
                      <a:lnTo>
                        <a:pt x="781" y="144"/>
                      </a:lnTo>
                      <a:lnTo>
                        <a:pt x="781" y="156"/>
                      </a:lnTo>
                      <a:lnTo>
                        <a:pt x="777" y="168"/>
                      </a:lnTo>
                      <a:lnTo>
                        <a:pt x="777" y="196"/>
                      </a:lnTo>
                      <a:lnTo>
                        <a:pt x="773" y="202"/>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0" name="Lesotho">
                  <a:extLst>
                    <a:ext uri="{FF2B5EF4-FFF2-40B4-BE49-F238E27FC236}">
                      <a16:creationId xmlns:a16="http://schemas.microsoft.com/office/drawing/2014/main" id="{425B5515-A85A-415A-8294-B0E45D5ECC32}"/>
                    </a:ext>
                  </a:extLst>
                </p:cNvPr>
                <p:cNvSpPr>
                  <a:spLocks/>
                </p:cNvSpPr>
                <p:nvPr/>
              </p:nvSpPr>
              <p:spPr bwMode="gray">
                <a:xfrm>
                  <a:off x="5578475" y="6327775"/>
                  <a:ext cx="152400" cy="127000"/>
                </a:xfrm>
                <a:custGeom>
                  <a:avLst/>
                  <a:gdLst/>
                  <a:ahLst/>
                  <a:cxnLst>
                    <a:cxn ang="0">
                      <a:pos x="46" y="12"/>
                    </a:cxn>
                    <a:cxn ang="0">
                      <a:pos x="50" y="10"/>
                    </a:cxn>
                    <a:cxn ang="0">
                      <a:pos x="60" y="6"/>
                    </a:cxn>
                    <a:cxn ang="0">
                      <a:pos x="76" y="0"/>
                    </a:cxn>
                    <a:cxn ang="0">
                      <a:pos x="88" y="2"/>
                    </a:cxn>
                    <a:cxn ang="0">
                      <a:pos x="106" y="8"/>
                    </a:cxn>
                    <a:cxn ang="0">
                      <a:pos x="122" y="18"/>
                    </a:cxn>
                    <a:cxn ang="0">
                      <a:pos x="128" y="22"/>
                    </a:cxn>
                    <a:cxn ang="0">
                      <a:pos x="130" y="26"/>
                    </a:cxn>
                    <a:cxn ang="0">
                      <a:pos x="124" y="38"/>
                    </a:cxn>
                    <a:cxn ang="0">
                      <a:pos x="112" y="54"/>
                    </a:cxn>
                    <a:cxn ang="0">
                      <a:pos x="94" y="78"/>
                    </a:cxn>
                    <a:cxn ang="0">
                      <a:pos x="88" y="80"/>
                    </a:cxn>
                    <a:cxn ang="0">
                      <a:pos x="82" y="80"/>
                    </a:cxn>
                    <a:cxn ang="0">
                      <a:pos x="74" y="80"/>
                    </a:cxn>
                    <a:cxn ang="0">
                      <a:pos x="70" y="80"/>
                    </a:cxn>
                    <a:cxn ang="0">
                      <a:pos x="66" y="82"/>
                    </a:cxn>
                    <a:cxn ang="0">
                      <a:pos x="62" y="86"/>
                    </a:cxn>
                    <a:cxn ang="0">
                      <a:pos x="58" y="96"/>
                    </a:cxn>
                    <a:cxn ang="0">
                      <a:pos x="52" y="104"/>
                    </a:cxn>
                    <a:cxn ang="0">
                      <a:pos x="48" y="108"/>
                    </a:cxn>
                    <a:cxn ang="0">
                      <a:pos x="42" y="108"/>
                    </a:cxn>
                    <a:cxn ang="0">
                      <a:pos x="34" y="106"/>
                    </a:cxn>
                    <a:cxn ang="0">
                      <a:pos x="28" y="102"/>
                    </a:cxn>
                    <a:cxn ang="0">
                      <a:pos x="22" y="94"/>
                    </a:cxn>
                    <a:cxn ang="0">
                      <a:pos x="16" y="86"/>
                    </a:cxn>
                    <a:cxn ang="0">
                      <a:pos x="6" y="68"/>
                    </a:cxn>
                    <a:cxn ang="0">
                      <a:pos x="0" y="54"/>
                    </a:cxn>
                    <a:cxn ang="0">
                      <a:pos x="12" y="50"/>
                    </a:cxn>
                    <a:cxn ang="0">
                      <a:pos x="46" y="12"/>
                    </a:cxn>
                  </a:cxnLst>
                  <a:rect l="0" t="0" r="r" b="b"/>
                  <a:pathLst>
                    <a:path w="130" h="108">
                      <a:moveTo>
                        <a:pt x="46" y="12"/>
                      </a:moveTo>
                      <a:lnTo>
                        <a:pt x="50" y="10"/>
                      </a:lnTo>
                      <a:lnTo>
                        <a:pt x="60" y="6"/>
                      </a:lnTo>
                      <a:lnTo>
                        <a:pt x="76" y="0"/>
                      </a:lnTo>
                      <a:lnTo>
                        <a:pt x="88" y="2"/>
                      </a:lnTo>
                      <a:lnTo>
                        <a:pt x="106" y="8"/>
                      </a:lnTo>
                      <a:lnTo>
                        <a:pt x="122" y="18"/>
                      </a:lnTo>
                      <a:lnTo>
                        <a:pt x="128" y="22"/>
                      </a:lnTo>
                      <a:lnTo>
                        <a:pt x="130" y="26"/>
                      </a:lnTo>
                      <a:lnTo>
                        <a:pt x="124" y="38"/>
                      </a:lnTo>
                      <a:lnTo>
                        <a:pt x="112" y="54"/>
                      </a:lnTo>
                      <a:lnTo>
                        <a:pt x="94" y="78"/>
                      </a:lnTo>
                      <a:lnTo>
                        <a:pt x="88" y="80"/>
                      </a:lnTo>
                      <a:lnTo>
                        <a:pt x="82" y="80"/>
                      </a:lnTo>
                      <a:lnTo>
                        <a:pt x="74" y="80"/>
                      </a:lnTo>
                      <a:lnTo>
                        <a:pt x="70" y="80"/>
                      </a:lnTo>
                      <a:lnTo>
                        <a:pt x="66" y="82"/>
                      </a:lnTo>
                      <a:lnTo>
                        <a:pt x="62" y="86"/>
                      </a:lnTo>
                      <a:lnTo>
                        <a:pt x="58" y="96"/>
                      </a:lnTo>
                      <a:lnTo>
                        <a:pt x="52" y="104"/>
                      </a:lnTo>
                      <a:lnTo>
                        <a:pt x="48" y="108"/>
                      </a:lnTo>
                      <a:lnTo>
                        <a:pt x="42" y="108"/>
                      </a:lnTo>
                      <a:lnTo>
                        <a:pt x="34" y="106"/>
                      </a:lnTo>
                      <a:lnTo>
                        <a:pt x="28" y="102"/>
                      </a:lnTo>
                      <a:lnTo>
                        <a:pt x="22" y="94"/>
                      </a:lnTo>
                      <a:lnTo>
                        <a:pt x="16" y="86"/>
                      </a:lnTo>
                      <a:lnTo>
                        <a:pt x="6" y="68"/>
                      </a:lnTo>
                      <a:lnTo>
                        <a:pt x="0" y="54"/>
                      </a:lnTo>
                      <a:lnTo>
                        <a:pt x="12" y="50"/>
                      </a:lnTo>
                      <a:lnTo>
                        <a:pt x="46" y="12"/>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1" name="Namibia">
                  <a:extLst>
                    <a:ext uri="{FF2B5EF4-FFF2-40B4-BE49-F238E27FC236}">
                      <a16:creationId xmlns:a16="http://schemas.microsoft.com/office/drawing/2014/main" id="{03BF7DBE-40E8-43EA-9C30-EE0C8CB15036}"/>
                    </a:ext>
                  </a:extLst>
                </p:cNvPr>
                <p:cNvSpPr>
                  <a:spLocks/>
                </p:cNvSpPr>
                <p:nvPr/>
              </p:nvSpPr>
              <p:spPr bwMode="gray">
                <a:xfrm>
                  <a:off x="4675188" y="5614988"/>
                  <a:ext cx="838200" cy="727075"/>
                </a:xfrm>
                <a:custGeom>
                  <a:avLst/>
                  <a:gdLst/>
                  <a:ahLst/>
                  <a:cxnLst>
                    <a:cxn ang="0">
                      <a:pos x="50" y="118"/>
                    </a:cxn>
                    <a:cxn ang="0">
                      <a:pos x="90" y="188"/>
                    </a:cxn>
                    <a:cxn ang="0">
                      <a:pos x="146" y="278"/>
                    </a:cxn>
                    <a:cxn ang="0">
                      <a:pos x="160" y="290"/>
                    </a:cxn>
                    <a:cxn ang="0">
                      <a:pos x="168" y="306"/>
                    </a:cxn>
                    <a:cxn ang="0">
                      <a:pos x="168" y="314"/>
                    </a:cxn>
                    <a:cxn ang="0">
                      <a:pos x="160" y="322"/>
                    </a:cxn>
                    <a:cxn ang="0">
                      <a:pos x="146" y="330"/>
                    </a:cxn>
                    <a:cxn ang="0">
                      <a:pos x="148" y="370"/>
                    </a:cxn>
                    <a:cxn ang="0">
                      <a:pos x="166" y="416"/>
                    </a:cxn>
                    <a:cxn ang="0">
                      <a:pos x="168" y="452"/>
                    </a:cxn>
                    <a:cxn ang="0">
                      <a:pos x="174" y="468"/>
                    </a:cxn>
                    <a:cxn ang="0">
                      <a:pos x="184" y="480"/>
                    </a:cxn>
                    <a:cxn ang="0">
                      <a:pos x="190" y="532"/>
                    </a:cxn>
                    <a:cxn ang="0">
                      <a:pos x="216" y="568"/>
                    </a:cxn>
                    <a:cxn ang="0">
                      <a:pos x="256" y="606"/>
                    </a:cxn>
                    <a:cxn ang="0">
                      <a:pos x="262" y="598"/>
                    </a:cxn>
                    <a:cxn ang="0">
                      <a:pos x="272" y="580"/>
                    </a:cxn>
                    <a:cxn ang="0">
                      <a:pos x="281" y="576"/>
                    </a:cxn>
                    <a:cxn ang="0">
                      <a:pos x="293" y="580"/>
                    </a:cxn>
                    <a:cxn ang="0">
                      <a:pos x="299" y="590"/>
                    </a:cxn>
                    <a:cxn ang="0">
                      <a:pos x="309" y="610"/>
                    </a:cxn>
                    <a:cxn ang="0">
                      <a:pos x="323" y="616"/>
                    </a:cxn>
                    <a:cxn ang="0">
                      <a:pos x="363" y="622"/>
                    </a:cxn>
                    <a:cxn ang="0">
                      <a:pos x="385" y="622"/>
                    </a:cxn>
                    <a:cxn ang="0">
                      <a:pos x="403" y="610"/>
                    </a:cxn>
                    <a:cxn ang="0">
                      <a:pos x="423" y="600"/>
                    </a:cxn>
                    <a:cxn ang="0">
                      <a:pos x="431" y="596"/>
                    </a:cxn>
                    <a:cxn ang="0">
                      <a:pos x="429" y="266"/>
                    </a:cxn>
                    <a:cxn ang="0">
                      <a:pos x="485" y="64"/>
                    </a:cxn>
                    <a:cxn ang="0">
                      <a:pos x="607" y="48"/>
                    </a:cxn>
                    <a:cxn ang="0">
                      <a:pos x="631" y="70"/>
                    </a:cxn>
                    <a:cxn ang="0">
                      <a:pos x="653" y="52"/>
                    </a:cxn>
                    <a:cxn ang="0">
                      <a:pos x="667" y="44"/>
                    </a:cxn>
                    <a:cxn ang="0">
                      <a:pos x="685" y="42"/>
                    </a:cxn>
                    <a:cxn ang="0">
                      <a:pos x="717" y="42"/>
                    </a:cxn>
                    <a:cxn ang="0">
                      <a:pos x="703" y="32"/>
                    </a:cxn>
                    <a:cxn ang="0">
                      <a:pos x="689" y="26"/>
                    </a:cxn>
                    <a:cxn ang="0">
                      <a:pos x="657" y="26"/>
                    </a:cxn>
                    <a:cxn ang="0">
                      <a:pos x="587" y="36"/>
                    </a:cxn>
                    <a:cxn ang="0">
                      <a:pos x="515" y="48"/>
                    </a:cxn>
                    <a:cxn ang="0">
                      <a:pos x="457" y="48"/>
                    </a:cxn>
                    <a:cxn ang="0">
                      <a:pos x="393" y="42"/>
                    </a:cxn>
                    <a:cxn ang="0">
                      <a:pos x="367" y="34"/>
                    </a:cxn>
                    <a:cxn ang="0">
                      <a:pos x="357" y="26"/>
                    </a:cxn>
                    <a:cxn ang="0">
                      <a:pos x="349" y="20"/>
                    </a:cxn>
                    <a:cxn ang="0">
                      <a:pos x="110" y="12"/>
                    </a:cxn>
                    <a:cxn ang="0">
                      <a:pos x="92" y="2"/>
                    </a:cxn>
                    <a:cxn ang="0">
                      <a:pos x="66" y="2"/>
                    </a:cxn>
                    <a:cxn ang="0">
                      <a:pos x="48" y="8"/>
                    </a:cxn>
                    <a:cxn ang="0">
                      <a:pos x="20" y="8"/>
                    </a:cxn>
                    <a:cxn ang="0">
                      <a:pos x="0" y="8"/>
                    </a:cxn>
                    <a:cxn ang="0">
                      <a:pos x="10" y="48"/>
                    </a:cxn>
                    <a:cxn ang="0">
                      <a:pos x="28" y="82"/>
                    </a:cxn>
                    <a:cxn ang="0">
                      <a:pos x="40" y="96"/>
                    </a:cxn>
                  </a:cxnLst>
                  <a:rect l="0" t="0" r="r" b="b"/>
                  <a:pathLst>
                    <a:path w="717" h="622">
                      <a:moveTo>
                        <a:pt x="40" y="96"/>
                      </a:moveTo>
                      <a:lnTo>
                        <a:pt x="50" y="118"/>
                      </a:lnTo>
                      <a:lnTo>
                        <a:pt x="62" y="142"/>
                      </a:lnTo>
                      <a:lnTo>
                        <a:pt x="90" y="188"/>
                      </a:lnTo>
                      <a:lnTo>
                        <a:pt x="120" y="236"/>
                      </a:lnTo>
                      <a:lnTo>
                        <a:pt x="146" y="278"/>
                      </a:lnTo>
                      <a:lnTo>
                        <a:pt x="154" y="284"/>
                      </a:lnTo>
                      <a:lnTo>
                        <a:pt x="160" y="290"/>
                      </a:lnTo>
                      <a:lnTo>
                        <a:pt x="166" y="298"/>
                      </a:lnTo>
                      <a:lnTo>
                        <a:pt x="168" y="306"/>
                      </a:lnTo>
                      <a:lnTo>
                        <a:pt x="168" y="310"/>
                      </a:lnTo>
                      <a:lnTo>
                        <a:pt x="168" y="314"/>
                      </a:lnTo>
                      <a:lnTo>
                        <a:pt x="166" y="318"/>
                      </a:lnTo>
                      <a:lnTo>
                        <a:pt x="160" y="322"/>
                      </a:lnTo>
                      <a:lnTo>
                        <a:pt x="154" y="326"/>
                      </a:lnTo>
                      <a:lnTo>
                        <a:pt x="146" y="330"/>
                      </a:lnTo>
                      <a:lnTo>
                        <a:pt x="148" y="330"/>
                      </a:lnTo>
                      <a:lnTo>
                        <a:pt x="148" y="370"/>
                      </a:lnTo>
                      <a:lnTo>
                        <a:pt x="162" y="400"/>
                      </a:lnTo>
                      <a:lnTo>
                        <a:pt x="166" y="416"/>
                      </a:lnTo>
                      <a:lnTo>
                        <a:pt x="168" y="428"/>
                      </a:lnTo>
                      <a:lnTo>
                        <a:pt x="168" y="452"/>
                      </a:lnTo>
                      <a:lnTo>
                        <a:pt x="170" y="460"/>
                      </a:lnTo>
                      <a:lnTo>
                        <a:pt x="174" y="468"/>
                      </a:lnTo>
                      <a:lnTo>
                        <a:pt x="178" y="476"/>
                      </a:lnTo>
                      <a:lnTo>
                        <a:pt x="184" y="480"/>
                      </a:lnTo>
                      <a:lnTo>
                        <a:pt x="184" y="518"/>
                      </a:lnTo>
                      <a:lnTo>
                        <a:pt x="190" y="532"/>
                      </a:lnTo>
                      <a:lnTo>
                        <a:pt x="198" y="544"/>
                      </a:lnTo>
                      <a:lnTo>
                        <a:pt x="216" y="568"/>
                      </a:lnTo>
                      <a:lnTo>
                        <a:pt x="236" y="588"/>
                      </a:lnTo>
                      <a:lnTo>
                        <a:pt x="256" y="606"/>
                      </a:lnTo>
                      <a:lnTo>
                        <a:pt x="260" y="604"/>
                      </a:lnTo>
                      <a:lnTo>
                        <a:pt x="262" y="598"/>
                      </a:lnTo>
                      <a:lnTo>
                        <a:pt x="266" y="588"/>
                      </a:lnTo>
                      <a:lnTo>
                        <a:pt x="272" y="580"/>
                      </a:lnTo>
                      <a:lnTo>
                        <a:pt x="274" y="578"/>
                      </a:lnTo>
                      <a:lnTo>
                        <a:pt x="281" y="576"/>
                      </a:lnTo>
                      <a:lnTo>
                        <a:pt x="287" y="578"/>
                      </a:lnTo>
                      <a:lnTo>
                        <a:pt x="293" y="580"/>
                      </a:lnTo>
                      <a:lnTo>
                        <a:pt x="295" y="584"/>
                      </a:lnTo>
                      <a:lnTo>
                        <a:pt x="299" y="590"/>
                      </a:lnTo>
                      <a:lnTo>
                        <a:pt x="303" y="602"/>
                      </a:lnTo>
                      <a:lnTo>
                        <a:pt x="309" y="610"/>
                      </a:lnTo>
                      <a:lnTo>
                        <a:pt x="315" y="614"/>
                      </a:lnTo>
                      <a:lnTo>
                        <a:pt x="323" y="616"/>
                      </a:lnTo>
                      <a:lnTo>
                        <a:pt x="341" y="620"/>
                      </a:lnTo>
                      <a:lnTo>
                        <a:pt x="363" y="622"/>
                      </a:lnTo>
                      <a:lnTo>
                        <a:pt x="379" y="622"/>
                      </a:lnTo>
                      <a:lnTo>
                        <a:pt x="385" y="622"/>
                      </a:lnTo>
                      <a:lnTo>
                        <a:pt x="393" y="618"/>
                      </a:lnTo>
                      <a:lnTo>
                        <a:pt x="403" y="610"/>
                      </a:lnTo>
                      <a:lnTo>
                        <a:pt x="415" y="602"/>
                      </a:lnTo>
                      <a:lnTo>
                        <a:pt x="423" y="600"/>
                      </a:lnTo>
                      <a:lnTo>
                        <a:pt x="431" y="598"/>
                      </a:lnTo>
                      <a:lnTo>
                        <a:pt x="431" y="596"/>
                      </a:lnTo>
                      <a:lnTo>
                        <a:pt x="429" y="414"/>
                      </a:lnTo>
                      <a:lnTo>
                        <a:pt x="429" y="266"/>
                      </a:lnTo>
                      <a:lnTo>
                        <a:pt x="485" y="266"/>
                      </a:lnTo>
                      <a:lnTo>
                        <a:pt x="485" y="64"/>
                      </a:lnTo>
                      <a:lnTo>
                        <a:pt x="493" y="64"/>
                      </a:lnTo>
                      <a:lnTo>
                        <a:pt x="607" y="48"/>
                      </a:lnTo>
                      <a:lnTo>
                        <a:pt x="619" y="58"/>
                      </a:lnTo>
                      <a:lnTo>
                        <a:pt x="631" y="70"/>
                      </a:lnTo>
                      <a:lnTo>
                        <a:pt x="643" y="62"/>
                      </a:lnTo>
                      <a:lnTo>
                        <a:pt x="653" y="52"/>
                      </a:lnTo>
                      <a:lnTo>
                        <a:pt x="659" y="48"/>
                      </a:lnTo>
                      <a:lnTo>
                        <a:pt x="667" y="44"/>
                      </a:lnTo>
                      <a:lnTo>
                        <a:pt x="675" y="42"/>
                      </a:lnTo>
                      <a:lnTo>
                        <a:pt x="685" y="42"/>
                      </a:lnTo>
                      <a:lnTo>
                        <a:pt x="701" y="42"/>
                      </a:lnTo>
                      <a:lnTo>
                        <a:pt x="717" y="42"/>
                      </a:lnTo>
                      <a:lnTo>
                        <a:pt x="709" y="38"/>
                      </a:lnTo>
                      <a:lnTo>
                        <a:pt x="703" y="32"/>
                      </a:lnTo>
                      <a:lnTo>
                        <a:pt x="693" y="26"/>
                      </a:lnTo>
                      <a:lnTo>
                        <a:pt x="689" y="26"/>
                      </a:lnTo>
                      <a:lnTo>
                        <a:pt x="681" y="24"/>
                      </a:lnTo>
                      <a:lnTo>
                        <a:pt x="657" y="26"/>
                      </a:lnTo>
                      <a:lnTo>
                        <a:pt x="633" y="28"/>
                      </a:lnTo>
                      <a:lnTo>
                        <a:pt x="587" y="36"/>
                      </a:lnTo>
                      <a:lnTo>
                        <a:pt x="541" y="44"/>
                      </a:lnTo>
                      <a:lnTo>
                        <a:pt x="515" y="48"/>
                      </a:lnTo>
                      <a:lnTo>
                        <a:pt x="489" y="48"/>
                      </a:lnTo>
                      <a:lnTo>
                        <a:pt x="457" y="48"/>
                      </a:lnTo>
                      <a:lnTo>
                        <a:pt x="425" y="46"/>
                      </a:lnTo>
                      <a:lnTo>
                        <a:pt x="393" y="42"/>
                      </a:lnTo>
                      <a:lnTo>
                        <a:pt x="379" y="38"/>
                      </a:lnTo>
                      <a:lnTo>
                        <a:pt x="367" y="34"/>
                      </a:lnTo>
                      <a:lnTo>
                        <a:pt x="361" y="32"/>
                      </a:lnTo>
                      <a:lnTo>
                        <a:pt x="357" y="26"/>
                      </a:lnTo>
                      <a:lnTo>
                        <a:pt x="353" y="22"/>
                      </a:lnTo>
                      <a:lnTo>
                        <a:pt x="349" y="20"/>
                      </a:lnTo>
                      <a:lnTo>
                        <a:pt x="118" y="20"/>
                      </a:lnTo>
                      <a:lnTo>
                        <a:pt x="110" y="12"/>
                      </a:lnTo>
                      <a:lnTo>
                        <a:pt x="102" y="6"/>
                      </a:lnTo>
                      <a:lnTo>
                        <a:pt x="92" y="2"/>
                      </a:lnTo>
                      <a:lnTo>
                        <a:pt x="78" y="0"/>
                      </a:lnTo>
                      <a:lnTo>
                        <a:pt x="66" y="2"/>
                      </a:lnTo>
                      <a:lnTo>
                        <a:pt x="56" y="4"/>
                      </a:lnTo>
                      <a:lnTo>
                        <a:pt x="48" y="8"/>
                      </a:lnTo>
                      <a:lnTo>
                        <a:pt x="38" y="8"/>
                      </a:lnTo>
                      <a:lnTo>
                        <a:pt x="20" y="8"/>
                      </a:lnTo>
                      <a:lnTo>
                        <a:pt x="12" y="8"/>
                      </a:lnTo>
                      <a:lnTo>
                        <a:pt x="0" y="8"/>
                      </a:lnTo>
                      <a:lnTo>
                        <a:pt x="0" y="32"/>
                      </a:lnTo>
                      <a:lnTo>
                        <a:pt x="10" y="48"/>
                      </a:lnTo>
                      <a:lnTo>
                        <a:pt x="20" y="64"/>
                      </a:lnTo>
                      <a:lnTo>
                        <a:pt x="28" y="82"/>
                      </a:lnTo>
                      <a:lnTo>
                        <a:pt x="38" y="96"/>
                      </a:lnTo>
                      <a:lnTo>
                        <a:pt x="40" y="96"/>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2" name="Botswana">
                  <a:extLst>
                    <a:ext uri="{FF2B5EF4-FFF2-40B4-BE49-F238E27FC236}">
                      <a16:creationId xmlns:a16="http://schemas.microsoft.com/office/drawing/2014/main" id="{159CBEF1-7E3D-4AD0-AD15-586DCF1F6456}"/>
                    </a:ext>
                  </a:extLst>
                </p:cNvPr>
                <p:cNvSpPr>
                  <a:spLocks/>
                </p:cNvSpPr>
                <p:nvPr/>
              </p:nvSpPr>
              <p:spPr bwMode="gray">
                <a:xfrm>
                  <a:off x="5176838" y="5664200"/>
                  <a:ext cx="577850" cy="554037"/>
                </a:xfrm>
                <a:custGeom>
                  <a:avLst/>
                  <a:gdLst/>
                  <a:ahLst/>
                  <a:cxnLst>
                    <a:cxn ang="0">
                      <a:pos x="294" y="10"/>
                    </a:cxn>
                    <a:cxn ang="0">
                      <a:pos x="302" y="28"/>
                    </a:cxn>
                    <a:cxn ang="0">
                      <a:pos x="320" y="50"/>
                    </a:cxn>
                    <a:cxn ang="0">
                      <a:pos x="328" y="68"/>
                    </a:cxn>
                    <a:cxn ang="0">
                      <a:pos x="334" y="88"/>
                    </a:cxn>
                    <a:cxn ang="0">
                      <a:pos x="350" y="96"/>
                    </a:cxn>
                    <a:cxn ang="0">
                      <a:pos x="374" y="106"/>
                    </a:cxn>
                    <a:cxn ang="0">
                      <a:pos x="388" y="116"/>
                    </a:cxn>
                    <a:cxn ang="0">
                      <a:pos x="394" y="128"/>
                    </a:cxn>
                    <a:cxn ang="0">
                      <a:pos x="406" y="136"/>
                    </a:cxn>
                    <a:cxn ang="0">
                      <a:pos x="412" y="146"/>
                    </a:cxn>
                    <a:cxn ang="0">
                      <a:pos x="412" y="166"/>
                    </a:cxn>
                    <a:cxn ang="0">
                      <a:pos x="414" y="182"/>
                    </a:cxn>
                    <a:cxn ang="0">
                      <a:pos x="418" y="188"/>
                    </a:cxn>
                    <a:cxn ang="0">
                      <a:pos x="448" y="200"/>
                    </a:cxn>
                    <a:cxn ang="0">
                      <a:pos x="472" y="214"/>
                    </a:cxn>
                    <a:cxn ang="0">
                      <a:pos x="494" y="228"/>
                    </a:cxn>
                    <a:cxn ang="0">
                      <a:pos x="460" y="250"/>
                    </a:cxn>
                    <a:cxn ang="0">
                      <a:pos x="440" y="254"/>
                    </a:cxn>
                    <a:cxn ang="0">
                      <a:pos x="428" y="256"/>
                    </a:cxn>
                    <a:cxn ang="0">
                      <a:pos x="408" y="274"/>
                    </a:cxn>
                    <a:cxn ang="0">
                      <a:pos x="392" y="296"/>
                    </a:cxn>
                    <a:cxn ang="0">
                      <a:pos x="380" y="304"/>
                    </a:cxn>
                    <a:cxn ang="0">
                      <a:pos x="366" y="314"/>
                    </a:cxn>
                    <a:cxn ang="0">
                      <a:pos x="350" y="340"/>
                    </a:cxn>
                    <a:cxn ang="0">
                      <a:pos x="336" y="358"/>
                    </a:cxn>
                    <a:cxn ang="0">
                      <a:pos x="322" y="364"/>
                    </a:cxn>
                    <a:cxn ang="0">
                      <a:pos x="310" y="366"/>
                    </a:cxn>
                    <a:cxn ang="0">
                      <a:pos x="306" y="370"/>
                    </a:cxn>
                    <a:cxn ang="0">
                      <a:pos x="292" y="402"/>
                    </a:cxn>
                    <a:cxn ang="0">
                      <a:pos x="282" y="412"/>
                    </a:cxn>
                    <a:cxn ang="0">
                      <a:pos x="266" y="416"/>
                    </a:cxn>
                    <a:cxn ang="0">
                      <a:pos x="194" y="412"/>
                    </a:cxn>
                    <a:cxn ang="0">
                      <a:pos x="176" y="398"/>
                    </a:cxn>
                    <a:cxn ang="0">
                      <a:pos x="166" y="396"/>
                    </a:cxn>
                    <a:cxn ang="0">
                      <a:pos x="152" y="400"/>
                    </a:cxn>
                    <a:cxn ang="0">
                      <a:pos x="146" y="410"/>
                    </a:cxn>
                    <a:cxn ang="0">
                      <a:pos x="140" y="430"/>
                    </a:cxn>
                    <a:cxn ang="0">
                      <a:pos x="122" y="448"/>
                    </a:cxn>
                    <a:cxn ang="0">
                      <a:pos x="102" y="464"/>
                    </a:cxn>
                    <a:cxn ang="0">
                      <a:pos x="78" y="474"/>
                    </a:cxn>
                    <a:cxn ang="0">
                      <a:pos x="54" y="472"/>
                    </a:cxn>
                    <a:cxn ang="0">
                      <a:pos x="40" y="470"/>
                    </a:cxn>
                    <a:cxn ang="0">
                      <a:pos x="32" y="466"/>
                    </a:cxn>
                    <a:cxn ang="0">
                      <a:pos x="34" y="454"/>
                    </a:cxn>
                    <a:cxn ang="0">
                      <a:pos x="40" y="440"/>
                    </a:cxn>
                    <a:cxn ang="0">
                      <a:pos x="40" y="420"/>
                    </a:cxn>
                    <a:cxn ang="0">
                      <a:pos x="36" y="402"/>
                    </a:cxn>
                    <a:cxn ang="0">
                      <a:pos x="20" y="384"/>
                    </a:cxn>
                    <a:cxn ang="0">
                      <a:pos x="0" y="372"/>
                    </a:cxn>
                    <a:cxn ang="0">
                      <a:pos x="56" y="224"/>
                    </a:cxn>
                    <a:cxn ang="0">
                      <a:pos x="64" y="22"/>
                    </a:cxn>
                    <a:cxn ang="0">
                      <a:pos x="190" y="16"/>
                    </a:cxn>
                    <a:cxn ang="0">
                      <a:pos x="214" y="20"/>
                    </a:cxn>
                    <a:cxn ang="0">
                      <a:pos x="230" y="6"/>
                    </a:cxn>
                    <a:cxn ang="0">
                      <a:pos x="246" y="0"/>
                    </a:cxn>
                    <a:cxn ang="0">
                      <a:pos x="274" y="0"/>
                    </a:cxn>
                    <a:cxn ang="0">
                      <a:pos x="292" y="0"/>
                    </a:cxn>
                  </a:cxnLst>
                  <a:rect l="0" t="0" r="r" b="b"/>
                  <a:pathLst>
                    <a:path w="494" h="474">
                      <a:moveTo>
                        <a:pt x="292" y="0"/>
                      </a:moveTo>
                      <a:lnTo>
                        <a:pt x="294" y="10"/>
                      </a:lnTo>
                      <a:lnTo>
                        <a:pt x="296" y="20"/>
                      </a:lnTo>
                      <a:lnTo>
                        <a:pt x="302" y="28"/>
                      </a:lnTo>
                      <a:lnTo>
                        <a:pt x="308" y="34"/>
                      </a:lnTo>
                      <a:lnTo>
                        <a:pt x="320" y="50"/>
                      </a:lnTo>
                      <a:lnTo>
                        <a:pt x="324" y="58"/>
                      </a:lnTo>
                      <a:lnTo>
                        <a:pt x="328" y="68"/>
                      </a:lnTo>
                      <a:lnTo>
                        <a:pt x="332" y="82"/>
                      </a:lnTo>
                      <a:lnTo>
                        <a:pt x="334" y="88"/>
                      </a:lnTo>
                      <a:lnTo>
                        <a:pt x="340" y="92"/>
                      </a:lnTo>
                      <a:lnTo>
                        <a:pt x="350" y="96"/>
                      </a:lnTo>
                      <a:lnTo>
                        <a:pt x="362" y="102"/>
                      </a:lnTo>
                      <a:lnTo>
                        <a:pt x="374" y="106"/>
                      </a:lnTo>
                      <a:lnTo>
                        <a:pt x="384" y="112"/>
                      </a:lnTo>
                      <a:lnTo>
                        <a:pt x="388" y="116"/>
                      </a:lnTo>
                      <a:lnTo>
                        <a:pt x="392" y="122"/>
                      </a:lnTo>
                      <a:lnTo>
                        <a:pt x="394" y="128"/>
                      </a:lnTo>
                      <a:lnTo>
                        <a:pt x="400" y="132"/>
                      </a:lnTo>
                      <a:lnTo>
                        <a:pt x="406" y="136"/>
                      </a:lnTo>
                      <a:lnTo>
                        <a:pt x="410" y="140"/>
                      </a:lnTo>
                      <a:lnTo>
                        <a:pt x="412" y="146"/>
                      </a:lnTo>
                      <a:lnTo>
                        <a:pt x="412" y="152"/>
                      </a:lnTo>
                      <a:lnTo>
                        <a:pt x="412" y="166"/>
                      </a:lnTo>
                      <a:lnTo>
                        <a:pt x="412" y="174"/>
                      </a:lnTo>
                      <a:lnTo>
                        <a:pt x="414" y="182"/>
                      </a:lnTo>
                      <a:lnTo>
                        <a:pt x="416" y="186"/>
                      </a:lnTo>
                      <a:lnTo>
                        <a:pt x="418" y="188"/>
                      </a:lnTo>
                      <a:lnTo>
                        <a:pt x="428" y="194"/>
                      </a:lnTo>
                      <a:lnTo>
                        <a:pt x="448" y="200"/>
                      </a:lnTo>
                      <a:lnTo>
                        <a:pt x="462" y="206"/>
                      </a:lnTo>
                      <a:lnTo>
                        <a:pt x="472" y="214"/>
                      </a:lnTo>
                      <a:lnTo>
                        <a:pt x="482" y="222"/>
                      </a:lnTo>
                      <a:lnTo>
                        <a:pt x="494" y="228"/>
                      </a:lnTo>
                      <a:lnTo>
                        <a:pt x="472" y="244"/>
                      </a:lnTo>
                      <a:lnTo>
                        <a:pt x="460" y="250"/>
                      </a:lnTo>
                      <a:lnTo>
                        <a:pt x="452" y="254"/>
                      </a:lnTo>
                      <a:lnTo>
                        <a:pt x="440" y="254"/>
                      </a:lnTo>
                      <a:lnTo>
                        <a:pt x="434" y="254"/>
                      </a:lnTo>
                      <a:lnTo>
                        <a:pt x="428" y="256"/>
                      </a:lnTo>
                      <a:lnTo>
                        <a:pt x="416" y="264"/>
                      </a:lnTo>
                      <a:lnTo>
                        <a:pt x="408" y="274"/>
                      </a:lnTo>
                      <a:lnTo>
                        <a:pt x="400" y="286"/>
                      </a:lnTo>
                      <a:lnTo>
                        <a:pt x="392" y="296"/>
                      </a:lnTo>
                      <a:lnTo>
                        <a:pt x="386" y="300"/>
                      </a:lnTo>
                      <a:lnTo>
                        <a:pt x="380" y="304"/>
                      </a:lnTo>
                      <a:lnTo>
                        <a:pt x="372" y="308"/>
                      </a:lnTo>
                      <a:lnTo>
                        <a:pt x="366" y="314"/>
                      </a:lnTo>
                      <a:lnTo>
                        <a:pt x="358" y="328"/>
                      </a:lnTo>
                      <a:lnTo>
                        <a:pt x="350" y="340"/>
                      </a:lnTo>
                      <a:lnTo>
                        <a:pt x="342" y="352"/>
                      </a:lnTo>
                      <a:lnTo>
                        <a:pt x="336" y="358"/>
                      </a:lnTo>
                      <a:lnTo>
                        <a:pt x="328" y="362"/>
                      </a:lnTo>
                      <a:lnTo>
                        <a:pt x="322" y="364"/>
                      </a:lnTo>
                      <a:lnTo>
                        <a:pt x="316" y="364"/>
                      </a:lnTo>
                      <a:lnTo>
                        <a:pt x="310" y="366"/>
                      </a:lnTo>
                      <a:lnTo>
                        <a:pt x="308" y="368"/>
                      </a:lnTo>
                      <a:lnTo>
                        <a:pt x="306" y="370"/>
                      </a:lnTo>
                      <a:lnTo>
                        <a:pt x="300" y="388"/>
                      </a:lnTo>
                      <a:lnTo>
                        <a:pt x="292" y="402"/>
                      </a:lnTo>
                      <a:lnTo>
                        <a:pt x="288" y="408"/>
                      </a:lnTo>
                      <a:lnTo>
                        <a:pt x="282" y="412"/>
                      </a:lnTo>
                      <a:lnTo>
                        <a:pt x="276" y="416"/>
                      </a:lnTo>
                      <a:lnTo>
                        <a:pt x="266" y="416"/>
                      </a:lnTo>
                      <a:lnTo>
                        <a:pt x="202" y="416"/>
                      </a:lnTo>
                      <a:lnTo>
                        <a:pt x="194" y="412"/>
                      </a:lnTo>
                      <a:lnTo>
                        <a:pt x="186" y="404"/>
                      </a:lnTo>
                      <a:lnTo>
                        <a:pt x="176" y="398"/>
                      </a:lnTo>
                      <a:lnTo>
                        <a:pt x="172" y="396"/>
                      </a:lnTo>
                      <a:lnTo>
                        <a:pt x="166" y="396"/>
                      </a:lnTo>
                      <a:lnTo>
                        <a:pt x="158" y="398"/>
                      </a:lnTo>
                      <a:lnTo>
                        <a:pt x="152" y="400"/>
                      </a:lnTo>
                      <a:lnTo>
                        <a:pt x="148" y="406"/>
                      </a:lnTo>
                      <a:lnTo>
                        <a:pt x="146" y="410"/>
                      </a:lnTo>
                      <a:lnTo>
                        <a:pt x="142" y="424"/>
                      </a:lnTo>
                      <a:lnTo>
                        <a:pt x="140" y="430"/>
                      </a:lnTo>
                      <a:lnTo>
                        <a:pt x="136" y="434"/>
                      </a:lnTo>
                      <a:lnTo>
                        <a:pt x="122" y="448"/>
                      </a:lnTo>
                      <a:lnTo>
                        <a:pt x="112" y="456"/>
                      </a:lnTo>
                      <a:lnTo>
                        <a:pt x="102" y="464"/>
                      </a:lnTo>
                      <a:lnTo>
                        <a:pt x="90" y="470"/>
                      </a:lnTo>
                      <a:lnTo>
                        <a:pt x="78" y="474"/>
                      </a:lnTo>
                      <a:lnTo>
                        <a:pt x="66" y="474"/>
                      </a:lnTo>
                      <a:lnTo>
                        <a:pt x="54" y="472"/>
                      </a:lnTo>
                      <a:lnTo>
                        <a:pt x="46" y="470"/>
                      </a:lnTo>
                      <a:lnTo>
                        <a:pt x="40" y="470"/>
                      </a:lnTo>
                      <a:lnTo>
                        <a:pt x="34" y="468"/>
                      </a:lnTo>
                      <a:lnTo>
                        <a:pt x="32" y="466"/>
                      </a:lnTo>
                      <a:lnTo>
                        <a:pt x="32" y="462"/>
                      </a:lnTo>
                      <a:lnTo>
                        <a:pt x="34" y="454"/>
                      </a:lnTo>
                      <a:lnTo>
                        <a:pt x="36" y="448"/>
                      </a:lnTo>
                      <a:lnTo>
                        <a:pt x="40" y="440"/>
                      </a:lnTo>
                      <a:lnTo>
                        <a:pt x="42" y="430"/>
                      </a:lnTo>
                      <a:lnTo>
                        <a:pt x="40" y="420"/>
                      </a:lnTo>
                      <a:lnTo>
                        <a:pt x="38" y="410"/>
                      </a:lnTo>
                      <a:lnTo>
                        <a:pt x="36" y="402"/>
                      </a:lnTo>
                      <a:lnTo>
                        <a:pt x="30" y="396"/>
                      </a:lnTo>
                      <a:lnTo>
                        <a:pt x="20" y="384"/>
                      </a:lnTo>
                      <a:lnTo>
                        <a:pt x="8" y="374"/>
                      </a:lnTo>
                      <a:lnTo>
                        <a:pt x="0" y="372"/>
                      </a:lnTo>
                      <a:lnTo>
                        <a:pt x="0" y="224"/>
                      </a:lnTo>
                      <a:lnTo>
                        <a:pt x="56" y="224"/>
                      </a:lnTo>
                      <a:lnTo>
                        <a:pt x="56" y="22"/>
                      </a:lnTo>
                      <a:lnTo>
                        <a:pt x="64" y="22"/>
                      </a:lnTo>
                      <a:lnTo>
                        <a:pt x="178" y="6"/>
                      </a:lnTo>
                      <a:lnTo>
                        <a:pt x="190" y="16"/>
                      </a:lnTo>
                      <a:lnTo>
                        <a:pt x="202" y="28"/>
                      </a:lnTo>
                      <a:lnTo>
                        <a:pt x="214" y="20"/>
                      </a:lnTo>
                      <a:lnTo>
                        <a:pt x="224" y="10"/>
                      </a:lnTo>
                      <a:lnTo>
                        <a:pt x="230" y="6"/>
                      </a:lnTo>
                      <a:lnTo>
                        <a:pt x="238" y="2"/>
                      </a:lnTo>
                      <a:lnTo>
                        <a:pt x="246" y="0"/>
                      </a:lnTo>
                      <a:lnTo>
                        <a:pt x="256" y="0"/>
                      </a:lnTo>
                      <a:lnTo>
                        <a:pt x="274" y="0"/>
                      </a:lnTo>
                      <a:lnTo>
                        <a:pt x="290" y="0"/>
                      </a:lnTo>
                      <a:lnTo>
                        <a:pt x="292" y="0"/>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3" name="Zambia">
                  <a:extLst>
                    <a:ext uri="{FF2B5EF4-FFF2-40B4-BE49-F238E27FC236}">
                      <a16:creationId xmlns:a16="http://schemas.microsoft.com/office/drawing/2014/main" id="{704E4A7C-BC73-40D6-8BA4-4EBBE03650D1}"/>
                    </a:ext>
                  </a:extLst>
                </p:cNvPr>
                <p:cNvSpPr>
                  <a:spLocks/>
                </p:cNvSpPr>
                <p:nvPr/>
              </p:nvSpPr>
              <p:spPr bwMode="gray">
                <a:xfrm>
                  <a:off x="5311775" y="5057775"/>
                  <a:ext cx="730250" cy="622300"/>
                </a:xfrm>
                <a:custGeom>
                  <a:avLst/>
                  <a:gdLst/>
                  <a:ahLst/>
                  <a:cxnLst>
                    <a:cxn ang="0">
                      <a:pos x="390" y="406"/>
                    </a:cxn>
                    <a:cxn ang="0">
                      <a:pos x="368" y="422"/>
                    </a:cxn>
                    <a:cxn ang="0">
                      <a:pos x="360" y="442"/>
                    </a:cxn>
                    <a:cxn ang="0">
                      <a:pos x="354" y="452"/>
                    </a:cxn>
                    <a:cxn ang="0">
                      <a:pos x="306" y="472"/>
                    </a:cxn>
                    <a:cxn ang="0">
                      <a:pos x="280" y="512"/>
                    </a:cxn>
                    <a:cxn ang="0">
                      <a:pos x="256" y="530"/>
                    </a:cxn>
                    <a:cxn ang="0">
                      <a:pos x="210" y="526"/>
                    </a:cxn>
                    <a:cxn ang="0">
                      <a:pos x="164" y="514"/>
                    </a:cxn>
                    <a:cxn ang="0">
                      <a:pos x="144" y="502"/>
                    </a:cxn>
                    <a:cxn ang="0">
                      <a:pos x="68" y="508"/>
                    </a:cxn>
                    <a:cxn ang="0">
                      <a:pos x="52" y="264"/>
                    </a:cxn>
                    <a:cxn ang="0">
                      <a:pos x="94" y="254"/>
                    </a:cxn>
                    <a:cxn ang="0">
                      <a:pos x="110" y="236"/>
                    </a:cxn>
                    <a:cxn ang="0">
                      <a:pos x="120" y="156"/>
                    </a:cxn>
                    <a:cxn ang="0">
                      <a:pos x="128" y="166"/>
                    </a:cxn>
                    <a:cxn ang="0">
                      <a:pos x="136" y="176"/>
                    </a:cxn>
                    <a:cxn ang="0">
                      <a:pos x="156" y="166"/>
                    </a:cxn>
                    <a:cxn ang="0">
                      <a:pos x="180" y="164"/>
                    </a:cxn>
                    <a:cxn ang="0">
                      <a:pos x="196" y="190"/>
                    </a:cxn>
                    <a:cxn ang="0">
                      <a:pos x="228" y="202"/>
                    </a:cxn>
                    <a:cxn ang="0">
                      <a:pos x="268" y="198"/>
                    </a:cxn>
                    <a:cxn ang="0">
                      <a:pos x="280" y="188"/>
                    </a:cxn>
                    <a:cxn ang="0">
                      <a:pos x="294" y="210"/>
                    </a:cxn>
                    <a:cxn ang="0">
                      <a:pos x="314" y="222"/>
                    </a:cxn>
                    <a:cxn ang="0">
                      <a:pos x="342" y="230"/>
                    </a:cxn>
                    <a:cxn ang="0">
                      <a:pos x="362" y="262"/>
                    </a:cxn>
                    <a:cxn ang="0">
                      <a:pos x="382" y="280"/>
                    </a:cxn>
                    <a:cxn ang="0">
                      <a:pos x="396" y="276"/>
                    </a:cxn>
                    <a:cxn ang="0">
                      <a:pos x="420" y="274"/>
                    </a:cxn>
                    <a:cxn ang="0">
                      <a:pos x="406" y="226"/>
                    </a:cxn>
                    <a:cxn ang="0">
                      <a:pos x="374" y="220"/>
                    </a:cxn>
                    <a:cxn ang="0">
                      <a:pos x="350" y="190"/>
                    </a:cxn>
                    <a:cxn ang="0">
                      <a:pos x="346" y="164"/>
                    </a:cxn>
                    <a:cxn ang="0">
                      <a:pos x="358" y="144"/>
                    </a:cxn>
                    <a:cxn ang="0">
                      <a:pos x="354" y="70"/>
                    </a:cxn>
                    <a:cxn ang="0">
                      <a:pos x="350" y="58"/>
                    </a:cxn>
                    <a:cxn ang="0">
                      <a:pos x="368" y="42"/>
                    </a:cxn>
                    <a:cxn ang="0">
                      <a:pos x="376" y="20"/>
                    </a:cxn>
                    <a:cxn ang="0">
                      <a:pos x="390" y="10"/>
                    </a:cxn>
                    <a:cxn ang="0">
                      <a:pos x="424" y="6"/>
                    </a:cxn>
                    <a:cxn ang="0">
                      <a:pos x="494" y="22"/>
                    </a:cxn>
                    <a:cxn ang="0">
                      <a:pos x="506" y="24"/>
                    </a:cxn>
                    <a:cxn ang="0">
                      <a:pos x="522" y="30"/>
                    </a:cxn>
                    <a:cxn ang="0">
                      <a:pos x="568" y="50"/>
                    </a:cxn>
                    <a:cxn ang="0">
                      <a:pos x="610" y="76"/>
                    </a:cxn>
                    <a:cxn ang="0">
                      <a:pos x="622" y="110"/>
                    </a:cxn>
                    <a:cxn ang="0">
                      <a:pos x="624" y="128"/>
                    </a:cxn>
                    <a:cxn ang="0">
                      <a:pos x="612" y="146"/>
                    </a:cxn>
                    <a:cxn ang="0">
                      <a:pos x="608" y="166"/>
                    </a:cxn>
                    <a:cxn ang="0">
                      <a:pos x="608" y="184"/>
                    </a:cxn>
                    <a:cxn ang="0">
                      <a:pos x="614" y="208"/>
                    </a:cxn>
                    <a:cxn ang="0">
                      <a:pos x="604" y="224"/>
                    </a:cxn>
                    <a:cxn ang="0">
                      <a:pos x="600" y="242"/>
                    </a:cxn>
                    <a:cxn ang="0">
                      <a:pos x="586" y="272"/>
                    </a:cxn>
                    <a:cxn ang="0">
                      <a:pos x="574" y="282"/>
                    </a:cxn>
                    <a:cxn ang="0">
                      <a:pos x="576" y="298"/>
                    </a:cxn>
                    <a:cxn ang="0">
                      <a:pos x="592" y="304"/>
                    </a:cxn>
                    <a:cxn ang="0">
                      <a:pos x="560" y="322"/>
                    </a:cxn>
                    <a:cxn ang="0">
                      <a:pos x="460" y="354"/>
                    </a:cxn>
                    <a:cxn ang="0">
                      <a:pos x="432" y="364"/>
                    </a:cxn>
                    <a:cxn ang="0">
                      <a:pos x="438" y="388"/>
                    </a:cxn>
                  </a:cxnLst>
                  <a:rect l="0" t="0" r="r" b="b"/>
                  <a:pathLst>
                    <a:path w="624" h="532">
                      <a:moveTo>
                        <a:pt x="428" y="398"/>
                      </a:moveTo>
                      <a:lnTo>
                        <a:pt x="408" y="400"/>
                      </a:lnTo>
                      <a:lnTo>
                        <a:pt x="390" y="406"/>
                      </a:lnTo>
                      <a:lnTo>
                        <a:pt x="382" y="410"/>
                      </a:lnTo>
                      <a:lnTo>
                        <a:pt x="374" y="416"/>
                      </a:lnTo>
                      <a:lnTo>
                        <a:pt x="368" y="422"/>
                      </a:lnTo>
                      <a:lnTo>
                        <a:pt x="362" y="430"/>
                      </a:lnTo>
                      <a:lnTo>
                        <a:pt x="360" y="436"/>
                      </a:lnTo>
                      <a:lnTo>
                        <a:pt x="360" y="442"/>
                      </a:lnTo>
                      <a:lnTo>
                        <a:pt x="358" y="448"/>
                      </a:lnTo>
                      <a:lnTo>
                        <a:pt x="356" y="450"/>
                      </a:lnTo>
                      <a:lnTo>
                        <a:pt x="354" y="452"/>
                      </a:lnTo>
                      <a:lnTo>
                        <a:pt x="324" y="462"/>
                      </a:lnTo>
                      <a:lnTo>
                        <a:pt x="312" y="468"/>
                      </a:lnTo>
                      <a:lnTo>
                        <a:pt x="306" y="472"/>
                      </a:lnTo>
                      <a:lnTo>
                        <a:pt x="302" y="478"/>
                      </a:lnTo>
                      <a:lnTo>
                        <a:pt x="292" y="494"/>
                      </a:lnTo>
                      <a:lnTo>
                        <a:pt x="280" y="512"/>
                      </a:lnTo>
                      <a:lnTo>
                        <a:pt x="272" y="520"/>
                      </a:lnTo>
                      <a:lnTo>
                        <a:pt x="264" y="526"/>
                      </a:lnTo>
                      <a:lnTo>
                        <a:pt x="256" y="530"/>
                      </a:lnTo>
                      <a:lnTo>
                        <a:pt x="246" y="532"/>
                      </a:lnTo>
                      <a:lnTo>
                        <a:pt x="228" y="530"/>
                      </a:lnTo>
                      <a:lnTo>
                        <a:pt x="210" y="526"/>
                      </a:lnTo>
                      <a:lnTo>
                        <a:pt x="192" y="520"/>
                      </a:lnTo>
                      <a:lnTo>
                        <a:pt x="172" y="518"/>
                      </a:lnTo>
                      <a:lnTo>
                        <a:pt x="164" y="514"/>
                      </a:lnTo>
                      <a:lnTo>
                        <a:pt x="158" y="508"/>
                      </a:lnTo>
                      <a:lnTo>
                        <a:pt x="148" y="502"/>
                      </a:lnTo>
                      <a:lnTo>
                        <a:pt x="144" y="502"/>
                      </a:lnTo>
                      <a:lnTo>
                        <a:pt x="136" y="500"/>
                      </a:lnTo>
                      <a:lnTo>
                        <a:pt x="102" y="502"/>
                      </a:lnTo>
                      <a:lnTo>
                        <a:pt x="68" y="508"/>
                      </a:lnTo>
                      <a:lnTo>
                        <a:pt x="0" y="430"/>
                      </a:lnTo>
                      <a:lnTo>
                        <a:pt x="0" y="264"/>
                      </a:lnTo>
                      <a:lnTo>
                        <a:pt x="52" y="264"/>
                      </a:lnTo>
                      <a:lnTo>
                        <a:pt x="64" y="260"/>
                      </a:lnTo>
                      <a:lnTo>
                        <a:pt x="74" y="258"/>
                      </a:lnTo>
                      <a:lnTo>
                        <a:pt x="94" y="254"/>
                      </a:lnTo>
                      <a:lnTo>
                        <a:pt x="102" y="250"/>
                      </a:lnTo>
                      <a:lnTo>
                        <a:pt x="108" y="244"/>
                      </a:lnTo>
                      <a:lnTo>
                        <a:pt x="110" y="236"/>
                      </a:lnTo>
                      <a:lnTo>
                        <a:pt x="112" y="222"/>
                      </a:lnTo>
                      <a:lnTo>
                        <a:pt x="112" y="154"/>
                      </a:lnTo>
                      <a:lnTo>
                        <a:pt x="120" y="156"/>
                      </a:lnTo>
                      <a:lnTo>
                        <a:pt x="126" y="158"/>
                      </a:lnTo>
                      <a:lnTo>
                        <a:pt x="128" y="162"/>
                      </a:lnTo>
                      <a:lnTo>
                        <a:pt x="128" y="166"/>
                      </a:lnTo>
                      <a:lnTo>
                        <a:pt x="130" y="174"/>
                      </a:lnTo>
                      <a:lnTo>
                        <a:pt x="132" y="176"/>
                      </a:lnTo>
                      <a:lnTo>
                        <a:pt x="136" y="176"/>
                      </a:lnTo>
                      <a:lnTo>
                        <a:pt x="142" y="174"/>
                      </a:lnTo>
                      <a:lnTo>
                        <a:pt x="150" y="170"/>
                      </a:lnTo>
                      <a:lnTo>
                        <a:pt x="156" y="166"/>
                      </a:lnTo>
                      <a:lnTo>
                        <a:pt x="166" y="164"/>
                      </a:lnTo>
                      <a:lnTo>
                        <a:pt x="174" y="166"/>
                      </a:lnTo>
                      <a:lnTo>
                        <a:pt x="180" y="164"/>
                      </a:lnTo>
                      <a:lnTo>
                        <a:pt x="182" y="174"/>
                      </a:lnTo>
                      <a:lnTo>
                        <a:pt x="188" y="182"/>
                      </a:lnTo>
                      <a:lnTo>
                        <a:pt x="196" y="190"/>
                      </a:lnTo>
                      <a:lnTo>
                        <a:pt x="206" y="196"/>
                      </a:lnTo>
                      <a:lnTo>
                        <a:pt x="216" y="200"/>
                      </a:lnTo>
                      <a:lnTo>
                        <a:pt x="228" y="202"/>
                      </a:lnTo>
                      <a:lnTo>
                        <a:pt x="252" y="204"/>
                      </a:lnTo>
                      <a:lnTo>
                        <a:pt x="262" y="202"/>
                      </a:lnTo>
                      <a:lnTo>
                        <a:pt x="268" y="198"/>
                      </a:lnTo>
                      <a:lnTo>
                        <a:pt x="272" y="192"/>
                      </a:lnTo>
                      <a:lnTo>
                        <a:pt x="276" y="184"/>
                      </a:lnTo>
                      <a:lnTo>
                        <a:pt x="280" y="188"/>
                      </a:lnTo>
                      <a:lnTo>
                        <a:pt x="284" y="192"/>
                      </a:lnTo>
                      <a:lnTo>
                        <a:pt x="290" y="200"/>
                      </a:lnTo>
                      <a:lnTo>
                        <a:pt x="294" y="210"/>
                      </a:lnTo>
                      <a:lnTo>
                        <a:pt x="302" y="216"/>
                      </a:lnTo>
                      <a:lnTo>
                        <a:pt x="308" y="220"/>
                      </a:lnTo>
                      <a:lnTo>
                        <a:pt x="314" y="222"/>
                      </a:lnTo>
                      <a:lnTo>
                        <a:pt x="326" y="226"/>
                      </a:lnTo>
                      <a:lnTo>
                        <a:pt x="336" y="228"/>
                      </a:lnTo>
                      <a:lnTo>
                        <a:pt x="342" y="230"/>
                      </a:lnTo>
                      <a:lnTo>
                        <a:pt x="346" y="234"/>
                      </a:lnTo>
                      <a:lnTo>
                        <a:pt x="354" y="246"/>
                      </a:lnTo>
                      <a:lnTo>
                        <a:pt x="362" y="262"/>
                      </a:lnTo>
                      <a:lnTo>
                        <a:pt x="372" y="274"/>
                      </a:lnTo>
                      <a:lnTo>
                        <a:pt x="376" y="280"/>
                      </a:lnTo>
                      <a:lnTo>
                        <a:pt x="382" y="280"/>
                      </a:lnTo>
                      <a:lnTo>
                        <a:pt x="386" y="280"/>
                      </a:lnTo>
                      <a:lnTo>
                        <a:pt x="390" y="278"/>
                      </a:lnTo>
                      <a:lnTo>
                        <a:pt x="396" y="276"/>
                      </a:lnTo>
                      <a:lnTo>
                        <a:pt x="400" y="274"/>
                      </a:lnTo>
                      <a:lnTo>
                        <a:pt x="410" y="274"/>
                      </a:lnTo>
                      <a:lnTo>
                        <a:pt x="420" y="274"/>
                      </a:lnTo>
                      <a:lnTo>
                        <a:pt x="420" y="216"/>
                      </a:lnTo>
                      <a:lnTo>
                        <a:pt x="410" y="222"/>
                      </a:lnTo>
                      <a:lnTo>
                        <a:pt x="406" y="226"/>
                      </a:lnTo>
                      <a:lnTo>
                        <a:pt x="404" y="230"/>
                      </a:lnTo>
                      <a:lnTo>
                        <a:pt x="388" y="230"/>
                      </a:lnTo>
                      <a:lnTo>
                        <a:pt x="374" y="220"/>
                      </a:lnTo>
                      <a:lnTo>
                        <a:pt x="360" y="206"/>
                      </a:lnTo>
                      <a:lnTo>
                        <a:pt x="354" y="198"/>
                      </a:lnTo>
                      <a:lnTo>
                        <a:pt x="350" y="190"/>
                      </a:lnTo>
                      <a:lnTo>
                        <a:pt x="346" y="182"/>
                      </a:lnTo>
                      <a:lnTo>
                        <a:pt x="346" y="172"/>
                      </a:lnTo>
                      <a:lnTo>
                        <a:pt x="346" y="164"/>
                      </a:lnTo>
                      <a:lnTo>
                        <a:pt x="350" y="156"/>
                      </a:lnTo>
                      <a:lnTo>
                        <a:pt x="354" y="150"/>
                      </a:lnTo>
                      <a:lnTo>
                        <a:pt x="358" y="144"/>
                      </a:lnTo>
                      <a:lnTo>
                        <a:pt x="358" y="78"/>
                      </a:lnTo>
                      <a:lnTo>
                        <a:pt x="356" y="74"/>
                      </a:lnTo>
                      <a:lnTo>
                        <a:pt x="354" y="70"/>
                      </a:lnTo>
                      <a:lnTo>
                        <a:pt x="350" y="66"/>
                      </a:lnTo>
                      <a:lnTo>
                        <a:pt x="350" y="60"/>
                      </a:lnTo>
                      <a:lnTo>
                        <a:pt x="350" y="58"/>
                      </a:lnTo>
                      <a:lnTo>
                        <a:pt x="352" y="54"/>
                      </a:lnTo>
                      <a:lnTo>
                        <a:pt x="358" y="50"/>
                      </a:lnTo>
                      <a:lnTo>
                        <a:pt x="368" y="42"/>
                      </a:lnTo>
                      <a:lnTo>
                        <a:pt x="372" y="36"/>
                      </a:lnTo>
                      <a:lnTo>
                        <a:pt x="374" y="28"/>
                      </a:lnTo>
                      <a:lnTo>
                        <a:pt x="376" y="20"/>
                      </a:lnTo>
                      <a:lnTo>
                        <a:pt x="378" y="16"/>
                      </a:lnTo>
                      <a:lnTo>
                        <a:pt x="382" y="14"/>
                      </a:lnTo>
                      <a:lnTo>
                        <a:pt x="390" y="10"/>
                      </a:lnTo>
                      <a:lnTo>
                        <a:pt x="396" y="8"/>
                      </a:lnTo>
                      <a:lnTo>
                        <a:pt x="410" y="6"/>
                      </a:lnTo>
                      <a:lnTo>
                        <a:pt x="424" y="6"/>
                      </a:lnTo>
                      <a:lnTo>
                        <a:pt x="440" y="2"/>
                      </a:lnTo>
                      <a:lnTo>
                        <a:pt x="476" y="0"/>
                      </a:lnTo>
                      <a:lnTo>
                        <a:pt x="494" y="22"/>
                      </a:lnTo>
                      <a:lnTo>
                        <a:pt x="502" y="24"/>
                      </a:lnTo>
                      <a:lnTo>
                        <a:pt x="504" y="26"/>
                      </a:lnTo>
                      <a:lnTo>
                        <a:pt x="506" y="24"/>
                      </a:lnTo>
                      <a:lnTo>
                        <a:pt x="514" y="24"/>
                      </a:lnTo>
                      <a:lnTo>
                        <a:pt x="516" y="24"/>
                      </a:lnTo>
                      <a:lnTo>
                        <a:pt x="522" y="30"/>
                      </a:lnTo>
                      <a:lnTo>
                        <a:pt x="530" y="36"/>
                      </a:lnTo>
                      <a:lnTo>
                        <a:pt x="550" y="44"/>
                      </a:lnTo>
                      <a:lnTo>
                        <a:pt x="568" y="50"/>
                      </a:lnTo>
                      <a:lnTo>
                        <a:pt x="590" y="62"/>
                      </a:lnTo>
                      <a:lnTo>
                        <a:pt x="610" y="70"/>
                      </a:lnTo>
                      <a:lnTo>
                        <a:pt x="610" y="76"/>
                      </a:lnTo>
                      <a:lnTo>
                        <a:pt x="610" y="82"/>
                      </a:lnTo>
                      <a:lnTo>
                        <a:pt x="616" y="96"/>
                      </a:lnTo>
                      <a:lnTo>
                        <a:pt x="622" y="110"/>
                      </a:lnTo>
                      <a:lnTo>
                        <a:pt x="624" y="116"/>
                      </a:lnTo>
                      <a:lnTo>
                        <a:pt x="624" y="122"/>
                      </a:lnTo>
                      <a:lnTo>
                        <a:pt x="624" y="128"/>
                      </a:lnTo>
                      <a:lnTo>
                        <a:pt x="622" y="132"/>
                      </a:lnTo>
                      <a:lnTo>
                        <a:pt x="618" y="140"/>
                      </a:lnTo>
                      <a:lnTo>
                        <a:pt x="612" y="146"/>
                      </a:lnTo>
                      <a:lnTo>
                        <a:pt x="612" y="152"/>
                      </a:lnTo>
                      <a:lnTo>
                        <a:pt x="610" y="156"/>
                      </a:lnTo>
                      <a:lnTo>
                        <a:pt x="608" y="166"/>
                      </a:lnTo>
                      <a:lnTo>
                        <a:pt x="608" y="170"/>
                      </a:lnTo>
                      <a:lnTo>
                        <a:pt x="606" y="176"/>
                      </a:lnTo>
                      <a:lnTo>
                        <a:pt x="608" y="184"/>
                      </a:lnTo>
                      <a:lnTo>
                        <a:pt x="610" y="192"/>
                      </a:lnTo>
                      <a:lnTo>
                        <a:pt x="612" y="198"/>
                      </a:lnTo>
                      <a:lnTo>
                        <a:pt x="614" y="208"/>
                      </a:lnTo>
                      <a:lnTo>
                        <a:pt x="612" y="212"/>
                      </a:lnTo>
                      <a:lnTo>
                        <a:pt x="610" y="216"/>
                      </a:lnTo>
                      <a:lnTo>
                        <a:pt x="604" y="224"/>
                      </a:lnTo>
                      <a:lnTo>
                        <a:pt x="600" y="230"/>
                      </a:lnTo>
                      <a:lnTo>
                        <a:pt x="600" y="236"/>
                      </a:lnTo>
                      <a:lnTo>
                        <a:pt x="600" y="242"/>
                      </a:lnTo>
                      <a:lnTo>
                        <a:pt x="598" y="250"/>
                      </a:lnTo>
                      <a:lnTo>
                        <a:pt x="592" y="260"/>
                      </a:lnTo>
                      <a:lnTo>
                        <a:pt x="586" y="272"/>
                      </a:lnTo>
                      <a:lnTo>
                        <a:pt x="582" y="276"/>
                      </a:lnTo>
                      <a:lnTo>
                        <a:pt x="578" y="280"/>
                      </a:lnTo>
                      <a:lnTo>
                        <a:pt x="574" y="282"/>
                      </a:lnTo>
                      <a:lnTo>
                        <a:pt x="572" y="288"/>
                      </a:lnTo>
                      <a:lnTo>
                        <a:pt x="572" y="294"/>
                      </a:lnTo>
                      <a:lnTo>
                        <a:pt x="576" y="298"/>
                      </a:lnTo>
                      <a:lnTo>
                        <a:pt x="578" y="300"/>
                      </a:lnTo>
                      <a:lnTo>
                        <a:pt x="582" y="302"/>
                      </a:lnTo>
                      <a:lnTo>
                        <a:pt x="592" y="304"/>
                      </a:lnTo>
                      <a:lnTo>
                        <a:pt x="598" y="306"/>
                      </a:lnTo>
                      <a:lnTo>
                        <a:pt x="602" y="308"/>
                      </a:lnTo>
                      <a:lnTo>
                        <a:pt x="560" y="322"/>
                      </a:lnTo>
                      <a:lnTo>
                        <a:pt x="516" y="336"/>
                      </a:lnTo>
                      <a:lnTo>
                        <a:pt x="488" y="344"/>
                      </a:lnTo>
                      <a:lnTo>
                        <a:pt x="460" y="354"/>
                      </a:lnTo>
                      <a:lnTo>
                        <a:pt x="448" y="360"/>
                      </a:lnTo>
                      <a:lnTo>
                        <a:pt x="440" y="364"/>
                      </a:lnTo>
                      <a:lnTo>
                        <a:pt x="432" y="364"/>
                      </a:lnTo>
                      <a:lnTo>
                        <a:pt x="432" y="372"/>
                      </a:lnTo>
                      <a:lnTo>
                        <a:pt x="436" y="380"/>
                      </a:lnTo>
                      <a:lnTo>
                        <a:pt x="438" y="388"/>
                      </a:lnTo>
                      <a:lnTo>
                        <a:pt x="438" y="400"/>
                      </a:lnTo>
                      <a:lnTo>
                        <a:pt x="428" y="39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4" name="Angola">
                  <a:extLst>
                    <a:ext uri="{FF2B5EF4-FFF2-40B4-BE49-F238E27FC236}">
                      <a16:creationId xmlns:a16="http://schemas.microsoft.com/office/drawing/2014/main" id="{DB1636A0-9D41-4687-B176-1F1A113E95BF}"/>
                    </a:ext>
                  </a:extLst>
                </p:cNvPr>
                <p:cNvSpPr>
                  <a:spLocks/>
                </p:cNvSpPr>
                <p:nvPr/>
              </p:nvSpPr>
              <p:spPr bwMode="gray">
                <a:xfrm>
                  <a:off x="4675188" y="4913313"/>
                  <a:ext cx="768350" cy="757237"/>
                </a:xfrm>
                <a:custGeom>
                  <a:avLst/>
                  <a:gdLst/>
                  <a:ahLst/>
                  <a:cxnLst>
                    <a:cxn ang="0">
                      <a:pos x="34" y="12"/>
                    </a:cxn>
                    <a:cxn ang="0">
                      <a:pos x="60" y="2"/>
                    </a:cxn>
                    <a:cxn ang="0">
                      <a:pos x="228" y="2"/>
                    </a:cxn>
                    <a:cxn ang="0">
                      <a:pos x="254" y="2"/>
                    </a:cxn>
                    <a:cxn ang="0">
                      <a:pos x="264" y="22"/>
                    </a:cxn>
                    <a:cxn ang="0">
                      <a:pos x="272" y="64"/>
                    </a:cxn>
                    <a:cxn ang="0">
                      <a:pos x="299" y="102"/>
                    </a:cxn>
                    <a:cxn ang="0">
                      <a:pos x="335" y="120"/>
                    </a:cxn>
                    <a:cxn ang="0">
                      <a:pos x="367" y="116"/>
                    </a:cxn>
                    <a:cxn ang="0">
                      <a:pos x="405" y="110"/>
                    </a:cxn>
                    <a:cxn ang="0">
                      <a:pos x="419" y="88"/>
                    </a:cxn>
                    <a:cxn ang="0">
                      <a:pos x="419" y="66"/>
                    </a:cxn>
                    <a:cxn ang="0">
                      <a:pos x="433" y="60"/>
                    </a:cxn>
                    <a:cxn ang="0">
                      <a:pos x="461" y="64"/>
                    </a:cxn>
                    <a:cxn ang="0">
                      <a:pos x="543" y="76"/>
                    </a:cxn>
                    <a:cxn ang="0">
                      <a:pos x="549" y="212"/>
                    </a:cxn>
                    <a:cxn ang="0">
                      <a:pos x="563" y="230"/>
                    </a:cxn>
                    <a:cxn ang="0">
                      <a:pos x="571" y="250"/>
                    </a:cxn>
                    <a:cxn ang="0">
                      <a:pos x="563" y="276"/>
                    </a:cxn>
                    <a:cxn ang="0">
                      <a:pos x="563" y="288"/>
                    </a:cxn>
                    <a:cxn ang="0">
                      <a:pos x="595" y="284"/>
                    </a:cxn>
                    <a:cxn ang="0">
                      <a:pos x="641" y="280"/>
                    </a:cxn>
                    <a:cxn ang="0">
                      <a:pos x="657" y="346"/>
                    </a:cxn>
                    <a:cxn ang="0">
                      <a:pos x="647" y="374"/>
                    </a:cxn>
                    <a:cxn ang="0">
                      <a:pos x="609" y="384"/>
                    </a:cxn>
                    <a:cxn ang="0">
                      <a:pos x="545" y="554"/>
                    </a:cxn>
                    <a:cxn ang="0">
                      <a:pos x="523" y="646"/>
                    </a:cxn>
                    <a:cxn ang="0">
                      <a:pos x="425" y="646"/>
                    </a:cxn>
                    <a:cxn ang="0">
                      <a:pos x="367" y="634"/>
                    </a:cxn>
                    <a:cxn ang="0">
                      <a:pos x="353" y="622"/>
                    </a:cxn>
                    <a:cxn ang="0">
                      <a:pos x="110" y="612"/>
                    </a:cxn>
                    <a:cxn ang="0">
                      <a:pos x="78" y="600"/>
                    </a:cxn>
                    <a:cxn ang="0">
                      <a:pos x="48" y="608"/>
                    </a:cxn>
                    <a:cxn ang="0">
                      <a:pos x="12" y="608"/>
                    </a:cxn>
                    <a:cxn ang="0">
                      <a:pos x="4" y="574"/>
                    </a:cxn>
                    <a:cxn ang="0">
                      <a:pos x="10" y="524"/>
                    </a:cxn>
                    <a:cxn ang="0">
                      <a:pos x="26" y="470"/>
                    </a:cxn>
                    <a:cxn ang="0">
                      <a:pos x="38" y="416"/>
                    </a:cxn>
                    <a:cxn ang="0">
                      <a:pos x="72" y="370"/>
                    </a:cxn>
                    <a:cxn ang="0">
                      <a:pos x="106" y="320"/>
                    </a:cxn>
                    <a:cxn ang="0">
                      <a:pos x="110" y="270"/>
                    </a:cxn>
                    <a:cxn ang="0">
                      <a:pos x="92" y="232"/>
                    </a:cxn>
                    <a:cxn ang="0">
                      <a:pos x="74" y="196"/>
                    </a:cxn>
                    <a:cxn ang="0">
                      <a:pos x="76" y="170"/>
                    </a:cxn>
                    <a:cxn ang="0">
                      <a:pos x="88" y="146"/>
                    </a:cxn>
                    <a:cxn ang="0">
                      <a:pos x="80" y="116"/>
                    </a:cxn>
                    <a:cxn ang="0">
                      <a:pos x="48" y="48"/>
                    </a:cxn>
                    <a:cxn ang="0">
                      <a:pos x="28" y="20"/>
                    </a:cxn>
                  </a:cxnLst>
                  <a:rect l="0" t="0" r="r" b="b"/>
                  <a:pathLst>
                    <a:path w="657" h="648">
                      <a:moveTo>
                        <a:pt x="28" y="20"/>
                      </a:moveTo>
                      <a:lnTo>
                        <a:pt x="30" y="16"/>
                      </a:lnTo>
                      <a:lnTo>
                        <a:pt x="34" y="12"/>
                      </a:lnTo>
                      <a:lnTo>
                        <a:pt x="38" y="8"/>
                      </a:lnTo>
                      <a:lnTo>
                        <a:pt x="46" y="4"/>
                      </a:lnTo>
                      <a:lnTo>
                        <a:pt x="60" y="2"/>
                      </a:lnTo>
                      <a:lnTo>
                        <a:pt x="74" y="0"/>
                      </a:lnTo>
                      <a:lnTo>
                        <a:pt x="216" y="0"/>
                      </a:lnTo>
                      <a:lnTo>
                        <a:pt x="228" y="2"/>
                      </a:lnTo>
                      <a:lnTo>
                        <a:pt x="238" y="0"/>
                      </a:lnTo>
                      <a:lnTo>
                        <a:pt x="248" y="0"/>
                      </a:lnTo>
                      <a:lnTo>
                        <a:pt x="254" y="2"/>
                      </a:lnTo>
                      <a:lnTo>
                        <a:pt x="258" y="6"/>
                      </a:lnTo>
                      <a:lnTo>
                        <a:pt x="262" y="14"/>
                      </a:lnTo>
                      <a:lnTo>
                        <a:pt x="264" y="22"/>
                      </a:lnTo>
                      <a:lnTo>
                        <a:pt x="264" y="38"/>
                      </a:lnTo>
                      <a:lnTo>
                        <a:pt x="268" y="50"/>
                      </a:lnTo>
                      <a:lnTo>
                        <a:pt x="272" y="64"/>
                      </a:lnTo>
                      <a:lnTo>
                        <a:pt x="279" y="78"/>
                      </a:lnTo>
                      <a:lnTo>
                        <a:pt x="289" y="90"/>
                      </a:lnTo>
                      <a:lnTo>
                        <a:pt x="299" y="102"/>
                      </a:lnTo>
                      <a:lnTo>
                        <a:pt x="309" y="112"/>
                      </a:lnTo>
                      <a:lnTo>
                        <a:pt x="321" y="118"/>
                      </a:lnTo>
                      <a:lnTo>
                        <a:pt x="335" y="120"/>
                      </a:lnTo>
                      <a:lnTo>
                        <a:pt x="347" y="120"/>
                      </a:lnTo>
                      <a:lnTo>
                        <a:pt x="357" y="118"/>
                      </a:lnTo>
                      <a:lnTo>
                        <a:pt x="367" y="116"/>
                      </a:lnTo>
                      <a:lnTo>
                        <a:pt x="379" y="114"/>
                      </a:lnTo>
                      <a:lnTo>
                        <a:pt x="395" y="114"/>
                      </a:lnTo>
                      <a:lnTo>
                        <a:pt x="405" y="110"/>
                      </a:lnTo>
                      <a:lnTo>
                        <a:pt x="411" y="104"/>
                      </a:lnTo>
                      <a:lnTo>
                        <a:pt x="417" y="92"/>
                      </a:lnTo>
                      <a:lnTo>
                        <a:pt x="419" y="88"/>
                      </a:lnTo>
                      <a:lnTo>
                        <a:pt x="419" y="82"/>
                      </a:lnTo>
                      <a:lnTo>
                        <a:pt x="417" y="72"/>
                      </a:lnTo>
                      <a:lnTo>
                        <a:pt x="419" y="66"/>
                      </a:lnTo>
                      <a:lnTo>
                        <a:pt x="421" y="64"/>
                      </a:lnTo>
                      <a:lnTo>
                        <a:pt x="425" y="62"/>
                      </a:lnTo>
                      <a:lnTo>
                        <a:pt x="433" y="60"/>
                      </a:lnTo>
                      <a:lnTo>
                        <a:pt x="443" y="62"/>
                      </a:lnTo>
                      <a:lnTo>
                        <a:pt x="453" y="62"/>
                      </a:lnTo>
                      <a:lnTo>
                        <a:pt x="461" y="64"/>
                      </a:lnTo>
                      <a:lnTo>
                        <a:pt x="471" y="64"/>
                      </a:lnTo>
                      <a:lnTo>
                        <a:pt x="471" y="76"/>
                      </a:lnTo>
                      <a:lnTo>
                        <a:pt x="543" y="76"/>
                      </a:lnTo>
                      <a:lnTo>
                        <a:pt x="543" y="196"/>
                      </a:lnTo>
                      <a:lnTo>
                        <a:pt x="545" y="204"/>
                      </a:lnTo>
                      <a:lnTo>
                        <a:pt x="549" y="212"/>
                      </a:lnTo>
                      <a:lnTo>
                        <a:pt x="555" y="218"/>
                      </a:lnTo>
                      <a:lnTo>
                        <a:pt x="561" y="220"/>
                      </a:lnTo>
                      <a:lnTo>
                        <a:pt x="563" y="230"/>
                      </a:lnTo>
                      <a:lnTo>
                        <a:pt x="565" y="236"/>
                      </a:lnTo>
                      <a:lnTo>
                        <a:pt x="569" y="242"/>
                      </a:lnTo>
                      <a:lnTo>
                        <a:pt x="571" y="250"/>
                      </a:lnTo>
                      <a:lnTo>
                        <a:pt x="569" y="260"/>
                      </a:lnTo>
                      <a:lnTo>
                        <a:pt x="565" y="268"/>
                      </a:lnTo>
                      <a:lnTo>
                        <a:pt x="563" y="276"/>
                      </a:lnTo>
                      <a:lnTo>
                        <a:pt x="561" y="284"/>
                      </a:lnTo>
                      <a:lnTo>
                        <a:pt x="561" y="286"/>
                      </a:lnTo>
                      <a:lnTo>
                        <a:pt x="563" y="288"/>
                      </a:lnTo>
                      <a:lnTo>
                        <a:pt x="569" y="290"/>
                      </a:lnTo>
                      <a:lnTo>
                        <a:pt x="579" y="288"/>
                      </a:lnTo>
                      <a:lnTo>
                        <a:pt x="595" y="284"/>
                      </a:lnTo>
                      <a:lnTo>
                        <a:pt x="611" y="280"/>
                      </a:lnTo>
                      <a:lnTo>
                        <a:pt x="623" y="278"/>
                      </a:lnTo>
                      <a:lnTo>
                        <a:pt x="641" y="280"/>
                      </a:lnTo>
                      <a:lnTo>
                        <a:pt x="649" y="280"/>
                      </a:lnTo>
                      <a:lnTo>
                        <a:pt x="657" y="278"/>
                      </a:lnTo>
                      <a:lnTo>
                        <a:pt x="657" y="346"/>
                      </a:lnTo>
                      <a:lnTo>
                        <a:pt x="655" y="360"/>
                      </a:lnTo>
                      <a:lnTo>
                        <a:pt x="653" y="368"/>
                      </a:lnTo>
                      <a:lnTo>
                        <a:pt x="647" y="374"/>
                      </a:lnTo>
                      <a:lnTo>
                        <a:pt x="639" y="378"/>
                      </a:lnTo>
                      <a:lnTo>
                        <a:pt x="619" y="382"/>
                      </a:lnTo>
                      <a:lnTo>
                        <a:pt x="609" y="384"/>
                      </a:lnTo>
                      <a:lnTo>
                        <a:pt x="597" y="388"/>
                      </a:lnTo>
                      <a:lnTo>
                        <a:pt x="545" y="388"/>
                      </a:lnTo>
                      <a:lnTo>
                        <a:pt x="545" y="554"/>
                      </a:lnTo>
                      <a:lnTo>
                        <a:pt x="613" y="632"/>
                      </a:lnTo>
                      <a:lnTo>
                        <a:pt x="553" y="642"/>
                      </a:lnTo>
                      <a:lnTo>
                        <a:pt x="523" y="646"/>
                      </a:lnTo>
                      <a:lnTo>
                        <a:pt x="489" y="648"/>
                      </a:lnTo>
                      <a:lnTo>
                        <a:pt x="457" y="648"/>
                      </a:lnTo>
                      <a:lnTo>
                        <a:pt x="425" y="646"/>
                      </a:lnTo>
                      <a:lnTo>
                        <a:pt x="393" y="642"/>
                      </a:lnTo>
                      <a:lnTo>
                        <a:pt x="379" y="638"/>
                      </a:lnTo>
                      <a:lnTo>
                        <a:pt x="367" y="634"/>
                      </a:lnTo>
                      <a:lnTo>
                        <a:pt x="361" y="632"/>
                      </a:lnTo>
                      <a:lnTo>
                        <a:pt x="357" y="626"/>
                      </a:lnTo>
                      <a:lnTo>
                        <a:pt x="353" y="622"/>
                      </a:lnTo>
                      <a:lnTo>
                        <a:pt x="349" y="620"/>
                      </a:lnTo>
                      <a:lnTo>
                        <a:pt x="118" y="620"/>
                      </a:lnTo>
                      <a:lnTo>
                        <a:pt x="110" y="612"/>
                      </a:lnTo>
                      <a:lnTo>
                        <a:pt x="102" y="606"/>
                      </a:lnTo>
                      <a:lnTo>
                        <a:pt x="92" y="602"/>
                      </a:lnTo>
                      <a:lnTo>
                        <a:pt x="78" y="600"/>
                      </a:lnTo>
                      <a:lnTo>
                        <a:pt x="66" y="602"/>
                      </a:lnTo>
                      <a:lnTo>
                        <a:pt x="56" y="604"/>
                      </a:lnTo>
                      <a:lnTo>
                        <a:pt x="48" y="608"/>
                      </a:lnTo>
                      <a:lnTo>
                        <a:pt x="38" y="608"/>
                      </a:lnTo>
                      <a:lnTo>
                        <a:pt x="20" y="608"/>
                      </a:lnTo>
                      <a:lnTo>
                        <a:pt x="12" y="608"/>
                      </a:lnTo>
                      <a:lnTo>
                        <a:pt x="0" y="608"/>
                      </a:lnTo>
                      <a:lnTo>
                        <a:pt x="4" y="592"/>
                      </a:lnTo>
                      <a:lnTo>
                        <a:pt x="4" y="574"/>
                      </a:lnTo>
                      <a:lnTo>
                        <a:pt x="4" y="546"/>
                      </a:lnTo>
                      <a:lnTo>
                        <a:pt x="6" y="536"/>
                      </a:lnTo>
                      <a:lnTo>
                        <a:pt x="10" y="524"/>
                      </a:lnTo>
                      <a:lnTo>
                        <a:pt x="20" y="498"/>
                      </a:lnTo>
                      <a:lnTo>
                        <a:pt x="24" y="484"/>
                      </a:lnTo>
                      <a:lnTo>
                        <a:pt x="26" y="470"/>
                      </a:lnTo>
                      <a:lnTo>
                        <a:pt x="32" y="442"/>
                      </a:lnTo>
                      <a:lnTo>
                        <a:pt x="34" y="430"/>
                      </a:lnTo>
                      <a:lnTo>
                        <a:pt x="38" y="416"/>
                      </a:lnTo>
                      <a:lnTo>
                        <a:pt x="44" y="402"/>
                      </a:lnTo>
                      <a:lnTo>
                        <a:pt x="52" y="390"/>
                      </a:lnTo>
                      <a:lnTo>
                        <a:pt x="72" y="370"/>
                      </a:lnTo>
                      <a:lnTo>
                        <a:pt x="90" y="348"/>
                      </a:lnTo>
                      <a:lnTo>
                        <a:pt x="100" y="334"/>
                      </a:lnTo>
                      <a:lnTo>
                        <a:pt x="106" y="320"/>
                      </a:lnTo>
                      <a:lnTo>
                        <a:pt x="110" y="304"/>
                      </a:lnTo>
                      <a:lnTo>
                        <a:pt x="112" y="286"/>
                      </a:lnTo>
                      <a:lnTo>
                        <a:pt x="110" y="270"/>
                      </a:lnTo>
                      <a:lnTo>
                        <a:pt x="106" y="256"/>
                      </a:lnTo>
                      <a:lnTo>
                        <a:pt x="100" y="244"/>
                      </a:lnTo>
                      <a:lnTo>
                        <a:pt x="92" y="232"/>
                      </a:lnTo>
                      <a:lnTo>
                        <a:pt x="84" y="220"/>
                      </a:lnTo>
                      <a:lnTo>
                        <a:pt x="78" y="208"/>
                      </a:lnTo>
                      <a:lnTo>
                        <a:pt x="74" y="196"/>
                      </a:lnTo>
                      <a:lnTo>
                        <a:pt x="72" y="180"/>
                      </a:lnTo>
                      <a:lnTo>
                        <a:pt x="72" y="176"/>
                      </a:lnTo>
                      <a:lnTo>
                        <a:pt x="76" y="170"/>
                      </a:lnTo>
                      <a:lnTo>
                        <a:pt x="82" y="160"/>
                      </a:lnTo>
                      <a:lnTo>
                        <a:pt x="86" y="152"/>
                      </a:lnTo>
                      <a:lnTo>
                        <a:pt x="88" y="146"/>
                      </a:lnTo>
                      <a:lnTo>
                        <a:pt x="88" y="140"/>
                      </a:lnTo>
                      <a:lnTo>
                        <a:pt x="86" y="128"/>
                      </a:lnTo>
                      <a:lnTo>
                        <a:pt x="80" y="116"/>
                      </a:lnTo>
                      <a:lnTo>
                        <a:pt x="68" y="90"/>
                      </a:lnTo>
                      <a:lnTo>
                        <a:pt x="54" y="64"/>
                      </a:lnTo>
                      <a:lnTo>
                        <a:pt x="48" y="48"/>
                      </a:lnTo>
                      <a:lnTo>
                        <a:pt x="42" y="32"/>
                      </a:lnTo>
                      <a:lnTo>
                        <a:pt x="30" y="22"/>
                      </a:lnTo>
                      <a:lnTo>
                        <a:pt x="28" y="20"/>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5" name="Burundi">
                  <a:extLst>
                    <a:ext uri="{FF2B5EF4-FFF2-40B4-BE49-F238E27FC236}">
                      <a16:creationId xmlns:a16="http://schemas.microsoft.com/office/drawing/2014/main" id="{397A37FC-DAB6-480B-BBA1-0956426C1927}"/>
                    </a:ext>
                  </a:extLst>
                </p:cNvPr>
                <p:cNvSpPr>
                  <a:spLocks/>
                </p:cNvSpPr>
                <p:nvPr/>
              </p:nvSpPr>
              <p:spPr bwMode="gray">
                <a:xfrm>
                  <a:off x="5764213" y="4686300"/>
                  <a:ext cx="117475" cy="133350"/>
                </a:xfrm>
                <a:custGeom>
                  <a:avLst/>
                  <a:gdLst/>
                  <a:ahLst/>
                  <a:cxnLst>
                    <a:cxn ang="0">
                      <a:pos x="14" y="86"/>
                    </a:cxn>
                    <a:cxn ang="0">
                      <a:pos x="12" y="78"/>
                    </a:cxn>
                    <a:cxn ang="0">
                      <a:pos x="10" y="70"/>
                    </a:cxn>
                    <a:cxn ang="0">
                      <a:pos x="12" y="56"/>
                    </a:cxn>
                    <a:cxn ang="0">
                      <a:pos x="12" y="50"/>
                    </a:cxn>
                    <a:cxn ang="0">
                      <a:pos x="10" y="42"/>
                    </a:cxn>
                    <a:cxn ang="0">
                      <a:pos x="8" y="38"/>
                    </a:cxn>
                    <a:cxn ang="0">
                      <a:pos x="4" y="34"/>
                    </a:cxn>
                    <a:cxn ang="0">
                      <a:pos x="0" y="30"/>
                    </a:cxn>
                    <a:cxn ang="0">
                      <a:pos x="0" y="24"/>
                    </a:cxn>
                    <a:cxn ang="0">
                      <a:pos x="0" y="22"/>
                    </a:cxn>
                    <a:cxn ang="0">
                      <a:pos x="2" y="18"/>
                    </a:cxn>
                    <a:cxn ang="0">
                      <a:pos x="8" y="16"/>
                    </a:cxn>
                    <a:cxn ang="0">
                      <a:pos x="14" y="18"/>
                    </a:cxn>
                    <a:cxn ang="0">
                      <a:pos x="20" y="22"/>
                    </a:cxn>
                    <a:cxn ang="0">
                      <a:pos x="24" y="26"/>
                    </a:cxn>
                    <a:cxn ang="0">
                      <a:pos x="30" y="28"/>
                    </a:cxn>
                    <a:cxn ang="0">
                      <a:pos x="38" y="26"/>
                    </a:cxn>
                    <a:cxn ang="0">
                      <a:pos x="44" y="24"/>
                    </a:cxn>
                    <a:cxn ang="0">
                      <a:pos x="48" y="18"/>
                    </a:cxn>
                    <a:cxn ang="0">
                      <a:pos x="52" y="14"/>
                    </a:cxn>
                    <a:cxn ang="0">
                      <a:pos x="54" y="8"/>
                    </a:cxn>
                    <a:cxn ang="0">
                      <a:pos x="58" y="4"/>
                    </a:cxn>
                    <a:cxn ang="0">
                      <a:pos x="64" y="2"/>
                    </a:cxn>
                    <a:cxn ang="0">
                      <a:pos x="72" y="0"/>
                    </a:cxn>
                    <a:cxn ang="0">
                      <a:pos x="78" y="2"/>
                    </a:cxn>
                    <a:cxn ang="0">
                      <a:pos x="82" y="6"/>
                    </a:cxn>
                    <a:cxn ang="0">
                      <a:pos x="84" y="12"/>
                    </a:cxn>
                    <a:cxn ang="0">
                      <a:pos x="84" y="18"/>
                    </a:cxn>
                    <a:cxn ang="0">
                      <a:pos x="84" y="24"/>
                    </a:cxn>
                    <a:cxn ang="0">
                      <a:pos x="86" y="30"/>
                    </a:cxn>
                    <a:cxn ang="0">
                      <a:pos x="90" y="34"/>
                    </a:cxn>
                    <a:cxn ang="0">
                      <a:pos x="98" y="36"/>
                    </a:cxn>
                    <a:cxn ang="0">
                      <a:pos x="98" y="40"/>
                    </a:cxn>
                    <a:cxn ang="0">
                      <a:pos x="96" y="36"/>
                    </a:cxn>
                    <a:cxn ang="0">
                      <a:pos x="98" y="40"/>
                    </a:cxn>
                    <a:cxn ang="0">
                      <a:pos x="100" y="42"/>
                    </a:cxn>
                    <a:cxn ang="0">
                      <a:pos x="98" y="48"/>
                    </a:cxn>
                    <a:cxn ang="0">
                      <a:pos x="96" y="52"/>
                    </a:cxn>
                    <a:cxn ang="0">
                      <a:pos x="86" y="62"/>
                    </a:cxn>
                    <a:cxn ang="0">
                      <a:pos x="76" y="70"/>
                    </a:cxn>
                    <a:cxn ang="0">
                      <a:pos x="72" y="76"/>
                    </a:cxn>
                    <a:cxn ang="0">
                      <a:pos x="70" y="80"/>
                    </a:cxn>
                    <a:cxn ang="0">
                      <a:pos x="66" y="90"/>
                    </a:cxn>
                    <a:cxn ang="0">
                      <a:pos x="60" y="102"/>
                    </a:cxn>
                    <a:cxn ang="0">
                      <a:pos x="50" y="110"/>
                    </a:cxn>
                    <a:cxn ang="0">
                      <a:pos x="46" y="114"/>
                    </a:cxn>
                    <a:cxn ang="0">
                      <a:pos x="40" y="114"/>
                    </a:cxn>
                    <a:cxn ang="0">
                      <a:pos x="32" y="114"/>
                    </a:cxn>
                    <a:cxn ang="0">
                      <a:pos x="28" y="102"/>
                    </a:cxn>
                    <a:cxn ang="0">
                      <a:pos x="24" y="96"/>
                    </a:cxn>
                    <a:cxn ang="0">
                      <a:pos x="18" y="92"/>
                    </a:cxn>
                    <a:cxn ang="0">
                      <a:pos x="16" y="88"/>
                    </a:cxn>
                    <a:cxn ang="0">
                      <a:pos x="12" y="82"/>
                    </a:cxn>
                    <a:cxn ang="0">
                      <a:pos x="6" y="82"/>
                    </a:cxn>
                    <a:cxn ang="0">
                      <a:pos x="6" y="84"/>
                    </a:cxn>
                    <a:cxn ang="0">
                      <a:pos x="14" y="86"/>
                    </a:cxn>
                  </a:cxnLst>
                  <a:rect l="0" t="0" r="r" b="b"/>
                  <a:pathLst>
                    <a:path w="100" h="114">
                      <a:moveTo>
                        <a:pt x="14" y="86"/>
                      </a:moveTo>
                      <a:lnTo>
                        <a:pt x="12" y="78"/>
                      </a:lnTo>
                      <a:lnTo>
                        <a:pt x="10" y="70"/>
                      </a:lnTo>
                      <a:lnTo>
                        <a:pt x="12" y="56"/>
                      </a:lnTo>
                      <a:lnTo>
                        <a:pt x="12" y="50"/>
                      </a:lnTo>
                      <a:lnTo>
                        <a:pt x="10" y="42"/>
                      </a:lnTo>
                      <a:lnTo>
                        <a:pt x="8" y="38"/>
                      </a:lnTo>
                      <a:lnTo>
                        <a:pt x="4" y="34"/>
                      </a:lnTo>
                      <a:lnTo>
                        <a:pt x="0" y="30"/>
                      </a:lnTo>
                      <a:lnTo>
                        <a:pt x="0" y="24"/>
                      </a:lnTo>
                      <a:lnTo>
                        <a:pt x="0" y="22"/>
                      </a:lnTo>
                      <a:lnTo>
                        <a:pt x="2" y="18"/>
                      </a:lnTo>
                      <a:lnTo>
                        <a:pt x="8" y="16"/>
                      </a:lnTo>
                      <a:lnTo>
                        <a:pt x="14" y="18"/>
                      </a:lnTo>
                      <a:lnTo>
                        <a:pt x="20" y="22"/>
                      </a:lnTo>
                      <a:lnTo>
                        <a:pt x="24" y="26"/>
                      </a:lnTo>
                      <a:lnTo>
                        <a:pt x="30" y="28"/>
                      </a:lnTo>
                      <a:lnTo>
                        <a:pt x="38" y="26"/>
                      </a:lnTo>
                      <a:lnTo>
                        <a:pt x="44" y="24"/>
                      </a:lnTo>
                      <a:lnTo>
                        <a:pt x="48" y="18"/>
                      </a:lnTo>
                      <a:lnTo>
                        <a:pt x="52" y="14"/>
                      </a:lnTo>
                      <a:lnTo>
                        <a:pt x="54" y="8"/>
                      </a:lnTo>
                      <a:lnTo>
                        <a:pt x="58" y="4"/>
                      </a:lnTo>
                      <a:lnTo>
                        <a:pt x="64" y="2"/>
                      </a:lnTo>
                      <a:lnTo>
                        <a:pt x="72" y="0"/>
                      </a:lnTo>
                      <a:lnTo>
                        <a:pt x="78" y="2"/>
                      </a:lnTo>
                      <a:lnTo>
                        <a:pt x="82" y="6"/>
                      </a:lnTo>
                      <a:lnTo>
                        <a:pt x="84" y="12"/>
                      </a:lnTo>
                      <a:lnTo>
                        <a:pt x="84" y="18"/>
                      </a:lnTo>
                      <a:lnTo>
                        <a:pt x="84" y="24"/>
                      </a:lnTo>
                      <a:lnTo>
                        <a:pt x="86" y="30"/>
                      </a:lnTo>
                      <a:lnTo>
                        <a:pt x="90" y="34"/>
                      </a:lnTo>
                      <a:lnTo>
                        <a:pt x="98" y="36"/>
                      </a:lnTo>
                      <a:lnTo>
                        <a:pt x="98" y="40"/>
                      </a:lnTo>
                      <a:lnTo>
                        <a:pt x="96" y="36"/>
                      </a:lnTo>
                      <a:lnTo>
                        <a:pt x="98" y="40"/>
                      </a:lnTo>
                      <a:lnTo>
                        <a:pt x="100" y="42"/>
                      </a:lnTo>
                      <a:lnTo>
                        <a:pt x="98" y="48"/>
                      </a:lnTo>
                      <a:lnTo>
                        <a:pt x="96" y="52"/>
                      </a:lnTo>
                      <a:lnTo>
                        <a:pt x="86" y="62"/>
                      </a:lnTo>
                      <a:lnTo>
                        <a:pt x="76" y="70"/>
                      </a:lnTo>
                      <a:lnTo>
                        <a:pt x="72" y="76"/>
                      </a:lnTo>
                      <a:lnTo>
                        <a:pt x="70" y="80"/>
                      </a:lnTo>
                      <a:lnTo>
                        <a:pt x="66" y="90"/>
                      </a:lnTo>
                      <a:lnTo>
                        <a:pt x="60" y="102"/>
                      </a:lnTo>
                      <a:lnTo>
                        <a:pt x="50" y="110"/>
                      </a:lnTo>
                      <a:lnTo>
                        <a:pt x="46" y="114"/>
                      </a:lnTo>
                      <a:lnTo>
                        <a:pt x="40" y="114"/>
                      </a:lnTo>
                      <a:lnTo>
                        <a:pt x="32" y="114"/>
                      </a:lnTo>
                      <a:lnTo>
                        <a:pt x="28" y="102"/>
                      </a:lnTo>
                      <a:lnTo>
                        <a:pt x="24" y="96"/>
                      </a:lnTo>
                      <a:lnTo>
                        <a:pt x="18" y="92"/>
                      </a:lnTo>
                      <a:lnTo>
                        <a:pt x="16" y="88"/>
                      </a:lnTo>
                      <a:lnTo>
                        <a:pt x="12" y="82"/>
                      </a:lnTo>
                      <a:lnTo>
                        <a:pt x="6" y="82"/>
                      </a:lnTo>
                      <a:lnTo>
                        <a:pt x="6" y="84"/>
                      </a:lnTo>
                      <a:lnTo>
                        <a:pt x="14" y="86"/>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6" name="Democratic Republic of the Congo (Zaire)">
                  <a:extLst>
                    <a:ext uri="{FF2B5EF4-FFF2-40B4-BE49-F238E27FC236}">
                      <a16:creationId xmlns:a16="http://schemas.microsoft.com/office/drawing/2014/main" id="{1E7DB1B3-EAC8-41B6-90D1-6B43DD06646B}"/>
                    </a:ext>
                  </a:extLst>
                </p:cNvPr>
                <p:cNvSpPr>
                  <a:spLocks/>
                </p:cNvSpPr>
                <p:nvPr/>
              </p:nvSpPr>
              <p:spPr bwMode="gray">
                <a:xfrm>
                  <a:off x="4705350" y="4202113"/>
                  <a:ext cx="1189037" cy="1182687"/>
                </a:xfrm>
                <a:custGeom>
                  <a:avLst/>
                  <a:gdLst/>
                  <a:ahLst/>
                  <a:cxnLst>
                    <a:cxn ang="0">
                      <a:pos x="347" y="104"/>
                    </a:cxn>
                    <a:cxn ang="0">
                      <a:pos x="377" y="14"/>
                    </a:cxn>
                    <a:cxn ang="0">
                      <a:pos x="431" y="36"/>
                    </a:cxn>
                    <a:cxn ang="0">
                      <a:pos x="545" y="62"/>
                    </a:cxn>
                    <a:cxn ang="0">
                      <a:pos x="585" y="30"/>
                    </a:cxn>
                    <a:cxn ang="0">
                      <a:pos x="645" y="20"/>
                    </a:cxn>
                    <a:cxn ang="0">
                      <a:pos x="697" y="16"/>
                    </a:cxn>
                    <a:cxn ang="0">
                      <a:pos x="757" y="12"/>
                    </a:cxn>
                    <a:cxn ang="0">
                      <a:pos x="807" y="4"/>
                    </a:cxn>
                    <a:cxn ang="0">
                      <a:pos x="853" y="50"/>
                    </a:cxn>
                    <a:cxn ang="0">
                      <a:pos x="895" y="44"/>
                    </a:cxn>
                    <a:cxn ang="0">
                      <a:pos x="927" y="36"/>
                    </a:cxn>
                    <a:cxn ang="0">
                      <a:pos x="961" y="62"/>
                    </a:cxn>
                    <a:cxn ang="0">
                      <a:pos x="987" y="84"/>
                    </a:cxn>
                    <a:cxn ang="0">
                      <a:pos x="997" y="120"/>
                    </a:cxn>
                    <a:cxn ang="0">
                      <a:pos x="993" y="148"/>
                    </a:cxn>
                    <a:cxn ang="0">
                      <a:pos x="1015" y="176"/>
                    </a:cxn>
                    <a:cxn ang="0">
                      <a:pos x="949" y="256"/>
                    </a:cxn>
                    <a:cxn ang="0">
                      <a:pos x="927" y="369"/>
                    </a:cxn>
                    <a:cxn ang="0">
                      <a:pos x="903" y="411"/>
                    </a:cxn>
                    <a:cxn ang="0">
                      <a:pos x="909" y="447"/>
                    </a:cxn>
                    <a:cxn ang="0">
                      <a:pos x="917" y="497"/>
                    </a:cxn>
                    <a:cxn ang="0">
                      <a:pos x="913" y="543"/>
                    </a:cxn>
                    <a:cxn ang="0">
                      <a:pos x="923" y="625"/>
                    </a:cxn>
                    <a:cxn ang="0">
                      <a:pos x="971" y="697"/>
                    </a:cxn>
                    <a:cxn ang="0">
                      <a:pos x="929" y="737"/>
                    </a:cxn>
                    <a:cxn ang="0">
                      <a:pos x="891" y="767"/>
                    </a:cxn>
                    <a:cxn ang="0">
                      <a:pos x="873" y="801"/>
                    </a:cxn>
                    <a:cxn ang="0">
                      <a:pos x="865" y="903"/>
                    </a:cxn>
                    <a:cxn ang="0">
                      <a:pos x="923" y="961"/>
                    </a:cxn>
                    <a:cxn ang="0">
                      <a:pos x="915" y="1007"/>
                    </a:cxn>
                    <a:cxn ang="0">
                      <a:pos x="873" y="977"/>
                    </a:cxn>
                    <a:cxn ang="0">
                      <a:pos x="821" y="947"/>
                    </a:cxn>
                    <a:cxn ang="0">
                      <a:pos x="787" y="929"/>
                    </a:cxn>
                    <a:cxn ang="0">
                      <a:pos x="707" y="913"/>
                    </a:cxn>
                    <a:cxn ang="0">
                      <a:pos x="661" y="905"/>
                    </a:cxn>
                    <a:cxn ang="0">
                      <a:pos x="639" y="887"/>
                    </a:cxn>
                    <a:cxn ang="0">
                      <a:pos x="553" y="895"/>
                    </a:cxn>
                    <a:cxn ang="0">
                      <a:pos x="543" y="867"/>
                    </a:cxn>
                    <a:cxn ang="0">
                      <a:pos x="523" y="819"/>
                    </a:cxn>
                    <a:cxn ang="0">
                      <a:pos x="427" y="669"/>
                    </a:cxn>
                    <a:cxn ang="0">
                      <a:pos x="393" y="689"/>
                    </a:cxn>
                    <a:cxn ang="0">
                      <a:pos x="341" y="723"/>
                    </a:cxn>
                    <a:cxn ang="0">
                      <a:pos x="263" y="697"/>
                    </a:cxn>
                    <a:cxn ang="0">
                      <a:pos x="232" y="613"/>
                    </a:cxn>
                    <a:cxn ang="0">
                      <a:pos x="34" y="609"/>
                    </a:cxn>
                    <a:cxn ang="0">
                      <a:pos x="6" y="599"/>
                    </a:cxn>
                    <a:cxn ang="0">
                      <a:pos x="22" y="551"/>
                    </a:cxn>
                    <a:cxn ang="0">
                      <a:pos x="76" y="541"/>
                    </a:cxn>
                    <a:cxn ang="0">
                      <a:pos x="110" y="557"/>
                    </a:cxn>
                    <a:cxn ang="0">
                      <a:pos x="164" y="535"/>
                    </a:cxn>
                    <a:cxn ang="0">
                      <a:pos x="198" y="505"/>
                    </a:cxn>
                    <a:cxn ang="0">
                      <a:pos x="218" y="411"/>
                    </a:cxn>
                    <a:cxn ang="0">
                      <a:pos x="293" y="305"/>
                    </a:cxn>
                    <a:cxn ang="0">
                      <a:pos x="317" y="176"/>
                    </a:cxn>
                  </a:cxnLst>
                  <a:rect l="0" t="0" r="r" b="b"/>
                  <a:pathLst>
                    <a:path w="1017" h="1011">
                      <a:moveTo>
                        <a:pt x="317" y="176"/>
                      </a:moveTo>
                      <a:lnTo>
                        <a:pt x="323" y="164"/>
                      </a:lnTo>
                      <a:lnTo>
                        <a:pt x="331" y="154"/>
                      </a:lnTo>
                      <a:lnTo>
                        <a:pt x="339" y="144"/>
                      </a:lnTo>
                      <a:lnTo>
                        <a:pt x="345" y="132"/>
                      </a:lnTo>
                      <a:lnTo>
                        <a:pt x="347" y="118"/>
                      </a:lnTo>
                      <a:lnTo>
                        <a:pt x="347" y="104"/>
                      </a:lnTo>
                      <a:lnTo>
                        <a:pt x="345" y="76"/>
                      </a:lnTo>
                      <a:lnTo>
                        <a:pt x="345" y="66"/>
                      </a:lnTo>
                      <a:lnTo>
                        <a:pt x="349" y="54"/>
                      </a:lnTo>
                      <a:lnTo>
                        <a:pt x="355" y="42"/>
                      </a:lnTo>
                      <a:lnTo>
                        <a:pt x="361" y="32"/>
                      </a:lnTo>
                      <a:lnTo>
                        <a:pt x="369" y="22"/>
                      </a:lnTo>
                      <a:lnTo>
                        <a:pt x="377" y="14"/>
                      </a:lnTo>
                      <a:lnTo>
                        <a:pt x="387" y="10"/>
                      </a:lnTo>
                      <a:lnTo>
                        <a:pt x="397" y="8"/>
                      </a:lnTo>
                      <a:lnTo>
                        <a:pt x="405" y="10"/>
                      </a:lnTo>
                      <a:lnTo>
                        <a:pt x="411" y="12"/>
                      </a:lnTo>
                      <a:lnTo>
                        <a:pt x="417" y="18"/>
                      </a:lnTo>
                      <a:lnTo>
                        <a:pt x="423" y="24"/>
                      </a:lnTo>
                      <a:lnTo>
                        <a:pt x="431" y="36"/>
                      </a:lnTo>
                      <a:lnTo>
                        <a:pt x="441" y="44"/>
                      </a:lnTo>
                      <a:lnTo>
                        <a:pt x="451" y="48"/>
                      </a:lnTo>
                      <a:lnTo>
                        <a:pt x="461" y="52"/>
                      </a:lnTo>
                      <a:lnTo>
                        <a:pt x="487" y="60"/>
                      </a:lnTo>
                      <a:lnTo>
                        <a:pt x="513" y="62"/>
                      </a:lnTo>
                      <a:lnTo>
                        <a:pt x="535" y="64"/>
                      </a:lnTo>
                      <a:lnTo>
                        <a:pt x="545" y="62"/>
                      </a:lnTo>
                      <a:lnTo>
                        <a:pt x="551" y="60"/>
                      </a:lnTo>
                      <a:lnTo>
                        <a:pt x="555" y="54"/>
                      </a:lnTo>
                      <a:lnTo>
                        <a:pt x="561" y="48"/>
                      </a:lnTo>
                      <a:lnTo>
                        <a:pt x="565" y="42"/>
                      </a:lnTo>
                      <a:lnTo>
                        <a:pt x="569" y="36"/>
                      </a:lnTo>
                      <a:lnTo>
                        <a:pt x="575" y="32"/>
                      </a:lnTo>
                      <a:lnTo>
                        <a:pt x="585" y="30"/>
                      </a:lnTo>
                      <a:lnTo>
                        <a:pt x="591" y="34"/>
                      </a:lnTo>
                      <a:lnTo>
                        <a:pt x="595" y="36"/>
                      </a:lnTo>
                      <a:lnTo>
                        <a:pt x="599" y="36"/>
                      </a:lnTo>
                      <a:lnTo>
                        <a:pt x="607" y="36"/>
                      </a:lnTo>
                      <a:lnTo>
                        <a:pt x="615" y="34"/>
                      </a:lnTo>
                      <a:lnTo>
                        <a:pt x="631" y="26"/>
                      </a:lnTo>
                      <a:lnTo>
                        <a:pt x="645" y="20"/>
                      </a:lnTo>
                      <a:lnTo>
                        <a:pt x="651" y="16"/>
                      </a:lnTo>
                      <a:lnTo>
                        <a:pt x="659" y="14"/>
                      </a:lnTo>
                      <a:lnTo>
                        <a:pt x="663" y="20"/>
                      </a:lnTo>
                      <a:lnTo>
                        <a:pt x="667" y="22"/>
                      </a:lnTo>
                      <a:lnTo>
                        <a:pt x="677" y="20"/>
                      </a:lnTo>
                      <a:lnTo>
                        <a:pt x="689" y="20"/>
                      </a:lnTo>
                      <a:lnTo>
                        <a:pt x="697" y="16"/>
                      </a:lnTo>
                      <a:lnTo>
                        <a:pt x="699" y="14"/>
                      </a:lnTo>
                      <a:lnTo>
                        <a:pt x="701" y="10"/>
                      </a:lnTo>
                      <a:lnTo>
                        <a:pt x="703" y="0"/>
                      </a:lnTo>
                      <a:lnTo>
                        <a:pt x="713" y="0"/>
                      </a:lnTo>
                      <a:lnTo>
                        <a:pt x="723" y="0"/>
                      </a:lnTo>
                      <a:lnTo>
                        <a:pt x="739" y="6"/>
                      </a:lnTo>
                      <a:lnTo>
                        <a:pt x="757" y="12"/>
                      </a:lnTo>
                      <a:lnTo>
                        <a:pt x="767" y="14"/>
                      </a:lnTo>
                      <a:lnTo>
                        <a:pt x="777" y="14"/>
                      </a:lnTo>
                      <a:lnTo>
                        <a:pt x="787" y="14"/>
                      </a:lnTo>
                      <a:lnTo>
                        <a:pt x="795" y="12"/>
                      </a:lnTo>
                      <a:lnTo>
                        <a:pt x="811" y="8"/>
                      </a:lnTo>
                      <a:lnTo>
                        <a:pt x="805" y="0"/>
                      </a:lnTo>
                      <a:lnTo>
                        <a:pt x="807" y="4"/>
                      </a:lnTo>
                      <a:lnTo>
                        <a:pt x="809" y="8"/>
                      </a:lnTo>
                      <a:lnTo>
                        <a:pt x="815" y="12"/>
                      </a:lnTo>
                      <a:lnTo>
                        <a:pt x="821" y="16"/>
                      </a:lnTo>
                      <a:lnTo>
                        <a:pt x="829" y="20"/>
                      </a:lnTo>
                      <a:lnTo>
                        <a:pt x="835" y="26"/>
                      </a:lnTo>
                      <a:lnTo>
                        <a:pt x="845" y="42"/>
                      </a:lnTo>
                      <a:lnTo>
                        <a:pt x="853" y="50"/>
                      </a:lnTo>
                      <a:lnTo>
                        <a:pt x="859" y="52"/>
                      </a:lnTo>
                      <a:lnTo>
                        <a:pt x="865" y="52"/>
                      </a:lnTo>
                      <a:lnTo>
                        <a:pt x="871" y="50"/>
                      </a:lnTo>
                      <a:lnTo>
                        <a:pt x="875" y="48"/>
                      </a:lnTo>
                      <a:lnTo>
                        <a:pt x="879" y="44"/>
                      </a:lnTo>
                      <a:lnTo>
                        <a:pt x="887" y="42"/>
                      </a:lnTo>
                      <a:lnTo>
                        <a:pt x="895" y="44"/>
                      </a:lnTo>
                      <a:lnTo>
                        <a:pt x="901" y="46"/>
                      </a:lnTo>
                      <a:lnTo>
                        <a:pt x="909" y="48"/>
                      </a:lnTo>
                      <a:lnTo>
                        <a:pt x="917" y="48"/>
                      </a:lnTo>
                      <a:lnTo>
                        <a:pt x="919" y="48"/>
                      </a:lnTo>
                      <a:lnTo>
                        <a:pt x="921" y="46"/>
                      </a:lnTo>
                      <a:lnTo>
                        <a:pt x="925" y="42"/>
                      </a:lnTo>
                      <a:lnTo>
                        <a:pt x="927" y="36"/>
                      </a:lnTo>
                      <a:lnTo>
                        <a:pt x="931" y="36"/>
                      </a:lnTo>
                      <a:lnTo>
                        <a:pt x="933" y="34"/>
                      </a:lnTo>
                      <a:lnTo>
                        <a:pt x="939" y="36"/>
                      </a:lnTo>
                      <a:lnTo>
                        <a:pt x="945" y="40"/>
                      </a:lnTo>
                      <a:lnTo>
                        <a:pt x="949" y="44"/>
                      </a:lnTo>
                      <a:lnTo>
                        <a:pt x="953" y="50"/>
                      </a:lnTo>
                      <a:lnTo>
                        <a:pt x="961" y="62"/>
                      </a:lnTo>
                      <a:lnTo>
                        <a:pt x="965" y="68"/>
                      </a:lnTo>
                      <a:lnTo>
                        <a:pt x="971" y="70"/>
                      </a:lnTo>
                      <a:lnTo>
                        <a:pt x="981" y="72"/>
                      </a:lnTo>
                      <a:lnTo>
                        <a:pt x="985" y="72"/>
                      </a:lnTo>
                      <a:lnTo>
                        <a:pt x="987" y="74"/>
                      </a:lnTo>
                      <a:lnTo>
                        <a:pt x="987" y="78"/>
                      </a:lnTo>
                      <a:lnTo>
                        <a:pt x="987" y="84"/>
                      </a:lnTo>
                      <a:lnTo>
                        <a:pt x="989" y="88"/>
                      </a:lnTo>
                      <a:lnTo>
                        <a:pt x="991" y="90"/>
                      </a:lnTo>
                      <a:lnTo>
                        <a:pt x="995" y="90"/>
                      </a:lnTo>
                      <a:lnTo>
                        <a:pt x="997" y="96"/>
                      </a:lnTo>
                      <a:lnTo>
                        <a:pt x="997" y="102"/>
                      </a:lnTo>
                      <a:lnTo>
                        <a:pt x="995" y="116"/>
                      </a:lnTo>
                      <a:lnTo>
                        <a:pt x="997" y="120"/>
                      </a:lnTo>
                      <a:lnTo>
                        <a:pt x="997" y="124"/>
                      </a:lnTo>
                      <a:lnTo>
                        <a:pt x="999" y="126"/>
                      </a:lnTo>
                      <a:lnTo>
                        <a:pt x="999" y="130"/>
                      </a:lnTo>
                      <a:lnTo>
                        <a:pt x="999" y="136"/>
                      </a:lnTo>
                      <a:lnTo>
                        <a:pt x="997" y="138"/>
                      </a:lnTo>
                      <a:lnTo>
                        <a:pt x="995" y="142"/>
                      </a:lnTo>
                      <a:lnTo>
                        <a:pt x="993" y="148"/>
                      </a:lnTo>
                      <a:lnTo>
                        <a:pt x="995" y="152"/>
                      </a:lnTo>
                      <a:lnTo>
                        <a:pt x="997" y="154"/>
                      </a:lnTo>
                      <a:lnTo>
                        <a:pt x="1005" y="158"/>
                      </a:lnTo>
                      <a:lnTo>
                        <a:pt x="1013" y="160"/>
                      </a:lnTo>
                      <a:lnTo>
                        <a:pt x="1017" y="164"/>
                      </a:lnTo>
                      <a:lnTo>
                        <a:pt x="1017" y="168"/>
                      </a:lnTo>
                      <a:lnTo>
                        <a:pt x="1015" y="176"/>
                      </a:lnTo>
                      <a:lnTo>
                        <a:pt x="1011" y="182"/>
                      </a:lnTo>
                      <a:lnTo>
                        <a:pt x="997" y="192"/>
                      </a:lnTo>
                      <a:lnTo>
                        <a:pt x="961" y="230"/>
                      </a:lnTo>
                      <a:lnTo>
                        <a:pt x="953" y="236"/>
                      </a:lnTo>
                      <a:lnTo>
                        <a:pt x="951" y="240"/>
                      </a:lnTo>
                      <a:lnTo>
                        <a:pt x="949" y="244"/>
                      </a:lnTo>
                      <a:lnTo>
                        <a:pt x="949" y="256"/>
                      </a:lnTo>
                      <a:lnTo>
                        <a:pt x="947" y="268"/>
                      </a:lnTo>
                      <a:lnTo>
                        <a:pt x="941" y="290"/>
                      </a:lnTo>
                      <a:lnTo>
                        <a:pt x="937" y="319"/>
                      </a:lnTo>
                      <a:lnTo>
                        <a:pt x="935" y="333"/>
                      </a:lnTo>
                      <a:lnTo>
                        <a:pt x="933" y="347"/>
                      </a:lnTo>
                      <a:lnTo>
                        <a:pt x="935" y="363"/>
                      </a:lnTo>
                      <a:lnTo>
                        <a:pt x="927" y="369"/>
                      </a:lnTo>
                      <a:lnTo>
                        <a:pt x="919" y="375"/>
                      </a:lnTo>
                      <a:lnTo>
                        <a:pt x="915" y="383"/>
                      </a:lnTo>
                      <a:lnTo>
                        <a:pt x="913" y="389"/>
                      </a:lnTo>
                      <a:lnTo>
                        <a:pt x="915" y="397"/>
                      </a:lnTo>
                      <a:lnTo>
                        <a:pt x="915" y="403"/>
                      </a:lnTo>
                      <a:lnTo>
                        <a:pt x="911" y="405"/>
                      </a:lnTo>
                      <a:lnTo>
                        <a:pt x="903" y="411"/>
                      </a:lnTo>
                      <a:lnTo>
                        <a:pt x="899" y="415"/>
                      </a:lnTo>
                      <a:lnTo>
                        <a:pt x="897" y="423"/>
                      </a:lnTo>
                      <a:lnTo>
                        <a:pt x="899" y="427"/>
                      </a:lnTo>
                      <a:lnTo>
                        <a:pt x="899" y="431"/>
                      </a:lnTo>
                      <a:lnTo>
                        <a:pt x="905" y="437"/>
                      </a:lnTo>
                      <a:lnTo>
                        <a:pt x="905" y="443"/>
                      </a:lnTo>
                      <a:lnTo>
                        <a:pt x="909" y="447"/>
                      </a:lnTo>
                      <a:lnTo>
                        <a:pt x="913" y="451"/>
                      </a:lnTo>
                      <a:lnTo>
                        <a:pt x="915" y="455"/>
                      </a:lnTo>
                      <a:lnTo>
                        <a:pt x="917" y="463"/>
                      </a:lnTo>
                      <a:lnTo>
                        <a:pt x="917" y="469"/>
                      </a:lnTo>
                      <a:lnTo>
                        <a:pt x="915" y="483"/>
                      </a:lnTo>
                      <a:lnTo>
                        <a:pt x="917" y="491"/>
                      </a:lnTo>
                      <a:lnTo>
                        <a:pt x="917" y="497"/>
                      </a:lnTo>
                      <a:lnTo>
                        <a:pt x="911" y="495"/>
                      </a:lnTo>
                      <a:lnTo>
                        <a:pt x="911" y="505"/>
                      </a:lnTo>
                      <a:lnTo>
                        <a:pt x="913" y="515"/>
                      </a:lnTo>
                      <a:lnTo>
                        <a:pt x="915" y="519"/>
                      </a:lnTo>
                      <a:lnTo>
                        <a:pt x="915" y="525"/>
                      </a:lnTo>
                      <a:lnTo>
                        <a:pt x="913" y="537"/>
                      </a:lnTo>
                      <a:lnTo>
                        <a:pt x="913" y="543"/>
                      </a:lnTo>
                      <a:lnTo>
                        <a:pt x="911" y="551"/>
                      </a:lnTo>
                      <a:lnTo>
                        <a:pt x="913" y="565"/>
                      </a:lnTo>
                      <a:lnTo>
                        <a:pt x="917" y="577"/>
                      </a:lnTo>
                      <a:lnTo>
                        <a:pt x="921" y="587"/>
                      </a:lnTo>
                      <a:lnTo>
                        <a:pt x="921" y="597"/>
                      </a:lnTo>
                      <a:lnTo>
                        <a:pt x="921" y="613"/>
                      </a:lnTo>
                      <a:lnTo>
                        <a:pt x="923" y="625"/>
                      </a:lnTo>
                      <a:lnTo>
                        <a:pt x="929" y="639"/>
                      </a:lnTo>
                      <a:lnTo>
                        <a:pt x="935" y="653"/>
                      </a:lnTo>
                      <a:lnTo>
                        <a:pt x="941" y="661"/>
                      </a:lnTo>
                      <a:lnTo>
                        <a:pt x="955" y="673"/>
                      </a:lnTo>
                      <a:lnTo>
                        <a:pt x="961" y="677"/>
                      </a:lnTo>
                      <a:lnTo>
                        <a:pt x="967" y="685"/>
                      </a:lnTo>
                      <a:lnTo>
                        <a:pt x="971" y="697"/>
                      </a:lnTo>
                      <a:lnTo>
                        <a:pt x="975" y="707"/>
                      </a:lnTo>
                      <a:lnTo>
                        <a:pt x="979" y="717"/>
                      </a:lnTo>
                      <a:lnTo>
                        <a:pt x="989" y="725"/>
                      </a:lnTo>
                      <a:lnTo>
                        <a:pt x="995" y="731"/>
                      </a:lnTo>
                      <a:lnTo>
                        <a:pt x="959" y="733"/>
                      </a:lnTo>
                      <a:lnTo>
                        <a:pt x="943" y="737"/>
                      </a:lnTo>
                      <a:lnTo>
                        <a:pt x="929" y="737"/>
                      </a:lnTo>
                      <a:lnTo>
                        <a:pt x="915" y="739"/>
                      </a:lnTo>
                      <a:lnTo>
                        <a:pt x="909" y="741"/>
                      </a:lnTo>
                      <a:lnTo>
                        <a:pt x="901" y="745"/>
                      </a:lnTo>
                      <a:lnTo>
                        <a:pt x="897" y="747"/>
                      </a:lnTo>
                      <a:lnTo>
                        <a:pt x="895" y="751"/>
                      </a:lnTo>
                      <a:lnTo>
                        <a:pt x="893" y="759"/>
                      </a:lnTo>
                      <a:lnTo>
                        <a:pt x="891" y="767"/>
                      </a:lnTo>
                      <a:lnTo>
                        <a:pt x="887" y="773"/>
                      </a:lnTo>
                      <a:lnTo>
                        <a:pt x="877" y="781"/>
                      </a:lnTo>
                      <a:lnTo>
                        <a:pt x="871" y="785"/>
                      </a:lnTo>
                      <a:lnTo>
                        <a:pt x="869" y="789"/>
                      </a:lnTo>
                      <a:lnTo>
                        <a:pt x="869" y="791"/>
                      </a:lnTo>
                      <a:lnTo>
                        <a:pt x="869" y="797"/>
                      </a:lnTo>
                      <a:lnTo>
                        <a:pt x="873" y="801"/>
                      </a:lnTo>
                      <a:lnTo>
                        <a:pt x="875" y="805"/>
                      </a:lnTo>
                      <a:lnTo>
                        <a:pt x="877" y="809"/>
                      </a:lnTo>
                      <a:lnTo>
                        <a:pt x="877" y="875"/>
                      </a:lnTo>
                      <a:lnTo>
                        <a:pt x="873" y="881"/>
                      </a:lnTo>
                      <a:lnTo>
                        <a:pt x="869" y="887"/>
                      </a:lnTo>
                      <a:lnTo>
                        <a:pt x="865" y="895"/>
                      </a:lnTo>
                      <a:lnTo>
                        <a:pt x="865" y="903"/>
                      </a:lnTo>
                      <a:lnTo>
                        <a:pt x="865" y="913"/>
                      </a:lnTo>
                      <a:lnTo>
                        <a:pt x="869" y="921"/>
                      </a:lnTo>
                      <a:lnTo>
                        <a:pt x="873" y="929"/>
                      </a:lnTo>
                      <a:lnTo>
                        <a:pt x="879" y="937"/>
                      </a:lnTo>
                      <a:lnTo>
                        <a:pt x="893" y="951"/>
                      </a:lnTo>
                      <a:lnTo>
                        <a:pt x="907" y="961"/>
                      </a:lnTo>
                      <a:lnTo>
                        <a:pt x="923" y="961"/>
                      </a:lnTo>
                      <a:lnTo>
                        <a:pt x="925" y="957"/>
                      </a:lnTo>
                      <a:lnTo>
                        <a:pt x="929" y="953"/>
                      </a:lnTo>
                      <a:lnTo>
                        <a:pt x="939" y="947"/>
                      </a:lnTo>
                      <a:lnTo>
                        <a:pt x="939" y="1005"/>
                      </a:lnTo>
                      <a:lnTo>
                        <a:pt x="929" y="1005"/>
                      </a:lnTo>
                      <a:lnTo>
                        <a:pt x="919" y="1005"/>
                      </a:lnTo>
                      <a:lnTo>
                        <a:pt x="915" y="1007"/>
                      </a:lnTo>
                      <a:lnTo>
                        <a:pt x="909" y="1009"/>
                      </a:lnTo>
                      <a:lnTo>
                        <a:pt x="905" y="1011"/>
                      </a:lnTo>
                      <a:lnTo>
                        <a:pt x="901" y="1011"/>
                      </a:lnTo>
                      <a:lnTo>
                        <a:pt x="895" y="1011"/>
                      </a:lnTo>
                      <a:lnTo>
                        <a:pt x="891" y="1005"/>
                      </a:lnTo>
                      <a:lnTo>
                        <a:pt x="881" y="993"/>
                      </a:lnTo>
                      <a:lnTo>
                        <a:pt x="873" y="977"/>
                      </a:lnTo>
                      <a:lnTo>
                        <a:pt x="865" y="965"/>
                      </a:lnTo>
                      <a:lnTo>
                        <a:pt x="861" y="961"/>
                      </a:lnTo>
                      <a:lnTo>
                        <a:pt x="855" y="959"/>
                      </a:lnTo>
                      <a:lnTo>
                        <a:pt x="845" y="957"/>
                      </a:lnTo>
                      <a:lnTo>
                        <a:pt x="833" y="953"/>
                      </a:lnTo>
                      <a:lnTo>
                        <a:pt x="827" y="951"/>
                      </a:lnTo>
                      <a:lnTo>
                        <a:pt x="821" y="947"/>
                      </a:lnTo>
                      <a:lnTo>
                        <a:pt x="813" y="941"/>
                      </a:lnTo>
                      <a:lnTo>
                        <a:pt x="809" y="931"/>
                      </a:lnTo>
                      <a:lnTo>
                        <a:pt x="803" y="923"/>
                      </a:lnTo>
                      <a:lnTo>
                        <a:pt x="799" y="919"/>
                      </a:lnTo>
                      <a:lnTo>
                        <a:pt x="795" y="915"/>
                      </a:lnTo>
                      <a:lnTo>
                        <a:pt x="791" y="923"/>
                      </a:lnTo>
                      <a:lnTo>
                        <a:pt x="787" y="929"/>
                      </a:lnTo>
                      <a:lnTo>
                        <a:pt x="781" y="933"/>
                      </a:lnTo>
                      <a:lnTo>
                        <a:pt x="771" y="935"/>
                      </a:lnTo>
                      <a:lnTo>
                        <a:pt x="747" y="933"/>
                      </a:lnTo>
                      <a:lnTo>
                        <a:pt x="735" y="931"/>
                      </a:lnTo>
                      <a:lnTo>
                        <a:pt x="725" y="927"/>
                      </a:lnTo>
                      <a:lnTo>
                        <a:pt x="715" y="921"/>
                      </a:lnTo>
                      <a:lnTo>
                        <a:pt x="707" y="913"/>
                      </a:lnTo>
                      <a:lnTo>
                        <a:pt x="701" y="905"/>
                      </a:lnTo>
                      <a:lnTo>
                        <a:pt x="699" y="895"/>
                      </a:lnTo>
                      <a:lnTo>
                        <a:pt x="693" y="897"/>
                      </a:lnTo>
                      <a:lnTo>
                        <a:pt x="685" y="895"/>
                      </a:lnTo>
                      <a:lnTo>
                        <a:pt x="675" y="897"/>
                      </a:lnTo>
                      <a:lnTo>
                        <a:pt x="669" y="901"/>
                      </a:lnTo>
                      <a:lnTo>
                        <a:pt x="661" y="905"/>
                      </a:lnTo>
                      <a:lnTo>
                        <a:pt x="655" y="907"/>
                      </a:lnTo>
                      <a:lnTo>
                        <a:pt x="651" y="907"/>
                      </a:lnTo>
                      <a:lnTo>
                        <a:pt x="649" y="905"/>
                      </a:lnTo>
                      <a:lnTo>
                        <a:pt x="647" y="897"/>
                      </a:lnTo>
                      <a:lnTo>
                        <a:pt x="647" y="893"/>
                      </a:lnTo>
                      <a:lnTo>
                        <a:pt x="645" y="889"/>
                      </a:lnTo>
                      <a:lnTo>
                        <a:pt x="639" y="887"/>
                      </a:lnTo>
                      <a:lnTo>
                        <a:pt x="631" y="885"/>
                      </a:lnTo>
                      <a:lnTo>
                        <a:pt x="623" y="887"/>
                      </a:lnTo>
                      <a:lnTo>
                        <a:pt x="615" y="887"/>
                      </a:lnTo>
                      <a:lnTo>
                        <a:pt x="597" y="885"/>
                      </a:lnTo>
                      <a:lnTo>
                        <a:pt x="585" y="887"/>
                      </a:lnTo>
                      <a:lnTo>
                        <a:pt x="569" y="891"/>
                      </a:lnTo>
                      <a:lnTo>
                        <a:pt x="553" y="895"/>
                      </a:lnTo>
                      <a:lnTo>
                        <a:pt x="543" y="897"/>
                      </a:lnTo>
                      <a:lnTo>
                        <a:pt x="537" y="895"/>
                      </a:lnTo>
                      <a:lnTo>
                        <a:pt x="535" y="893"/>
                      </a:lnTo>
                      <a:lnTo>
                        <a:pt x="535" y="891"/>
                      </a:lnTo>
                      <a:lnTo>
                        <a:pt x="537" y="883"/>
                      </a:lnTo>
                      <a:lnTo>
                        <a:pt x="539" y="875"/>
                      </a:lnTo>
                      <a:lnTo>
                        <a:pt x="543" y="867"/>
                      </a:lnTo>
                      <a:lnTo>
                        <a:pt x="545" y="857"/>
                      </a:lnTo>
                      <a:lnTo>
                        <a:pt x="543" y="849"/>
                      </a:lnTo>
                      <a:lnTo>
                        <a:pt x="539" y="843"/>
                      </a:lnTo>
                      <a:lnTo>
                        <a:pt x="537" y="837"/>
                      </a:lnTo>
                      <a:lnTo>
                        <a:pt x="535" y="827"/>
                      </a:lnTo>
                      <a:lnTo>
                        <a:pt x="529" y="825"/>
                      </a:lnTo>
                      <a:lnTo>
                        <a:pt x="523" y="819"/>
                      </a:lnTo>
                      <a:lnTo>
                        <a:pt x="519" y="811"/>
                      </a:lnTo>
                      <a:lnTo>
                        <a:pt x="517" y="803"/>
                      </a:lnTo>
                      <a:lnTo>
                        <a:pt x="517" y="683"/>
                      </a:lnTo>
                      <a:lnTo>
                        <a:pt x="445" y="683"/>
                      </a:lnTo>
                      <a:lnTo>
                        <a:pt x="445" y="671"/>
                      </a:lnTo>
                      <a:lnTo>
                        <a:pt x="435" y="671"/>
                      </a:lnTo>
                      <a:lnTo>
                        <a:pt x="427" y="669"/>
                      </a:lnTo>
                      <a:lnTo>
                        <a:pt x="417" y="669"/>
                      </a:lnTo>
                      <a:lnTo>
                        <a:pt x="407" y="667"/>
                      </a:lnTo>
                      <a:lnTo>
                        <a:pt x="399" y="669"/>
                      </a:lnTo>
                      <a:lnTo>
                        <a:pt x="395" y="671"/>
                      </a:lnTo>
                      <a:lnTo>
                        <a:pt x="393" y="673"/>
                      </a:lnTo>
                      <a:lnTo>
                        <a:pt x="391" y="679"/>
                      </a:lnTo>
                      <a:lnTo>
                        <a:pt x="393" y="689"/>
                      </a:lnTo>
                      <a:lnTo>
                        <a:pt x="393" y="695"/>
                      </a:lnTo>
                      <a:lnTo>
                        <a:pt x="391" y="699"/>
                      </a:lnTo>
                      <a:lnTo>
                        <a:pt x="385" y="711"/>
                      </a:lnTo>
                      <a:lnTo>
                        <a:pt x="379" y="717"/>
                      </a:lnTo>
                      <a:lnTo>
                        <a:pt x="369" y="721"/>
                      </a:lnTo>
                      <a:lnTo>
                        <a:pt x="353" y="721"/>
                      </a:lnTo>
                      <a:lnTo>
                        <a:pt x="341" y="723"/>
                      </a:lnTo>
                      <a:lnTo>
                        <a:pt x="331" y="725"/>
                      </a:lnTo>
                      <a:lnTo>
                        <a:pt x="321" y="727"/>
                      </a:lnTo>
                      <a:lnTo>
                        <a:pt x="309" y="727"/>
                      </a:lnTo>
                      <a:lnTo>
                        <a:pt x="295" y="725"/>
                      </a:lnTo>
                      <a:lnTo>
                        <a:pt x="283" y="719"/>
                      </a:lnTo>
                      <a:lnTo>
                        <a:pt x="273" y="709"/>
                      </a:lnTo>
                      <a:lnTo>
                        <a:pt x="263" y="697"/>
                      </a:lnTo>
                      <a:lnTo>
                        <a:pt x="253" y="685"/>
                      </a:lnTo>
                      <a:lnTo>
                        <a:pt x="246" y="671"/>
                      </a:lnTo>
                      <a:lnTo>
                        <a:pt x="242" y="657"/>
                      </a:lnTo>
                      <a:lnTo>
                        <a:pt x="238" y="645"/>
                      </a:lnTo>
                      <a:lnTo>
                        <a:pt x="238" y="629"/>
                      </a:lnTo>
                      <a:lnTo>
                        <a:pt x="236" y="621"/>
                      </a:lnTo>
                      <a:lnTo>
                        <a:pt x="232" y="613"/>
                      </a:lnTo>
                      <a:lnTo>
                        <a:pt x="228" y="609"/>
                      </a:lnTo>
                      <a:lnTo>
                        <a:pt x="222" y="607"/>
                      </a:lnTo>
                      <a:lnTo>
                        <a:pt x="212" y="607"/>
                      </a:lnTo>
                      <a:lnTo>
                        <a:pt x="202" y="609"/>
                      </a:lnTo>
                      <a:lnTo>
                        <a:pt x="190" y="607"/>
                      </a:lnTo>
                      <a:lnTo>
                        <a:pt x="48" y="607"/>
                      </a:lnTo>
                      <a:lnTo>
                        <a:pt x="34" y="609"/>
                      </a:lnTo>
                      <a:lnTo>
                        <a:pt x="20" y="611"/>
                      </a:lnTo>
                      <a:lnTo>
                        <a:pt x="12" y="615"/>
                      </a:lnTo>
                      <a:lnTo>
                        <a:pt x="8" y="619"/>
                      </a:lnTo>
                      <a:lnTo>
                        <a:pt x="4" y="623"/>
                      </a:lnTo>
                      <a:lnTo>
                        <a:pt x="2" y="627"/>
                      </a:lnTo>
                      <a:lnTo>
                        <a:pt x="0" y="601"/>
                      </a:lnTo>
                      <a:lnTo>
                        <a:pt x="6" y="599"/>
                      </a:lnTo>
                      <a:lnTo>
                        <a:pt x="8" y="597"/>
                      </a:lnTo>
                      <a:lnTo>
                        <a:pt x="10" y="591"/>
                      </a:lnTo>
                      <a:lnTo>
                        <a:pt x="10" y="585"/>
                      </a:lnTo>
                      <a:lnTo>
                        <a:pt x="10" y="573"/>
                      </a:lnTo>
                      <a:lnTo>
                        <a:pt x="12" y="561"/>
                      </a:lnTo>
                      <a:lnTo>
                        <a:pt x="16" y="555"/>
                      </a:lnTo>
                      <a:lnTo>
                        <a:pt x="22" y="551"/>
                      </a:lnTo>
                      <a:lnTo>
                        <a:pt x="30" y="547"/>
                      </a:lnTo>
                      <a:lnTo>
                        <a:pt x="36" y="541"/>
                      </a:lnTo>
                      <a:lnTo>
                        <a:pt x="46" y="547"/>
                      </a:lnTo>
                      <a:lnTo>
                        <a:pt x="50" y="549"/>
                      </a:lnTo>
                      <a:lnTo>
                        <a:pt x="56" y="549"/>
                      </a:lnTo>
                      <a:lnTo>
                        <a:pt x="66" y="547"/>
                      </a:lnTo>
                      <a:lnTo>
                        <a:pt x="76" y="541"/>
                      </a:lnTo>
                      <a:lnTo>
                        <a:pt x="96" y="527"/>
                      </a:lnTo>
                      <a:lnTo>
                        <a:pt x="112" y="527"/>
                      </a:lnTo>
                      <a:lnTo>
                        <a:pt x="106" y="535"/>
                      </a:lnTo>
                      <a:lnTo>
                        <a:pt x="104" y="539"/>
                      </a:lnTo>
                      <a:lnTo>
                        <a:pt x="104" y="543"/>
                      </a:lnTo>
                      <a:lnTo>
                        <a:pt x="106" y="551"/>
                      </a:lnTo>
                      <a:lnTo>
                        <a:pt x="110" y="557"/>
                      </a:lnTo>
                      <a:lnTo>
                        <a:pt x="116" y="559"/>
                      </a:lnTo>
                      <a:lnTo>
                        <a:pt x="124" y="559"/>
                      </a:lnTo>
                      <a:lnTo>
                        <a:pt x="130" y="559"/>
                      </a:lnTo>
                      <a:lnTo>
                        <a:pt x="136" y="557"/>
                      </a:lnTo>
                      <a:lnTo>
                        <a:pt x="150" y="549"/>
                      </a:lnTo>
                      <a:lnTo>
                        <a:pt x="160" y="539"/>
                      </a:lnTo>
                      <a:lnTo>
                        <a:pt x="164" y="535"/>
                      </a:lnTo>
                      <a:lnTo>
                        <a:pt x="164" y="529"/>
                      </a:lnTo>
                      <a:lnTo>
                        <a:pt x="164" y="523"/>
                      </a:lnTo>
                      <a:lnTo>
                        <a:pt x="168" y="519"/>
                      </a:lnTo>
                      <a:lnTo>
                        <a:pt x="172" y="517"/>
                      </a:lnTo>
                      <a:lnTo>
                        <a:pt x="178" y="513"/>
                      </a:lnTo>
                      <a:lnTo>
                        <a:pt x="192" y="509"/>
                      </a:lnTo>
                      <a:lnTo>
                        <a:pt x="198" y="505"/>
                      </a:lnTo>
                      <a:lnTo>
                        <a:pt x="202" y="501"/>
                      </a:lnTo>
                      <a:lnTo>
                        <a:pt x="206" y="495"/>
                      </a:lnTo>
                      <a:lnTo>
                        <a:pt x="210" y="487"/>
                      </a:lnTo>
                      <a:lnTo>
                        <a:pt x="214" y="467"/>
                      </a:lnTo>
                      <a:lnTo>
                        <a:pt x="216" y="445"/>
                      </a:lnTo>
                      <a:lnTo>
                        <a:pt x="216" y="425"/>
                      </a:lnTo>
                      <a:lnTo>
                        <a:pt x="218" y="411"/>
                      </a:lnTo>
                      <a:lnTo>
                        <a:pt x="222" y="399"/>
                      </a:lnTo>
                      <a:lnTo>
                        <a:pt x="230" y="387"/>
                      </a:lnTo>
                      <a:lnTo>
                        <a:pt x="240" y="375"/>
                      </a:lnTo>
                      <a:lnTo>
                        <a:pt x="261" y="355"/>
                      </a:lnTo>
                      <a:lnTo>
                        <a:pt x="277" y="337"/>
                      </a:lnTo>
                      <a:lnTo>
                        <a:pt x="285" y="323"/>
                      </a:lnTo>
                      <a:lnTo>
                        <a:pt x="293" y="305"/>
                      </a:lnTo>
                      <a:lnTo>
                        <a:pt x="307" y="270"/>
                      </a:lnTo>
                      <a:lnTo>
                        <a:pt x="307" y="228"/>
                      </a:lnTo>
                      <a:lnTo>
                        <a:pt x="311" y="214"/>
                      </a:lnTo>
                      <a:lnTo>
                        <a:pt x="313" y="202"/>
                      </a:lnTo>
                      <a:lnTo>
                        <a:pt x="315" y="190"/>
                      </a:lnTo>
                      <a:lnTo>
                        <a:pt x="319" y="176"/>
                      </a:lnTo>
                      <a:lnTo>
                        <a:pt x="317" y="176"/>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7" name="Central African Republic">
                  <a:extLst>
                    <a:ext uri="{FF2B5EF4-FFF2-40B4-BE49-F238E27FC236}">
                      <a16:creationId xmlns:a16="http://schemas.microsoft.com/office/drawing/2014/main" id="{127AEC30-DB4C-492F-8E3A-3EFDDEE379A2}"/>
                    </a:ext>
                  </a:extLst>
                </p:cNvPr>
                <p:cNvSpPr>
                  <a:spLocks/>
                </p:cNvSpPr>
                <p:nvPr/>
              </p:nvSpPr>
              <p:spPr bwMode="gray">
                <a:xfrm>
                  <a:off x="4838700" y="3849688"/>
                  <a:ext cx="812800" cy="533400"/>
                </a:xfrm>
                <a:custGeom>
                  <a:avLst/>
                  <a:gdLst/>
                  <a:ahLst/>
                  <a:cxnLst>
                    <a:cxn ang="0">
                      <a:pos x="693" y="298"/>
                    </a:cxn>
                    <a:cxn ang="0">
                      <a:pos x="687" y="278"/>
                    </a:cxn>
                    <a:cxn ang="0">
                      <a:pos x="655" y="260"/>
                    </a:cxn>
                    <a:cxn ang="0">
                      <a:pos x="645" y="242"/>
                    </a:cxn>
                    <a:cxn ang="0">
                      <a:pos x="631" y="214"/>
                    </a:cxn>
                    <a:cxn ang="0">
                      <a:pos x="583" y="182"/>
                    </a:cxn>
                    <a:cxn ang="0">
                      <a:pos x="581" y="160"/>
                    </a:cxn>
                    <a:cxn ang="0">
                      <a:pos x="561" y="150"/>
                    </a:cxn>
                    <a:cxn ang="0">
                      <a:pos x="531" y="140"/>
                    </a:cxn>
                    <a:cxn ang="0">
                      <a:pos x="527" y="128"/>
                    </a:cxn>
                    <a:cxn ang="0">
                      <a:pos x="499" y="116"/>
                    </a:cxn>
                    <a:cxn ang="0">
                      <a:pos x="487" y="94"/>
                    </a:cxn>
                    <a:cxn ang="0">
                      <a:pos x="497" y="76"/>
                    </a:cxn>
                    <a:cxn ang="0">
                      <a:pos x="495" y="52"/>
                    </a:cxn>
                    <a:cxn ang="0">
                      <a:pos x="459" y="10"/>
                    </a:cxn>
                    <a:cxn ang="0">
                      <a:pos x="433" y="0"/>
                    </a:cxn>
                    <a:cxn ang="0">
                      <a:pos x="415" y="8"/>
                    </a:cxn>
                    <a:cxn ang="0">
                      <a:pos x="397" y="24"/>
                    </a:cxn>
                    <a:cxn ang="0">
                      <a:pos x="387" y="42"/>
                    </a:cxn>
                    <a:cxn ang="0">
                      <a:pos x="343" y="80"/>
                    </a:cxn>
                    <a:cxn ang="0">
                      <a:pos x="305" y="102"/>
                    </a:cxn>
                    <a:cxn ang="0">
                      <a:pos x="251" y="110"/>
                    </a:cxn>
                    <a:cxn ang="0">
                      <a:pos x="253" y="130"/>
                    </a:cxn>
                    <a:cxn ang="0">
                      <a:pos x="231" y="156"/>
                    </a:cxn>
                    <a:cxn ang="0">
                      <a:pos x="191" y="166"/>
                    </a:cxn>
                    <a:cxn ang="0">
                      <a:pos x="143" y="176"/>
                    </a:cxn>
                    <a:cxn ang="0">
                      <a:pos x="126" y="184"/>
                    </a:cxn>
                    <a:cxn ang="0">
                      <a:pos x="112" y="172"/>
                    </a:cxn>
                    <a:cxn ang="0">
                      <a:pos x="78" y="186"/>
                    </a:cxn>
                    <a:cxn ang="0">
                      <a:pos x="50" y="194"/>
                    </a:cxn>
                    <a:cxn ang="0">
                      <a:pos x="14" y="250"/>
                    </a:cxn>
                    <a:cxn ang="0">
                      <a:pos x="8" y="274"/>
                    </a:cxn>
                    <a:cxn ang="0">
                      <a:pos x="10" y="284"/>
                    </a:cxn>
                    <a:cxn ang="0">
                      <a:pos x="14" y="328"/>
                    </a:cxn>
                    <a:cxn ang="0">
                      <a:pos x="42" y="384"/>
                    </a:cxn>
                    <a:cxn ang="0">
                      <a:pos x="68" y="416"/>
                    </a:cxn>
                    <a:cxn ang="0">
                      <a:pos x="92" y="436"/>
                    </a:cxn>
                    <a:cxn ang="0">
                      <a:pos x="104" y="432"/>
                    </a:cxn>
                    <a:cxn ang="0">
                      <a:pos x="120" y="402"/>
                    </a:cxn>
                    <a:cxn ang="0">
                      <a:pos x="159" y="388"/>
                    </a:cxn>
                    <a:cxn ang="0">
                      <a:pos x="231" y="394"/>
                    </a:cxn>
                    <a:cxn ang="0">
                      <a:pos x="235" y="356"/>
                    </a:cxn>
                    <a:cxn ang="0">
                      <a:pos x="255" y="324"/>
                    </a:cxn>
                    <a:cxn ang="0">
                      <a:pos x="283" y="310"/>
                    </a:cxn>
                    <a:cxn ang="0">
                      <a:pos x="303" y="320"/>
                    </a:cxn>
                    <a:cxn ang="0">
                      <a:pos x="327" y="346"/>
                    </a:cxn>
                    <a:cxn ang="0">
                      <a:pos x="373" y="362"/>
                    </a:cxn>
                    <a:cxn ang="0">
                      <a:pos x="431" y="364"/>
                    </a:cxn>
                    <a:cxn ang="0">
                      <a:pos x="447" y="350"/>
                    </a:cxn>
                    <a:cxn ang="0">
                      <a:pos x="461" y="334"/>
                    </a:cxn>
                    <a:cxn ang="0">
                      <a:pos x="481" y="338"/>
                    </a:cxn>
                    <a:cxn ang="0">
                      <a:pos x="501" y="336"/>
                    </a:cxn>
                    <a:cxn ang="0">
                      <a:pos x="537" y="318"/>
                    </a:cxn>
                    <a:cxn ang="0">
                      <a:pos x="553" y="324"/>
                    </a:cxn>
                    <a:cxn ang="0">
                      <a:pos x="583" y="318"/>
                    </a:cxn>
                    <a:cxn ang="0">
                      <a:pos x="589" y="302"/>
                    </a:cxn>
                    <a:cxn ang="0">
                      <a:pos x="625" y="308"/>
                    </a:cxn>
                    <a:cxn ang="0">
                      <a:pos x="663" y="316"/>
                    </a:cxn>
                    <a:cxn ang="0">
                      <a:pos x="687" y="312"/>
                    </a:cxn>
                  </a:cxnLst>
                  <a:rect l="0" t="0" r="r" b="b"/>
                  <a:pathLst>
                    <a:path w="695" h="456">
                      <a:moveTo>
                        <a:pt x="695" y="310"/>
                      </a:moveTo>
                      <a:lnTo>
                        <a:pt x="693" y="304"/>
                      </a:lnTo>
                      <a:lnTo>
                        <a:pt x="693" y="298"/>
                      </a:lnTo>
                      <a:lnTo>
                        <a:pt x="693" y="292"/>
                      </a:lnTo>
                      <a:lnTo>
                        <a:pt x="693" y="286"/>
                      </a:lnTo>
                      <a:lnTo>
                        <a:pt x="687" y="278"/>
                      </a:lnTo>
                      <a:lnTo>
                        <a:pt x="679" y="272"/>
                      </a:lnTo>
                      <a:lnTo>
                        <a:pt x="661" y="264"/>
                      </a:lnTo>
                      <a:lnTo>
                        <a:pt x="655" y="260"/>
                      </a:lnTo>
                      <a:lnTo>
                        <a:pt x="649" y="256"/>
                      </a:lnTo>
                      <a:lnTo>
                        <a:pt x="647" y="248"/>
                      </a:lnTo>
                      <a:lnTo>
                        <a:pt x="645" y="242"/>
                      </a:lnTo>
                      <a:lnTo>
                        <a:pt x="639" y="226"/>
                      </a:lnTo>
                      <a:lnTo>
                        <a:pt x="637" y="220"/>
                      </a:lnTo>
                      <a:lnTo>
                        <a:pt x="631" y="214"/>
                      </a:lnTo>
                      <a:lnTo>
                        <a:pt x="601" y="196"/>
                      </a:lnTo>
                      <a:lnTo>
                        <a:pt x="587" y="186"/>
                      </a:lnTo>
                      <a:lnTo>
                        <a:pt x="583" y="182"/>
                      </a:lnTo>
                      <a:lnTo>
                        <a:pt x="581" y="176"/>
                      </a:lnTo>
                      <a:lnTo>
                        <a:pt x="581" y="164"/>
                      </a:lnTo>
                      <a:lnTo>
                        <a:pt x="581" y="160"/>
                      </a:lnTo>
                      <a:lnTo>
                        <a:pt x="579" y="158"/>
                      </a:lnTo>
                      <a:lnTo>
                        <a:pt x="571" y="152"/>
                      </a:lnTo>
                      <a:lnTo>
                        <a:pt x="561" y="150"/>
                      </a:lnTo>
                      <a:lnTo>
                        <a:pt x="551" y="148"/>
                      </a:lnTo>
                      <a:lnTo>
                        <a:pt x="541" y="144"/>
                      </a:lnTo>
                      <a:lnTo>
                        <a:pt x="531" y="140"/>
                      </a:lnTo>
                      <a:lnTo>
                        <a:pt x="527" y="136"/>
                      </a:lnTo>
                      <a:lnTo>
                        <a:pt x="525" y="132"/>
                      </a:lnTo>
                      <a:lnTo>
                        <a:pt x="527" y="128"/>
                      </a:lnTo>
                      <a:lnTo>
                        <a:pt x="527" y="118"/>
                      </a:lnTo>
                      <a:lnTo>
                        <a:pt x="505" y="118"/>
                      </a:lnTo>
                      <a:lnTo>
                        <a:pt x="499" y="116"/>
                      </a:lnTo>
                      <a:lnTo>
                        <a:pt x="493" y="112"/>
                      </a:lnTo>
                      <a:lnTo>
                        <a:pt x="489" y="104"/>
                      </a:lnTo>
                      <a:lnTo>
                        <a:pt x="487" y="94"/>
                      </a:lnTo>
                      <a:lnTo>
                        <a:pt x="489" y="88"/>
                      </a:lnTo>
                      <a:lnTo>
                        <a:pt x="493" y="82"/>
                      </a:lnTo>
                      <a:lnTo>
                        <a:pt x="497" y="76"/>
                      </a:lnTo>
                      <a:lnTo>
                        <a:pt x="499" y="68"/>
                      </a:lnTo>
                      <a:lnTo>
                        <a:pt x="497" y="60"/>
                      </a:lnTo>
                      <a:lnTo>
                        <a:pt x="495" y="52"/>
                      </a:lnTo>
                      <a:lnTo>
                        <a:pt x="483" y="38"/>
                      </a:lnTo>
                      <a:lnTo>
                        <a:pt x="471" y="24"/>
                      </a:lnTo>
                      <a:lnTo>
                        <a:pt x="459" y="10"/>
                      </a:lnTo>
                      <a:lnTo>
                        <a:pt x="449" y="4"/>
                      </a:lnTo>
                      <a:lnTo>
                        <a:pt x="441" y="2"/>
                      </a:lnTo>
                      <a:lnTo>
                        <a:pt x="433" y="0"/>
                      </a:lnTo>
                      <a:lnTo>
                        <a:pt x="427" y="2"/>
                      </a:lnTo>
                      <a:lnTo>
                        <a:pt x="423" y="2"/>
                      </a:lnTo>
                      <a:lnTo>
                        <a:pt x="415" y="8"/>
                      </a:lnTo>
                      <a:lnTo>
                        <a:pt x="407" y="14"/>
                      </a:lnTo>
                      <a:lnTo>
                        <a:pt x="397" y="16"/>
                      </a:lnTo>
                      <a:lnTo>
                        <a:pt x="397" y="24"/>
                      </a:lnTo>
                      <a:lnTo>
                        <a:pt x="395" y="32"/>
                      </a:lnTo>
                      <a:lnTo>
                        <a:pt x="393" y="38"/>
                      </a:lnTo>
                      <a:lnTo>
                        <a:pt x="387" y="42"/>
                      </a:lnTo>
                      <a:lnTo>
                        <a:pt x="377" y="50"/>
                      </a:lnTo>
                      <a:lnTo>
                        <a:pt x="367" y="58"/>
                      </a:lnTo>
                      <a:lnTo>
                        <a:pt x="343" y="80"/>
                      </a:lnTo>
                      <a:lnTo>
                        <a:pt x="331" y="90"/>
                      </a:lnTo>
                      <a:lnTo>
                        <a:pt x="319" y="96"/>
                      </a:lnTo>
                      <a:lnTo>
                        <a:pt x="305" y="102"/>
                      </a:lnTo>
                      <a:lnTo>
                        <a:pt x="289" y="106"/>
                      </a:lnTo>
                      <a:lnTo>
                        <a:pt x="271" y="110"/>
                      </a:lnTo>
                      <a:lnTo>
                        <a:pt x="251" y="110"/>
                      </a:lnTo>
                      <a:lnTo>
                        <a:pt x="253" y="116"/>
                      </a:lnTo>
                      <a:lnTo>
                        <a:pt x="259" y="120"/>
                      </a:lnTo>
                      <a:lnTo>
                        <a:pt x="253" y="130"/>
                      </a:lnTo>
                      <a:lnTo>
                        <a:pt x="247" y="140"/>
                      </a:lnTo>
                      <a:lnTo>
                        <a:pt x="241" y="148"/>
                      </a:lnTo>
                      <a:lnTo>
                        <a:pt x="231" y="156"/>
                      </a:lnTo>
                      <a:lnTo>
                        <a:pt x="221" y="160"/>
                      </a:lnTo>
                      <a:lnTo>
                        <a:pt x="213" y="164"/>
                      </a:lnTo>
                      <a:lnTo>
                        <a:pt x="191" y="166"/>
                      </a:lnTo>
                      <a:lnTo>
                        <a:pt x="171" y="168"/>
                      </a:lnTo>
                      <a:lnTo>
                        <a:pt x="149" y="172"/>
                      </a:lnTo>
                      <a:lnTo>
                        <a:pt x="143" y="176"/>
                      </a:lnTo>
                      <a:lnTo>
                        <a:pt x="139" y="180"/>
                      </a:lnTo>
                      <a:lnTo>
                        <a:pt x="132" y="184"/>
                      </a:lnTo>
                      <a:lnTo>
                        <a:pt x="126" y="184"/>
                      </a:lnTo>
                      <a:lnTo>
                        <a:pt x="122" y="184"/>
                      </a:lnTo>
                      <a:lnTo>
                        <a:pt x="118" y="180"/>
                      </a:lnTo>
                      <a:lnTo>
                        <a:pt x="112" y="172"/>
                      </a:lnTo>
                      <a:lnTo>
                        <a:pt x="104" y="178"/>
                      </a:lnTo>
                      <a:lnTo>
                        <a:pt x="96" y="182"/>
                      </a:lnTo>
                      <a:lnTo>
                        <a:pt x="78" y="186"/>
                      </a:lnTo>
                      <a:lnTo>
                        <a:pt x="60" y="190"/>
                      </a:lnTo>
                      <a:lnTo>
                        <a:pt x="54" y="192"/>
                      </a:lnTo>
                      <a:lnTo>
                        <a:pt x="50" y="194"/>
                      </a:lnTo>
                      <a:lnTo>
                        <a:pt x="36" y="212"/>
                      </a:lnTo>
                      <a:lnTo>
                        <a:pt x="26" y="230"/>
                      </a:lnTo>
                      <a:lnTo>
                        <a:pt x="14" y="250"/>
                      </a:lnTo>
                      <a:lnTo>
                        <a:pt x="0" y="266"/>
                      </a:lnTo>
                      <a:lnTo>
                        <a:pt x="6" y="272"/>
                      </a:lnTo>
                      <a:lnTo>
                        <a:pt x="8" y="274"/>
                      </a:lnTo>
                      <a:lnTo>
                        <a:pt x="10" y="276"/>
                      </a:lnTo>
                      <a:lnTo>
                        <a:pt x="10" y="280"/>
                      </a:lnTo>
                      <a:lnTo>
                        <a:pt x="10" y="284"/>
                      </a:lnTo>
                      <a:lnTo>
                        <a:pt x="10" y="296"/>
                      </a:lnTo>
                      <a:lnTo>
                        <a:pt x="12" y="312"/>
                      </a:lnTo>
                      <a:lnTo>
                        <a:pt x="14" y="328"/>
                      </a:lnTo>
                      <a:lnTo>
                        <a:pt x="20" y="342"/>
                      </a:lnTo>
                      <a:lnTo>
                        <a:pt x="26" y="358"/>
                      </a:lnTo>
                      <a:lnTo>
                        <a:pt x="42" y="384"/>
                      </a:lnTo>
                      <a:lnTo>
                        <a:pt x="58" y="406"/>
                      </a:lnTo>
                      <a:lnTo>
                        <a:pt x="62" y="412"/>
                      </a:lnTo>
                      <a:lnTo>
                        <a:pt x="68" y="416"/>
                      </a:lnTo>
                      <a:lnTo>
                        <a:pt x="82" y="426"/>
                      </a:lnTo>
                      <a:lnTo>
                        <a:pt x="88" y="430"/>
                      </a:lnTo>
                      <a:lnTo>
                        <a:pt x="92" y="436"/>
                      </a:lnTo>
                      <a:lnTo>
                        <a:pt x="96" y="444"/>
                      </a:lnTo>
                      <a:lnTo>
                        <a:pt x="96" y="456"/>
                      </a:lnTo>
                      <a:lnTo>
                        <a:pt x="104" y="432"/>
                      </a:lnTo>
                      <a:lnTo>
                        <a:pt x="108" y="420"/>
                      </a:lnTo>
                      <a:lnTo>
                        <a:pt x="114" y="410"/>
                      </a:lnTo>
                      <a:lnTo>
                        <a:pt x="120" y="402"/>
                      </a:lnTo>
                      <a:lnTo>
                        <a:pt x="130" y="394"/>
                      </a:lnTo>
                      <a:lnTo>
                        <a:pt x="143" y="390"/>
                      </a:lnTo>
                      <a:lnTo>
                        <a:pt x="159" y="388"/>
                      </a:lnTo>
                      <a:lnTo>
                        <a:pt x="177" y="390"/>
                      </a:lnTo>
                      <a:lnTo>
                        <a:pt x="193" y="394"/>
                      </a:lnTo>
                      <a:lnTo>
                        <a:pt x="231" y="394"/>
                      </a:lnTo>
                      <a:lnTo>
                        <a:pt x="231" y="378"/>
                      </a:lnTo>
                      <a:lnTo>
                        <a:pt x="231" y="368"/>
                      </a:lnTo>
                      <a:lnTo>
                        <a:pt x="235" y="356"/>
                      </a:lnTo>
                      <a:lnTo>
                        <a:pt x="241" y="344"/>
                      </a:lnTo>
                      <a:lnTo>
                        <a:pt x="247" y="334"/>
                      </a:lnTo>
                      <a:lnTo>
                        <a:pt x="255" y="324"/>
                      </a:lnTo>
                      <a:lnTo>
                        <a:pt x="263" y="316"/>
                      </a:lnTo>
                      <a:lnTo>
                        <a:pt x="273" y="312"/>
                      </a:lnTo>
                      <a:lnTo>
                        <a:pt x="283" y="310"/>
                      </a:lnTo>
                      <a:lnTo>
                        <a:pt x="291" y="312"/>
                      </a:lnTo>
                      <a:lnTo>
                        <a:pt x="297" y="314"/>
                      </a:lnTo>
                      <a:lnTo>
                        <a:pt x="303" y="320"/>
                      </a:lnTo>
                      <a:lnTo>
                        <a:pt x="309" y="326"/>
                      </a:lnTo>
                      <a:lnTo>
                        <a:pt x="317" y="338"/>
                      </a:lnTo>
                      <a:lnTo>
                        <a:pt x="327" y="346"/>
                      </a:lnTo>
                      <a:lnTo>
                        <a:pt x="337" y="350"/>
                      </a:lnTo>
                      <a:lnTo>
                        <a:pt x="347" y="354"/>
                      </a:lnTo>
                      <a:lnTo>
                        <a:pt x="373" y="362"/>
                      </a:lnTo>
                      <a:lnTo>
                        <a:pt x="399" y="364"/>
                      </a:lnTo>
                      <a:lnTo>
                        <a:pt x="421" y="366"/>
                      </a:lnTo>
                      <a:lnTo>
                        <a:pt x="431" y="364"/>
                      </a:lnTo>
                      <a:lnTo>
                        <a:pt x="437" y="362"/>
                      </a:lnTo>
                      <a:lnTo>
                        <a:pt x="441" y="356"/>
                      </a:lnTo>
                      <a:lnTo>
                        <a:pt x="447" y="350"/>
                      </a:lnTo>
                      <a:lnTo>
                        <a:pt x="451" y="344"/>
                      </a:lnTo>
                      <a:lnTo>
                        <a:pt x="455" y="338"/>
                      </a:lnTo>
                      <a:lnTo>
                        <a:pt x="461" y="334"/>
                      </a:lnTo>
                      <a:lnTo>
                        <a:pt x="471" y="332"/>
                      </a:lnTo>
                      <a:lnTo>
                        <a:pt x="477" y="336"/>
                      </a:lnTo>
                      <a:lnTo>
                        <a:pt x="481" y="338"/>
                      </a:lnTo>
                      <a:lnTo>
                        <a:pt x="485" y="338"/>
                      </a:lnTo>
                      <a:lnTo>
                        <a:pt x="493" y="338"/>
                      </a:lnTo>
                      <a:lnTo>
                        <a:pt x="501" y="336"/>
                      </a:lnTo>
                      <a:lnTo>
                        <a:pt x="517" y="328"/>
                      </a:lnTo>
                      <a:lnTo>
                        <a:pt x="531" y="322"/>
                      </a:lnTo>
                      <a:lnTo>
                        <a:pt x="537" y="318"/>
                      </a:lnTo>
                      <a:lnTo>
                        <a:pt x="545" y="316"/>
                      </a:lnTo>
                      <a:lnTo>
                        <a:pt x="549" y="322"/>
                      </a:lnTo>
                      <a:lnTo>
                        <a:pt x="553" y="324"/>
                      </a:lnTo>
                      <a:lnTo>
                        <a:pt x="563" y="322"/>
                      </a:lnTo>
                      <a:lnTo>
                        <a:pt x="575" y="322"/>
                      </a:lnTo>
                      <a:lnTo>
                        <a:pt x="583" y="318"/>
                      </a:lnTo>
                      <a:lnTo>
                        <a:pt x="585" y="316"/>
                      </a:lnTo>
                      <a:lnTo>
                        <a:pt x="587" y="312"/>
                      </a:lnTo>
                      <a:lnTo>
                        <a:pt x="589" y="302"/>
                      </a:lnTo>
                      <a:lnTo>
                        <a:pt x="599" y="302"/>
                      </a:lnTo>
                      <a:lnTo>
                        <a:pt x="609" y="302"/>
                      </a:lnTo>
                      <a:lnTo>
                        <a:pt x="625" y="308"/>
                      </a:lnTo>
                      <a:lnTo>
                        <a:pt x="643" y="314"/>
                      </a:lnTo>
                      <a:lnTo>
                        <a:pt x="653" y="316"/>
                      </a:lnTo>
                      <a:lnTo>
                        <a:pt x="663" y="316"/>
                      </a:lnTo>
                      <a:lnTo>
                        <a:pt x="673" y="316"/>
                      </a:lnTo>
                      <a:lnTo>
                        <a:pt x="679" y="314"/>
                      </a:lnTo>
                      <a:lnTo>
                        <a:pt x="687" y="312"/>
                      </a:lnTo>
                      <a:lnTo>
                        <a:pt x="693" y="310"/>
                      </a:lnTo>
                      <a:lnTo>
                        <a:pt x="695" y="310"/>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8" name="Cameroon">
                  <a:extLst>
                    <a:ext uri="{FF2B5EF4-FFF2-40B4-BE49-F238E27FC236}">
                      <a16:creationId xmlns:a16="http://schemas.microsoft.com/office/drawing/2014/main" id="{12E45F17-6855-43DB-ABF7-F928F5B17E0A}"/>
                    </a:ext>
                  </a:extLst>
                </p:cNvPr>
                <p:cNvSpPr>
                  <a:spLocks/>
                </p:cNvSpPr>
                <p:nvPr/>
              </p:nvSpPr>
              <p:spPr bwMode="gray">
                <a:xfrm>
                  <a:off x="4467225" y="3711575"/>
                  <a:ext cx="484187" cy="711200"/>
                </a:xfrm>
                <a:custGeom>
                  <a:avLst/>
                  <a:gdLst/>
                  <a:ahLst/>
                  <a:cxnLst>
                    <a:cxn ang="0">
                      <a:pos x="68" y="588"/>
                    </a:cxn>
                    <a:cxn ang="0">
                      <a:pos x="74" y="552"/>
                    </a:cxn>
                    <a:cxn ang="0">
                      <a:pos x="70" y="520"/>
                    </a:cxn>
                    <a:cxn ang="0">
                      <a:pos x="38" y="492"/>
                    </a:cxn>
                    <a:cxn ang="0">
                      <a:pos x="12" y="468"/>
                    </a:cxn>
                    <a:cxn ang="0">
                      <a:pos x="6" y="438"/>
                    </a:cxn>
                    <a:cxn ang="0">
                      <a:pos x="16" y="398"/>
                    </a:cxn>
                    <a:cxn ang="0">
                      <a:pos x="38" y="368"/>
                    </a:cxn>
                    <a:cxn ang="0">
                      <a:pos x="74" y="342"/>
                    </a:cxn>
                    <a:cxn ang="0">
                      <a:pos x="102" y="334"/>
                    </a:cxn>
                    <a:cxn ang="0">
                      <a:pos x="118" y="328"/>
                    </a:cxn>
                    <a:cxn ang="0">
                      <a:pos x="136" y="354"/>
                    </a:cxn>
                    <a:cxn ang="0">
                      <a:pos x="152" y="356"/>
                    </a:cxn>
                    <a:cxn ang="0">
                      <a:pos x="186" y="306"/>
                    </a:cxn>
                    <a:cxn ang="0">
                      <a:pos x="196" y="270"/>
                    </a:cxn>
                    <a:cxn ang="0">
                      <a:pos x="228" y="236"/>
                    </a:cxn>
                    <a:cxn ang="0">
                      <a:pos x="234" y="218"/>
                    </a:cxn>
                    <a:cxn ang="0">
                      <a:pos x="246" y="200"/>
                    </a:cxn>
                    <a:cxn ang="0">
                      <a:pos x="256" y="180"/>
                    </a:cxn>
                    <a:cxn ang="0">
                      <a:pos x="262" y="152"/>
                    </a:cxn>
                    <a:cxn ang="0">
                      <a:pos x="286" y="118"/>
                    </a:cxn>
                    <a:cxn ang="0">
                      <a:pos x="322" y="90"/>
                    </a:cxn>
                    <a:cxn ang="0">
                      <a:pos x="328" y="56"/>
                    </a:cxn>
                    <a:cxn ang="0">
                      <a:pos x="314" y="42"/>
                    </a:cxn>
                    <a:cxn ang="0">
                      <a:pos x="304" y="0"/>
                    </a:cxn>
                    <a:cxn ang="0">
                      <a:pos x="340" y="44"/>
                    </a:cxn>
                    <a:cxn ang="0">
                      <a:pos x="354" y="122"/>
                    </a:cxn>
                    <a:cxn ang="0">
                      <a:pos x="344" y="160"/>
                    </a:cxn>
                    <a:cxn ang="0">
                      <a:pos x="302" y="168"/>
                    </a:cxn>
                    <a:cxn ang="0">
                      <a:pos x="296" y="194"/>
                    </a:cxn>
                    <a:cxn ang="0">
                      <a:pos x="310" y="214"/>
                    </a:cxn>
                    <a:cxn ang="0">
                      <a:pos x="348" y="248"/>
                    </a:cxn>
                    <a:cxn ang="0">
                      <a:pos x="378" y="308"/>
                    </a:cxn>
                    <a:cxn ang="0">
                      <a:pos x="360" y="320"/>
                    </a:cxn>
                    <a:cxn ang="0">
                      <a:pos x="332" y="366"/>
                    </a:cxn>
                    <a:cxn ang="0">
                      <a:pos x="324" y="390"/>
                    </a:cxn>
                    <a:cxn ang="0">
                      <a:pos x="328" y="398"/>
                    </a:cxn>
                    <a:cxn ang="0">
                      <a:pos x="330" y="430"/>
                    </a:cxn>
                    <a:cxn ang="0">
                      <a:pos x="344" y="476"/>
                    </a:cxn>
                    <a:cxn ang="0">
                      <a:pos x="380" y="530"/>
                    </a:cxn>
                    <a:cxn ang="0">
                      <a:pos x="406" y="548"/>
                    </a:cxn>
                    <a:cxn ang="0">
                      <a:pos x="414" y="574"/>
                    </a:cxn>
                    <a:cxn ang="0">
                      <a:pos x="408" y="588"/>
                    </a:cxn>
                    <a:cxn ang="0">
                      <a:pos x="392" y="602"/>
                    </a:cxn>
                    <a:cxn ang="0">
                      <a:pos x="366" y="598"/>
                    </a:cxn>
                    <a:cxn ang="0">
                      <a:pos x="320" y="584"/>
                    </a:cxn>
                    <a:cxn ang="0">
                      <a:pos x="282" y="580"/>
                    </a:cxn>
                    <a:cxn ang="0">
                      <a:pos x="254" y="592"/>
                    </a:cxn>
                  </a:cxnLst>
                  <a:rect l="0" t="0" r="r" b="b"/>
                  <a:pathLst>
                    <a:path w="414" h="608">
                      <a:moveTo>
                        <a:pt x="248" y="588"/>
                      </a:moveTo>
                      <a:lnTo>
                        <a:pt x="150" y="588"/>
                      </a:lnTo>
                      <a:lnTo>
                        <a:pt x="68" y="588"/>
                      </a:lnTo>
                      <a:lnTo>
                        <a:pt x="70" y="574"/>
                      </a:lnTo>
                      <a:lnTo>
                        <a:pt x="72" y="562"/>
                      </a:lnTo>
                      <a:lnTo>
                        <a:pt x="74" y="552"/>
                      </a:lnTo>
                      <a:lnTo>
                        <a:pt x="76" y="540"/>
                      </a:lnTo>
                      <a:lnTo>
                        <a:pt x="74" y="530"/>
                      </a:lnTo>
                      <a:lnTo>
                        <a:pt x="70" y="520"/>
                      </a:lnTo>
                      <a:lnTo>
                        <a:pt x="64" y="512"/>
                      </a:lnTo>
                      <a:lnTo>
                        <a:pt x="56" y="506"/>
                      </a:lnTo>
                      <a:lnTo>
                        <a:pt x="38" y="492"/>
                      </a:lnTo>
                      <a:lnTo>
                        <a:pt x="24" y="484"/>
                      </a:lnTo>
                      <a:lnTo>
                        <a:pt x="18" y="478"/>
                      </a:lnTo>
                      <a:lnTo>
                        <a:pt x="12" y="468"/>
                      </a:lnTo>
                      <a:lnTo>
                        <a:pt x="6" y="458"/>
                      </a:lnTo>
                      <a:lnTo>
                        <a:pt x="0" y="452"/>
                      </a:lnTo>
                      <a:lnTo>
                        <a:pt x="6" y="438"/>
                      </a:lnTo>
                      <a:lnTo>
                        <a:pt x="8" y="426"/>
                      </a:lnTo>
                      <a:lnTo>
                        <a:pt x="12" y="412"/>
                      </a:lnTo>
                      <a:lnTo>
                        <a:pt x="16" y="398"/>
                      </a:lnTo>
                      <a:lnTo>
                        <a:pt x="20" y="388"/>
                      </a:lnTo>
                      <a:lnTo>
                        <a:pt x="28" y="378"/>
                      </a:lnTo>
                      <a:lnTo>
                        <a:pt x="38" y="368"/>
                      </a:lnTo>
                      <a:lnTo>
                        <a:pt x="50" y="358"/>
                      </a:lnTo>
                      <a:lnTo>
                        <a:pt x="62" y="350"/>
                      </a:lnTo>
                      <a:lnTo>
                        <a:pt x="74" y="342"/>
                      </a:lnTo>
                      <a:lnTo>
                        <a:pt x="88" y="338"/>
                      </a:lnTo>
                      <a:lnTo>
                        <a:pt x="98" y="336"/>
                      </a:lnTo>
                      <a:lnTo>
                        <a:pt x="102" y="334"/>
                      </a:lnTo>
                      <a:lnTo>
                        <a:pt x="106" y="332"/>
                      </a:lnTo>
                      <a:lnTo>
                        <a:pt x="112" y="324"/>
                      </a:lnTo>
                      <a:lnTo>
                        <a:pt x="118" y="328"/>
                      </a:lnTo>
                      <a:lnTo>
                        <a:pt x="122" y="334"/>
                      </a:lnTo>
                      <a:lnTo>
                        <a:pt x="130" y="346"/>
                      </a:lnTo>
                      <a:lnTo>
                        <a:pt x="136" y="354"/>
                      </a:lnTo>
                      <a:lnTo>
                        <a:pt x="140" y="358"/>
                      </a:lnTo>
                      <a:lnTo>
                        <a:pt x="146" y="358"/>
                      </a:lnTo>
                      <a:lnTo>
                        <a:pt x="152" y="356"/>
                      </a:lnTo>
                      <a:lnTo>
                        <a:pt x="158" y="350"/>
                      </a:lnTo>
                      <a:lnTo>
                        <a:pt x="172" y="330"/>
                      </a:lnTo>
                      <a:lnTo>
                        <a:pt x="186" y="306"/>
                      </a:lnTo>
                      <a:lnTo>
                        <a:pt x="192" y="288"/>
                      </a:lnTo>
                      <a:lnTo>
                        <a:pt x="194" y="278"/>
                      </a:lnTo>
                      <a:lnTo>
                        <a:pt x="196" y="270"/>
                      </a:lnTo>
                      <a:lnTo>
                        <a:pt x="204" y="256"/>
                      </a:lnTo>
                      <a:lnTo>
                        <a:pt x="216" y="246"/>
                      </a:lnTo>
                      <a:lnTo>
                        <a:pt x="228" y="236"/>
                      </a:lnTo>
                      <a:lnTo>
                        <a:pt x="232" y="232"/>
                      </a:lnTo>
                      <a:lnTo>
                        <a:pt x="232" y="224"/>
                      </a:lnTo>
                      <a:lnTo>
                        <a:pt x="234" y="218"/>
                      </a:lnTo>
                      <a:lnTo>
                        <a:pt x="234" y="212"/>
                      </a:lnTo>
                      <a:lnTo>
                        <a:pt x="238" y="206"/>
                      </a:lnTo>
                      <a:lnTo>
                        <a:pt x="246" y="200"/>
                      </a:lnTo>
                      <a:lnTo>
                        <a:pt x="256" y="190"/>
                      </a:lnTo>
                      <a:lnTo>
                        <a:pt x="256" y="186"/>
                      </a:lnTo>
                      <a:lnTo>
                        <a:pt x="256" y="180"/>
                      </a:lnTo>
                      <a:lnTo>
                        <a:pt x="256" y="166"/>
                      </a:lnTo>
                      <a:lnTo>
                        <a:pt x="258" y="160"/>
                      </a:lnTo>
                      <a:lnTo>
                        <a:pt x="262" y="152"/>
                      </a:lnTo>
                      <a:lnTo>
                        <a:pt x="272" y="136"/>
                      </a:lnTo>
                      <a:lnTo>
                        <a:pt x="278" y="126"/>
                      </a:lnTo>
                      <a:lnTo>
                        <a:pt x="286" y="118"/>
                      </a:lnTo>
                      <a:lnTo>
                        <a:pt x="306" y="104"/>
                      </a:lnTo>
                      <a:lnTo>
                        <a:pt x="316" y="98"/>
                      </a:lnTo>
                      <a:lnTo>
                        <a:pt x="322" y="90"/>
                      </a:lnTo>
                      <a:lnTo>
                        <a:pt x="328" y="80"/>
                      </a:lnTo>
                      <a:lnTo>
                        <a:pt x="330" y="68"/>
                      </a:lnTo>
                      <a:lnTo>
                        <a:pt x="328" y="56"/>
                      </a:lnTo>
                      <a:lnTo>
                        <a:pt x="328" y="50"/>
                      </a:lnTo>
                      <a:lnTo>
                        <a:pt x="330" y="44"/>
                      </a:lnTo>
                      <a:lnTo>
                        <a:pt x="314" y="42"/>
                      </a:lnTo>
                      <a:lnTo>
                        <a:pt x="308" y="40"/>
                      </a:lnTo>
                      <a:lnTo>
                        <a:pt x="304" y="36"/>
                      </a:lnTo>
                      <a:lnTo>
                        <a:pt x="304" y="0"/>
                      </a:lnTo>
                      <a:lnTo>
                        <a:pt x="314" y="10"/>
                      </a:lnTo>
                      <a:lnTo>
                        <a:pt x="324" y="20"/>
                      </a:lnTo>
                      <a:lnTo>
                        <a:pt x="340" y="44"/>
                      </a:lnTo>
                      <a:lnTo>
                        <a:pt x="340" y="82"/>
                      </a:lnTo>
                      <a:lnTo>
                        <a:pt x="348" y="102"/>
                      </a:lnTo>
                      <a:lnTo>
                        <a:pt x="354" y="122"/>
                      </a:lnTo>
                      <a:lnTo>
                        <a:pt x="360" y="140"/>
                      </a:lnTo>
                      <a:lnTo>
                        <a:pt x="366" y="160"/>
                      </a:lnTo>
                      <a:lnTo>
                        <a:pt x="344" y="160"/>
                      </a:lnTo>
                      <a:lnTo>
                        <a:pt x="320" y="162"/>
                      </a:lnTo>
                      <a:lnTo>
                        <a:pt x="310" y="164"/>
                      </a:lnTo>
                      <a:lnTo>
                        <a:pt x="302" y="168"/>
                      </a:lnTo>
                      <a:lnTo>
                        <a:pt x="298" y="174"/>
                      </a:lnTo>
                      <a:lnTo>
                        <a:pt x="296" y="184"/>
                      </a:lnTo>
                      <a:lnTo>
                        <a:pt x="296" y="194"/>
                      </a:lnTo>
                      <a:lnTo>
                        <a:pt x="300" y="202"/>
                      </a:lnTo>
                      <a:lnTo>
                        <a:pt x="304" y="208"/>
                      </a:lnTo>
                      <a:lnTo>
                        <a:pt x="310" y="214"/>
                      </a:lnTo>
                      <a:lnTo>
                        <a:pt x="322" y="224"/>
                      </a:lnTo>
                      <a:lnTo>
                        <a:pt x="334" y="232"/>
                      </a:lnTo>
                      <a:lnTo>
                        <a:pt x="348" y="248"/>
                      </a:lnTo>
                      <a:lnTo>
                        <a:pt x="360" y="266"/>
                      </a:lnTo>
                      <a:lnTo>
                        <a:pt x="370" y="286"/>
                      </a:lnTo>
                      <a:lnTo>
                        <a:pt x="378" y="308"/>
                      </a:lnTo>
                      <a:lnTo>
                        <a:pt x="372" y="310"/>
                      </a:lnTo>
                      <a:lnTo>
                        <a:pt x="368" y="312"/>
                      </a:lnTo>
                      <a:lnTo>
                        <a:pt x="360" y="320"/>
                      </a:lnTo>
                      <a:lnTo>
                        <a:pt x="354" y="330"/>
                      </a:lnTo>
                      <a:lnTo>
                        <a:pt x="342" y="348"/>
                      </a:lnTo>
                      <a:lnTo>
                        <a:pt x="332" y="366"/>
                      </a:lnTo>
                      <a:lnTo>
                        <a:pt x="326" y="376"/>
                      </a:lnTo>
                      <a:lnTo>
                        <a:pt x="318" y="384"/>
                      </a:lnTo>
                      <a:lnTo>
                        <a:pt x="324" y="390"/>
                      </a:lnTo>
                      <a:lnTo>
                        <a:pt x="326" y="392"/>
                      </a:lnTo>
                      <a:lnTo>
                        <a:pt x="328" y="394"/>
                      </a:lnTo>
                      <a:lnTo>
                        <a:pt x="328" y="398"/>
                      </a:lnTo>
                      <a:lnTo>
                        <a:pt x="328" y="402"/>
                      </a:lnTo>
                      <a:lnTo>
                        <a:pt x="328" y="414"/>
                      </a:lnTo>
                      <a:lnTo>
                        <a:pt x="330" y="430"/>
                      </a:lnTo>
                      <a:lnTo>
                        <a:pt x="332" y="446"/>
                      </a:lnTo>
                      <a:lnTo>
                        <a:pt x="338" y="460"/>
                      </a:lnTo>
                      <a:lnTo>
                        <a:pt x="344" y="476"/>
                      </a:lnTo>
                      <a:lnTo>
                        <a:pt x="360" y="502"/>
                      </a:lnTo>
                      <a:lnTo>
                        <a:pt x="376" y="524"/>
                      </a:lnTo>
                      <a:lnTo>
                        <a:pt x="380" y="530"/>
                      </a:lnTo>
                      <a:lnTo>
                        <a:pt x="386" y="534"/>
                      </a:lnTo>
                      <a:lnTo>
                        <a:pt x="400" y="544"/>
                      </a:lnTo>
                      <a:lnTo>
                        <a:pt x="406" y="548"/>
                      </a:lnTo>
                      <a:lnTo>
                        <a:pt x="410" y="556"/>
                      </a:lnTo>
                      <a:lnTo>
                        <a:pt x="412" y="564"/>
                      </a:lnTo>
                      <a:lnTo>
                        <a:pt x="414" y="574"/>
                      </a:lnTo>
                      <a:lnTo>
                        <a:pt x="414" y="568"/>
                      </a:lnTo>
                      <a:lnTo>
                        <a:pt x="410" y="578"/>
                      </a:lnTo>
                      <a:lnTo>
                        <a:pt x="408" y="588"/>
                      </a:lnTo>
                      <a:lnTo>
                        <a:pt x="406" y="598"/>
                      </a:lnTo>
                      <a:lnTo>
                        <a:pt x="402" y="608"/>
                      </a:lnTo>
                      <a:lnTo>
                        <a:pt x="392" y="602"/>
                      </a:lnTo>
                      <a:lnTo>
                        <a:pt x="386" y="600"/>
                      </a:lnTo>
                      <a:lnTo>
                        <a:pt x="378" y="598"/>
                      </a:lnTo>
                      <a:lnTo>
                        <a:pt x="366" y="598"/>
                      </a:lnTo>
                      <a:lnTo>
                        <a:pt x="356" y="596"/>
                      </a:lnTo>
                      <a:lnTo>
                        <a:pt x="338" y="590"/>
                      </a:lnTo>
                      <a:lnTo>
                        <a:pt x="320" y="584"/>
                      </a:lnTo>
                      <a:lnTo>
                        <a:pt x="308" y="582"/>
                      </a:lnTo>
                      <a:lnTo>
                        <a:pt x="296" y="580"/>
                      </a:lnTo>
                      <a:lnTo>
                        <a:pt x="282" y="580"/>
                      </a:lnTo>
                      <a:lnTo>
                        <a:pt x="270" y="582"/>
                      </a:lnTo>
                      <a:lnTo>
                        <a:pt x="260" y="586"/>
                      </a:lnTo>
                      <a:lnTo>
                        <a:pt x="254" y="592"/>
                      </a:lnTo>
                      <a:lnTo>
                        <a:pt x="248" y="58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19" name="Nigeria">
                  <a:extLst>
                    <a:ext uri="{FF2B5EF4-FFF2-40B4-BE49-F238E27FC236}">
                      <a16:creationId xmlns:a16="http://schemas.microsoft.com/office/drawing/2014/main" id="{3184BEC4-BE56-4428-986A-24DFCB811156}"/>
                    </a:ext>
                  </a:extLst>
                </p:cNvPr>
                <p:cNvSpPr>
                  <a:spLocks/>
                </p:cNvSpPr>
                <p:nvPr/>
              </p:nvSpPr>
              <p:spPr bwMode="gray">
                <a:xfrm>
                  <a:off x="4103688" y="3656013"/>
                  <a:ext cx="749300" cy="603250"/>
                </a:xfrm>
                <a:custGeom>
                  <a:avLst/>
                  <a:gdLst/>
                  <a:ahLst/>
                  <a:cxnLst>
                    <a:cxn ang="0">
                      <a:pos x="290" y="498"/>
                    </a:cxn>
                    <a:cxn ang="0">
                      <a:pos x="248" y="510"/>
                    </a:cxn>
                    <a:cxn ang="0">
                      <a:pos x="208" y="514"/>
                    </a:cxn>
                    <a:cxn ang="0">
                      <a:pos x="170" y="514"/>
                    </a:cxn>
                    <a:cxn ang="0">
                      <a:pos x="146" y="492"/>
                    </a:cxn>
                    <a:cxn ang="0">
                      <a:pos x="128" y="450"/>
                    </a:cxn>
                    <a:cxn ang="0">
                      <a:pos x="96" y="412"/>
                    </a:cxn>
                    <a:cxn ang="0">
                      <a:pos x="66" y="404"/>
                    </a:cxn>
                    <a:cxn ang="0">
                      <a:pos x="4" y="400"/>
                    </a:cxn>
                    <a:cxn ang="0">
                      <a:pos x="0" y="298"/>
                    </a:cxn>
                    <a:cxn ang="0">
                      <a:pos x="12" y="274"/>
                    </a:cxn>
                    <a:cxn ang="0">
                      <a:pos x="18" y="248"/>
                    </a:cxn>
                    <a:cxn ang="0">
                      <a:pos x="32" y="222"/>
                    </a:cxn>
                    <a:cxn ang="0">
                      <a:pos x="58" y="192"/>
                    </a:cxn>
                    <a:cxn ang="0">
                      <a:pos x="62" y="154"/>
                    </a:cxn>
                    <a:cxn ang="0">
                      <a:pos x="54" y="124"/>
                    </a:cxn>
                    <a:cxn ang="0">
                      <a:pos x="58" y="70"/>
                    </a:cxn>
                    <a:cxn ang="0">
                      <a:pos x="76" y="52"/>
                    </a:cxn>
                    <a:cxn ang="0">
                      <a:pos x="88" y="20"/>
                    </a:cxn>
                    <a:cxn ang="0">
                      <a:pos x="110" y="6"/>
                    </a:cxn>
                    <a:cxn ang="0">
                      <a:pos x="168" y="2"/>
                    </a:cxn>
                    <a:cxn ang="0">
                      <a:pos x="208" y="16"/>
                    </a:cxn>
                    <a:cxn ang="0">
                      <a:pos x="228" y="44"/>
                    </a:cxn>
                    <a:cxn ang="0">
                      <a:pos x="244" y="46"/>
                    </a:cxn>
                    <a:cxn ang="0">
                      <a:pos x="272" y="34"/>
                    </a:cxn>
                    <a:cxn ang="0">
                      <a:pos x="294" y="32"/>
                    </a:cxn>
                    <a:cxn ang="0">
                      <a:pos x="336" y="54"/>
                    </a:cxn>
                    <a:cxn ang="0">
                      <a:pos x="372" y="58"/>
                    </a:cxn>
                    <a:cxn ang="0">
                      <a:pos x="400" y="44"/>
                    </a:cxn>
                    <a:cxn ang="0">
                      <a:pos x="432" y="30"/>
                    </a:cxn>
                    <a:cxn ang="0">
                      <a:pos x="466" y="32"/>
                    </a:cxn>
                    <a:cxn ang="0">
                      <a:pos x="504" y="50"/>
                    </a:cxn>
                    <a:cxn ang="0">
                      <a:pos x="528" y="46"/>
                    </a:cxn>
                    <a:cxn ang="0">
                      <a:pos x="576" y="16"/>
                    </a:cxn>
                    <a:cxn ang="0">
                      <a:pos x="592" y="22"/>
                    </a:cxn>
                    <a:cxn ang="0">
                      <a:pos x="614" y="84"/>
                    </a:cxn>
                    <a:cxn ang="0">
                      <a:pos x="640" y="92"/>
                    </a:cxn>
                    <a:cxn ang="0">
                      <a:pos x="640" y="116"/>
                    </a:cxn>
                    <a:cxn ang="0">
                      <a:pos x="626" y="146"/>
                    </a:cxn>
                    <a:cxn ang="0">
                      <a:pos x="588" y="174"/>
                    </a:cxn>
                    <a:cxn ang="0">
                      <a:pos x="568" y="208"/>
                    </a:cxn>
                    <a:cxn ang="0">
                      <a:pos x="566" y="234"/>
                    </a:cxn>
                    <a:cxn ang="0">
                      <a:pos x="548" y="254"/>
                    </a:cxn>
                    <a:cxn ang="0">
                      <a:pos x="542" y="272"/>
                    </a:cxn>
                    <a:cxn ang="0">
                      <a:pos x="526" y="294"/>
                    </a:cxn>
                    <a:cxn ang="0">
                      <a:pos x="504" y="326"/>
                    </a:cxn>
                    <a:cxn ang="0">
                      <a:pos x="482" y="378"/>
                    </a:cxn>
                    <a:cxn ang="0">
                      <a:pos x="456" y="406"/>
                    </a:cxn>
                    <a:cxn ang="0">
                      <a:pos x="440" y="394"/>
                    </a:cxn>
                    <a:cxn ang="0">
                      <a:pos x="422" y="372"/>
                    </a:cxn>
                    <a:cxn ang="0">
                      <a:pos x="408" y="384"/>
                    </a:cxn>
                    <a:cxn ang="0">
                      <a:pos x="372" y="398"/>
                    </a:cxn>
                    <a:cxn ang="0">
                      <a:pos x="338" y="426"/>
                    </a:cxn>
                    <a:cxn ang="0">
                      <a:pos x="322" y="460"/>
                    </a:cxn>
                    <a:cxn ang="0">
                      <a:pos x="310" y="500"/>
                    </a:cxn>
                  </a:cxnLst>
                  <a:rect l="0" t="0" r="r" b="b"/>
                  <a:pathLst>
                    <a:path w="640" h="516">
                      <a:moveTo>
                        <a:pt x="308" y="498"/>
                      </a:moveTo>
                      <a:lnTo>
                        <a:pt x="296" y="492"/>
                      </a:lnTo>
                      <a:lnTo>
                        <a:pt x="290" y="498"/>
                      </a:lnTo>
                      <a:lnTo>
                        <a:pt x="282" y="502"/>
                      </a:lnTo>
                      <a:lnTo>
                        <a:pt x="266" y="508"/>
                      </a:lnTo>
                      <a:lnTo>
                        <a:pt x="248" y="510"/>
                      </a:lnTo>
                      <a:lnTo>
                        <a:pt x="230" y="510"/>
                      </a:lnTo>
                      <a:lnTo>
                        <a:pt x="218" y="512"/>
                      </a:lnTo>
                      <a:lnTo>
                        <a:pt x="208" y="514"/>
                      </a:lnTo>
                      <a:lnTo>
                        <a:pt x="196" y="516"/>
                      </a:lnTo>
                      <a:lnTo>
                        <a:pt x="184" y="516"/>
                      </a:lnTo>
                      <a:lnTo>
                        <a:pt x="170" y="514"/>
                      </a:lnTo>
                      <a:lnTo>
                        <a:pt x="160" y="510"/>
                      </a:lnTo>
                      <a:lnTo>
                        <a:pt x="152" y="502"/>
                      </a:lnTo>
                      <a:lnTo>
                        <a:pt x="146" y="492"/>
                      </a:lnTo>
                      <a:lnTo>
                        <a:pt x="138" y="472"/>
                      </a:lnTo>
                      <a:lnTo>
                        <a:pt x="134" y="460"/>
                      </a:lnTo>
                      <a:lnTo>
                        <a:pt x="128" y="450"/>
                      </a:lnTo>
                      <a:lnTo>
                        <a:pt x="114" y="430"/>
                      </a:lnTo>
                      <a:lnTo>
                        <a:pt x="106" y="420"/>
                      </a:lnTo>
                      <a:lnTo>
                        <a:pt x="96" y="412"/>
                      </a:lnTo>
                      <a:lnTo>
                        <a:pt x="86" y="408"/>
                      </a:lnTo>
                      <a:lnTo>
                        <a:pt x="76" y="406"/>
                      </a:lnTo>
                      <a:lnTo>
                        <a:pt x="66" y="404"/>
                      </a:lnTo>
                      <a:lnTo>
                        <a:pt x="62" y="404"/>
                      </a:lnTo>
                      <a:lnTo>
                        <a:pt x="56" y="400"/>
                      </a:lnTo>
                      <a:lnTo>
                        <a:pt x="4" y="400"/>
                      </a:lnTo>
                      <a:lnTo>
                        <a:pt x="2" y="402"/>
                      </a:lnTo>
                      <a:lnTo>
                        <a:pt x="2" y="310"/>
                      </a:lnTo>
                      <a:lnTo>
                        <a:pt x="0" y="298"/>
                      </a:lnTo>
                      <a:lnTo>
                        <a:pt x="2" y="290"/>
                      </a:lnTo>
                      <a:lnTo>
                        <a:pt x="8" y="282"/>
                      </a:lnTo>
                      <a:lnTo>
                        <a:pt x="12" y="274"/>
                      </a:lnTo>
                      <a:lnTo>
                        <a:pt x="16" y="266"/>
                      </a:lnTo>
                      <a:lnTo>
                        <a:pt x="18" y="258"/>
                      </a:lnTo>
                      <a:lnTo>
                        <a:pt x="18" y="248"/>
                      </a:lnTo>
                      <a:lnTo>
                        <a:pt x="20" y="238"/>
                      </a:lnTo>
                      <a:lnTo>
                        <a:pt x="24" y="230"/>
                      </a:lnTo>
                      <a:lnTo>
                        <a:pt x="32" y="222"/>
                      </a:lnTo>
                      <a:lnTo>
                        <a:pt x="46" y="208"/>
                      </a:lnTo>
                      <a:lnTo>
                        <a:pt x="52" y="200"/>
                      </a:lnTo>
                      <a:lnTo>
                        <a:pt x="58" y="192"/>
                      </a:lnTo>
                      <a:lnTo>
                        <a:pt x="62" y="180"/>
                      </a:lnTo>
                      <a:lnTo>
                        <a:pt x="64" y="168"/>
                      </a:lnTo>
                      <a:lnTo>
                        <a:pt x="62" y="154"/>
                      </a:lnTo>
                      <a:lnTo>
                        <a:pt x="60" y="146"/>
                      </a:lnTo>
                      <a:lnTo>
                        <a:pt x="56" y="136"/>
                      </a:lnTo>
                      <a:lnTo>
                        <a:pt x="54" y="124"/>
                      </a:lnTo>
                      <a:lnTo>
                        <a:pt x="52" y="98"/>
                      </a:lnTo>
                      <a:lnTo>
                        <a:pt x="54" y="80"/>
                      </a:lnTo>
                      <a:lnTo>
                        <a:pt x="58" y="70"/>
                      </a:lnTo>
                      <a:lnTo>
                        <a:pt x="64" y="62"/>
                      </a:lnTo>
                      <a:lnTo>
                        <a:pt x="70" y="58"/>
                      </a:lnTo>
                      <a:lnTo>
                        <a:pt x="76" y="52"/>
                      </a:lnTo>
                      <a:lnTo>
                        <a:pt x="82" y="44"/>
                      </a:lnTo>
                      <a:lnTo>
                        <a:pt x="84" y="28"/>
                      </a:lnTo>
                      <a:lnTo>
                        <a:pt x="88" y="20"/>
                      </a:lnTo>
                      <a:lnTo>
                        <a:pt x="92" y="14"/>
                      </a:lnTo>
                      <a:lnTo>
                        <a:pt x="100" y="10"/>
                      </a:lnTo>
                      <a:lnTo>
                        <a:pt x="110" y="6"/>
                      </a:lnTo>
                      <a:lnTo>
                        <a:pt x="130" y="2"/>
                      </a:lnTo>
                      <a:lnTo>
                        <a:pt x="154" y="0"/>
                      </a:lnTo>
                      <a:lnTo>
                        <a:pt x="168" y="2"/>
                      </a:lnTo>
                      <a:lnTo>
                        <a:pt x="186" y="8"/>
                      </a:lnTo>
                      <a:lnTo>
                        <a:pt x="202" y="14"/>
                      </a:lnTo>
                      <a:lnTo>
                        <a:pt x="208" y="16"/>
                      </a:lnTo>
                      <a:lnTo>
                        <a:pt x="212" y="20"/>
                      </a:lnTo>
                      <a:lnTo>
                        <a:pt x="222" y="36"/>
                      </a:lnTo>
                      <a:lnTo>
                        <a:pt x="228" y="44"/>
                      </a:lnTo>
                      <a:lnTo>
                        <a:pt x="232" y="46"/>
                      </a:lnTo>
                      <a:lnTo>
                        <a:pt x="236" y="46"/>
                      </a:lnTo>
                      <a:lnTo>
                        <a:pt x="244" y="46"/>
                      </a:lnTo>
                      <a:lnTo>
                        <a:pt x="250" y="44"/>
                      </a:lnTo>
                      <a:lnTo>
                        <a:pt x="260" y="38"/>
                      </a:lnTo>
                      <a:lnTo>
                        <a:pt x="272" y="34"/>
                      </a:lnTo>
                      <a:lnTo>
                        <a:pt x="278" y="32"/>
                      </a:lnTo>
                      <a:lnTo>
                        <a:pt x="284" y="30"/>
                      </a:lnTo>
                      <a:lnTo>
                        <a:pt x="294" y="32"/>
                      </a:lnTo>
                      <a:lnTo>
                        <a:pt x="304" y="36"/>
                      </a:lnTo>
                      <a:lnTo>
                        <a:pt x="320" y="44"/>
                      </a:lnTo>
                      <a:lnTo>
                        <a:pt x="336" y="54"/>
                      </a:lnTo>
                      <a:lnTo>
                        <a:pt x="346" y="58"/>
                      </a:lnTo>
                      <a:lnTo>
                        <a:pt x="358" y="58"/>
                      </a:lnTo>
                      <a:lnTo>
                        <a:pt x="372" y="58"/>
                      </a:lnTo>
                      <a:lnTo>
                        <a:pt x="382" y="54"/>
                      </a:lnTo>
                      <a:lnTo>
                        <a:pt x="392" y="50"/>
                      </a:lnTo>
                      <a:lnTo>
                        <a:pt x="400" y="44"/>
                      </a:lnTo>
                      <a:lnTo>
                        <a:pt x="410" y="38"/>
                      </a:lnTo>
                      <a:lnTo>
                        <a:pt x="420" y="34"/>
                      </a:lnTo>
                      <a:lnTo>
                        <a:pt x="432" y="30"/>
                      </a:lnTo>
                      <a:lnTo>
                        <a:pt x="446" y="28"/>
                      </a:lnTo>
                      <a:lnTo>
                        <a:pt x="458" y="30"/>
                      </a:lnTo>
                      <a:lnTo>
                        <a:pt x="466" y="32"/>
                      </a:lnTo>
                      <a:lnTo>
                        <a:pt x="482" y="40"/>
                      </a:lnTo>
                      <a:lnTo>
                        <a:pt x="496" y="48"/>
                      </a:lnTo>
                      <a:lnTo>
                        <a:pt x="504" y="50"/>
                      </a:lnTo>
                      <a:lnTo>
                        <a:pt x="514" y="50"/>
                      </a:lnTo>
                      <a:lnTo>
                        <a:pt x="522" y="50"/>
                      </a:lnTo>
                      <a:lnTo>
                        <a:pt x="528" y="46"/>
                      </a:lnTo>
                      <a:lnTo>
                        <a:pt x="546" y="34"/>
                      </a:lnTo>
                      <a:lnTo>
                        <a:pt x="566" y="22"/>
                      </a:lnTo>
                      <a:lnTo>
                        <a:pt x="576" y="16"/>
                      </a:lnTo>
                      <a:lnTo>
                        <a:pt x="586" y="14"/>
                      </a:lnTo>
                      <a:lnTo>
                        <a:pt x="584" y="12"/>
                      </a:lnTo>
                      <a:lnTo>
                        <a:pt x="592" y="22"/>
                      </a:lnTo>
                      <a:lnTo>
                        <a:pt x="598" y="30"/>
                      </a:lnTo>
                      <a:lnTo>
                        <a:pt x="614" y="48"/>
                      </a:lnTo>
                      <a:lnTo>
                        <a:pt x="614" y="84"/>
                      </a:lnTo>
                      <a:lnTo>
                        <a:pt x="618" y="88"/>
                      </a:lnTo>
                      <a:lnTo>
                        <a:pt x="624" y="90"/>
                      </a:lnTo>
                      <a:lnTo>
                        <a:pt x="640" y="92"/>
                      </a:lnTo>
                      <a:lnTo>
                        <a:pt x="638" y="98"/>
                      </a:lnTo>
                      <a:lnTo>
                        <a:pt x="638" y="104"/>
                      </a:lnTo>
                      <a:lnTo>
                        <a:pt x="640" y="116"/>
                      </a:lnTo>
                      <a:lnTo>
                        <a:pt x="638" y="128"/>
                      </a:lnTo>
                      <a:lnTo>
                        <a:pt x="632" y="138"/>
                      </a:lnTo>
                      <a:lnTo>
                        <a:pt x="626" y="146"/>
                      </a:lnTo>
                      <a:lnTo>
                        <a:pt x="616" y="152"/>
                      </a:lnTo>
                      <a:lnTo>
                        <a:pt x="596" y="166"/>
                      </a:lnTo>
                      <a:lnTo>
                        <a:pt x="588" y="174"/>
                      </a:lnTo>
                      <a:lnTo>
                        <a:pt x="582" y="184"/>
                      </a:lnTo>
                      <a:lnTo>
                        <a:pt x="572" y="200"/>
                      </a:lnTo>
                      <a:lnTo>
                        <a:pt x="568" y="208"/>
                      </a:lnTo>
                      <a:lnTo>
                        <a:pt x="566" y="214"/>
                      </a:lnTo>
                      <a:lnTo>
                        <a:pt x="566" y="228"/>
                      </a:lnTo>
                      <a:lnTo>
                        <a:pt x="566" y="234"/>
                      </a:lnTo>
                      <a:lnTo>
                        <a:pt x="566" y="238"/>
                      </a:lnTo>
                      <a:lnTo>
                        <a:pt x="556" y="248"/>
                      </a:lnTo>
                      <a:lnTo>
                        <a:pt x="548" y="254"/>
                      </a:lnTo>
                      <a:lnTo>
                        <a:pt x="544" y="260"/>
                      </a:lnTo>
                      <a:lnTo>
                        <a:pt x="544" y="266"/>
                      </a:lnTo>
                      <a:lnTo>
                        <a:pt x="542" y="272"/>
                      </a:lnTo>
                      <a:lnTo>
                        <a:pt x="542" y="280"/>
                      </a:lnTo>
                      <a:lnTo>
                        <a:pt x="538" y="284"/>
                      </a:lnTo>
                      <a:lnTo>
                        <a:pt x="526" y="294"/>
                      </a:lnTo>
                      <a:lnTo>
                        <a:pt x="514" y="304"/>
                      </a:lnTo>
                      <a:lnTo>
                        <a:pt x="506" y="318"/>
                      </a:lnTo>
                      <a:lnTo>
                        <a:pt x="504" y="326"/>
                      </a:lnTo>
                      <a:lnTo>
                        <a:pt x="502" y="336"/>
                      </a:lnTo>
                      <a:lnTo>
                        <a:pt x="496" y="354"/>
                      </a:lnTo>
                      <a:lnTo>
                        <a:pt x="482" y="378"/>
                      </a:lnTo>
                      <a:lnTo>
                        <a:pt x="468" y="398"/>
                      </a:lnTo>
                      <a:lnTo>
                        <a:pt x="462" y="404"/>
                      </a:lnTo>
                      <a:lnTo>
                        <a:pt x="456" y="406"/>
                      </a:lnTo>
                      <a:lnTo>
                        <a:pt x="450" y="406"/>
                      </a:lnTo>
                      <a:lnTo>
                        <a:pt x="446" y="402"/>
                      </a:lnTo>
                      <a:lnTo>
                        <a:pt x="440" y="394"/>
                      </a:lnTo>
                      <a:lnTo>
                        <a:pt x="432" y="382"/>
                      </a:lnTo>
                      <a:lnTo>
                        <a:pt x="428" y="376"/>
                      </a:lnTo>
                      <a:lnTo>
                        <a:pt x="422" y="372"/>
                      </a:lnTo>
                      <a:lnTo>
                        <a:pt x="416" y="380"/>
                      </a:lnTo>
                      <a:lnTo>
                        <a:pt x="412" y="382"/>
                      </a:lnTo>
                      <a:lnTo>
                        <a:pt x="408" y="384"/>
                      </a:lnTo>
                      <a:lnTo>
                        <a:pt x="398" y="386"/>
                      </a:lnTo>
                      <a:lnTo>
                        <a:pt x="384" y="390"/>
                      </a:lnTo>
                      <a:lnTo>
                        <a:pt x="372" y="398"/>
                      </a:lnTo>
                      <a:lnTo>
                        <a:pt x="360" y="406"/>
                      </a:lnTo>
                      <a:lnTo>
                        <a:pt x="348" y="416"/>
                      </a:lnTo>
                      <a:lnTo>
                        <a:pt x="338" y="426"/>
                      </a:lnTo>
                      <a:lnTo>
                        <a:pt x="330" y="436"/>
                      </a:lnTo>
                      <a:lnTo>
                        <a:pt x="326" y="446"/>
                      </a:lnTo>
                      <a:lnTo>
                        <a:pt x="322" y="460"/>
                      </a:lnTo>
                      <a:lnTo>
                        <a:pt x="318" y="474"/>
                      </a:lnTo>
                      <a:lnTo>
                        <a:pt x="316" y="486"/>
                      </a:lnTo>
                      <a:lnTo>
                        <a:pt x="310" y="500"/>
                      </a:lnTo>
                      <a:lnTo>
                        <a:pt x="308" y="49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0" name="Benin">
                  <a:extLst>
                    <a:ext uri="{FF2B5EF4-FFF2-40B4-BE49-F238E27FC236}">
                      <a16:creationId xmlns:a16="http://schemas.microsoft.com/office/drawing/2014/main" id="{3E8C3C11-785D-4099-BBD9-6AAB1228EBCD}"/>
                    </a:ext>
                  </a:extLst>
                </p:cNvPr>
                <p:cNvSpPr>
                  <a:spLocks/>
                </p:cNvSpPr>
                <p:nvPr/>
              </p:nvSpPr>
              <p:spPr bwMode="gray">
                <a:xfrm>
                  <a:off x="3992563" y="3740150"/>
                  <a:ext cx="185737" cy="390525"/>
                </a:xfrm>
                <a:custGeom>
                  <a:avLst/>
                  <a:gdLst/>
                  <a:ahLst/>
                  <a:cxnLst>
                    <a:cxn ang="0">
                      <a:pos x="98" y="330"/>
                    </a:cxn>
                    <a:cxn ang="0">
                      <a:pos x="96" y="226"/>
                    </a:cxn>
                    <a:cxn ang="0">
                      <a:pos x="104" y="210"/>
                    </a:cxn>
                    <a:cxn ang="0">
                      <a:pos x="112" y="194"/>
                    </a:cxn>
                    <a:cxn ang="0">
                      <a:pos x="114" y="176"/>
                    </a:cxn>
                    <a:cxn ang="0">
                      <a:pos x="120" y="158"/>
                    </a:cxn>
                    <a:cxn ang="0">
                      <a:pos x="142" y="136"/>
                    </a:cxn>
                    <a:cxn ang="0">
                      <a:pos x="154" y="120"/>
                    </a:cxn>
                    <a:cxn ang="0">
                      <a:pos x="160" y="96"/>
                    </a:cxn>
                    <a:cxn ang="0">
                      <a:pos x="156" y="74"/>
                    </a:cxn>
                    <a:cxn ang="0">
                      <a:pos x="150" y="52"/>
                    </a:cxn>
                    <a:cxn ang="0">
                      <a:pos x="152" y="38"/>
                    </a:cxn>
                    <a:cxn ang="0">
                      <a:pos x="132" y="18"/>
                    </a:cxn>
                    <a:cxn ang="0">
                      <a:pos x="114" y="2"/>
                    </a:cxn>
                    <a:cxn ang="0">
                      <a:pos x="104" y="2"/>
                    </a:cxn>
                    <a:cxn ang="0">
                      <a:pos x="86" y="14"/>
                    </a:cxn>
                    <a:cxn ang="0">
                      <a:pos x="80" y="30"/>
                    </a:cxn>
                    <a:cxn ang="0">
                      <a:pos x="72" y="46"/>
                    </a:cxn>
                    <a:cxn ang="0">
                      <a:pos x="60" y="52"/>
                    </a:cxn>
                    <a:cxn ang="0">
                      <a:pos x="42" y="52"/>
                    </a:cxn>
                    <a:cxn ang="0">
                      <a:pos x="24" y="58"/>
                    </a:cxn>
                    <a:cxn ang="0">
                      <a:pos x="10" y="70"/>
                    </a:cxn>
                    <a:cxn ang="0">
                      <a:pos x="2" y="88"/>
                    </a:cxn>
                    <a:cxn ang="0">
                      <a:pos x="2" y="112"/>
                    </a:cxn>
                    <a:cxn ang="0">
                      <a:pos x="14" y="134"/>
                    </a:cxn>
                    <a:cxn ang="0">
                      <a:pos x="30" y="154"/>
                    </a:cxn>
                    <a:cxn ang="0">
                      <a:pos x="42" y="178"/>
                    </a:cxn>
                    <a:cxn ang="0">
                      <a:pos x="42" y="220"/>
                    </a:cxn>
                    <a:cxn ang="0">
                      <a:pos x="32" y="278"/>
                    </a:cxn>
                    <a:cxn ang="0">
                      <a:pos x="30" y="310"/>
                    </a:cxn>
                    <a:cxn ang="0">
                      <a:pos x="34" y="326"/>
                    </a:cxn>
                    <a:cxn ang="0">
                      <a:pos x="44" y="334"/>
                    </a:cxn>
                    <a:cxn ang="0">
                      <a:pos x="70" y="332"/>
                    </a:cxn>
                    <a:cxn ang="0">
                      <a:pos x="100" y="328"/>
                    </a:cxn>
                  </a:cxnLst>
                  <a:rect l="0" t="0" r="r" b="b"/>
                  <a:pathLst>
                    <a:path w="160" h="334">
                      <a:moveTo>
                        <a:pt x="100" y="328"/>
                      </a:moveTo>
                      <a:lnTo>
                        <a:pt x="98" y="330"/>
                      </a:lnTo>
                      <a:lnTo>
                        <a:pt x="98" y="238"/>
                      </a:lnTo>
                      <a:lnTo>
                        <a:pt x="96" y="226"/>
                      </a:lnTo>
                      <a:lnTo>
                        <a:pt x="98" y="218"/>
                      </a:lnTo>
                      <a:lnTo>
                        <a:pt x="104" y="210"/>
                      </a:lnTo>
                      <a:lnTo>
                        <a:pt x="108" y="202"/>
                      </a:lnTo>
                      <a:lnTo>
                        <a:pt x="112" y="194"/>
                      </a:lnTo>
                      <a:lnTo>
                        <a:pt x="114" y="186"/>
                      </a:lnTo>
                      <a:lnTo>
                        <a:pt x="114" y="176"/>
                      </a:lnTo>
                      <a:lnTo>
                        <a:pt x="116" y="166"/>
                      </a:lnTo>
                      <a:lnTo>
                        <a:pt x="120" y="158"/>
                      </a:lnTo>
                      <a:lnTo>
                        <a:pt x="128" y="150"/>
                      </a:lnTo>
                      <a:lnTo>
                        <a:pt x="142" y="136"/>
                      </a:lnTo>
                      <a:lnTo>
                        <a:pt x="148" y="128"/>
                      </a:lnTo>
                      <a:lnTo>
                        <a:pt x="154" y="120"/>
                      </a:lnTo>
                      <a:lnTo>
                        <a:pt x="158" y="108"/>
                      </a:lnTo>
                      <a:lnTo>
                        <a:pt x="160" y="96"/>
                      </a:lnTo>
                      <a:lnTo>
                        <a:pt x="158" y="82"/>
                      </a:lnTo>
                      <a:lnTo>
                        <a:pt x="156" y="74"/>
                      </a:lnTo>
                      <a:lnTo>
                        <a:pt x="152" y="64"/>
                      </a:lnTo>
                      <a:lnTo>
                        <a:pt x="150" y="52"/>
                      </a:lnTo>
                      <a:lnTo>
                        <a:pt x="150" y="34"/>
                      </a:lnTo>
                      <a:lnTo>
                        <a:pt x="152" y="38"/>
                      </a:lnTo>
                      <a:lnTo>
                        <a:pt x="144" y="30"/>
                      </a:lnTo>
                      <a:lnTo>
                        <a:pt x="132" y="18"/>
                      </a:lnTo>
                      <a:lnTo>
                        <a:pt x="120" y="6"/>
                      </a:lnTo>
                      <a:lnTo>
                        <a:pt x="114" y="2"/>
                      </a:lnTo>
                      <a:lnTo>
                        <a:pt x="110" y="0"/>
                      </a:lnTo>
                      <a:lnTo>
                        <a:pt x="104" y="2"/>
                      </a:lnTo>
                      <a:lnTo>
                        <a:pt x="94" y="8"/>
                      </a:lnTo>
                      <a:lnTo>
                        <a:pt x="86" y="14"/>
                      </a:lnTo>
                      <a:lnTo>
                        <a:pt x="82" y="18"/>
                      </a:lnTo>
                      <a:lnTo>
                        <a:pt x="80" y="30"/>
                      </a:lnTo>
                      <a:lnTo>
                        <a:pt x="76" y="42"/>
                      </a:lnTo>
                      <a:lnTo>
                        <a:pt x="72" y="46"/>
                      </a:lnTo>
                      <a:lnTo>
                        <a:pt x="66" y="50"/>
                      </a:lnTo>
                      <a:lnTo>
                        <a:pt x="60" y="52"/>
                      </a:lnTo>
                      <a:lnTo>
                        <a:pt x="52" y="52"/>
                      </a:lnTo>
                      <a:lnTo>
                        <a:pt x="42" y="52"/>
                      </a:lnTo>
                      <a:lnTo>
                        <a:pt x="32" y="54"/>
                      </a:lnTo>
                      <a:lnTo>
                        <a:pt x="24" y="58"/>
                      </a:lnTo>
                      <a:lnTo>
                        <a:pt x="16" y="64"/>
                      </a:lnTo>
                      <a:lnTo>
                        <a:pt x="10" y="70"/>
                      </a:lnTo>
                      <a:lnTo>
                        <a:pt x="4" y="78"/>
                      </a:lnTo>
                      <a:lnTo>
                        <a:pt x="2" y="88"/>
                      </a:lnTo>
                      <a:lnTo>
                        <a:pt x="0" y="98"/>
                      </a:lnTo>
                      <a:lnTo>
                        <a:pt x="2" y="112"/>
                      </a:lnTo>
                      <a:lnTo>
                        <a:pt x="8" y="124"/>
                      </a:lnTo>
                      <a:lnTo>
                        <a:pt x="14" y="134"/>
                      </a:lnTo>
                      <a:lnTo>
                        <a:pt x="22" y="144"/>
                      </a:lnTo>
                      <a:lnTo>
                        <a:pt x="30" y="154"/>
                      </a:lnTo>
                      <a:lnTo>
                        <a:pt x="38" y="166"/>
                      </a:lnTo>
                      <a:lnTo>
                        <a:pt x="42" y="178"/>
                      </a:lnTo>
                      <a:lnTo>
                        <a:pt x="44" y="190"/>
                      </a:lnTo>
                      <a:lnTo>
                        <a:pt x="42" y="220"/>
                      </a:lnTo>
                      <a:lnTo>
                        <a:pt x="38" y="248"/>
                      </a:lnTo>
                      <a:lnTo>
                        <a:pt x="32" y="278"/>
                      </a:lnTo>
                      <a:lnTo>
                        <a:pt x="30" y="294"/>
                      </a:lnTo>
                      <a:lnTo>
                        <a:pt x="30" y="310"/>
                      </a:lnTo>
                      <a:lnTo>
                        <a:pt x="32" y="318"/>
                      </a:lnTo>
                      <a:lnTo>
                        <a:pt x="34" y="326"/>
                      </a:lnTo>
                      <a:lnTo>
                        <a:pt x="40" y="332"/>
                      </a:lnTo>
                      <a:lnTo>
                        <a:pt x="44" y="334"/>
                      </a:lnTo>
                      <a:lnTo>
                        <a:pt x="56" y="334"/>
                      </a:lnTo>
                      <a:lnTo>
                        <a:pt x="70" y="332"/>
                      </a:lnTo>
                      <a:lnTo>
                        <a:pt x="98" y="326"/>
                      </a:lnTo>
                      <a:lnTo>
                        <a:pt x="100" y="328"/>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1" name="Togo">
                  <a:extLst>
                    <a:ext uri="{FF2B5EF4-FFF2-40B4-BE49-F238E27FC236}">
                      <a16:creationId xmlns:a16="http://schemas.microsoft.com/office/drawing/2014/main" id="{678C2CC0-3574-40A0-A996-B4507D2FAE27}"/>
                    </a:ext>
                  </a:extLst>
                </p:cNvPr>
                <p:cNvSpPr>
                  <a:spLocks/>
                </p:cNvSpPr>
                <p:nvPr/>
              </p:nvSpPr>
              <p:spPr bwMode="gray">
                <a:xfrm>
                  <a:off x="3940175" y="3819525"/>
                  <a:ext cx="103187" cy="322262"/>
                </a:xfrm>
                <a:custGeom>
                  <a:avLst/>
                  <a:gdLst/>
                  <a:ahLst/>
                  <a:cxnLst>
                    <a:cxn ang="0">
                      <a:pos x="44" y="30"/>
                    </a:cxn>
                    <a:cxn ang="0">
                      <a:pos x="52" y="56"/>
                    </a:cxn>
                    <a:cxn ang="0">
                      <a:pos x="66" y="76"/>
                    </a:cxn>
                    <a:cxn ang="0">
                      <a:pos x="82" y="98"/>
                    </a:cxn>
                    <a:cxn ang="0">
                      <a:pos x="88" y="122"/>
                    </a:cxn>
                    <a:cxn ang="0">
                      <a:pos x="82" y="180"/>
                    </a:cxn>
                    <a:cxn ang="0">
                      <a:pos x="74" y="226"/>
                    </a:cxn>
                    <a:cxn ang="0">
                      <a:pos x="76" y="250"/>
                    </a:cxn>
                    <a:cxn ang="0">
                      <a:pos x="84" y="264"/>
                    </a:cxn>
                    <a:cxn ang="0">
                      <a:pos x="72" y="274"/>
                    </a:cxn>
                    <a:cxn ang="0">
                      <a:pos x="54" y="276"/>
                    </a:cxn>
                    <a:cxn ang="0">
                      <a:pos x="44" y="272"/>
                    </a:cxn>
                    <a:cxn ang="0">
                      <a:pos x="26" y="246"/>
                    </a:cxn>
                    <a:cxn ang="0">
                      <a:pos x="22" y="232"/>
                    </a:cxn>
                    <a:cxn ang="0">
                      <a:pos x="26" y="220"/>
                    </a:cxn>
                    <a:cxn ang="0">
                      <a:pos x="28" y="210"/>
                    </a:cxn>
                    <a:cxn ang="0">
                      <a:pos x="32" y="178"/>
                    </a:cxn>
                    <a:cxn ang="0">
                      <a:pos x="34" y="148"/>
                    </a:cxn>
                    <a:cxn ang="0">
                      <a:pos x="28" y="140"/>
                    </a:cxn>
                    <a:cxn ang="0">
                      <a:pos x="20" y="132"/>
                    </a:cxn>
                    <a:cxn ang="0">
                      <a:pos x="22" y="120"/>
                    </a:cxn>
                    <a:cxn ang="0">
                      <a:pos x="28" y="110"/>
                    </a:cxn>
                    <a:cxn ang="0">
                      <a:pos x="26" y="96"/>
                    </a:cxn>
                    <a:cxn ang="0">
                      <a:pos x="18" y="84"/>
                    </a:cxn>
                    <a:cxn ang="0">
                      <a:pos x="16" y="54"/>
                    </a:cxn>
                    <a:cxn ang="0">
                      <a:pos x="14" y="48"/>
                    </a:cxn>
                    <a:cxn ang="0">
                      <a:pos x="2" y="30"/>
                    </a:cxn>
                    <a:cxn ang="0">
                      <a:pos x="0" y="18"/>
                    </a:cxn>
                    <a:cxn ang="0">
                      <a:pos x="2" y="6"/>
                    </a:cxn>
                    <a:cxn ang="0">
                      <a:pos x="10" y="0"/>
                    </a:cxn>
                    <a:cxn ang="0">
                      <a:pos x="28" y="6"/>
                    </a:cxn>
                    <a:cxn ang="0">
                      <a:pos x="48" y="12"/>
                    </a:cxn>
                  </a:cxnLst>
                  <a:rect l="0" t="0" r="r" b="b"/>
                  <a:pathLst>
                    <a:path w="88" h="276">
                      <a:moveTo>
                        <a:pt x="46" y="16"/>
                      </a:moveTo>
                      <a:lnTo>
                        <a:pt x="44" y="30"/>
                      </a:lnTo>
                      <a:lnTo>
                        <a:pt x="46" y="44"/>
                      </a:lnTo>
                      <a:lnTo>
                        <a:pt x="52" y="56"/>
                      </a:lnTo>
                      <a:lnTo>
                        <a:pt x="58" y="66"/>
                      </a:lnTo>
                      <a:lnTo>
                        <a:pt x="66" y="76"/>
                      </a:lnTo>
                      <a:lnTo>
                        <a:pt x="74" y="86"/>
                      </a:lnTo>
                      <a:lnTo>
                        <a:pt x="82" y="98"/>
                      </a:lnTo>
                      <a:lnTo>
                        <a:pt x="86" y="110"/>
                      </a:lnTo>
                      <a:lnTo>
                        <a:pt x="88" y="122"/>
                      </a:lnTo>
                      <a:lnTo>
                        <a:pt x="86" y="152"/>
                      </a:lnTo>
                      <a:lnTo>
                        <a:pt x="82" y="180"/>
                      </a:lnTo>
                      <a:lnTo>
                        <a:pt x="76" y="210"/>
                      </a:lnTo>
                      <a:lnTo>
                        <a:pt x="74" y="226"/>
                      </a:lnTo>
                      <a:lnTo>
                        <a:pt x="74" y="242"/>
                      </a:lnTo>
                      <a:lnTo>
                        <a:pt x="76" y="250"/>
                      </a:lnTo>
                      <a:lnTo>
                        <a:pt x="78" y="258"/>
                      </a:lnTo>
                      <a:lnTo>
                        <a:pt x="84" y="264"/>
                      </a:lnTo>
                      <a:lnTo>
                        <a:pt x="88" y="266"/>
                      </a:lnTo>
                      <a:lnTo>
                        <a:pt x="72" y="274"/>
                      </a:lnTo>
                      <a:lnTo>
                        <a:pt x="64" y="276"/>
                      </a:lnTo>
                      <a:lnTo>
                        <a:pt x="54" y="276"/>
                      </a:lnTo>
                      <a:lnTo>
                        <a:pt x="48" y="276"/>
                      </a:lnTo>
                      <a:lnTo>
                        <a:pt x="44" y="272"/>
                      </a:lnTo>
                      <a:lnTo>
                        <a:pt x="34" y="260"/>
                      </a:lnTo>
                      <a:lnTo>
                        <a:pt x="26" y="246"/>
                      </a:lnTo>
                      <a:lnTo>
                        <a:pt x="22" y="238"/>
                      </a:lnTo>
                      <a:lnTo>
                        <a:pt x="22" y="232"/>
                      </a:lnTo>
                      <a:lnTo>
                        <a:pt x="22" y="226"/>
                      </a:lnTo>
                      <a:lnTo>
                        <a:pt x="26" y="220"/>
                      </a:lnTo>
                      <a:lnTo>
                        <a:pt x="28" y="216"/>
                      </a:lnTo>
                      <a:lnTo>
                        <a:pt x="28" y="210"/>
                      </a:lnTo>
                      <a:lnTo>
                        <a:pt x="28" y="198"/>
                      </a:lnTo>
                      <a:lnTo>
                        <a:pt x="32" y="178"/>
                      </a:lnTo>
                      <a:lnTo>
                        <a:pt x="34" y="152"/>
                      </a:lnTo>
                      <a:lnTo>
                        <a:pt x="34" y="148"/>
                      </a:lnTo>
                      <a:lnTo>
                        <a:pt x="32" y="144"/>
                      </a:lnTo>
                      <a:lnTo>
                        <a:pt x="28" y="140"/>
                      </a:lnTo>
                      <a:lnTo>
                        <a:pt x="22" y="136"/>
                      </a:lnTo>
                      <a:lnTo>
                        <a:pt x="20" y="132"/>
                      </a:lnTo>
                      <a:lnTo>
                        <a:pt x="20" y="128"/>
                      </a:lnTo>
                      <a:lnTo>
                        <a:pt x="22" y="120"/>
                      </a:lnTo>
                      <a:lnTo>
                        <a:pt x="24" y="114"/>
                      </a:lnTo>
                      <a:lnTo>
                        <a:pt x="28" y="110"/>
                      </a:lnTo>
                      <a:lnTo>
                        <a:pt x="28" y="102"/>
                      </a:lnTo>
                      <a:lnTo>
                        <a:pt x="26" y="96"/>
                      </a:lnTo>
                      <a:lnTo>
                        <a:pt x="22" y="92"/>
                      </a:lnTo>
                      <a:lnTo>
                        <a:pt x="18" y="84"/>
                      </a:lnTo>
                      <a:lnTo>
                        <a:pt x="16" y="76"/>
                      </a:lnTo>
                      <a:lnTo>
                        <a:pt x="16" y="54"/>
                      </a:lnTo>
                      <a:lnTo>
                        <a:pt x="16" y="50"/>
                      </a:lnTo>
                      <a:lnTo>
                        <a:pt x="14" y="48"/>
                      </a:lnTo>
                      <a:lnTo>
                        <a:pt x="8" y="40"/>
                      </a:lnTo>
                      <a:lnTo>
                        <a:pt x="2" y="30"/>
                      </a:lnTo>
                      <a:lnTo>
                        <a:pt x="0" y="24"/>
                      </a:lnTo>
                      <a:lnTo>
                        <a:pt x="0" y="18"/>
                      </a:lnTo>
                      <a:lnTo>
                        <a:pt x="0" y="12"/>
                      </a:lnTo>
                      <a:lnTo>
                        <a:pt x="2" y="6"/>
                      </a:lnTo>
                      <a:lnTo>
                        <a:pt x="6" y="2"/>
                      </a:lnTo>
                      <a:lnTo>
                        <a:pt x="10" y="0"/>
                      </a:lnTo>
                      <a:lnTo>
                        <a:pt x="20" y="2"/>
                      </a:lnTo>
                      <a:lnTo>
                        <a:pt x="28" y="6"/>
                      </a:lnTo>
                      <a:lnTo>
                        <a:pt x="38" y="10"/>
                      </a:lnTo>
                      <a:lnTo>
                        <a:pt x="48" y="12"/>
                      </a:lnTo>
                      <a:lnTo>
                        <a:pt x="46" y="16"/>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2" name="Ghana">
                  <a:extLst>
                    <a:ext uri="{FF2B5EF4-FFF2-40B4-BE49-F238E27FC236}">
                      <a16:creationId xmlns:a16="http://schemas.microsoft.com/office/drawing/2014/main" id="{30CA32FF-F078-4CC8-B3A9-39F10C579C00}"/>
                    </a:ext>
                  </a:extLst>
                </p:cNvPr>
                <p:cNvSpPr>
                  <a:spLocks/>
                </p:cNvSpPr>
                <p:nvPr/>
              </p:nvSpPr>
              <p:spPr bwMode="gray">
                <a:xfrm>
                  <a:off x="3733800" y="3816350"/>
                  <a:ext cx="269875" cy="404812"/>
                </a:xfrm>
                <a:custGeom>
                  <a:avLst/>
                  <a:gdLst/>
                  <a:ahLst/>
                  <a:cxnLst>
                    <a:cxn ang="0">
                      <a:pos x="176" y="8"/>
                    </a:cxn>
                    <a:cxn ang="0">
                      <a:pos x="166" y="6"/>
                    </a:cxn>
                    <a:cxn ang="0">
                      <a:pos x="154" y="14"/>
                    </a:cxn>
                    <a:cxn ang="0">
                      <a:pos x="128" y="10"/>
                    </a:cxn>
                    <a:cxn ang="0">
                      <a:pos x="46" y="0"/>
                    </a:cxn>
                    <a:cxn ang="0">
                      <a:pos x="32" y="8"/>
                    </a:cxn>
                    <a:cxn ang="0">
                      <a:pos x="26" y="24"/>
                    </a:cxn>
                    <a:cxn ang="0">
                      <a:pos x="28" y="88"/>
                    </a:cxn>
                    <a:cxn ang="0">
                      <a:pos x="38" y="118"/>
                    </a:cxn>
                    <a:cxn ang="0">
                      <a:pos x="40" y="142"/>
                    </a:cxn>
                    <a:cxn ang="0">
                      <a:pos x="30" y="164"/>
                    </a:cxn>
                    <a:cxn ang="0">
                      <a:pos x="20" y="184"/>
                    </a:cxn>
                    <a:cxn ang="0">
                      <a:pos x="18" y="198"/>
                    </a:cxn>
                    <a:cxn ang="0">
                      <a:pos x="18" y="216"/>
                    </a:cxn>
                    <a:cxn ang="0">
                      <a:pos x="10" y="232"/>
                    </a:cxn>
                    <a:cxn ang="0">
                      <a:pos x="2" y="240"/>
                    </a:cxn>
                    <a:cxn ang="0">
                      <a:pos x="0" y="262"/>
                    </a:cxn>
                    <a:cxn ang="0">
                      <a:pos x="8" y="282"/>
                    </a:cxn>
                    <a:cxn ang="0">
                      <a:pos x="24" y="302"/>
                    </a:cxn>
                    <a:cxn ang="0">
                      <a:pos x="24" y="322"/>
                    </a:cxn>
                    <a:cxn ang="0">
                      <a:pos x="44" y="338"/>
                    </a:cxn>
                    <a:cxn ang="0">
                      <a:pos x="72" y="346"/>
                    </a:cxn>
                    <a:cxn ang="0">
                      <a:pos x="90" y="336"/>
                    </a:cxn>
                    <a:cxn ang="0">
                      <a:pos x="114" y="322"/>
                    </a:cxn>
                    <a:cxn ang="0">
                      <a:pos x="132" y="320"/>
                    </a:cxn>
                    <a:cxn ang="0">
                      <a:pos x="148" y="318"/>
                    </a:cxn>
                    <a:cxn ang="0">
                      <a:pos x="162" y="306"/>
                    </a:cxn>
                    <a:cxn ang="0">
                      <a:pos x="180" y="294"/>
                    </a:cxn>
                    <a:cxn ang="0">
                      <a:pos x="196" y="292"/>
                    </a:cxn>
                    <a:cxn ang="0">
                      <a:pos x="216" y="292"/>
                    </a:cxn>
                    <a:cxn ang="0">
                      <a:pos x="226" y="286"/>
                    </a:cxn>
                    <a:cxn ang="0">
                      <a:pos x="224" y="278"/>
                    </a:cxn>
                    <a:cxn ang="0">
                      <a:pos x="210" y="262"/>
                    </a:cxn>
                    <a:cxn ang="0">
                      <a:pos x="198" y="240"/>
                    </a:cxn>
                    <a:cxn ang="0">
                      <a:pos x="198" y="228"/>
                    </a:cxn>
                    <a:cxn ang="0">
                      <a:pos x="204" y="218"/>
                    </a:cxn>
                    <a:cxn ang="0">
                      <a:pos x="204" y="200"/>
                    </a:cxn>
                    <a:cxn ang="0">
                      <a:pos x="210" y="154"/>
                    </a:cxn>
                    <a:cxn ang="0">
                      <a:pos x="208" y="146"/>
                    </a:cxn>
                    <a:cxn ang="0">
                      <a:pos x="198" y="138"/>
                    </a:cxn>
                    <a:cxn ang="0">
                      <a:pos x="196" y="130"/>
                    </a:cxn>
                    <a:cxn ang="0">
                      <a:pos x="200" y="116"/>
                    </a:cxn>
                    <a:cxn ang="0">
                      <a:pos x="204" y="104"/>
                    </a:cxn>
                    <a:cxn ang="0">
                      <a:pos x="198" y="94"/>
                    </a:cxn>
                    <a:cxn ang="0">
                      <a:pos x="192" y="78"/>
                    </a:cxn>
                    <a:cxn ang="0">
                      <a:pos x="192" y="52"/>
                    </a:cxn>
                    <a:cxn ang="0">
                      <a:pos x="184" y="42"/>
                    </a:cxn>
                    <a:cxn ang="0">
                      <a:pos x="176" y="26"/>
                    </a:cxn>
                    <a:cxn ang="0">
                      <a:pos x="176" y="14"/>
                    </a:cxn>
                    <a:cxn ang="0">
                      <a:pos x="180" y="10"/>
                    </a:cxn>
                  </a:cxnLst>
                  <a:rect l="0" t="0" r="r" b="b"/>
                  <a:pathLst>
                    <a:path w="230" h="346">
                      <a:moveTo>
                        <a:pt x="180" y="10"/>
                      </a:moveTo>
                      <a:lnTo>
                        <a:pt x="176" y="8"/>
                      </a:lnTo>
                      <a:lnTo>
                        <a:pt x="170" y="6"/>
                      </a:lnTo>
                      <a:lnTo>
                        <a:pt x="166" y="6"/>
                      </a:lnTo>
                      <a:lnTo>
                        <a:pt x="162" y="8"/>
                      </a:lnTo>
                      <a:lnTo>
                        <a:pt x="154" y="14"/>
                      </a:lnTo>
                      <a:lnTo>
                        <a:pt x="136" y="12"/>
                      </a:lnTo>
                      <a:lnTo>
                        <a:pt x="128" y="10"/>
                      </a:lnTo>
                      <a:lnTo>
                        <a:pt x="114" y="10"/>
                      </a:lnTo>
                      <a:lnTo>
                        <a:pt x="46" y="0"/>
                      </a:lnTo>
                      <a:lnTo>
                        <a:pt x="38" y="4"/>
                      </a:lnTo>
                      <a:lnTo>
                        <a:pt x="32" y="8"/>
                      </a:lnTo>
                      <a:lnTo>
                        <a:pt x="28" y="16"/>
                      </a:lnTo>
                      <a:lnTo>
                        <a:pt x="26" y="24"/>
                      </a:lnTo>
                      <a:lnTo>
                        <a:pt x="26" y="70"/>
                      </a:lnTo>
                      <a:lnTo>
                        <a:pt x="28" y="88"/>
                      </a:lnTo>
                      <a:lnTo>
                        <a:pt x="34" y="102"/>
                      </a:lnTo>
                      <a:lnTo>
                        <a:pt x="38" y="118"/>
                      </a:lnTo>
                      <a:lnTo>
                        <a:pt x="40" y="134"/>
                      </a:lnTo>
                      <a:lnTo>
                        <a:pt x="40" y="142"/>
                      </a:lnTo>
                      <a:lnTo>
                        <a:pt x="38" y="150"/>
                      </a:lnTo>
                      <a:lnTo>
                        <a:pt x="30" y="164"/>
                      </a:lnTo>
                      <a:lnTo>
                        <a:pt x="22" y="176"/>
                      </a:lnTo>
                      <a:lnTo>
                        <a:pt x="20" y="184"/>
                      </a:lnTo>
                      <a:lnTo>
                        <a:pt x="18" y="190"/>
                      </a:lnTo>
                      <a:lnTo>
                        <a:pt x="18" y="198"/>
                      </a:lnTo>
                      <a:lnTo>
                        <a:pt x="18" y="208"/>
                      </a:lnTo>
                      <a:lnTo>
                        <a:pt x="18" y="216"/>
                      </a:lnTo>
                      <a:lnTo>
                        <a:pt x="16" y="224"/>
                      </a:lnTo>
                      <a:lnTo>
                        <a:pt x="10" y="232"/>
                      </a:lnTo>
                      <a:lnTo>
                        <a:pt x="6" y="236"/>
                      </a:lnTo>
                      <a:lnTo>
                        <a:pt x="2" y="240"/>
                      </a:lnTo>
                      <a:lnTo>
                        <a:pt x="0" y="252"/>
                      </a:lnTo>
                      <a:lnTo>
                        <a:pt x="0" y="262"/>
                      </a:lnTo>
                      <a:lnTo>
                        <a:pt x="2" y="270"/>
                      </a:lnTo>
                      <a:lnTo>
                        <a:pt x="8" y="282"/>
                      </a:lnTo>
                      <a:lnTo>
                        <a:pt x="16" y="292"/>
                      </a:lnTo>
                      <a:lnTo>
                        <a:pt x="24" y="302"/>
                      </a:lnTo>
                      <a:lnTo>
                        <a:pt x="24" y="314"/>
                      </a:lnTo>
                      <a:lnTo>
                        <a:pt x="24" y="322"/>
                      </a:lnTo>
                      <a:lnTo>
                        <a:pt x="26" y="328"/>
                      </a:lnTo>
                      <a:lnTo>
                        <a:pt x="44" y="338"/>
                      </a:lnTo>
                      <a:lnTo>
                        <a:pt x="64" y="346"/>
                      </a:lnTo>
                      <a:lnTo>
                        <a:pt x="72" y="346"/>
                      </a:lnTo>
                      <a:lnTo>
                        <a:pt x="78" y="344"/>
                      </a:lnTo>
                      <a:lnTo>
                        <a:pt x="90" y="336"/>
                      </a:lnTo>
                      <a:lnTo>
                        <a:pt x="100" y="328"/>
                      </a:lnTo>
                      <a:lnTo>
                        <a:pt x="114" y="322"/>
                      </a:lnTo>
                      <a:lnTo>
                        <a:pt x="124" y="320"/>
                      </a:lnTo>
                      <a:lnTo>
                        <a:pt x="132" y="320"/>
                      </a:lnTo>
                      <a:lnTo>
                        <a:pt x="140" y="320"/>
                      </a:lnTo>
                      <a:lnTo>
                        <a:pt x="148" y="318"/>
                      </a:lnTo>
                      <a:lnTo>
                        <a:pt x="156" y="312"/>
                      </a:lnTo>
                      <a:lnTo>
                        <a:pt x="162" y="306"/>
                      </a:lnTo>
                      <a:lnTo>
                        <a:pt x="170" y="300"/>
                      </a:lnTo>
                      <a:lnTo>
                        <a:pt x="180" y="294"/>
                      </a:lnTo>
                      <a:lnTo>
                        <a:pt x="188" y="292"/>
                      </a:lnTo>
                      <a:lnTo>
                        <a:pt x="196" y="292"/>
                      </a:lnTo>
                      <a:lnTo>
                        <a:pt x="210" y="292"/>
                      </a:lnTo>
                      <a:lnTo>
                        <a:pt x="216" y="292"/>
                      </a:lnTo>
                      <a:lnTo>
                        <a:pt x="220" y="290"/>
                      </a:lnTo>
                      <a:lnTo>
                        <a:pt x="226" y="286"/>
                      </a:lnTo>
                      <a:lnTo>
                        <a:pt x="230" y="278"/>
                      </a:lnTo>
                      <a:lnTo>
                        <a:pt x="224" y="278"/>
                      </a:lnTo>
                      <a:lnTo>
                        <a:pt x="220" y="274"/>
                      </a:lnTo>
                      <a:lnTo>
                        <a:pt x="210" y="262"/>
                      </a:lnTo>
                      <a:lnTo>
                        <a:pt x="202" y="248"/>
                      </a:lnTo>
                      <a:lnTo>
                        <a:pt x="198" y="240"/>
                      </a:lnTo>
                      <a:lnTo>
                        <a:pt x="198" y="234"/>
                      </a:lnTo>
                      <a:lnTo>
                        <a:pt x="198" y="228"/>
                      </a:lnTo>
                      <a:lnTo>
                        <a:pt x="202" y="222"/>
                      </a:lnTo>
                      <a:lnTo>
                        <a:pt x="204" y="218"/>
                      </a:lnTo>
                      <a:lnTo>
                        <a:pt x="204" y="212"/>
                      </a:lnTo>
                      <a:lnTo>
                        <a:pt x="204" y="200"/>
                      </a:lnTo>
                      <a:lnTo>
                        <a:pt x="208" y="180"/>
                      </a:lnTo>
                      <a:lnTo>
                        <a:pt x="210" y="154"/>
                      </a:lnTo>
                      <a:lnTo>
                        <a:pt x="210" y="150"/>
                      </a:lnTo>
                      <a:lnTo>
                        <a:pt x="208" y="146"/>
                      </a:lnTo>
                      <a:lnTo>
                        <a:pt x="204" y="142"/>
                      </a:lnTo>
                      <a:lnTo>
                        <a:pt x="198" y="138"/>
                      </a:lnTo>
                      <a:lnTo>
                        <a:pt x="196" y="134"/>
                      </a:lnTo>
                      <a:lnTo>
                        <a:pt x="196" y="130"/>
                      </a:lnTo>
                      <a:lnTo>
                        <a:pt x="198" y="122"/>
                      </a:lnTo>
                      <a:lnTo>
                        <a:pt x="200" y="116"/>
                      </a:lnTo>
                      <a:lnTo>
                        <a:pt x="204" y="112"/>
                      </a:lnTo>
                      <a:lnTo>
                        <a:pt x="204" y="104"/>
                      </a:lnTo>
                      <a:lnTo>
                        <a:pt x="202" y="98"/>
                      </a:lnTo>
                      <a:lnTo>
                        <a:pt x="198" y="94"/>
                      </a:lnTo>
                      <a:lnTo>
                        <a:pt x="194" y="86"/>
                      </a:lnTo>
                      <a:lnTo>
                        <a:pt x="192" y="78"/>
                      </a:lnTo>
                      <a:lnTo>
                        <a:pt x="192" y="56"/>
                      </a:lnTo>
                      <a:lnTo>
                        <a:pt x="192" y="52"/>
                      </a:lnTo>
                      <a:lnTo>
                        <a:pt x="190" y="50"/>
                      </a:lnTo>
                      <a:lnTo>
                        <a:pt x="184" y="42"/>
                      </a:lnTo>
                      <a:lnTo>
                        <a:pt x="178" y="32"/>
                      </a:lnTo>
                      <a:lnTo>
                        <a:pt x="176" y="26"/>
                      </a:lnTo>
                      <a:lnTo>
                        <a:pt x="176" y="20"/>
                      </a:lnTo>
                      <a:lnTo>
                        <a:pt x="176" y="14"/>
                      </a:lnTo>
                      <a:lnTo>
                        <a:pt x="178" y="8"/>
                      </a:lnTo>
                      <a:lnTo>
                        <a:pt x="180" y="10"/>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3" name="CÔTE D'IVOIRE">
                  <a:extLst>
                    <a:ext uri="{FF2B5EF4-FFF2-40B4-BE49-F238E27FC236}">
                      <a16:creationId xmlns:a16="http://schemas.microsoft.com/office/drawing/2014/main" id="{3A3AEDE3-BE07-4EAC-AD15-63DE0E2A201F}"/>
                    </a:ext>
                  </a:extLst>
                </p:cNvPr>
                <p:cNvSpPr>
                  <a:spLocks/>
                </p:cNvSpPr>
                <p:nvPr/>
              </p:nvSpPr>
              <p:spPr bwMode="gray">
                <a:xfrm>
                  <a:off x="3395663" y="3836988"/>
                  <a:ext cx="385762" cy="403225"/>
                </a:xfrm>
                <a:custGeom>
                  <a:avLst/>
                  <a:gdLst/>
                  <a:ahLst/>
                  <a:cxnLst>
                    <a:cxn ang="0">
                      <a:pos x="324" y="84"/>
                    </a:cxn>
                    <a:cxn ang="0">
                      <a:pos x="330" y="124"/>
                    </a:cxn>
                    <a:cxn ang="0">
                      <a:pos x="312" y="158"/>
                    </a:cxn>
                    <a:cxn ang="0">
                      <a:pos x="308" y="180"/>
                    </a:cxn>
                    <a:cxn ang="0">
                      <a:pos x="306" y="206"/>
                    </a:cxn>
                    <a:cxn ang="0">
                      <a:pos x="292" y="222"/>
                    </a:cxn>
                    <a:cxn ang="0">
                      <a:pos x="292" y="252"/>
                    </a:cxn>
                    <a:cxn ang="0">
                      <a:pos x="314" y="284"/>
                    </a:cxn>
                    <a:cxn ang="0">
                      <a:pos x="316" y="310"/>
                    </a:cxn>
                    <a:cxn ang="0">
                      <a:pos x="276" y="308"/>
                    </a:cxn>
                    <a:cxn ang="0">
                      <a:pos x="190" y="304"/>
                    </a:cxn>
                    <a:cxn ang="0">
                      <a:pos x="134" y="312"/>
                    </a:cxn>
                    <a:cxn ang="0">
                      <a:pos x="86" y="334"/>
                    </a:cxn>
                    <a:cxn ang="0">
                      <a:pos x="54" y="344"/>
                    </a:cxn>
                    <a:cxn ang="0">
                      <a:pos x="50" y="334"/>
                    </a:cxn>
                    <a:cxn ang="0">
                      <a:pos x="52" y="302"/>
                    </a:cxn>
                    <a:cxn ang="0">
                      <a:pos x="54" y="270"/>
                    </a:cxn>
                    <a:cxn ang="0">
                      <a:pos x="44" y="256"/>
                    </a:cxn>
                    <a:cxn ang="0">
                      <a:pos x="20" y="242"/>
                    </a:cxn>
                    <a:cxn ang="0">
                      <a:pos x="2" y="238"/>
                    </a:cxn>
                    <a:cxn ang="0">
                      <a:pos x="4" y="220"/>
                    </a:cxn>
                    <a:cxn ang="0">
                      <a:pos x="16" y="198"/>
                    </a:cxn>
                    <a:cxn ang="0">
                      <a:pos x="10" y="164"/>
                    </a:cxn>
                    <a:cxn ang="0">
                      <a:pos x="28" y="156"/>
                    </a:cxn>
                    <a:cxn ang="0">
                      <a:pos x="30" y="136"/>
                    </a:cxn>
                    <a:cxn ang="0">
                      <a:pos x="24" y="122"/>
                    </a:cxn>
                    <a:cxn ang="0">
                      <a:pos x="32" y="112"/>
                    </a:cxn>
                    <a:cxn ang="0">
                      <a:pos x="46" y="116"/>
                    </a:cxn>
                    <a:cxn ang="0">
                      <a:pos x="46" y="104"/>
                    </a:cxn>
                    <a:cxn ang="0">
                      <a:pos x="42" y="78"/>
                    </a:cxn>
                    <a:cxn ang="0">
                      <a:pos x="36" y="60"/>
                    </a:cxn>
                    <a:cxn ang="0">
                      <a:pos x="38" y="38"/>
                    </a:cxn>
                    <a:cxn ang="0">
                      <a:pos x="52" y="20"/>
                    </a:cxn>
                    <a:cxn ang="0">
                      <a:pos x="70" y="12"/>
                    </a:cxn>
                    <a:cxn ang="0">
                      <a:pos x="86" y="22"/>
                    </a:cxn>
                    <a:cxn ang="0">
                      <a:pos x="106" y="20"/>
                    </a:cxn>
                    <a:cxn ang="0">
                      <a:pos x="118" y="2"/>
                    </a:cxn>
                    <a:cxn ang="0">
                      <a:pos x="140" y="0"/>
                    </a:cxn>
                    <a:cxn ang="0">
                      <a:pos x="148" y="24"/>
                    </a:cxn>
                    <a:cxn ang="0">
                      <a:pos x="166" y="18"/>
                    </a:cxn>
                    <a:cxn ang="0">
                      <a:pos x="192" y="14"/>
                    </a:cxn>
                    <a:cxn ang="0">
                      <a:pos x="208" y="32"/>
                    </a:cxn>
                    <a:cxn ang="0">
                      <a:pos x="226" y="50"/>
                    </a:cxn>
                    <a:cxn ang="0">
                      <a:pos x="258" y="46"/>
                    </a:cxn>
                    <a:cxn ang="0">
                      <a:pos x="286" y="42"/>
                    </a:cxn>
                    <a:cxn ang="0">
                      <a:pos x="302" y="50"/>
                    </a:cxn>
                    <a:cxn ang="0">
                      <a:pos x="316" y="52"/>
                    </a:cxn>
                  </a:cxnLst>
                  <a:rect l="0" t="0" r="r" b="b"/>
                  <a:pathLst>
                    <a:path w="330" h="344">
                      <a:moveTo>
                        <a:pt x="316" y="52"/>
                      </a:moveTo>
                      <a:lnTo>
                        <a:pt x="318" y="70"/>
                      </a:lnTo>
                      <a:lnTo>
                        <a:pt x="324" y="84"/>
                      </a:lnTo>
                      <a:lnTo>
                        <a:pt x="328" y="100"/>
                      </a:lnTo>
                      <a:lnTo>
                        <a:pt x="330" y="116"/>
                      </a:lnTo>
                      <a:lnTo>
                        <a:pt x="330" y="124"/>
                      </a:lnTo>
                      <a:lnTo>
                        <a:pt x="328" y="132"/>
                      </a:lnTo>
                      <a:lnTo>
                        <a:pt x="320" y="146"/>
                      </a:lnTo>
                      <a:lnTo>
                        <a:pt x="312" y="158"/>
                      </a:lnTo>
                      <a:lnTo>
                        <a:pt x="310" y="166"/>
                      </a:lnTo>
                      <a:lnTo>
                        <a:pt x="308" y="172"/>
                      </a:lnTo>
                      <a:lnTo>
                        <a:pt x="308" y="180"/>
                      </a:lnTo>
                      <a:lnTo>
                        <a:pt x="308" y="190"/>
                      </a:lnTo>
                      <a:lnTo>
                        <a:pt x="308" y="198"/>
                      </a:lnTo>
                      <a:lnTo>
                        <a:pt x="306" y="206"/>
                      </a:lnTo>
                      <a:lnTo>
                        <a:pt x="300" y="214"/>
                      </a:lnTo>
                      <a:lnTo>
                        <a:pt x="296" y="218"/>
                      </a:lnTo>
                      <a:lnTo>
                        <a:pt x="292" y="222"/>
                      </a:lnTo>
                      <a:lnTo>
                        <a:pt x="290" y="234"/>
                      </a:lnTo>
                      <a:lnTo>
                        <a:pt x="290" y="244"/>
                      </a:lnTo>
                      <a:lnTo>
                        <a:pt x="292" y="252"/>
                      </a:lnTo>
                      <a:lnTo>
                        <a:pt x="298" y="264"/>
                      </a:lnTo>
                      <a:lnTo>
                        <a:pt x="306" y="274"/>
                      </a:lnTo>
                      <a:lnTo>
                        <a:pt x="314" y="284"/>
                      </a:lnTo>
                      <a:lnTo>
                        <a:pt x="314" y="296"/>
                      </a:lnTo>
                      <a:lnTo>
                        <a:pt x="314" y="304"/>
                      </a:lnTo>
                      <a:lnTo>
                        <a:pt x="316" y="310"/>
                      </a:lnTo>
                      <a:lnTo>
                        <a:pt x="310" y="310"/>
                      </a:lnTo>
                      <a:lnTo>
                        <a:pt x="304" y="310"/>
                      </a:lnTo>
                      <a:lnTo>
                        <a:pt x="276" y="308"/>
                      </a:lnTo>
                      <a:lnTo>
                        <a:pt x="258" y="306"/>
                      </a:lnTo>
                      <a:lnTo>
                        <a:pt x="242" y="304"/>
                      </a:lnTo>
                      <a:lnTo>
                        <a:pt x="190" y="304"/>
                      </a:lnTo>
                      <a:lnTo>
                        <a:pt x="170" y="306"/>
                      </a:lnTo>
                      <a:lnTo>
                        <a:pt x="152" y="308"/>
                      </a:lnTo>
                      <a:lnTo>
                        <a:pt x="134" y="312"/>
                      </a:lnTo>
                      <a:lnTo>
                        <a:pt x="118" y="316"/>
                      </a:lnTo>
                      <a:lnTo>
                        <a:pt x="102" y="324"/>
                      </a:lnTo>
                      <a:lnTo>
                        <a:pt x="86" y="334"/>
                      </a:lnTo>
                      <a:lnTo>
                        <a:pt x="72" y="342"/>
                      </a:lnTo>
                      <a:lnTo>
                        <a:pt x="62" y="344"/>
                      </a:lnTo>
                      <a:lnTo>
                        <a:pt x="54" y="344"/>
                      </a:lnTo>
                      <a:lnTo>
                        <a:pt x="52" y="344"/>
                      </a:lnTo>
                      <a:lnTo>
                        <a:pt x="52" y="342"/>
                      </a:lnTo>
                      <a:lnTo>
                        <a:pt x="50" y="334"/>
                      </a:lnTo>
                      <a:lnTo>
                        <a:pt x="48" y="318"/>
                      </a:lnTo>
                      <a:lnTo>
                        <a:pt x="50" y="310"/>
                      </a:lnTo>
                      <a:lnTo>
                        <a:pt x="52" y="302"/>
                      </a:lnTo>
                      <a:lnTo>
                        <a:pt x="58" y="290"/>
                      </a:lnTo>
                      <a:lnTo>
                        <a:pt x="58" y="272"/>
                      </a:lnTo>
                      <a:lnTo>
                        <a:pt x="54" y="270"/>
                      </a:lnTo>
                      <a:lnTo>
                        <a:pt x="50" y="268"/>
                      </a:lnTo>
                      <a:lnTo>
                        <a:pt x="46" y="262"/>
                      </a:lnTo>
                      <a:lnTo>
                        <a:pt x="44" y="256"/>
                      </a:lnTo>
                      <a:lnTo>
                        <a:pt x="38" y="250"/>
                      </a:lnTo>
                      <a:lnTo>
                        <a:pt x="28" y="244"/>
                      </a:lnTo>
                      <a:lnTo>
                        <a:pt x="20" y="242"/>
                      </a:lnTo>
                      <a:lnTo>
                        <a:pt x="10" y="242"/>
                      </a:lnTo>
                      <a:lnTo>
                        <a:pt x="0" y="240"/>
                      </a:lnTo>
                      <a:lnTo>
                        <a:pt x="2" y="238"/>
                      </a:lnTo>
                      <a:lnTo>
                        <a:pt x="2" y="230"/>
                      </a:lnTo>
                      <a:lnTo>
                        <a:pt x="2" y="226"/>
                      </a:lnTo>
                      <a:lnTo>
                        <a:pt x="4" y="220"/>
                      </a:lnTo>
                      <a:lnTo>
                        <a:pt x="10" y="214"/>
                      </a:lnTo>
                      <a:lnTo>
                        <a:pt x="14" y="206"/>
                      </a:lnTo>
                      <a:lnTo>
                        <a:pt x="16" y="198"/>
                      </a:lnTo>
                      <a:lnTo>
                        <a:pt x="16" y="190"/>
                      </a:lnTo>
                      <a:lnTo>
                        <a:pt x="14" y="180"/>
                      </a:lnTo>
                      <a:lnTo>
                        <a:pt x="10" y="164"/>
                      </a:lnTo>
                      <a:lnTo>
                        <a:pt x="16" y="164"/>
                      </a:lnTo>
                      <a:lnTo>
                        <a:pt x="20" y="162"/>
                      </a:lnTo>
                      <a:lnTo>
                        <a:pt x="28" y="156"/>
                      </a:lnTo>
                      <a:lnTo>
                        <a:pt x="32" y="148"/>
                      </a:lnTo>
                      <a:lnTo>
                        <a:pt x="36" y="138"/>
                      </a:lnTo>
                      <a:lnTo>
                        <a:pt x="30" y="136"/>
                      </a:lnTo>
                      <a:lnTo>
                        <a:pt x="28" y="132"/>
                      </a:lnTo>
                      <a:lnTo>
                        <a:pt x="24" y="128"/>
                      </a:lnTo>
                      <a:lnTo>
                        <a:pt x="24" y="122"/>
                      </a:lnTo>
                      <a:lnTo>
                        <a:pt x="26" y="118"/>
                      </a:lnTo>
                      <a:lnTo>
                        <a:pt x="28" y="114"/>
                      </a:lnTo>
                      <a:lnTo>
                        <a:pt x="32" y="112"/>
                      </a:lnTo>
                      <a:lnTo>
                        <a:pt x="36" y="112"/>
                      </a:lnTo>
                      <a:lnTo>
                        <a:pt x="42" y="114"/>
                      </a:lnTo>
                      <a:lnTo>
                        <a:pt x="46" y="116"/>
                      </a:lnTo>
                      <a:lnTo>
                        <a:pt x="48" y="118"/>
                      </a:lnTo>
                      <a:lnTo>
                        <a:pt x="54" y="116"/>
                      </a:lnTo>
                      <a:lnTo>
                        <a:pt x="46" y="104"/>
                      </a:lnTo>
                      <a:lnTo>
                        <a:pt x="44" y="98"/>
                      </a:lnTo>
                      <a:lnTo>
                        <a:pt x="42" y="92"/>
                      </a:lnTo>
                      <a:lnTo>
                        <a:pt x="42" y="78"/>
                      </a:lnTo>
                      <a:lnTo>
                        <a:pt x="42" y="74"/>
                      </a:lnTo>
                      <a:lnTo>
                        <a:pt x="40" y="68"/>
                      </a:lnTo>
                      <a:lnTo>
                        <a:pt x="36" y="60"/>
                      </a:lnTo>
                      <a:lnTo>
                        <a:pt x="36" y="52"/>
                      </a:lnTo>
                      <a:lnTo>
                        <a:pt x="36" y="44"/>
                      </a:lnTo>
                      <a:lnTo>
                        <a:pt x="38" y="38"/>
                      </a:lnTo>
                      <a:lnTo>
                        <a:pt x="42" y="30"/>
                      </a:lnTo>
                      <a:lnTo>
                        <a:pt x="46" y="24"/>
                      </a:lnTo>
                      <a:lnTo>
                        <a:pt x="52" y="20"/>
                      </a:lnTo>
                      <a:lnTo>
                        <a:pt x="58" y="16"/>
                      </a:lnTo>
                      <a:lnTo>
                        <a:pt x="64" y="14"/>
                      </a:lnTo>
                      <a:lnTo>
                        <a:pt x="70" y="12"/>
                      </a:lnTo>
                      <a:lnTo>
                        <a:pt x="76" y="14"/>
                      </a:lnTo>
                      <a:lnTo>
                        <a:pt x="80" y="18"/>
                      </a:lnTo>
                      <a:lnTo>
                        <a:pt x="86" y="22"/>
                      </a:lnTo>
                      <a:lnTo>
                        <a:pt x="94" y="22"/>
                      </a:lnTo>
                      <a:lnTo>
                        <a:pt x="100" y="22"/>
                      </a:lnTo>
                      <a:lnTo>
                        <a:pt x="106" y="20"/>
                      </a:lnTo>
                      <a:lnTo>
                        <a:pt x="110" y="14"/>
                      </a:lnTo>
                      <a:lnTo>
                        <a:pt x="114" y="8"/>
                      </a:lnTo>
                      <a:lnTo>
                        <a:pt x="118" y="2"/>
                      </a:lnTo>
                      <a:lnTo>
                        <a:pt x="124" y="2"/>
                      </a:lnTo>
                      <a:lnTo>
                        <a:pt x="130" y="0"/>
                      </a:lnTo>
                      <a:lnTo>
                        <a:pt x="140" y="0"/>
                      </a:lnTo>
                      <a:lnTo>
                        <a:pt x="142" y="16"/>
                      </a:lnTo>
                      <a:lnTo>
                        <a:pt x="146" y="22"/>
                      </a:lnTo>
                      <a:lnTo>
                        <a:pt x="148" y="24"/>
                      </a:lnTo>
                      <a:lnTo>
                        <a:pt x="150" y="24"/>
                      </a:lnTo>
                      <a:lnTo>
                        <a:pt x="158" y="22"/>
                      </a:lnTo>
                      <a:lnTo>
                        <a:pt x="166" y="18"/>
                      </a:lnTo>
                      <a:lnTo>
                        <a:pt x="172" y="14"/>
                      </a:lnTo>
                      <a:lnTo>
                        <a:pt x="182" y="12"/>
                      </a:lnTo>
                      <a:lnTo>
                        <a:pt x="192" y="14"/>
                      </a:lnTo>
                      <a:lnTo>
                        <a:pt x="198" y="18"/>
                      </a:lnTo>
                      <a:lnTo>
                        <a:pt x="204" y="24"/>
                      </a:lnTo>
                      <a:lnTo>
                        <a:pt x="208" y="32"/>
                      </a:lnTo>
                      <a:lnTo>
                        <a:pt x="212" y="38"/>
                      </a:lnTo>
                      <a:lnTo>
                        <a:pt x="218" y="44"/>
                      </a:lnTo>
                      <a:lnTo>
                        <a:pt x="226" y="50"/>
                      </a:lnTo>
                      <a:lnTo>
                        <a:pt x="236" y="50"/>
                      </a:lnTo>
                      <a:lnTo>
                        <a:pt x="248" y="50"/>
                      </a:lnTo>
                      <a:lnTo>
                        <a:pt x="258" y="46"/>
                      </a:lnTo>
                      <a:lnTo>
                        <a:pt x="268" y="42"/>
                      </a:lnTo>
                      <a:lnTo>
                        <a:pt x="278" y="40"/>
                      </a:lnTo>
                      <a:lnTo>
                        <a:pt x="286" y="42"/>
                      </a:lnTo>
                      <a:lnTo>
                        <a:pt x="292" y="44"/>
                      </a:lnTo>
                      <a:lnTo>
                        <a:pt x="298" y="46"/>
                      </a:lnTo>
                      <a:lnTo>
                        <a:pt x="302" y="50"/>
                      </a:lnTo>
                      <a:lnTo>
                        <a:pt x="310" y="60"/>
                      </a:lnTo>
                      <a:lnTo>
                        <a:pt x="318" y="68"/>
                      </a:lnTo>
                      <a:lnTo>
                        <a:pt x="316" y="52"/>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4" name="Liberia">
                  <a:extLst>
                    <a:ext uri="{FF2B5EF4-FFF2-40B4-BE49-F238E27FC236}">
                      <a16:creationId xmlns:a16="http://schemas.microsoft.com/office/drawing/2014/main" id="{CB406C65-E0CD-436F-9117-ACDE0B60478A}"/>
                    </a:ext>
                  </a:extLst>
                </p:cNvPr>
                <p:cNvSpPr>
                  <a:spLocks/>
                </p:cNvSpPr>
                <p:nvPr/>
              </p:nvSpPr>
              <p:spPr bwMode="gray">
                <a:xfrm>
                  <a:off x="3232150" y="3967163"/>
                  <a:ext cx="231775" cy="273050"/>
                </a:xfrm>
                <a:custGeom>
                  <a:avLst/>
                  <a:gdLst/>
                  <a:ahLst/>
                  <a:cxnLst>
                    <a:cxn ang="0">
                      <a:pos x="148" y="50"/>
                    </a:cxn>
                    <a:cxn ang="0">
                      <a:pos x="140" y="58"/>
                    </a:cxn>
                    <a:cxn ang="0">
                      <a:pos x="130" y="70"/>
                    </a:cxn>
                    <a:cxn ang="0">
                      <a:pos x="116" y="72"/>
                    </a:cxn>
                    <a:cxn ang="0">
                      <a:pos x="106" y="62"/>
                    </a:cxn>
                    <a:cxn ang="0">
                      <a:pos x="104" y="56"/>
                    </a:cxn>
                    <a:cxn ang="0">
                      <a:pos x="110" y="50"/>
                    </a:cxn>
                    <a:cxn ang="0">
                      <a:pos x="108" y="30"/>
                    </a:cxn>
                    <a:cxn ang="0">
                      <a:pos x="104" y="14"/>
                    </a:cxn>
                    <a:cxn ang="0">
                      <a:pos x="94" y="4"/>
                    </a:cxn>
                    <a:cxn ang="0">
                      <a:pos x="76" y="0"/>
                    </a:cxn>
                    <a:cxn ang="0">
                      <a:pos x="56" y="4"/>
                    </a:cxn>
                    <a:cxn ang="0">
                      <a:pos x="48" y="14"/>
                    </a:cxn>
                    <a:cxn ang="0">
                      <a:pos x="44" y="34"/>
                    </a:cxn>
                    <a:cxn ang="0">
                      <a:pos x="20" y="64"/>
                    </a:cxn>
                    <a:cxn ang="0">
                      <a:pos x="8" y="98"/>
                    </a:cxn>
                    <a:cxn ang="0">
                      <a:pos x="24" y="112"/>
                    </a:cxn>
                    <a:cxn ang="0">
                      <a:pos x="50" y="126"/>
                    </a:cxn>
                    <a:cxn ang="0">
                      <a:pos x="70" y="138"/>
                    </a:cxn>
                    <a:cxn ang="0">
                      <a:pos x="82" y="150"/>
                    </a:cxn>
                    <a:cxn ang="0">
                      <a:pos x="102" y="180"/>
                    </a:cxn>
                    <a:cxn ang="0">
                      <a:pos x="116" y="192"/>
                    </a:cxn>
                    <a:cxn ang="0">
                      <a:pos x="152" y="214"/>
                    </a:cxn>
                    <a:cxn ang="0">
                      <a:pos x="192" y="234"/>
                    </a:cxn>
                    <a:cxn ang="0">
                      <a:pos x="190" y="224"/>
                    </a:cxn>
                    <a:cxn ang="0">
                      <a:pos x="190" y="200"/>
                    </a:cxn>
                    <a:cxn ang="0">
                      <a:pos x="198" y="180"/>
                    </a:cxn>
                    <a:cxn ang="0">
                      <a:pos x="194" y="160"/>
                    </a:cxn>
                    <a:cxn ang="0">
                      <a:pos x="186" y="152"/>
                    </a:cxn>
                    <a:cxn ang="0">
                      <a:pos x="178" y="140"/>
                    </a:cxn>
                    <a:cxn ang="0">
                      <a:pos x="160" y="132"/>
                    </a:cxn>
                    <a:cxn ang="0">
                      <a:pos x="140" y="130"/>
                    </a:cxn>
                    <a:cxn ang="0">
                      <a:pos x="142" y="120"/>
                    </a:cxn>
                    <a:cxn ang="0">
                      <a:pos x="144" y="110"/>
                    </a:cxn>
                    <a:cxn ang="0">
                      <a:pos x="154" y="96"/>
                    </a:cxn>
                    <a:cxn ang="0">
                      <a:pos x="156" y="80"/>
                    </a:cxn>
                    <a:cxn ang="0">
                      <a:pos x="150" y="54"/>
                    </a:cxn>
                  </a:cxnLst>
                  <a:rect l="0" t="0" r="r" b="b"/>
                  <a:pathLst>
                    <a:path w="198" h="234">
                      <a:moveTo>
                        <a:pt x="152" y="48"/>
                      </a:moveTo>
                      <a:lnTo>
                        <a:pt x="148" y="50"/>
                      </a:lnTo>
                      <a:lnTo>
                        <a:pt x="142" y="50"/>
                      </a:lnTo>
                      <a:lnTo>
                        <a:pt x="140" y="58"/>
                      </a:lnTo>
                      <a:lnTo>
                        <a:pt x="136" y="66"/>
                      </a:lnTo>
                      <a:lnTo>
                        <a:pt x="130" y="70"/>
                      </a:lnTo>
                      <a:lnTo>
                        <a:pt x="122" y="72"/>
                      </a:lnTo>
                      <a:lnTo>
                        <a:pt x="116" y="72"/>
                      </a:lnTo>
                      <a:lnTo>
                        <a:pt x="110" y="68"/>
                      </a:lnTo>
                      <a:lnTo>
                        <a:pt x="106" y="62"/>
                      </a:lnTo>
                      <a:lnTo>
                        <a:pt x="104" y="58"/>
                      </a:lnTo>
                      <a:lnTo>
                        <a:pt x="104" y="56"/>
                      </a:lnTo>
                      <a:lnTo>
                        <a:pt x="108" y="54"/>
                      </a:lnTo>
                      <a:lnTo>
                        <a:pt x="110" y="50"/>
                      </a:lnTo>
                      <a:lnTo>
                        <a:pt x="110" y="46"/>
                      </a:lnTo>
                      <a:lnTo>
                        <a:pt x="108" y="30"/>
                      </a:lnTo>
                      <a:lnTo>
                        <a:pt x="106" y="22"/>
                      </a:lnTo>
                      <a:lnTo>
                        <a:pt x="104" y="14"/>
                      </a:lnTo>
                      <a:lnTo>
                        <a:pt x="100" y="8"/>
                      </a:lnTo>
                      <a:lnTo>
                        <a:pt x="94" y="4"/>
                      </a:lnTo>
                      <a:lnTo>
                        <a:pt x="86" y="2"/>
                      </a:lnTo>
                      <a:lnTo>
                        <a:pt x="76" y="0"/>
                      </a:lnTo>
                      <a:lnTo>
                        <a:pt x="64" y="2"/>
                      </a:lnTo>
                      <a:lnTo>
                        <a:pt x="56" y="4"/>
                      </a:lnTo>
                      <a:lnTo>
                        <a:pt x="52" y="8"/>
                      </a:lnTo>
                      <a:lnTo>
                        <a:pt x="48" y="14"/>
                      </a:lnTo>
                      <a:lnTo>
                        <a:pt x="46" y="28"/>
                      </a:lnTo>
                      <a:lnTo>
                        <a:pt x="44" y="34"/>
                      </a:lnTo>
                      <a:lnTo>
                        <a:pt x="40" y="42"/>
                      </a:lnTo>
                      <a:lnTo>
                        <a:pt x="20" y="64"/>
                      </a:lnTo>
                      <a:lnTo>
                        <a:pt x="0" y="86"/>
                      </a:lnTo>
                      <a:lnTo>
                        <a:pt x="8" y="98"/>
                      </a:lnTo>
                      <a:lnTo>
                        <a:pt x="16" y="106"/>
                      </a:lnTo>
                      <a:lnTo>
                        <a:pt x="24" y="112"/>
                      </a:lnTo>
                      <a:lnTo>
                        <a:pt x="32" y="118"/>
                      </a:lnTo>
                      <a:lnTo>
                        <a:pt x="50" y="126"/>
                      </a:lnTo>
                      <a:lnTo>
                        <a:pt x="60" y="132"/>
                      </a:lnTo>
                      <a:lnTo>
                        <a:pt x="70" y="138"/>
                      </a:lnTo>
                      <a:lnTo>
                        <a:pt x="76" y="144"/>
                      </a:lnTo>
                      <a:lnTo>
                        <a:pt x="82" y="150"/>
                      </a:lnTo>
                      <a:lnTo>
                        <a:pt x="92" y="164"/>
                      </a:lnTo>
                      <a:lnTo>
                        <a:pt x="102" y="180"/>
                      </a:lnTo>
                      <a:lnTo>
                        <a:pt x="108" y="186"/>
                      </a:lnTo>
                      <a:lnTo>
                        <a:pt x="116" y="192"/>
                      </a:lnTo>
                      <a:lnTo>
                        <a:pt x="134" y="204"/>
                      </a:lnTo>
                      <a:lnTo>
                        <a:pt x="152" y="214"/>
                      </a:lnTo>
                      <a:lnTo>
                        <a:pt x="194" y="234"/>
                      </a:lnTo>
                      <a:lnTo>
                        <a:pt x="192" y="234"/>
                      </a:lnTo>
                      <a:lnTo>
                        <a:pt x="192" y="232"/>
                      </a:lnTo>
                      <a:lnTo>
                        <a:pt x="190" y="224"/>
                      </a:lnTo>
                      <a:lnTo>
                        <a:pt x="188" y="208"/>
                      </a:lnTo>
                      <a:lnTo>
                        <a:pt x="190" y="200"/>
                      </a:lnTo>
                      <a:lnTo>
                        <a:pt x="192" y="192"/>
                      </a:lnTo>
                      <a:lnTo>
                        <a:pt x="198" y="180"/>
                      </a:lnTo>
                      <a:lnTo>
                        <a:pt x="198" y="162"/>
                      </a:lnTo>
                      <a:lnTo>
                        <a:pt x="194" y="160"/>
                      </a:lnTo>
                      <a:lnTo>
                        <a:pt x="190" y="158"/>
                      </a:lnTo>
                      <a:lnTo>
                        <a:pt x="186" y="152"/>
                      </a:lnTo>
                      <a:lnTo>
                        <a:pt x="184" y="146"/>
                      </a:lnTo>
                      <a:lnTo>
                        <a:pt x="178" y="140"/>
                      </a:lnTo>
                      <a:lnTo>
                        <a:pt x="168" y="134"/>
                      </a:lnTo>
                      <a:lnTo>
                        <a:pt x="160" y="132"/>
                      </a:lnTo>
                      <a:lnTo>
                        <a:pt x="150" y="132"/>
                      </a:lnTo>
                      <a:lnTo>
                        <a:pt x="140" y="130"/>
                      </a:lnTo>
                      <a:lnTo>
                        <a:pt x="142" y="128"/>
                      </a:lnTo>
                      <a:lnTo>
                        <a:pt x="142" y="120"/>
                      </a:lnTo>
                      <a:lnTo>
                        <a:pt x="142" y="116"/>
                      </a:lnTo>
                      <a:lnTo>
                        <a:pt x="144" y="110"/>
                      </a:lnTo>
                      <a:lnTo>
                        <a:pt x="150" y="104"/>
                      </a:lnTo>
                      <a:lnTo>
                        <a:pt x="154" y="96"/>
                      </a:lnTo>
                      <a:lnTo>
                        <a:pt x="156" y="88"/>
                      </a:lnTo>
                      <a:lnTo>
                        <a:pt x="156" y="80"/>
                      </a:lnTo>
                      <a:lnTo>
                        <a:pt x="154" y="70"/>
                      </a:lnTo>
                      <a:lnTo>
                        <a:pt x="150" y="54"/>
                      </a:lnTo>
                      <a:lnTo>
                        <a:pt x="152" y="4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5" name="Sierra Leone">
                  <a:extLst>
                    <a:ext uri="{FF2B5EF4-FFF2-40B4-BE49-F238E27FC236}">
                      <a16:creationId xmlns:a16="http://schemas.microsoft.com/office/drawing/2014/main" id="{17A46B58-9A99-4108-957E-916C504962BC}"/>
                    </a:ext>
                  </a:extLst>
                </p:cNvPr>
                <p:cNvSpPr>
                  <a:spLocks/>
                </p:cNvSpPr>
                <p:nvPr/>
              </p:nvSpPr>
              <p:spPr bwMode="gray">
                <a:xfrm>
                  <a:off x="3130550" y="3865563"/>
                  <a:ext cx="176212" cy="201612"/>
                </a:xfrm>
                <a:custGeom>
                  <a:avLst/>
                  <a:gdLst/>
                  <a:ahLst/>
                  <a:cxnLst>
                    <a:cxn ang="0">
                      <a:pos x="150" y="88"/>
                    </a:cxn>
                    <a:cxn ang="0">
                      <a:pos x="142" y="90"/>
                    </a:cxn>
                    <a:cxn ang="0">
                      <a:pos x="138" y="94"/>
                    </a:cxn>
                    <a:cxn ang="0">
                      <a:pos x="136" y="98"/>
                    </a:cxn>
                    <a:cxn ang="0">
                      <a:pos x="134" y="102"/>
                    </a:cxn>
                    <a:cxn ang="0">
                      <a:pos x="130" y="114"/>
                    </a:cxn>
                    <a:cxn ang="0">
                      <a:pos x="130" y="122"/>
                    </a:cxn>
                    <a:cxn ang="0">
                      <a:pos x="126" y="128"/>
                    </a:cxn>
                    <a:cxn ang="0">
                      <a:pos x="106" y="150"/>
                    </a:cxn>
                    <a:cxn ang="0">
                      <a:pos x="86" y="172"/>
                    </a:cxn>
                    <a:cxn ang="0">
                      <a:pos x="70" y="164"/>
                    </a:cxn>
                    <a:cxn ang="0">
                      <a:pos x="60" y="156"/>
                    </a:cxn>
                    <a:cxn ang="0">
                      <a:pos x="50" y="148"/>
                    </a:cxn>
                    <a:cxn ang="0">
                      <a:pos x="36" y="138"/>
                    </a:cxn>
                    <a:cxn ang="0">
                      <a:pos x="24" y="132"/>
                    </a:cxn>
                    <a:cxn ang="0">
                      <a:pos x="18" y="128"/>
                    </a:cxn>
                    <a:cxn ang="0">
                      <a:pos x="14" y="122"/>
                    </a:cxn>
                    <a:cxn ang="0">
                      <a:pos x="12" y="116"/>
                    </a:cxn>
                    <a:cxn ang="0">
                      <a:pos x="14" y="110"/>
                    </a:cxn>
                    <a:cxn ang="0">
                      <a:pos x="14" y="104"/>
                    </a:cxn>
                    <a:cxn ang="0">
                      <a:pos x="12" y="96"/>
                    </a:cxn>
                    <a:cxn ang="0">
                      <a:pos x="10" y="92"/>
                    </a:cxn>
                    <a:cxn ang="0">
                      <a:pos x="6" y="88"/>
                    </a:cxn>
                    <a:cxn ang="0">
                      <a:pos x="2" y="82"/>
                    </a:cxn>
                    <a:cxn ang="0">
                      <a:pos x="0" y="70"/>
                    </a:cxn>
                    <a:cxn ang="0">
                      <a:pos x="2" y="58"/>
                    </a:cxn>
                    <a:cxn ang="0">
                      <a:pos x="6" y="44"/>
                    </a:cxn>
                    <a:cxn ang="0">
                      <a:pos x="12" y="32"/>
                    </a:cxn>
                    <a:cxn ang="0">
                      <a:pos x="20" y="22"/>
                    </a:cxn>
                    <a:cxn ang="0">
                      <a:pos x="28" y="14"/>
                    </a:cxn>
                    <a:cxn ang="0">
                      <a:pos x="38" y="6"/>
                    </a:cxn>
                    <a:cxn ang="0">
                      <a:pos x="50" y="2"/>
                    </a:cxn>
                    <a:cxn ang="0">
                      <a:pos x="60" y="0"/>
                    </a:cxn>
                    <a:cxn ang="0">
                      <a:pos x="86" y="0"/>
                    </a:cxn>
                    <a:cxn ang="0">
                      <a:pos x="96" y="2"/>
                    </a:cxn>
                    <a:cxn ang="0">
                      <a:pos x="108" y="6"/>
                    </a:cxn>
                    <a:cxn ang="0">
                      <a:pos x="116" y="14"/>
                    </a:cxn>
                    <a:cxn ang="0">
                      <a:pos x="124" y="24"/>
                    </a:cxn>
                    <a:cxn ang="0">
                      <a:pos x="132" y="34"/>
                    </a:cxn>
                    <a:cxn ang="0">
                      <a:pos x="136" y="48"/>
                    </a:cxn>
                    <a:cxn ang="0">
                      <a:pos x="140" y="62"/>
                    </a:cxn>
                    <a:cxn ang="0">
                      <a:pos x="140" y="76"/>
                    </a:cxn>
                    <a:cxn ang="0">
                      <a:pos x="140" y="80"/>
                    </a:cxn>
                    <a:cxn ang="0">
                      <a:pos x="136" y="84"/>
                    </a:cxn>
                    <a:cxn ang="0">
                      <a:pos x="132" y="86"/>
                    </a:cxn>
                    <a:cxn ang="0">
                      <a:pos x="138" y="88"/>
                    </a:cxn>
                    <a:cxn ang="0">
                      <a:pos x="144" y="86"/>
                    </a:cxn>
                    <a:cxn ang="0">
                      <a:pos x="150" y="88"/>
                    </a:cxn>
                  </a:cxnLst>
                  <a:rect l="0" t="0" r="r" b="b"/>
                  <a:pathLst>
                    <a:path w="150" h="172">
                      <a:moveTo>
                        <a:pt x="150" y="88"/>
                      </a:moveTo>
                      <a:lnTo>
                        <a:pt x="142" y="90"/>
                      </a:lnTo>
                      <a:lnTo>
                        <a:pt x="138" y="94"/>
                      </a:lnTo>
                      <a:lnTo>
                        <a:pt x="136" y="98"/>
                      </a:lnTo>
                      <a:lnTo>
                        <a:pt x="134" y="102"/>
                      </a:lnTo>
                      <a:lnTo>
                        <a:pt x="130" y="114"/>
                      </a:lnTo>
                      <a:lnTo>
                        <a:pt x="130" y="122"/>
                      </a:lnTo>
                      <a:lnTo>
                        <a:pt x="126" y="128"/>
                      </a:lnTo>
                      <a:lnTo>
                        <a:pt x="106" y="150"/>
                      </a:lnTo>
                      <a:lnTo>
                        <a:pt x="86" y="172"/>
                      </a:lnTo>
                      <a:lnTo>
                        <a:pt x="70" y="164"/>
                      </a:lnTo>
                      <a:lnTo>
                        <a:pt x="60" y="156"/>
                      </a:lnTo>
                      <a:lnTo>
                        <a:pt x="50" y="148"/>
                      </a:lnTo>
                      <a:lnTo>
                        <a:pt x="36" y="138"/>
                      </a:lnTo>
                      <a:lnTo>
                        <a:pt x="24" y="132"/>
                      </a:lnTo>
                      <a:lnTo>
                        <a:pt x="18" y="128"/>
                      </a:lnTo>
                      <a:lnTo>
                        <a:pt x="14" y="122"/>
                      </a:lnTo>
                      <a:lnTo>
                        <a:pt x="12" y="116"/>
                      </a:lnTo>
                      <a:lnTo>
                        <a:pt x="14" y="110"/>
                      </a:lnTo>
                      <a:lnTo>
                        <a:pt x="14" y="104"/>
                      </a:lnTo>
                      <a:lnTo>
                        <a:pt x="12" y="96"/>
                      </a:lnTo>
                      <a:lnTo>
                        <a:pt x="10" y="92"/>
                      </a:lnTo>
                      <a:lnTo>
                        <a:pt x="6" y="88"/>
                      </a:lnTo>
                      <a:lnTo>
                        <a:pt x="2" y="82"/>
                      </a:lnTo>
                      <a:lnTo>
                        <a:pt x="0" y="70"/>
                      </a:lnTo>
                      <a:lnTo>
                        <a:pt x="2" y="58"/>
                      </a:lnTo>
                      <a:lnTo>
                        <a:pt x="6" y="44"/>
                      </a:lnTo>
                      <a:lnTo>
                        <a:pt x="12" y="32"/>
                      </a:lnTo>
                      <a:lnTo>
                        <a:pt x="20" y="22"/>
                      </a:lnTo>
                      <a:lnTo>
                        <a:pt x="28" y="14"/>
                      </a:lnTo>
                      <a:lnTo>
                        <a:pt x="38" y="6"/>
                      </a:lnTo>
                      <a:lnTo>
                        <a:pt x="50" y="2"/>
                      </a:lnTo>
                      <a:lnTo>
                        <a:pt x="60" y="0"/>
                      </a:lnTo>
                      <a:lnTo>
                        <a:pt x="86" y="0"/>
                      </a:lnTo>
                      <a:lnTo>
                        <a:pt x="96" y="2"/>
                      </a:lnTo>
                      <a:lnTo>
                        <a:pt x="108" y="6"/>
                      </a:lnTo>
                      <a:lnTo>
                        <a:pt x="116" y="14"/>
                      </a:lnTo>
                      <a:lnTo>
                        <a:pt x="124" y="24"/>
                      </a:lnTo>
                      <a:lnTo>
                        <a:pt x="132" y="34"/>
                      </a:lnTo>
                      <a:lnTo>
                        <a:pt x="136" y="48"/>
                      </a:lnTo>
                      <a:lnTo>
                        <a:pt x="140" y="62"/>
                      </a:lnTo>
                      <a:lnTo>
                        <a:pt x="140" y="76"/>
                      </a:lnTo>
                      <a:lnTo>
                        <a:pt x="140" y="80"/>
                      </a:lnTo>
                      <a:lnTo>
                        <a:pt x="136" y="84"/>
                      </a:lnTo>
                      <a:lnTo>
                        <a:pt x="132" y="86"/>
                      </a:lnTo>
                      <a:lnTo>
                        <a:pt x="138" y="88"/>
                      </a:lnTo>
                      <a:lnTo>
                        <a:pt x="144" y="86"/>
                      </a:lnTo>
                      <a:lnTo>
                        <a:pt x="150" y="8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6" name="Guinea">
                  <a:extLst>
                    <a:ext uri="{FF2B5EF4-FFF2-40B4-BE49-F238E27FC236}">
                      <a16:creationId xmlns:a16="http://schemas.microsoft.com/office/drawing/2014/main" id="{3E39E455-9742-4A4C-B67F-DB0D9878198F}"/>
                    </a:ext>
                  </a:extLst>
                </p:cNvPr>
                <p:cNvSpPr>
                  <a:spLocks/>
                </p:cNvSpPr>
                <p:nvPr/>
              </p:nvSpPr>
              <p:spPr bwMode="gray">
                <a:xfrm>
                  <a:off x="3040063" y="3681413"/>
                  <a:ext cx="419100" cy="369887"/>
                </a:xfrm>
                <a:custGeom>
                  <a:avLst/>
                  <a:gdLst/>
                  <a:ahLst/>
                  <a:cxnLst>
                    <a:cxn ang="0">
                      <a:pos x="258" y="248"/>
                    </a:cxn>
                    <a:cxn ang="0">
                      <a:pos x="270" y="266"/>
                    </a:cxn>
                    <a:cxn ang="0">
                      <a:pos x="274" y="294"/>
                    </a:cxn>
                    <a:cxn ang="0">
                      <a:pos x="268" y="302"/>
                    </a:cxn>
                    <a:cxn ang="0">
                      <a:pos x="280" y="316"/>
                    </a:cxn>
                    <a:cxn ang="0">
                      <a:pos x="300" y="310"/>
                    </a:cxn>
                    <a:cxn ang="0">
                      <a:pos x="312" y="294"/>
                    </a:cxn>
                    <a:cxn ang="0">
                      <a:pos x="320" y="298"/>
                    </a:cxn>
                    <a:cxn ang="0">
                      <a:pos x="336" y="282"/>
                    </a:cxn>
                    <a:cxn ang="0">
                      <a:pos x="332" y="266"/>
                    </a:cxn>
                    <a:cxn ang="0">
                      <a:pos x="330" y="252"/>
                    </a:cxn>
                    <a:cxn ang="0">
                      <a:pos x="340" y="246"/>
                    </a:cxn>
                    <a:cxn ang="0">
                      <a:pos x="352" y="252"/>
                    </a:cxn>
                    <a:cxn ang="0">
                      <a:pos x="348" y="232"/>
                    </a:cxn>
                    <a:cxn ang="0">
                      <a:pos x="346" y="208"/>
                    </a:cxn>
                    <a:cxn ang="0">
                      <a:pos x="340" y="186"/>
                    </a:cxn>
                    <a:cxn ang="0">
                      <a:pos x="348" y="162"/>
                    </a:cxn>
                    <a:cxn ang="0">
                      <a:pos x="348" y="142"/>
                    </a:cxn>
                    <a:cxn ang="0">
                      <a:pos x="336" y="118"/>
                    </a:cxn>
                    <a:cxn ang="0">
                      <a:pos x="330" y="104"/>
                    </a:cxn>
                    <a:cxn ang="0">
                      <a:pos x="318" y="62"/>
                    </a:cxn>
                    <a:cxn ang="0">
                      <a:pos x="300" y="26"/>
                    </a:cxn>
                    <a:cxn ang="0">
                      <a:pos x="286" y="38"/>
                    </a:cxn>
                    <a:cxn ang="0">
                      <a:pos x="266" y="50"/>
                    </a:cxn>
                    <a:cxn ang="0">
                      <a:pos x="250" y="42"/>
                    </a:cxn>
                    <a:cxn ang="0">
                      <a:pos x="236" y="46"/>
                    </a:cxn>
                    <a:cxn ang="0">
                      <a:pos x="220" y="52"/>
                    </a:cxn>
                    <a:cxn ang="0">
                      <a:pos x="200" y="42"/>
                    </a:cxn>
                    <a:cxn ang="0">
                      <a:pos x="188" y="44"/>
                    </a:cxn>
                    <a:cxn ang="0">
                      <a:pos x="180" y="32"/>
                    </a:cxn>
                    <a:cxn ang="0">
                      <a:pos x="162" y="26"/>
                    </a:cxn>
                    <a:cxn ang="0">
                      <a:pos x="114" y="20"/>
                    </a:cxn>
                    <a:cxn ang="0">
                      <a:pos x="96" y="6"/>
                    </a:cxn>
                    <a:cxn ang="0">
                      <a:pos x="76" y="2"/>
                    </a:cxn>
                    <a:cxn ang="0">
                      <a:pos x="68" y="16"/>
                    </a:cxn>
                    <a:cxn ang="0">
                      <a:pos x="56" y="32"/>
                    </a:cxn>
                    <a:cxn ang="0">
                      <a:pos x="66" y="48"/>
                    </a:cxn>
                    <a:cxn ang="0">
                      <a:pos x="58" y="58"/>
                    </a:cxn>
                    <a:cxn ang="0">
                      <a:pos x="34" y="58"/>
                    </a:cxn>
                    <a:cxn ang="0">
                      <a:pos x="10" y="68"/>
                    </a:cxn>
                    <a:cxn ang="0">
                      <a:pos x="0" y="84"/>
                    </a:cxn>
                    <a:cxn ang="0">
                      <a:pos x="10" y="118"/>
                    </a:cxn>
                    <a:cxn ang="0">
                      <a:pos x="62" y="174"/>
                    </a:cxn>
                    <a:cxn ang="0">
                      <a:pos x="88" y="194"/>
                    </a:cxn>
                    <a:cxn ang="0">
                      <a:pos x="114" y="166"/>
                    </a:cxn>
                    <a:cxn ang="0">
                      <a:pos x="138" y="158"/>
                    </a:cxn>
                    <a:cxn ang="0">
                      <a:pos x="186" y="164"/>
                    </a:cxn>
                    <a:cxn ang="0">
                      <a:pos x="210" y="192"/>
                    </a:cxn>
                    <a:cxn ang="0">
                      <a:pos x="218" y="234"/>
                    </a:cxn>
                    <a:cxn ang="0">
                      <a:pos x="240" y="244"/>
                    </a:cxn>
                  </a:cxnLst>
                  <a:rect l="0" t="0" r="r" b="b"/>
                  <a:pathLst>
                    <a:path w="358" h="316">
                      <a:moveTo>
                        <a:pt x="240" y="244"/>
                      </a:moveTo>
                      <a:lnTo>
                        <a:pt x="250" y="246"/>
                      </a:lnTo>
                      <a:lnTo>
                        <a:pt x="258" y="248"/>
                      </a:lnTo>
                      <a:lnTo>
                        <a:pt x="264" y="252"/>
                      </a:lnTo>
                      <a:lnTo>
                        <a:pt x="268" y="258"/>
                      </a:lnTo>
                      <a:lnTo>
                        <a:pt x="270" y="266"/>
                      </a:lnTo>
                      <a:lnTo>
                        <a:pt x="272" y="274"/>
                      </a:lnTo>
                      <a:lnTo>
                        <a:pt x="274" y="290"/>
                      </a:lnTo>
                      <a:lnTo>
                        <a:pt x="274" y="294"/>
                      </a:lnTo>
                      <a:lnTo>
                        <a:pt x="272" y="298"/>
                      </a:lnTo>
                      <a:lnTo>
                        <a:pt x="268" y="300"/>
                      </a:lnTo>
                      <a:lnTo>
                        <a:pt x="268" y="302"/>
                      </a:lnTo>
                      <a:lnTo>
                        <a:pt x="270" y="306"/>
                      </a:lnTo>
                      <a:lnTo>
                        <a:pt x="274" y="312"/>
                      </a:lnTo>
                      <a:lnTo>
                        <a:pt x="280" y="316"/>
                      </a:lnTo>
                      <a:lnTo>
                        <a:pt x="286" y="316"/>
                      </a:lnTo>
                      <a:lnTo>
                        <a:pt x="294" y="314"/>
                      </a:lnTo>
                      <a:lnTo>
                        <a:pt x="300" y="310"/>
                      </a:lnTo>
                      <a:lnTo>
                        <a:pt x="304" y="302"/>
                      </a:lnTo>
                      <a:lnTo>
                        <a:pt x="306" y="294"/>
                      </a:lnTo>
                      <a:lnTo>
                        <a:pt x="312" y="294"/>
                      </a:lnTo>
                      <a:lnTo>
                        <a:pt x="316" y="292"/>
                      </a:lnTo>
                      <a:lnTo>
                        <a:pt x="314" y="298"/>
                      </a:lnTo>
                      <a:lnTo>
                        <a:pt x="320" y="298"/>
                      </a:lnTo>
                      <a:lnTo>
                        <a:pt x="324" y="296"/>
                      </a:lnTo>
                      <a:lnTo>
                        <a:pt x="332" y="290"/>
                      </a:lnTo>
                      <a:lnTo>
                        <a:pt x="336" y="282"/>
                      </a:lnTo>
                      <a:lnTo>
                        <a:pt x="340" y="272"/>
                      </a:lnTo>
                      <a:lnTo>
                        <a:pt x="334" y="270"/>
                      </a:lnTo>
                      <a:lnTo>
                        <a:pt x="332" y="266"/>
                      </a:lnTo>
                      <a:lnTo>
                        <a:pt x="328" y="262"/>
                      </a:lnTo>
                      <a:lnTo>
                        <a:pt x="328" y="256"/>
                      </a:lnTo>
                      <a:lnTo>
                        <a:pt x="330" y="252"/>
                      </a:lnTo>
                      <a:lnTo>
                        <a:pt x="332" y="248"/>
                      </a:lnTo>
                      <a:lnTo>
                        <a:pt x="336" y="246"/>
                      </a:lnTo>
                      <a:lnTo>
                        <a:pt x="340" y="246"/>
                      </a:lnTo>
                      <a:lnTo>
                        <a:pt x="346" y="248"/>
                      </a:lnTo>
                      <a:lnTo>
                        <a:pt x="350" y="250"/>
                      </a:lnTo>
                      <a:lnTo>
                        <a:pt x="352" y="252"/>
                      </a:lnTo>
                      <a:lnTo>
                        <a:pt x="358" y="250"/>
                      </a:lnTo>
                      <a:lnTo>
                        <a:pt x="350" y="238"/>
                      </a:lnTo>
                      <a:lnTo>
                        <a:pt x="348" y="232"/>
                      </a:lnTo>
                      <a:lnTo>
                        <a:pt x="346" y="226"/>
                      </a:lnTo>
                      <a:lnTo>
                        <a:pt x="346" y="212"/>
                      </a:lnTo>
                      <a:lnTo>
                        <a:pt x="346" y="208"/>
                      </a:lnTo>
                      <a:lnTo>
                        <a:pt x="344" y="202"/>
                      </a:lnTo>
                      <a:lnTo>
                        <a:pt x="340" y="194"/>
                      </a:lnTo>
                      <a:lnTo>
                        <a:pt x="340" y="186"/>
                      </a:lnTo>
                      <a:lnTo>
                        <a:pt x="340" y="178"/>
                      </a:lnTo>
                      <a:lnTo>
                        <a:pt x="344" y="168"/>
                      </a:lnTo>
                      <a:lnTo>
                        <a:pt x="348" y="162"/>
                      </a:lnTo>
                      <a:lnTo>
                        <a:pt x="354" y="154"/>
                      </a:lnTo>
                      <a:lnTo>
                        <a:pt x="350" y="148"/>
                      </a:lnTo>
                      <a:lnTo>
                        <a:pt x="348" y="142"/>
                      </a:lnTo>
                      <a:lnTo>
                        <a:pt x="342" y="130"/>
                      </a:lnTo>
                      <a:lnTo>
                        <a:pt x="340" y="124"/>
                      </a:lnTo>
                      <a:lnTo>
                        <a:pt x="336" y="118"/>
                      </a:lnTo>
                      <a:lnTo>
                        <a:pt x="332" y="112"/>
                      </a:lnTo>
                      <a:lnTo>
                        <a:pt x="324" y="108"/>
                      </a:lnTo>
                      <a:lnTo>
                        <a:pt x="330" y="104"/>
                      </a:lnTo>
                      <a:lnTo>
                        <a:pt x="334" y="102"/>
                      </a:lnTo>
                      <a:lnTo>
                        <a:pt x="334" y="96"/>
                      </a:lnTo>
                      <a:lnTo>
                        <a:pt x="318" y="62"/>
                      </a:lnTo>
                      <a:lnTo>
                        <a:pt x="308" y="38"/>
                      </a:lnTo>
                      <a:lnTo>
                        <a:pt x="302" y="30"/>
                      </a:lnTo>
                      <a:lnTo>
                        <a:pt x="300" y="26"/>
                      </a:lnTo>
                      <a:lnTo>
                        <a:pt x="296" y="28"/>
                      </a:lnTo>
                      <a:lnTo>
                        <a:pt x="292" y="30"/>
                      </a:lnTo>
                      <a:lnTo>
                        <a:pt x="286" y="38"/>
                      </a:lnTo>
                      <a:lnTo>
                        <a:pt x="278" y="46"/>
                      </a:lnTo>
                      <a:lnTo>
                        <a:pt x="272" y="50"/>
                      </a:lnTo>
                      <a:lnTo>
                        <a:pt x="266" y="50"/>
                      </a:lnTo>
                      <a:lnTo>
                        <a:pt x="260" y="48"/>
                      </a:lnTo>
                      <a:lnTo>
                        <a:pt x="256" y="46"/>
                      </a:lnTo>
                      <a:lnTo>
                        <a:pt x="250" y="42"/>
                      </a:lnTo>
                      <a:lnTo>
                        <a:pt x="244" y="40"/>
                      </a:lnTo>
                      <a:lnTo>
                        <a:pt x="240" y="42"/>
                      </a:lnTo>
                      <a:lnTo>
                        <a:pt x="236" y="46"/>
                      </a:lnTo>
                      <a:lnTo>
                        <a:pt x="232" y="50"/>
                      </a:lnTo>
                      <a:lnTo>
                        <a:pt x="226" y="52"/>
                      </a:lnTo>
                      <a:lnTo>
                        <a:pt x="220" y="52"/>
                      </a:lnTo>
                      <a:lnTo>
                        <a:pt x="216" y="48"/>
                      </a:lnTo>
                      <a:lnTo>
                        <a:pt x="208" y="38"/>
                      </a:lnTo>
                      <a:lnTo>
                        <a:pt x="200" y="42"/>
                      </a:lnTo>
                      <a:lnTo>
                        <a:pt x="196" y="44"/>
                      </a:lnTo>
                      <a:lnTo>
                        <a:pt x="192" y="44"/>
                      </a:lnTo>
                      <a:lnTo>
                        <a:pt x="188" y="44"/>
                      </a:lnTo>
                      <a:lnTo>
                        <a:pt x="184" y="40"/>
                      </a:lnTo>
                      <a:lnTo>
                        <a:pt x="182" y="34"/>
                      </a:lnTo>
                      <a:lnTo>
                        <a:pt x="180" y="32"/>
                      </a:lnTo>
                      <a:lnTo>
                        <a:pt x="180" y="30"/>
                      </a:lnTo>
                      <a:lnTo>
                        <a:pt x="182" y="26"/>
                      </a:lnTo>
                      <a:lnTo>
                        <a:pt x="162" y="26"/>
                      </a:lnTo>
                      <a:lnTo>
                        <a:pt x="142" y="26"/>
                      </a:lnTo>
                      <a:lnTo>
                        <a:pt x="122" y="24"/>
                      </a:lnTo>
                      <a:lnTo>
                        <a:pt x="114" y="20"/>
                      </a:lnTo>
                      <a:lnTo>
                        <a:pt x="106" y="16"/>
                      </a:lnTo>
                      <a:lnTo>
                        <a:pt x="102" y="12"/>
                      </a:lnTo>
                      <a:lnTo>
                        <a:pt x="96" y="6"/>
                      </a:lnTo>
                      <a:lnTo>
                        <a:pt x="90" y="2"/>
                      </a:lnTo>
                      <a:lnTo>
                        <a:pt x="80" y="0"/>
                      </a:lnTo>
                      <a:lnTo>
                        <a:pt x="76" y="2"/>
                      </a:lnTo>
                      <a:lnTo>
                        <a:pt x="74" y="4"/>
                      </a:lnTo>
                      <a:lnTo>
                        <a:pt x="70" y="8"/>
                      </a:lnTo>
                      <a:lnTo>
                        <a:pt x="68" y="16"/>
                      </a:lnTo>
                      <a:lnTo>
                        <a:pt x="66" y="24"/>
                      </a:lnTo>
                      <a:lnTo>
                        <a:pt x="54" y="24"/>
                      </a:lnTo>
                      <a:lnTo>
                        <a:pt x="56" y="32"/>
                      </a:lnTo>
                      <a:lnTo>
                        <a:pt x="60" y="36"/>
                      </a:lnTo>
                      <a:lnTo>
                        <a:pt x="64" y="42"/>
                      </a:lnTo>
                      <a:lnTo>
                        <a:pt x="66" y="48"/>
                      </a:lnTo>
                      <a:lnTo>
                        <a:pt x="66" y="54"/>
                      </a:lnTo>
                      <a:lnTo>
                        <a:pt x="62" y="56"/>
                      </a:lnTo>
                      <a:lnTo>
                        <a:pt x="58" y="58"/>
                      </a:lnTo>
                      <a:lnTo>
                        <a:pt x="52" y="58"/>
                      </a:lnTo>
                      <a:lnTo>
                        <a:pt x="40" y="58"/>
                      </a:lnTo>
                      <a:lnTo>
                        <a:pt x="34" y="58"/>
                      </a:lnTo>
                      <a:lnTo>
                        <a:pt x="28" y="58"/>
                      </a:lnTo>
                      <a:lnTo>
                        <a:pt x="20" y="62"/>
                      </a:lnTo>
                      <a:lnTo>
                        <a:pt x="10" y="68"/>
                      </a:lnTo>
                      <a:lnTo>
                        <a:pt x="4" y="76"/>
                      </a:lnTo>
                      <a:lnTo>
                        <a:pt x="0" y="80"/>
                      </a:lnTo>
                      <a:lnTo>
                        <a:pt x="0" y="84"/>
                      </a:lnTo>
                      <a:lnTo>
                        <a:pt x="0" y="94"/>
                      </a:lnTo>
                      <a:lnTo>
                        <a:pt x="2" y="102"/>
                      </a:lnTo>
                      <a:lnTo>
                        <a:pt x="10" y="118"/>
                      </a:lnTo>
                      <a:lnTo>
                        <a:pt x="20" y="134"/>
                      </a:lnTo>
                      <a:lnTo>
                        <a:pt x="34" y="146"/>
                      </a:lnTo>
                      <a:lnTo>
                        <a:pt x="62" y="174"/>
                      </a:lnTo>
                      <a:lnTo>
                        <a:pt x="74" y="188"/>
                      </a:lnTo>
                      <a:lnTo>
                        <a:pt x="84" y="202"/>
                      </a:lnTo>
                      <a:lnTo>
                        <a:pt x="88" y="194"/>
                      </a:lnTo>
                      <a:lnTo>
                        <a:pt x="94" y="186"/>
                      </a:lnTo>
                      <a:lnTo>
                        <a:pt x="106" y="172"/>
                      </a:lnTo>
                      <a:lnTo>
                        <a:pt x="114" y="166"/>
                      </a:lnTo>
                      <a:lnTo>
                        <a:pt x="122" y="162"/>
                      </a:lnTo>
                      <a:lnTo>
                        <a:pt x="130" y="160"/>
                      </a:lnTo>
                      <a:lnTo>
                        <a:pt x="138" y="158"/>
                      </a:lnTo>
                      <a:lnTo>
                        <a:pt x="164" y="158"/>
                      </a:lnTo>
                      <a:lnTo>
                        <a:pt x="174" y="160"/>
                      </a:lnTo>
                      <a:lnTo>
                        <a:pt x="186" y="164"/>
                      </a:lnTo>
                      <a:lnTo>
                        <a:pt x="194" y="172"/>
                      </a:lnTo>
                      <a:lnTo>
                        <a:pt x="202" y="182"/>
                      </a:lnTo>
                      <a:lnTo>
                        <a:pt x="210" y="192"/>
                      </a:lnTo>
                      <a:lnTo>
                        <a:pt x="214" y="206"/>
                      </a:lnTo>
                      <a:lnTo>
                        <a:pt x="218" y="220"/>
                      </a:lnTo>
                      <a:lnTo>
                        <a:pt x="218" y="234"/>
                      </a:lnTo>
                      <a:lnTo>
                        <a:pt x="214" y="240"/>
                      </a:lnTo>
                      <a:lnTo>
                        <a:pt x="210" y="246"/>
                      </a:lnTo>
                      <a:lnTo>
                        <a:pt x="240" y="244"/>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7" name="Guinea Bissau">
                  <a:extLst>
                    <a:ext uri="{FF2B5EF4-FFF2-40B4-BE49-F238E27FC236}">
                      <a16:creationId xmlns:a16="http://schemas.microsoft.com/office/drawing/2014/main" id="{7190667A-42C9-46C6-ADFF-46D23087F3D3}"/>
                    </a:ext>
                  </a:extLst>
                </p:cNvPr>
                <p:cNvSpPr>
                  <a:spLocks/>
                </p:cNvSpPr>
                <p:nvPr/>
              </p:nvSpPr>
              <p:spPr bwMode="gray">
                <a:xfrm>
                  <a:off x="2955925" y="3676650"/>
                  <a:ext cx="177800" cy="103187"/>
                </a:xfrm>
                <a:custGeom>
                  <a:avLst/>
                  <a:gdLst/>
                  <a:ahLst/>
                  <a:cxnLst>
                    <a:cxn ang="0">
                      <a:pos x="152" y="4"/>
                    </a:cxn>
                    <a:cxn ang="0">
                      <a:pos x="148" y="6"/>
                    </a:cxn>
                    <a:cxn ang="0">
                      <a:pos x="146" y="8"/>
                    </a:cxn>
                    <a:cxn ang="0">
                      <a:pos x="142" y="12"/>
                    </a:cxn>
                    <a:cxn ang="0">
                      <a:pos x="140" y="20"/>
                    </a:cxn>
                    <a:cxn ang="0">
                      <a:pos x="138" y="28"/>
                    </a:cxn>
                    <a:cxn ang="0">
                      <a:pos x="126" y="28"/>
                    </a:cxn>
                    <a:cxn ang="0">
                      <a:pos x="128" y="36"/>
                    </a:cxn>
                    <a:cxn ang="0">
                      <a:pos x="132" y="40"/>
                    </a:cxn>
                    <a:cxn ang="0">
                      <a:pos x="136" y="46"/>
                    </a:cxn>
                    <a:cxn ang="0">
                      <a:pos x="138" y="52"/>
                    </a:cxn>
                    <a:cxn ang="0">
                      <a:pos x="138" y="58"/>
                    </a:cxn>
                    <a:cxn ang="0">
                      <a:pos x="134" y="60"/>
                    </a:cxn>
                    <a:cxn ang="0">
                      <a:pos x="130" y="62"/>
                    </a:cxn>
                    <a:cxn ang="0">
                      <a:pos x="124" y="62"/>
                    </a:cxn>
                    <a:cxn ang="0">
                      <a:pos x="112" y="62"/>
                    </a:cxn>
                    <a:cxn ang="0">
                      <a:pos x="106" y="62"/>
                    </a:cxn>
                    <a:cxn ang="0">
                      <a:pos x="100" y="62"/>
                    </a:cxn>
                    <a:cxn ang="0">
                      <a:pos x="92" y="66"/>
                    </a:cxn>
                    <a:cxn ang="0">
                      <a:pos x="82" y="72"/>
                    </a:cxn>
                    <a:cxn ang="0">
                      <a:pos x="76" y="80"/>
                    </a:cxn>
                    <a:cxn ang="0">
                      <a:pos x="72" y="84"/>
                    </a:cxn>
                    <a:cxn ang="0">
                      <a:pos x="72" y="88"/>
                    </a:cxn>
                    <a:cxn ang="0">
                      <a:pos x="64" y="88"/>
                    </a:cxn>
                    <a:cxn ang="0">
                      <a:pos x="56" y="84"/>
                    </a:cxn>
                    <a:cxn ang="0">
                      <a:pos x="50" y="78"/>
                    </a:cxn>
                    <a:cxn ang="0">
                      <a:pos x="48" y="70"/>
                    </a:cxn>
                    <a:cxn ang="0">
                      <a:pos x="46" y="58"/>
                    </a:cxn>
                    <a:cxn ang="0">
                      <a:pos x="46" y="50"/>
                    </a:cxn>
                    <a:cxn ang="0">
                      <a:pos x="48" y="42"/>
                    </a:cxn>
                    <a:cxn ang="0">
                      <a:pos x="38" y="42"/>
                    </a:cxn>
                    <a:cxn ang="0">
                      <a:pos x="26" y="42"/>
                    </a:cxn>
                    <a:cxn ang="0">
                      <a:pos x="20" y="42"/>
                    </a:cxn>
                    <a:cxn ang="0">
                      <a:pos x="16" y="40"/>
                    </a:cxn>
                    <a:cxn ang="0">
                      <a:pos x="8" y="32"/>
                    </a:cxn>
                    <a:cxn ang="0">
                      <a:pos x="4" y="24"/>
                    </a:cxn>
                    <a:cxn ang="0">
                      <a:pos x="0" y="16"/>
                    </a:cxn>
                    <a:cxn ang="0">
                      <a:pos x="38" y="6"/>
                    </a:cxn>
                    <a:cxn ang="0">
                      <a:pos x="58" y="2"/>
                    </a:cxn>
                    <a:cxn ang="0">
                      <a:pos x="78" y="0"/>
                    </a:cxn>
                    <a:cxn ang="0">
                      <a:pos x="148" y="6"/>
                    </a:cxn>
                    <a:cxn ang="0">
                      <a:pos x="152" y="4"/>
                    </a:cxn>
                  </a:cxnLst>
                  <a:rect l="0" t="0" r="r" b="b"/>
                  <a:pathLst>
                    <a:path w="152" h="88">
                      <a:moveTo>
                        <a:pt x="152" y="4"/>
                      </a:moveTo>
                      <a:lnTo>
                        <a:pt x="148" y="6"/>
                      </a:lnTo>
                      <a:lnTo>
                        <a:pt x="146" y="8"/>
                      </a:lnTo>
                      <a:lnTo>
                        <a:pt x="142" y="12"/>
                      </a:lnTo>
                      <a:lnTo>
                        <a:pt x="140" y="20"/>
                      </a:lnTo>
                      <a:lnTo>
                        <a:pt x="138" y="28"/>
                      </a:lnTo>
                      <a:lnTo>
                        <a:pt x="126" y="28"/>
                      </a:lnTo>
                      <a:lnTo>
                        <a:pt x="128" y="36"/>
                      </a:lnTo>
                      <a:lnTo>
                        <a:pt x="132" y="40"/>
                      </a:lnTo>
                      <a:lnTo>
                        <a:pt x="136" y="46"/>
                      </a:lnTo>
                      <a:lnTo>
                        <a:pt x="138" y="52"/>
                      </a:lnTo>
                      <a:lnTo>
                        <a:pt x="138" y="58"/>
                      </a:lnTo>
                      <a:lnTo>
                        <a:pt x="134" y="60"/>
                      </a:lnTo>
                      <a:lnTo>
                        <a:pt x="130" y="62"/>
                      </a:lnTo>
                      <a:lnTo>
                        <a:pt x="124" y="62"/>
                      </a:lnTo>
                      <a:lnTo>
                        <a:pt x="112" y="62"/>
                      </a:lnTo>
                      <a:lnTo>
                        <a:pt x="106" y="62"/>
                      </a:lnTo>
                      <a:lnTo>
                        <a:pt x="100" y="62"/>
                      </a:lnTo>
                      <a:lnTo>
                        <a:pt x="92" y="66"/>
                      </a:lnTo>
                      <a:lnTo>
                        <a:pt x="82" y="72"/>
                      </a:lnTo>
                      <a:lnTo>
                        <a:pt x="76" y="80"/>
                      </a:lnTo>
                      <a:lnTo>
                        <a:pt x="72" y="84"/>
                      </a:lnTo>
                      <a:lnTo>
                        <a:pt x="72" y="88"/>
                      </a:lnTo>
                      <a:lnTo>
                        <a:pt x="64" y="88"/>
                      </a:lnTo>
                      <a:lnTo>
                        <a:pt x="56" y="84"/>
                      </a:lnTo>
                      <a:lnTo>
                        <a:pt x="50" y="78"/>
                      </a:lnTo>
                      <a:lnTo>
                        <a:pt x="48" y="70"/>
                      </a:lnTo>
                      <a:lnTo>
                        <a:pt x="46" y="58"/>
                      </a:lnTo>
                      <a:lnTo>
                        <a:pt x="46" y="50"/>
                      </a:lnTo>
                      <a:lnTo>
                        <a:pt x="48" y="42"/>
                      </a:lnTo>
                      <a:lnTo>
                        <a:pt x="38" y="42"/>
                      </a:lnTo>
                      <a:lnTo>
                        <a:pt x="26" y="42"/>
                      </a:lnTo>
                      <a:lnTo>
                        <a:pt x="20" y="42"/>
                      </a:lnTo>
                      <a:lnTo>
                        <a:pt x="16" y="40"/>
                      </a:lnTo>
                      <a:lnTo>
                        <a:pt x="8" y="32"/>
                      </a:lnTo>
                      <a:lnTo>
                        <a:pt x="4" y="24"/>
                      </a:lnTo>
                      <a:lnTo>
                        <a:pt x="0" y="16"/>
                      </a:lnTo>
                      <a:lnTo>
                        <a:pt x="38" y="6"/>
                      </a:lnTo>
                      <a:lnTo>
                        <a:pt x="58" y="2"/>
                      </a:lnTo>
                      <a:lnTo>
                        <a:pt x="78" y="0"/>
                      </a:lnTo>
                      <a:lnTo>
                        <a:pt x="148" y="6"/>
                      </a:lnTo>
                      <a:lnTo>
                        <a:pt x="152" y="4"/>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8" name="Senegal">
                  <a:extLst>
                    <a:ext uri="{FF2B5EF4-FFF2-40B4-BE49-F238E27FC236}">
                      <a16:creationId xmlns:a16="http://schemas.microsoft.com/office/drawing/2014/main" id="{1BD7CD56-CFDF-4807-B832-9D97452FC54B}"/>
                    </a:ext>
                  </a:extLst>
                </p:cNvPr>
                <p:cNvSpPr>
                  <a:spLocks/>
                </p:cNvSpPr>
                <p:nvPr/>
              </p:nvSpPr>
              <p:spPr bwMode="gray">
                <a:xfrm>
                  <a:off x="2922588" y="3416300"/>
                  <a:ext cx="336550" cy="295275"/>
                </a:xfrm>
                <a:custGeom>
                  <a:avLst/>
                  <a:gdLst/>
                  <a:ahLst/>
                  <a:cxnLst>
                    <a:cxn ang="0">
                      <a:pos x="260" y="252"/>
                    </a:cxn>
                    <a:cxn ang="0">
                      <a:pos x="222" y="250"/>
                    </a:cxn>
                    <a:cxn ang="0">
                      <a:pos x="206" y="242"/>
                    </a:cxn>
                    <a:cxn ang="0">
                      <a:pos x="196" y="232"/>
                    </a:cxn>
                    <a:cxn ang="0">
                      <a:pos x="180" y="226"/>
                    </a:cxn>
                    <a:cxn ang="0">
                      <a:pos x="86" y="224"/>
                    </a:cxn>
                    <a:cxn ang="0">
                      <a:pos x="28" y="238"/>
                    </a:cxn>
                    <a:cxn ang="0">
                      <a:pos x="20" y="228"/>
                    </a:cxn>
                    <a:cxn ang="0">
                      <a:pos x="20" y="206"/>
                    </a:cxn>
                    <a:cxn ang="0">
                      <a:pos x="18" y="190"/>
                    </a:cxn>
                    <a:cxn ang="0">
                      <a:pos x="44" y="196"/>
                    </a:cxn>
                    <a:cxn ang="0">
                      <a:pos x="58" y="196"/>
                    </a:cxn>
                    <a:cxn ang="0">
                      <a:pos x="76" y="188"/>
                    </a:cxn>
                    <a:cxn ang="0">
                      <a:pos x="96" y="180"/>
                    </a:cxn>
                    <a:cxn ang="0">
                      <a:pos x="108" y="180"/>
                    </a:cxn>
                    <a:cxn ang="0">
                      <a:pos x="122" y="188"/>
                    </a:cxn>
                    <a:cxn ang="0">
                      <a:pos x="138" y="196"/>
                    </a:cxn>
                    <a:cxn ang="0">
                      <a:pos x="158" y="196"/>
                    </a:cxn>
                    <a:cxn ang="0">
                      <a:pos x="168" y="196"/>
                    </a:cxn>
                    <a:cxn ang="0">
                      <a:pos x="162" y="178"/>
                    </a:cxn>
                    <a:cxn ang="0">
                      <a:pos x="156" y="176"/>
                    </a:cxn>
                    <a:cxn ang="0">
                      <a:pos x="134" y="174"/>
                    </a:cxn>
                    <a:cxn ang="0">
                      <a:pos x="114" y="162"/>
                    </a:cxn>
                    <a:cxn ang="0">
                      <a:pos x="102" y="158"/>
                    </a:cxn>
                    <a:cxn ang="0">
                      <a:pos x="72" y="166"/>
                    </a:cxn>
                    <a:cxn ang="0">
                      <a:pos x="42" y="172"/>
                    </a:cxn>
                    <a:cxn ang="0">
                      <a:pos x="26" y="164"/>
                    </a:cxn>
                    <a:cxn ang="0">
                      <a:pos x="22" y="146"/>
                    </a:cxn>
                    <a:cxn ang="0">
                      <a:pos x="4" y="108"/>
                    </a:cxn>
                    <a:cxn ang="0">
                      <a:pos x="0" y="96"/>
                    </a:cxn>
                    <a:cxn ang="0">
                      <a:pos x="10" y="86"/>
                    </a:cxn>
                    <a:cxn ang="0">
                      <a:pos x="22" y="76"/>
                    </a:cxn>
                    <a:cxn ang="0">
                      <a:pos x="40" y="54"/>
                    </a:cxn>
                    <a:cxn ang="0">
                      <a:pos x="48" y="34"/>
                    </a:cxn>
                    <a:cxn ang="0">
                      <a:pos x="56" y="14"/>
                    </a:cxn>
                    <a:cxn ang="0">
                      <a:pos x="66" y="8"/>
                    </a:cxn>
                    <a:cxn ang="0">
                      <a:pos x="88" y="6"/>
                    </a:cxn>
                    <a:cxn ang="0">
                      <a:pos x="106" y="4"/>
                    </a:cxn>
                    <a:cxn ang="0">
                      <a:pos x="128" y="0"/>
                    </a:cxn>
                    <a:cxn ang="0">
                      <a:pos x="146" y="4"/>
                    </a:cxn>
                    <a:cxn ang="0">
                      <a:pos x="158" y="10"/>
                    </a:cxn>
                    <a:cxn ang="0">
                      <a:pos x="174" y="30"/>
                    </a:cxn>
                    <a:cxn ang="0">
                      <a:pos x="188" y="38"/>
                    </a:cxn>
                    <a:cxn ang="0">
                      <a:pos x="202" y="42"/>
                    </a:cxn>
                    <a:cxn ang="0">
                      <a:pos x="206" y="52"/>
                    </a:cxn>
                    <a:cxn ang="0">
                      <a:pos x="208" y="64"/>
                    </a:cxn>
                    <a:cxn ang="0">
                      <a:pos x="232" y="98"/>
                    </a:cxn>
                    <a:cxn ang="0">
                      <a:pos x="248" y="128"/>
                    </a:cxn>
                    <a:cxn ang="0">
                      <a:pos x="254" y="146"/>
                    </a:cxn>
                    <a:cxn ang="0">
                      <a:pos x="260" y="154"/>
                    </a:cxn>
                    <a:cxn ang="0">
                      <a:pos x="262" y="164"/>
                    </a:cxn>
                    <a:cxn ang="0">
                      <a:pos x="256" y="180"/>
                    </a:cxn>
                    <a:cxn ang="0">
                      <a:pos x="260" y="192"/>
                    </a:cxn>
                    <a:cxn ang="0">
                      <a:pos x="282" y="214"/>
                    </a:cxn>
                    <a:cxn ang="0">
                      <a:pos x="288" y="228"/>
                    </a:cxn>
                    <a:cxn ang="0">
                      <a:pos x="284" y="240"/>
                    </a:cxn>
                    <a:cxn ang="0">
                      <a:pos x="282" y="250"/>
                    </a:cxn>
                    <a:cxn ang="0">
                      <a:pos x="280" y="252"/>
                    </a:cxn>
                  </a:cxnLst>
                  <a:rect l="0" t="0" r="r" b="b"/>
                  <a:pathLst>
                    <a:path w="288" h="252">
                      <a:moveTo>
                        <a:pt x="280" y="252"/>
                      </a:moveTo>
                      <a:lnTo>
                        <a:pt x="260" y="252"/>
                      </a:lnTo>
                      <a:lnTo>
                        <a:pt x="242" y="252"/>
                      </a:lnTo>
                      <a:lnTo>
                        <a:pt x="222" y="250"/>
                      </a:lnTo>
                      <a:lnTo>
                        <a:pt x="214" y="246"/>
                      </a:lnTo>
                      <a:lnTo>
                        <a:pt x="206" y="242"/>
                      </a:lnTo>
                      <a:lnTo>
                        <a:pt x="202" y="238"/>
                      </a:lnTo>
                      <a:lnTo>
                        <a:pt x="196" y="232"/>
                      </a:lnTo>
                      <a:lnTo>
                        <a:pt x="190" y="228"/>
                      </a:lnTo>
                      <a:lnTo>
                        <a:pt x="180" y="226"/>
                      </a:lnTo>
                      <a:lnTo>
                        <a:pt x="106" y="222"/>
                      </a:lnTo>
                      <a:lnTo>
                        <a:pt x="86" y="224"/>
                      </a:lnTo>
                      <a:lnTo>
                        <a:pt x="66" y="228"/>
                      </a:lnTo>
                      <a:lnTo>
                        <a:pt x="28" y="238"/>
                      </a:lnTo>
                      <a:lnTo>
                        <a:pt x="22" y="232"/>
                      </a:lnTo>
                      <a:lnTo>
                        <a:pt x="20" y="228"/>
                      </a:lnTo>
                      <a:lnTo>
                        <a:pt x="18" y="222"/>
                      </a:lnTo>
                      <a:lnTo>
                        <a:pt x="20" y="206"/>
                      </a:lnTo>
                      <a:lnTo>
                        <a:pt x="20" y="200"/>
                      </a:lnTo>
                      <a:lnTo>
                        <a:pt x="18" y="190"/>
                      </a:lnTo>
                      <a:lnTo>
                        <a:pt x="36" y="190"/>
                      </a:lnTo>
                      <a:lnTo>
                        <a:pt x="44" y="196"/>
                      </a:lnTo>
                      <a:lnTo>
                        <a:pt x="52" y="196"/>
                      </a:lnTo>
                      <a:lnTo>
                        <a:pt x="58" y="196"/>
                      </a:lnTo>
                      <a:lnTo>
                        <a:pt x="64" y="194"/>
                      </a:lnTo>
                      <a:lnTo>
                        <a:pt x="76" y="188"/>
                      </a:lnTo>
                      <a:lnTo>
                        <a:pt x="88" y="182"/>
                      </a:lnTo>
                      <a:lnTo>
                        <a:pt x="96" y="180"/>
                      </a:lnTo>
                      <a:lnTo>
                        <a:pt x="102" y="178"/>
                      </a:lnTo>
                      <a:lnTo>
                        <a:pt x="108" y="180"/>
                      </a:lnTo>
                      <a:lnTo>
                        <a:pt x="112" y="182"/>
                      </a:lnTo>
                      <a:lnTo>
                        <a:pt x="122" y="188"/>
                      </a:lnTo>
                      <a:lnTo>
                        <a:pt x="132" y="194"/>
                      </a:lnTo>
                      <a:lnTo>
                        <a:pt x="138" y="196"/>
                      </a:lnTo>
                      <a:lnTo>
                        <a:pt x="144" y="196"/>
                      </a:lnTo>
                      <a:lnTo>
                        <a:pt x="158" y="196"/>
                      </a:lnTo>
                      <a:lnTo>
                        <a:pt x="164" y="196"/>
                      </a:lnTo>
                      <a:lnTo>
                        <a:pt x="168" y="196"/>
                      </a:lnTo>
                      <a:lnTo>
                        <a:pt x="168" y="182"/>
                      </a:lnTo>
                      <a:lnTo>
                        <a:pt x="162" y="178"/>
                      </a:lnTo>
                      <a:lnTo>
                        <a:pt x="160" y="178"/>
                      </a:lnTo>
                      <a:lnTo>
                        <a:pt x="156" y="176"/>
                      </a:lnTo>
                      <a:lnTo>
                        <a:pt x="140" y="176"/>
                      </a:lnTo>
                      <a:lnTo>
                        <a:pt x="134" y="174"/>
                      </a:lnTo>
                      <a:lnTo>
                        <a:pt x="124" y="168"/>
                      </a:lnTo>
                      <a:lnTo>
                        <a:pt x="114" y="162"/>
                      </a:lnTo>
                      <a:lnTo>
                        <a:pt x="108" y="160"/>
                      </a:lnTo>
                      <a:lnTo>
                        <a:pt x="102" y="158"/>
                      </a:lnTo>
                      <a:lnTo>
                        <a:pt x="88" y="160"/>
                      </a:lnTo>
                      <a:lnTo>
                        <a:pt x="72" y="166"/>
                      </a:lnTo>
                      <a:lnTo>
                        <a:pt x="58" y="170"/>
                      </a:lnTo>
                      <a:lnTo>
                        <a:pt x="42" y="172"/>
                      </a:lnTo>
                      <a:lnTo>
                        <a:pt x="24" y="172"/>
                      </a:lnTo>
                      <a:lnTo>
                        <a:pt x="26" y="164"/>
                      </a:lnTo>
                      <a:lnTo>
                        <a:pt x="26" y="156"/>
                      </a:lnTo>
                      <a:lnTo>
                        <a:pt x="22" y="146"/>
                      </a:lnTo>
                      <a:lnTo>
                        <a:pt x="14" y="126"/>
                      </a:lnTo>
                      <a:lnTo>
                        <a:pt x="4" y="108"/>
                      </a:lnTo>
                      <a:lnTo>
                        <a:pt x="2" y="102"/>
                      </a:lnTo>
                      <a:lnTo>
                        <a:pt x="0" y="96"/>
                      </a:lnTo>
                      <a:lnTo>
                        <a:pt x="2" y="92"/>
                      </a:lnTo>
                      <a:lnTo>
                        <a:pt x="10" y="86"/>
                      </a:lnTo>
                      <a:lnTo>
                        <a:pt x="18" y="80"/>
                      </a:lnTo>
                      <a:lnTo>
                        <a:pt x="22" y="76"/>
                      </a:lnTo>
                      <a:lnTo>
                        <a:pt x="34" y="62"/>
                      </a:lnTo>
                      <a:lnTo>
                        <a:pt x="40" y="54"/>
                      </a:lnTo>
                      <a:lnTo>
                        <a:pt x="44" y="48"/>
                      </a:lnTo>
                      <a:lnTo>
                        <a:pt x="48" y="34"/>
                      </a:lnTo>
                      <a:lnTo>
                        <a:pt x="52" y="20"/>
                      </a:lnTo>
                      <a:lnTo>
                        <a:pt x="56" y="14"/>
                      </a:lnTo>
                      <a:lnTo>
                        <a:pt x="60" y="10"/>
                      </a:lnTo>
                      <a:lnTo>
                        <a:pt x="66" y="8"/>
                      </a:lnTo>
                      <a:lnTo>
                        <a:pt x="72" y="6"/>
                      </a:lnTo>
                      <a:lnTo>
                        <a:pt x="88" y="6"/>
                      </a:lnTo>
                      <a:lnTo>
                        <a:pt x="96" y="6"/>
                      </a:lnTo>
                      <a:lnTo>
                        <a:pt x="106" y="4"/>
                      </a:lnTo>
                      <a:lnTo>
                        <a:pt x="118" y="2"/>
                      </a:lnTo>
                      <a:lnTo>
                        <a:pt x="128" y="0"/>
                      </a:lnTo>
                      <a:lnTo>
                        <a:pt x="138" y="2"/>
                      </a:lnTo>
                      <a:lnTo>
                        <a:pt x="146" y="4"/>
                      </a:lnTo>
                      <a:lnTo>
                        <a:pt x="152" y="6"/>
                      </a:lnTo>
                      <a:lnTo>
                        <a:pt x="158" y="10"/>
                      </a:lnTo>
                      <a:lnTo>
                        <a:pt x="166" y="20"/>
                      </a:lnTo>
                      <a:lnTo>
                        <a:pt x="174" y="30"/>
                      </a:lnTo>
                      <a:lnTo>
                        <a:pt x="180" y="36"/>
                      </a:lnTo>
                      <a:lnTo>
                        <a:pt x="188" y="38"/>
                      </a:lnTo>
                      <a:lnTo>
                        <a:pt x="194" y="40"/>
                      </a:lnTo>
                      <a:lnTo>
                        <a:pt x="202" y="42"/>
                      </a:lnTo>
                      <a:lnTo>
                        <a:pt x="206" y="48"/>
                      </a:lnTo>
                      <a:lnTo>
                        <a:pt x="206" y="52"/>
                      </a:lnTo>
                      <a:lnTo>
                        <a:pt x="206" y="58"/>
                      </a:lnTo>
                      <a:lnTo>
                        <a:pt x="208" y="64"/>
                      </a:lnTo>
                      <a:lnTo>
                        <a:pt x="220" y="82"/>
                      </a:lnTo>
                      <a:lnTo>
                        <a:pt x="232" y="98"/>
                      </a:lnTo>
                      <a:lnTo>
                        <a:pt x="242" y="116"/>
                      </a:lnTo>
                      <a:lnTo>
                        <a:pt x="248" y="128"/>
                      </a:lnTo>
                      <a:lnTo>
                        <a:pt x="252" y="140"/>
                      </a:lnTo>
                      <a:lnTo>
                        <a:pt x="254" y="146"/>
                      </a:lnTo>
                      <a:lnTo>
                        <a:pt x="258" y="150"/>
                      </a:lnTo>
                      <a:lnTo>
                        <a:pt x="260" y="154"/>
                      </a:lnTo>
                      <a:lnTo>
                        <a:pt x="262" y="158"/>
                      </a:lnTo>
                      <a:lnTo>
                        <a:pt x="262" y="164"/>
                      </a:lnTo>
                      <a:lnTo>
                        <a:pt x="260" y="170"/>
                      </a:lnTo>
                      <a:lnTo>
                        <a:pt x="256" y="180"/>
                      </a:lnTo>
                      <a:lnTo>
                        <a:pt x="258" y="186"/>
                      </a:lnTo>
                      <a:lnTo>
                        <a:pt x="260" y="192"/>
                      </a:lnTo>
                      <a:lnTo>
                        <a:pt x="272" y="202"/>
                      </a:lnTo>
                      <a:lnTo>
                        <a:pt x="282" y="214"/>
                      </a:lnTo>
                      <a:lnTo>
                        <a:pt x="286" y="220"/>
                      </a:lnTo>
                      <a:lnTo>
                        <a:pt x="288" y="228"/>
                      </a:lnTo>
                      <a:lnTo>
                        <a:pt x="286" y="234"/>
                      </a:lnTo>
                      <a:lnTo>
                        <a:pt x="284" y="240"/>
                      </a:lnTo>
                      <a:lnTo>
                        <a:pt x="282" y="246"/>
                      </a:lnTo>
                      <a:lnTo>
                        <a:pt x="282" y="250"/>
                      </a:lnTo>
                      <a:lnTo>
                        <a:pt x="284" y="252"/>
                      </a:lnTo>
                      <a:lnTo>
                        <a:pt x="280" y="252"/>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29" name="The Gambia">
                  <a:extLst>
                    <a:ext uri="{FF2B5EF4-FFF2-40B4-BE49-F238E27FC236}">
                      <a16:creationId xmlns:a16="http://schemas.microsoft.com/office/drawing/2014/main" id="{D7FF9327-3A9F-4198-A110-13E3D41D85F8}"/>
                    </a:ext>
                  </a:extLst>
                </p:cNvPr>
                <p:cNvSpPr>
                  <a:spLocks/>
                </p:cNvSpPr>
                <p:nvPr/>
              </p:nvSpPr>
              <p:spPr bwMode="gray">
                <a:xfrm>
                  <a:off x="2943225" y="3602038"/>
                  <a:ext cx="176212" cy="44450"/>
                </a:xfrm>
                <a:custGeom>
                  <a:avLst/>
                  <a:gdLst/>
                  <a:ahLst/>
                  <a:cxnLst>
                    <a:cxn ang="0">
                      <a:pos x="6" y="12"/>
                    </a:cxn>
                    <a:cxn ang="0">
                      <a:pos x="2" y="22"/>
                    </a:cxn>
                    <a:cxn ang="0">
                      <a:pos x="0" y="32"/>
                    </a:cxn>
                    <a:cxn ang="0">
                      <a:pos x="18" y="32"/>
                    </a:cxn>
                    <a:cxn ang="0">
                      <a:pos x="26" y="38"/>
                    </a:cxn>
                    <a:cxn ang="0">
                      <a:pos x="34" y="38"/>
                    </a:cxn>
                    <a:cxn ang="0">
                      <a:pos x="40" y="38"/>
                    </a:cxn>
                    <a:cxn ang="0">
                      <a:pos x="46" y="36"/>
                    </a:cxn>
                    <a:cxn ang="0">
                      <a:pos x="58" y="30"/>
                    </a:cxn>
                    <a:cxn ang="0">
                      <a:pos x="70" y="24"/>
                    </a:cxn>
                    <a:cxn ang="0">
                      <a:pos x="78" y="22"/>
                    </a:cxn>
                    <a:cxn ang="0">
                      <a:pos x="84" y="20"/>
                    </a:cxn>
                    <a:cxn ang="0">
                      <a:pos x="90" y="22"/>
                    </a:cxn>
                    <a:cxn ang="0">
                      <a:pos x="94" y="24"/>
                    </a:cxn>
                    <a:cxn ang="0">
                      <a:pos x="104" y="30"/>
                    </a:cxn>
                    <a:cxn ang="0">
                      <a:pos x="114" y="36"/>
                    </a:cxn>
                    <a:cxn ang="0">
                      <a:pos x="120" y="38"/>
                    </a:cxn>
                    <a:cxn ang="0">
                      <a:pos x="126" y="38"/>
                    </a:cxn>
                    <a:cxn ang="0">
                      <a:pos x="140" y="38"/>
                    </a:cxn>
                    <a:cxn ang="0">
                      <a:pos x="146" y="38"/>
                    </a:cxn>
                    <a:cxn ang="0">
                      <a:pos x="150" y="38"/>
                    </a:cxn>
                    <a:cxn ang="0">
                      <a:pos x="150" y="24"/>
                    </a:cxn>
                    <a:cxn ang="0">
                      <a:pos x="144" y="20"/>
                    </a:cxn>
                    <a:cxn ang="0">
                      <a:pos x="142" y="20"/>
                    </a:cxn>
                    <a:cxn ang="0">
                      <a:pos x="138" y="18"/>
                    </a:cxn>
                    <a:cxn ang="0">
                      <a:pos x="122" y="18"/>
                    </a:cxn>
                    <a:cxn ang="0">
                      <a:pos x="116" y="16"/>
                    </a:cxn>
                    <a:cxn ang="0">
                      <a:pos x="106" y="10"/>
                    </a:cxn>
                    <a:cxn ang="0">
                      <a:pos x="96" y="4"/>
                    </a:cxn>
                    <a:cxn ang="0">
                      <a:pos x="90" y="2"/>
                    </a:cxn>
                    <a:cxn ang="0">
                      <a:pos x="84" y="0"/>
                    </a:cxn>
                    <a:cxn ang="0">
                      <a:pos x="70" y="2"/>
                    </a:cxn>
                    <a:cxn ang="0">
                      <a:pos x="54" y="8"/>
                    </a:cxn>
                    <a:cxn ang="0">
                      <a:pos x="40" y="12"/>
                    </a:cxn>
                    <a:cxn ang="0">
                      <a:pos x="24" y="14"/>
                    </a:cxn>
                    <a:cxn ang="0">
                      <a:pos x="6" y="14"/>
                    </a:cxn>
                    <a:cxn ang="0">
                      <a:pos x="6" y="12"/>
                    </a:cxn>
                  </a:cxnLst>
                  <a:rect l="0" t="0" r="r" b="b"/>
                  <a:pathLst>
                    <a:path w="150" h="38">
                      <a:moveTo>
                        <a:pt x="6" y="12"/>
                      </a:moveTo>
                      <a:lnTo>
                        <a:pt x="2" y="22"/>
                      </a:lnTo>
                      <a:lnTo>
                        <a:pt x="0" y="32"/>
                      </a:lnTo>
                      <a:lnTo>
                        <a:pt x="18" y="32"/>
                      </a:lnTo>
                      <a:lnTo>
                        <a:pt x="26" y="38"/>
                      </a:lnTo>
                      <a:lnTo>
                        <a:pt x="34" y="38"/>
                      </a:lnTo>
                      <a:lnTo>
                        <a:pt x="40" y="38"/>
                      </a:lnTo>
                      <a:lnTo>
                        <a:pt x="46" y="36"/>
                      </a:lnTo>
                      <a:lnTo>
                        <a:pt x="58" y="30"/>
                      </a:lnTo>
                      <a:lnTo>
                        <a:pt x="70" y="24"/>
                      </a:lnTo>
                      <a:lnTo>
                        <a:pt x="78" y="22"/>
                      </a:lnTo>
                      <a:lnTo>
                        <a:pt x="84" y="20"/>
                      </a:lnTo>
                      <a:lnTo>
                        <a:pt x="90" y="22"/>
                      </a:lnTo>
                      <a:lnTo>
                        <a:pt x="94" y="24"/>
                      </a:lnTo>
                      <a:lnTo>
                        <a:pt x="104" y="30"/>
                      </a:lnTo>
                      <a:lnTo>
                        <a:pt x="114" y="36"/>
                      </a:lnTo>
                      <a:lnTo>
                        <a:pt x="120" y="38"/>
                      </a:lnTo>
                      <a:lnTo>
                        <a:pt x="126" y="38"/>
                      </a:lnTo>
                      <a:lnTo>
                        <a:pt x="140" y="38"/>
                      </a:lnTo>
                      <a:lnTo>
                        <a:pt x="146" y="38"/>
                      </a:lnTo>
                      <a:lnTo>
                        <a:pt x="150" y="38"/>
                      </a:lnTo>
                      <a:lnTo>
                        <a:pt x="150" y="24"/>
                      </a:lnTo>
                      <a:lnTo>
                        <a:pt x="144" y="20"/>
                      </a:lnTo>
                      <a:lnTo>
                        <a:pt x="142" y="20"/>
                      </a:lnTo>
                      <a:lnTo>
                        <a:pt x="138" y="18"/>
                      </a:lnTo>
                      <a:lnTo>
                        <a:pt x="122" y="18"/>
                      </a:lnTo>
                      <a:lnTo>
                        <a:pt x="116" y="16"/>
                      </a:lnTo>
                      <a:lnTo>
                        <a:pt x="106" y="10"/>
                      </a:lnTo>
                      <a:lnTo>
                        <a:pt x="96" y="4"/>
                      </a:lnTo>
                      <a:lnTo>
                        <a:pt x="90" y="2"/>
                      </a:lnTo>
                      <a:lnTo>
                        <a:pt x="84" y="0"/>
                      </a:lnTo>
                      <a:lnTo>
                        <a:pt x="70" y="2"/>
                      </a:lnTo>
                      <a:lnTo>
                        <a:pt x="54" y="8"/>
                      </a:lnTo>
                      <a:lnTo>
                        <a:pt x="40" y="12"/>
                      </a:lnTo>
                      <a:lnTo>
                        <a:pt x="24" y="14"/>
                      </a:lnTo>
                      <a:lnTo>
                        <a:pt x="6" y="14"/>
                      </a:lnTo>
                      <a:lnTo>
                        <a:pt x="6" y="12"/>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0" name="Mauritania">
                  <a:extLst>
                    <a:ext uri="{FF2B5EF4-FFF2-40B4-BE49-F238E27FC236}">
                      <a16:creationId xmlns:a16="http://schemas.microsoft.com/office/drawing/2014/main" id="{410A6E4D-C2AE-4C5D-A33E-2FB08CC1BECE}"/>
                    </a:ext>
                  </a:extLst>
                </p:cNvPr>
                <p:cNvSpPr>
                  <a:spLocks/>
                </p:cNvSpPr>
                <p:nvPr/>
              </p:nvSpPr>
              <p:spPr bwMode="gray">
                <a:xfrm>
                  <a:off x="2986088" y="2763838"/>
                  <a:ext cx="747712" cy="793750"/>
                </a:xfrm>
                <a:custGeom>
                  <a:avLst/>
                  <a:gdLst/>
                  <a:ahLst/>
                  <a:cxnLst>
                    <a:cxn ang="0">
                      <a:pos x="208" y="676"/>
                    </a:cxn>
                    <a:cxn ang="0">
                      <a:pos x="220" y="668"/>
                    </a:cxn>
                    <a:cxn ang="0">
                      <a:pos x="224" y="654"/>
                    </a:cxn>
                    <a:cxn ang="0">
                      <a:pos x="230" y="638"/>
                    </a:cxn>
                    <a:cxn ang="0">
                      <a:pos x="238" y="632"/>
                    </a:cxn>
                    <a:cxn ang="0">
                      <a:pos x="248" y="632"/>
                    </a:cxn>
                    <a:cxn ang="0">
                      <a:pos x="260" y="642"/>
                    </a:cxn>
                    <a:cxn ang="0">
                      <a:pos x="272" y="656"/>
                    </a:cxn>
                    <a:cxn ang="0">
                      <a:pos x="284" y="646"/>
                    </a:cxn>
                    <a:cxn ang="0">
                      <a:pos x="298" y="646"/>
                    </a:cxn>
                    <a:cxn ang="0">
                      <a:pos x="312" y="650"/>
                    </a:cxn>
                    <a:cxn ang="0">
                      <a:pos x="332" y="650"/>
                    </a:cxn>
                    <a:cxn ang="0">
                      <a:pos x="344" y="648"/>
                    </a:cxn>
                    <a:cxn ang="0">
                      <a:pos x="348" y="642"/>
                    </a:cxn>
                    <a:cxn ang="0">
                      <a:pos x="358" y="644"/>
                    </a:cxn>
                    <a:cxn ang="0">
                      <a:pos x="560" y="610"/>
                    </a:cxn>
                    <a:cxn ang="0">
                      <a:pos x="552" y="136"/>
                    </a:cxn>
                    <a:cxn ang="0">
                      <a:pos x="476" y="0"/>
                    </a:cxn>
                    <a:cxn ang="0">
                      <a:pos x="304" y="64"/>
                    </a:cxn>
                    <a:cxn ang="0">
                      <a:pos x="262" y="204"/>
                    </a:cxn>
                    <a:cxn ang="0">
                      <a:pos x="222" y="226"/>
                    </a:cxn>
                    <a:cxn ang="0">
                      <a:pos x="18" y="296"/>
                    </a:cxn>
                    <a:cxn ang="0">
                      <a:pos x="8" y="308"/>
                    </a:cxn>
                    <a:cxn ang="0">
                      <a:pos x="12" y="308"/>
                    </a:cxn>
                    <a:cxn ang="0">
                      <a:pos x="22" y="304"/>
                    </a:cxn>
                    <a:cxn ang="0">
                      <a:pos x="42" y="338"/>
                    </a:cxn>
                    <a:cxn ang="0">
                      <a:pos x="44" y="354"/>
                    </a:cxn>
                    <a:cxn ang="0">
                      <a:pos x="36" y="374"/>
                    </a:cxn>
                    <a:cxn ang="0">
                      <a:pos x="26" y="392"/>
                    </a:cxn>
                    <a:cxn ang="0">
                      <a:pos x="26" y="408"/>
                    </a:cxn>
                    <a:cxn ang="0">
                      <a:pos x="32" y="422"/>
                    </a:cxn>
                    <a:cxn ang="0">
                      <a:pos x="34" y="492"/>
                    </a:cxn>
                    <a:cxn ang="0">
                      <a:pos x="14" y="526"/>
                    </a:cxn>
                    <a:cxn ang="0">
                      <a:pos x="2" y="562"/>
                    </a:cxn>
                    <a:cxn ang="0">
                      <a:pos x="4" y="570"/>
                    </a:cxn>
                    <a:cxn ang="0">
                      <a:pos x="12" y="566"/>
                    </a:cxn>
                    <a:cxn ang="0">
                      <a:pos x="34" y="564"/>
                    </a:cxn>
                    <a:cxn ang="0">
                      <a:pos x="52" y="562"/>
                    </a:cxn>
                    <a:cxn ang="0">
                      <a:pos x="74" y="558"/>
                    </a:cxn>
                    <a:cxn ang="0">
                      <a:pos x="92" y="562"/>
                    </a:cxn>
                    <a:cxn ang="0">
                      <a:pos x="104" y="568"/>
                    </a:cxn>
                    <a:cxn ang="0">
                      <a:pos x="120" y="588"/>
                    </a:cxn>
                    <a:cxn ang="0">
                      <a:pos x="134" y="596"/>
                    </a:cxn>
                    <a:cxn ang="0">
                      <a:pos x="148" y="600"/>
                    </a:cxn>
                    <a:cxn ang="0">
                      <a:pos x="152" y="610"/>
                    </a:cxn>
                    <a:cxn ang="0">
                      <a:pos x="154" y="622"/>
                    </a:cxn>
                    <a:cxn ang="0">
                      <a:pos x="174" y="650"/>
                    </a:cxn>
                    <a:cxn ang="0">
                      <a:pos x="188" y="678"/>
                    </a:cxn>
                  </a:cxnLst>
                  <a:rect l="0" t="0" r="r" b="b"/>
                  <a:pathLst>
                    <a:path w="640" h="678">
                      <a:moveTo>
                        <a:pt x="190" y="678"/>
                      </a:moveTo>
                      <a:lnTo>
                        <a:pt x="208" y="676"/>
                      </a:lnTo>
                      <a:lnTo>
                        <a:pt x="216" y="672"/>
                      </a:lnTo>
                      <a:lnTo>
                        <a:pt x="220" y="668"/>
                      </a:lnTo>
                      <a:lnTo>
                        <a:pt x="222" y="664"/>
                      </a:lnTo>
                      <a:lnTo>
                        <a:pt x="224" y="654"/>
                      </a:lnTo>
                      <a:lnTo>
                        <a:pt x="226" y="642"/>
                      </a:lnTo>
                      <a:lnTo>
                        <a:pt x="230" y="638"/>
                      </a:lnTo>
                      <a:lnTo>
                        <a:pt x="232" y="634"/>
                      </a:lnTo>
                      <a:lnTo>
                        <a:pt x="238" y="632"/>
                      </a:lnTo>
                      <a:lnTo>
                        <a:pt x="244" y="630"/>
                      </a:lnTo>
                      <a:lnTo>
                        <a:pt x="248" y="632"/>
                      </a:lnTo>
                      <a:lnTo>
                        <a:pt x="252" y="634"/>
                      </a:lnTo>
                      <a:lnTo>
                        <a:pt x="260" y="642"/>
                      </a:lnTo>
                      <a:lnTo>
                        <a:pt x="266" y="650"/>
                      </a:lnTo>
                      <a:lnTo>
                        <a:pt x="272" y="656"/>
                      </a:lnTo>
                      <a:lnTo>
                        <a:pt x="280" y="648"/>
                      </a:lnTo>
                      <a:lnTo>
                        <a:pt x="284" y="646"/>
                      </a:lnTo>
                      <a:lnTo>
                        <a:pt x="290" y="644"/>
                      </a:lnTo>
                      <a:lnTo>
                        <a:pt x="298" y="646"/>
                      </a:lnTo>
                      <a:lnTo>
                        <a:pt x="306" y="648"/>
                      </a:lnTo>
                      <a:lnTo>
                        <a:pt x="312" y="650"/>
                      </a:lnTo>
                      <a:lnTo>
                        <a:pt x="322" y="650"/>
                      </a:lnTo>
                      <a:lnTo>
                        <a:pt x="332" y="650"/>
                      </a:lnTo>
                      <a:lnTo>
                        <a:pt x="340" y="650"/>
                      </a:lnTo>
                      <a:lnTo>
                        <a:pt x="344" y="648"/>
                      </a:lnTo>
                      <a:lnTo>
                        <a:pt x="346" y="646"/>
                      </a:lnTo>
                      <a:lnTo>
                        <a:pt x="348" y="642"/>
                      </a:lnTo>
                      <a:lnTo>
                        <a:pt x="350" y="636"/>
                      </a:lnTo>
                      <a:lnTo>
                        <a:pt x="358" y="644"/>
                      </a:lnTo>
                      <a:lnTo>
                        <a:pt x="548" y="654"/>
                      </a:lnTo>
                      <a:lnTo>
                        <a:pt x="560" y="610"/>
                      </a:lnTo>
                      <a:lnTo>
                        <a:pt x="546" y="596"/>
                      </a:lnTo>
                      <a:lnTo>
                        <a:pt x="552" y="136"/>
                      </a:lnTo>
                      <a:lnTo>
                        <a:pt x="640" y="136"/>
                      </a:lnTo>
                      <a:lnTo>
                        <a:pt x="476" y="0"/>
                      </a:lnTo>
                      <a:lnTo>
                        <a:pt x="462" y="74"/>
                      </a:lnTo>
                      <a:lnTo>
                        <a:pt x="304" y="64"/>
                      </a:lnTo>
                      <a:lnTo>
                        <a:pt x="278" y="198"/>
                      </a:lnTo>
                      <a:lnTo>
                        <a:pt x="262" y="204"/>
                      </a:lnTo>
                      <a:lnTo>
                        <a:pt x="248" y="212"/>
                      </a:lnTo>
                      <a:lnTo>
                        <a:pt x="222" y="226"/>
                      </a:lnTo>
                      <a:lnTo>
                        <a:pt x="212" y="312"/>
                      </a:lnTo>
                      <a:lnTo>
                        <a:pt x="18" y="296"/>
                      </a:lnTo>
                      <a:lnTo>
                        <a:pt x="12" y="304"/>
                      </a:lnTo>
                      <a:lnTo>
                        <a:pt x="8" y="308"/>
                      </a:lnTo>
                      <a:lnTo>
                        <a:pt x="6" y="314"/>
                      </a:lnTo>
                      <a:lnTo>
                        <a:pt x="12" y="308"/>
                      </a:lnTo>
                      <a:lnTo>
                        <a:pt x="16" y="306"/>
                      </a:lnTo>
                      <a:lnTo>
                        <a:pt x="22" y="304"/>
                      </a:lnTo>
                      <a:lnTo>
                        <a:pt x="34" y="326"/>
                      </a:lnTo>
                      <a:lnTo>
                        <a:pt x="42" y="338"/>
                      </a:lnTo>
                      <a:lnTo>
                        <a:pt x="46" y="346"/>
                      </a:lnTo>
                      <a:lnTo>
                        <a:pt x="44" y="354"/>
                      </a:lnTo>
                      <a:lnTo>
                        <a:pt x="42" y="362"/>
                      </a:lnTo>
                      <a:lnTo>
                        <a:pt x="36" y="374"/>
                      </a:lnTo>
                      <a:lnTo>
                        <a:pt x="28" y="386"/>
                      </a:lnTo>
                      <a:lnTo>
                        <a:pt x="26" y="392"/>
                      </a:lnTo>
                      <a:lnTo>
                        <a:pt x="24" y="400"/>
                      </a:lnTo>
                      <a:lnTo>
                        <a:pt x="26" y="408"/>
                      </a:lnTo>
                      <a:lnTo>
                        <a:pt x="30" y="414"/>
                      </a:lnTo>
                      <a:lnTo>
                        <a:pt x="32" y="422"/>
                      </a:lnTo>
                      <a:lnTo>
                        <a:pt x="34" y="428"/>
                      </a:lnTo>
                      <a:lnTo>
                        <a:pt x="34" y="492"/>
                      </a:lnTo>
                      <a:lnTo>
                        <a:pt x="24" y="506"/>
                      </a:lnTo>
                      <a:lnTo>
                        <a:pt x="14" y="526"/>
                      </a:lnTo>
                      <a:lnTo>
                        <a:pt x="6" y="548"/>
                      </a:lnTo>
                      <a:lnTo>
                        <a:pt x="2" y="562"/>
                      </a:lnTo>
                      <a:lnTo>
                        <a:pt x="0" y="574"/>
                      </a:lnTo>
                      <a:lnTo>
                        <a:pt x="4" y="570"/>
                      </a:lnTo>
                      <a:lnTo>
                        <a:pt x="8" y="568"/>
                      </a:lnTo>
                      <a:lnTo>
                        <a:pt x="12" y="566"/>
                      </a:lnTo>
                      <a:lnTo>
                        <a:pt x="18" y="564"/>
                      </a:lnTo>
                      <a:lnTo>
                        <a:pt x="34" y="564"/>
                      </a:lnTo>
                      <a:lnTo>
                        <a:pt x="42" y="564"/>
                      </a:lnTo>
                      <a:lnTo>
                        <a:pt x="52" y="562"/>
                      </a:lnTo>
                      <a:lnTo>
                        <a:pt x="64" y="560"/>
                      </a:lnTo>
                      <a:lnTo>
                        <a:pt x="74" y="558"/>
                      </a:lnTo>
                      <a:lnTo>
                        <a:pt x="84" y="560"/>
                      </a:lnTo>
                      <a:lnTo>
                        <a:pt x="92" y="562"/>
                      </a:lnTo>
                      <a:lnTo>
                        <a:pt x="98" y="564"/>
                      </a:lnTo>
                      <a:lnTo>
                        <a:pt x="104" y="568"/>
                      </a:lnTo>
                      <a:lnTo>
                        <a:pt x="112" y="578"/>
                      </a:lnTo>
                      <a:lnTo>
                        <a:pt x="120" y="588"/>
                      </a:lnTo>
                      <a:lnTo>
                        <a:pt x="126" y="594"/>
                      </a:lnTo>
                      <a:lnTo>
                        <a:pt x="134" y="596"/>
                      </a:lnTo>
                      <a:lnTo>
                        <a:pt x="140" y="598"/>
                      </a:lnTo>
                      <a:lnTo>
                        <a:pt x="148" y="600"/>
                      </a:lnTo>
                      <a:lnTo>
                        <a:pt x="152" y="606"/>
                      </a:lnTo>
                      <a:lnTo>
                        <a:pt x="152" y="610"/>
                      </a:lnTo>
                      <a:lnTo>
                        <a:pt x="152" y="616"/>
                      </a:lnTo>
                      <a:lnTo>
                        <a:pt x="154" y="622"/>
                      </a:lnTo>
                      <a:lnTo>
                        <a:pt x="164" y="638"/>
                      </a:lnTo>
                      <a:lnTo>
                        <a:pt x="174" y="650"/>
                      </a:lnTo>
                      <a:lnTo>
                        <a:pt x="182" y="664"/>
                      </a:lnTo>
                      <a:lnTo>
                        <a:pt x="188" y="678"/>
                      </a:lnTo>
                      <a:lnTo>
                        <a:pt x="190" y="678"/>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1" name="Western Sahara">
                  <a:extLst>
                    <a:ext uri="{FF2B5EF4-FFF2-40B4-BE49-F238E27FC236}">
                      <a16:creationId xmlns:a16="http://schemas.microsoft.com/office/drawing/2014/main" id="{D3A66E05-D126-4F6F-A6E4-798058167485}"/>
                    </a:ext>
                  </a:extLst>
                </p:cNvPr>
                <p:cNvSpPr>
                  <a:spLocks/>
                </p:cNvSpPr>
                <p:nvPr/>
              </p:nvSpPr>
              <p:spPr bwMode="gray">
                <a:xfrm>
                  <a:off x="3006725" y="2716213"/>
                  <a:ext cx="538162" cy="412750"/>
                </a:xfrm>
                <a:custGeom>
                  <a:avLst/>
                  <a:gdLst/>
                  <a:ahLst/>
                  <a:cxnLst>
                    <a:cxn ang="0">
                      <a:pos x="0" y="334"/>
                    </a:cxn>
                    <a:cxn ang="0">
                      <a:pos x="10" y="312"/>
                    </a:cxn>
                    <a:cxn ang="0">
                      <a:pos x="22" y="286"/>
                    </a:cxn>
                    <a:cxn ang="0">
                      <a:pos x="36" y="262"/>
                    </a:cxn>
                    <a:cxn ang="0">
                      <a:pos x="52" y="238"/>
                    </a:cxn>
                    <a:cxn ang="0">
                      <a:pos x="70" y="216"/>
                    </a:cxn>
                    <a:cxn ang="0">
                      <a:pos x="88" y="196"/>
                    </a:cxn>
                    <a:cxn ang="0">
                      <a:pos x="108" y="178"/>
                    </a:cxn>
                    <a:cxn ang="0">
                      <a:pos x="126" y="164"/>
                    </a:cxn>
                    <a:cxn ang="0">
                      <a:pos x="132" y="160"/>
                    </a:cxn>
                    <a:cxn ang="0">
                      <a:pos x="136" y="152"/>
                    </a:cxn>
                    <a:cxn ang="0">
                      <a:pos x="140" y="134"/>
                    </a:cxn>
                    <a:cxn ang="0">
                      <a:pos x="144" y="122"/>
                    </a:cxn>
                    <a:cxn ang="0">
                      <a:pos x="154" y="104"/>
                    </a:cxn>
                    <a:cxn ang="0">
                      <a:pos x="164" y="86"/>
                    </a:cxn>
                    <a:cxn ang="0">
                      <a:pos x="174" y="74"/>
                    </a:cxn>
                    <a:cxn ang="0">
                      <a:pos x="182" y="70"/>
                    </a:cxn>
                    <a:cxn ang="0">
                      <a:pos x="190" y="68"/>
                    </a:cxn>
                    <a:cxn ang="0">
                      <a:pos x="200" y="64"/>
                    </a:cxn>
                    <a:cxn ang="0">
                      <a:pos x="208" y="60"/>
                    </a:cxn>
                    <a:cxn ang="0">
                      <a:pos x="214" y="54"/>
                    </a:cxn>
                    <a:cxn ang="0">
                      <a:pos x="220" y="48"/>
                    </a:cxn>
                    <a:cxn ang="0">
                      <a:pos x="232" y="32"/>
                    </a:cxn>
                    <a:cxn ang="0">
                      <a:pos x="240" y="16"/>
                    </a:cxn>
                    <a:cxn ang="0">
                      <a:pos x="250" y="0"/>
                    </a:cxn>
                    <a:cxn ang="0">
                      <a:pos x="460" y="18"/>
                    </a:cxn>
                    <a:cxn ang="0">
                      <a:pos x="458" y="40"/>
                    </a:cxn>
                    <a:cxn ang="0">
                      <a:pos x="444" y="114"/>
                    </a:cxn>
                    <a:cxn ang="0">
                      <a:pos x="286" y="104"/>
                    </a:cxn>
                    <a:cxn ang="0">
                      <a:pos x="260" y="238"/>
                    </a:cxn>
                    <a:cxn ang="0">
                      <a:pos x="244" y="244"/>
                    </a:cxn>
                    <a:cxn ang="0">
                      <a:pos x="230" y="252"/>
                    </a:cxn>
                    <a:cxn ang="0">
                      <a:pos x="204" y="266"/>
                    </a:cxn>
                    <a:cxn ang="0">
                      <a:pos x="194" y="352"/>
                    </a:cxn>
                    <a:cxn ang="0">
                      <a:pos x="0" y="336"/>
                    </a:cxn>
                    <a:cxn ang="0">
                      <a:pos x="0" y="334"/>
                    </a:cxn>
                  </a:cxnLst>
                  <a:rect l="0" t="0" r="r" b="b"/>
                  <a:pathLst>
                    <a:path w="460" h="352">
                      <a:moveTo>
                        <a:pt x="0" y="334"/>
                      </a:moveTo>
                      <a:lnTo>
                        <a:pt x="10" y="312"/>
                      </a:lnTo>
                      <a:lnTo>
                        <a:pt x="22" y="286"/>
                      </a:lnTo>
                      <a:lnTo>
                        <a:pt x="36" y="262"/>
                      </a:lnTo>
                      <a:lnTo>
                        <a:pt x="52" y="238"/>
                      </a:lnTo>
                      <a:lnTo>
                        <a:pt x="70" y="216"/>
                      </a:lnTo>
                      <a:lnTo>
                        <a:pt x="88" y="196"/>
                      </a:lnTo>
                      <a:lnTo>
                        <a:pt x="108" y="178"/>
                      </a:lnTo>
                      <a:lnTo>
                        <a:pt x="126" y="164"/>
                      </a:lnTo>
                      <a:lnTo>
                        <a:pt x="132" y="160"/>
                      </a:lnTo>
                      <a:lnTo>
                        <a:pt x="136" y="152"/>
                      </a:lnTo>
                      <a:lnTo>
                        <a:pt x="140" y="134"/>
                      </a:lnTo>
                      <a:lnTo>
                        <a:pt x="144" y="122"/>
                      </a:lnTo>
                      <a:lnTo>
                        <a:pt x="154" y="104"/>
                      </a:lnTo>
                      <a:lnTo>
                        <a:pt x="164" y="86"/>
                      </a:lnTo>
                      <a:lnTo>
                        <a:pt x="174" y="74"/>
                      </a:lnTo>
                      <a:lnTo>
                        <a:pt x="182" y="70"/>
                      </a:lnTo>
                      <a:lnTo>
                        <a:pt x="190" y="68"/>
                      </a:lnTo>
                      <a:lnTo>
                        <a:pt x="200" y="64"/>
                      </a:lnTo>
                      <a:lnTo>
                        <a:pt x="208" y="60"/>
                      </a:lnTo>
                      <a:lnTo>
                        <a:pt x="214" y="54"/>
                      </a:lnTo>
                      <a:lnTo>
                        <a:pt x="220" y="48"/>
                      </a:lnTo>
                      <a:lnTo>
                        <a:pt x="232" y="32"/>
                      </a:lnTo>
                      <a:lnTo>
                        <a:pt x="240" y="16"/>
                      </a:lnTo>
                      <a:lnTo>
                        <a:pt x="250" y="0"/>
                      </a:lnTo>
                      <a:lnTo>
                        <a:pt x="460" y="18"/>
                      </a:lnTo>
                      <a:lnTo>
                        <a:pt x="458" y="40"/>
                      </a:lnTo>
                      <a:lnTo>
                        <a:pt x="444" y="114"/>
                      </a:lnTo>
                      <a:lnTo>
                        <a:pt x="286" y="104"/>
                      </a:lnTo>
                      <a:lnTo>
                        <a:pt x="260" y="238"/>
                      </a:lnTo>
                      <a:lnTo>
                        <a:pt x="244" y="244"/>
                      </a:lnTo>
                      <a:lnTo>
                        <a:pt x="230" y="252"/>
                      </a:lnTo>
                      <a:lnTo>
                        <a:pt x="204" y="266"/>
                      </a:lnTo>
                      <a:lnTo>
                        <a:pt x="194" y="352"/>
                      </a:lnTo>
                      <a:lnTo>
                        <a:pt x="0" y="336"/>
                      </a:lnTo>
                      <a:lnTo>
                        <a:pt x="0" y="334"/>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2" name="Morocco">
                  <a:extLst>
                    <a:ext uri="{FF2B5EF4-FFF2-40B4-BE49-F238E27FC236}">
                      <a16:creationId xmlns:a16="http://schemas.microsoft.com/office/drawing/2014/main" id="{1AFD6FB6-B152-4137-933B-F80D9FC8E8A0}"/>
                    </a:ext>
                  </a:extLst>
                </p:cNvPr>
                <p:cNvSpPr>
                  <a:spLocks/>
                </p:cNvSpPr>
                <p:nvPr/>
              </p:nvSpPr>
              <p:spPr bwMode="gray">
                <a:xfrm>
                  <a:off x="3298825" y="2241550"/>
                  <a:ext cx="701675" cy="496887"/>
                </a:xfrm>
                <a:custGeom>
                  <a:avLst/>
                  <a:gdLst/>
                  <a:ahLst/>
                  <a:cxnLst>
                    <a:cxn ang="0">
                      <a:pos x="206" y="406"/>
                    </a:cxn>
                    <a:cxn ang="0">
                      <a:pos x="208" y="398"/>
                    </a:cxn>
                    <a:cxn ang="0">
                      <a:pos x="208" y="382"/>
                    </a:cxn>
                    <a:cxn ang="0">
                      <a:pos x="214" y="374"/>
                    </a:cxn>
                    <a:cxn ang="0">
                      <a:pos x="254" y="346"/>
                    </a:cxn>
                    <a:cxn ang="0">
                      <a:pos x="278" y="336"/>
                    </a:cxn>
                    <a:cxn ang="0">
                      <a:pos x="300" y="330"/>
                    </a:cxn>
                    <a:cxn ang="0">
                      <a:pos x="350" y="324"/>
                    </a:cxn>
                    <a:cxn ang="0">
                      <a:pos x="392" y="312"/>
                    </a:cxn>
                    <a:cxn ang="0">
                      <a:pos x="402" y="300"/>
                    </a:cxn>
                    <a:cxn ang="0">
                      <a:pos x="414" y="288"/>
                    </a:cxn>
                    <a:cxn ang="0">
                      <a:pos x="440" y="282"/>
                    </a:cxn>
                    <a:cxn ang="0">
                      <a:pos x="458" y="274"/>
                    </a:cxn>
                    <a:cxn ang="0">
                      <a:pos x="464" y="264"/>
                    </a:cxn>
                    <a:cxn ang="0">
                      <a:pos x="464" y="254"/>
                    </a:cxn>
                    <a:cxn ang="0">
                      <a:pos x="464" y="240"/>
                    </a:cxn>
                    <a:cxn ang="0">
                      <a:pos x="504" y="226"/>
                    </a:cxn>
                    <a:cxn ang="0">
                      <a:pos x="524" y="212"/>
                    </a:cxn>
                    <a:cxn ang="0">
                      <a:pos x="540" y="212"/>
                    </a:cxn>
                    <a:cxn ang="0">
                      <a:pos x="564" y="216"/>
                    </a:cxn>
                    <a:cxn ang="0">
                      <a:pos x="586" y="214"/>
                    </a:cxn>
                    <a:cxn ang="0">
                      <a:pos x="592" y="208"/>
                    </a:cxn>
                    <a:cxn ang="0">
                      <a:pos x="600" y="196"/>
                    </a:cxn>
                    <a:cxn ang="0">
                      <a:pos x="584" y="166"/>
                    </a:cxn>
                    <a:cxn ang="0">
                      <a:pos x="582" y="140"/>
                    </a:cxn>
                    <a:cxn ang="0">
                      <a:pos x="588" y="116"/>
                    </a:cxn>
                    <a:cxn ang="0">
                      <a:pos x="586" y="90"/>
                    </a:cxn>
                    <a:cxn ang="0">
                      <a:pos x="578" y="70"/>
                    </a:cxn>
                    <a:cxn ang="0">
                      <a:pos x="554" y="50"/>
                    </a:cxn>
                    <a:cxn ang="0">
                      <a:pos x="542" y="38"/>
                    </a:cxn>
                    <a:cxn ang="0">
                      <a:pos x="528" y="44"/>
                    </a:cxn>
                    <a:cxn ang="0">
                      <a:pos x="514" y="40"/>
                    </a:cxn>
                    <a:cxn ang="0">
                      <a:pos x="500" y="32"/>
                    </a:cxn>
                    <a:cxn ang="0">
                      <a:pos x="476" y="26"/>
                    </a:cxn>
                    <a:cxn ang="0">
                      <a:pos x="450" y="24"/>
                    </a:cxn>
                    <a:cxn ang="0">
                      <a:pos x="438" y="12"/>
                    </a:cxn>
                    <a:cxn ang="0">
                      <a:pos x="426" y="4"/>
                    </a:cxn>
                    <a:cxn ang="0">
                      <a:pos x="410" y="16"/>
                    </a:cxn>
                    <a:cxn ang="0">
                      <a:pos x="392" y="42"/>
                    </a:cxn>
                    <a:cxn ang="0">
                      <a:pos x="374" y="76"/>
                    </a:cxn>
                    <a:cxn ang="0">
                      <a:pos x="348" y="96"/>
                    </a:cxn>
                    <a:cxn ang="0">
                      <a:pos x="314" y="110"/>
                    </a:cxn>
                    <a:cxn ang="0">
                      <a:pos x="264" y="130"/>
                    </a:cxn>
                    <a:cxn ang="0">
                      <a:pos x="248" y="146"/>
                    </a:cxn>
                    <a:cxn ang="0">
                      <a:pos x="230" y="176"/>
                    </a:cxn>
                    <a:cxn ang="0">
                      <a:pos x="208" y="208"/>
                    </a:cxn>
                    <a:cxn ang="0">
                      <a:pos x="188" y="242"/>
                    </a:cxn>
                    <a:cxn ang="0">
                      <a:pos x="184" y="260"/>
                    </a:cxn>
                    <a:cxn ang="0">
                      <a:pos x="190" y="270"/>
                    </a:cxn>
                    <a:cxn ang="0">
                      <a:pos x="190" y="282"/>
                    </a:cxn>
                    <a:cxn ang="0">
                      <a:pos x="184" y="296"/>
                    </a:cxn>
                    <a:cxn ang="0">
                      <a:pos x="168" y="308"/>
                    </a:cxn>
                    <a:cxn ang="0">
                      <a:pos x="132" y="334"/>
                    </a:cxn>
                    <a:cxn ang="0">
                      <a:pos x="76" y="362"/>
                    </a:cxn>
                    <a:cxn ang="0">
                      <a:pos x="48" y="370"/>
                    </a:cxn>
                    <a:cxn ang="0">
                      <a:pos x="18" y="382"/>
                    </a:cxn>
                    <a:cxn ang="0">
                      <a:pos x="6" y="392"/>
                    </a:cxn>
                    <a:cxn ang="0">
                      <a:pos x="0" y="406"/>
                    </a:cxn>
                    <a:cxn ang="0">
                      <a:pos x="206" y="424"/>
                    </a:cxn>
                  </a:cxnLst>
                  <a:rect l="0" t="0" r="r" b="b"/>
                  <a:pathLst>
                    <a:path w="600" h="424">
                      <a:moveTo>
                        <a:pt x="206" y="424"/>
                      </a:moveTo>
                      <a:lnTo>
                        <a:pt x="206" y="406"/>
                      </a:lnTo>
                      <a:lnTo>
                        <a:pt x="208" y="402"/>
                      </a:lnTo>
                      <a:lnTo>
                        <a:pt x="208" y="398"/>
                      </a:lnTo>
                      <a:lnTo>
                        <a:pt x="208" y="390"/>
                      </a:lnTo>
                      <a:lnTo>
                        <a:pt x="208" y="382"/>
                      </a:lnTo>
                      <a:lnTo>
                        <a:pt x="210" y="378"/>
                      </a:lnTo>
                      <a:lnTo>
                        <a:pt x="214" y="374"/>
                      </a:lnTo>
                      <a:lnTo>
                        <a:pt x="232" y="360"/>
                      </a:lnTo>
                      <a:lnTo>
                        <a:pt x="254" y="346"/>
                      </a:lnTo>
                      <a:lnTo>
                        <a:pt x="266" y="340"/>
                      </a:lnTo>
                      <a:lnTo>
                        <a:pt x="278" y="336"/>
                      </a:lnTo>
                      <a:lnTo>
                        <a:pt x="290" y="332"/>
                      </a:lnTo>
                      <a:lnTo>
                        <a:pt x="300" y="330"/>
                      </a:lnTo>
                      <a:lnTo>
                        <a:pt x="312" y="330"/>
                      </a:lnTo>
                      <a:lnTo>
                        <a:pt x="350" y="324"/>
                      </a:lnTo>
                      <a:lnTo>
                        <a:pt x="376" y="318"/>
                      </a:lnTo>
                      <a:lnTo>
                        <a:pt x="392" y="312"/>
                      </a:lnTo>
                      <a:lnTo>
                        <a:pt x="398" y="306"/>
                      </a:lnTo>
                      <a:lnTo>
                        <a:pt x="402" y="300"/>
                      </a:lnTo>
                      <a:lnTo>
                        <a:pt x="406" y="294"/>
                      </a:lnTo>
                      <a:lnTo>
                        <a:pt x="414" y="288"/>
                      </a:lnTo>
                      <a:lnTo>
                        <a:pt x="426" y="284"/>
                      </a:lnTo>
                      <a:lnTo>
                        <a:pt x="440" y="282"/>
                      </a:lnTo>
                      <a:lnTo>
                        <a:pt x="452" y="278"/>
                      </a:lnTo>
                      <a:lnTo>
                        <a:pt x="458" y="274"/>
                      </a:lnTo>
                      <a:lnTo>
                        <a:pt x="462" y="268"/>
                      </a:lnTo>
                      <a:lnTo>
                        <a:pt x="464" y="264"/>
                      </a:lnTo>
                      <a:lnTo>
                        <a:pt x="464" y="262"/>
                      </a:lnTo>
                      <a:lnTo>
                        <a:pt x="464" y="254"/>
                      </a:lnTo>
                      <a:lnTo>
                        <a:pt x="464" y="246"/>
                      </a:lnTo>
                      <a:lnTo>
                        <a:pt x="464" y="240"/>
                      </a:lnTo>
                      <a:lnTo>
                        <a:pt x="466" y="236"/>
                      </a:lnTo>
                      <a:lnTo>
                        <a:pt x="504" y="226"/>
                      </a:lnTo>
                      <a:lnTo>
                        <a:pt x="518" y="212"/>
                      </a:lnTo>
                      <a:lnTo>
                        <a:pt x="524" y="212"/>
                      </a:lnTo>
                      <a:lnTo>
                        <a:pt x="530" y="212"/>
                      </a:lnTo>
                      <a:lnTo>
                        <a:pt x="540" y="212"/>
                      </a:lnTo>
                      <a:lnTo>
                        <a:pt x="552" y="214"/>
                      </a:lnTo>
                      <a:lnTo>
                        <a:pt x="564" y="216"/>
                      </a:lnTo>
                      <a:lnTo>
                        <a:pt x="574" y="216"/>
                      </a:lnTo>
                      <a:lnTo>
                        <a:pt x="586" y="214"/>
                      </a:lnTo>
                      <a:lnTo>
                        <a:pt x="590" y="212"/>
                      </a:lnTo>
                      <a:lnTo>
                        <a:pt x="592" y="208"/>
                      </a:lnTo>
                      <a:lnTo>
                        <a:pt x="596" y="202"/>
                      </a:lnTo>
                      <a:lnTo>
                        <a:pt x="600" y="196"/>
                      </a:lnTo>
                      <a:lnTo>
                        <a:pt x="588" y="178"/>
                      </a:lnTo>
                      <a:lnTo>
                        <a:pt x="584" y="166"/>
                      </a:lnTo>
                      <a:lnTo>
                        <a:pt x="582" y="152"/>
                      </a:lnTo>
                      <a:lnTo>
                        <a:pt x="582" y="140"/>
                      </a:lnTo>
                      <a:lnTo>
                        <a:pt x="586" y="128"/>
                      </a:lnTo>
                      <a:lnTo>
                        <a:pt x="588" y="116"/>
                      </a:lnTo>
                      <a:lnTo>
                        <a:pt x="588" y="102"/>
                      </a:lnTo>
                      <a:lnTo>
                        <a:pt x="586" y="90"/>
                      </a:lnTo>
                      <a:lnTo>
                        <a:pt x="582" y="78"/>
                      </a:lnTo>
                      <a:lnTo>
                        <a:pt x="578" y="70"/>
                      </a:lnTo>
                      <a:lnTo>
                        <a:pt x="570" y="62"/>
                      </a:lnTo>
                      <a:lnTo>
                        <a:pt x="554" y="50"/>
                      </a:lnTo>
                      <a:lnTo>
                        <a:pt x="548" y="46"/>
                      </a:lnTo>
                      <a:lnTo>
                        <a:pt x="542" y="38"/>
                      </a:lnTo>
                      <a:lnTo>
                        <a:pt x="536" y="42"/>
                      </a:lnTo>
                      <a:lnTo>
                        <a:pt x="528" y="44"/>
                      </a:lnTo>
                      <a:lnTo>
                        <a:pt x="520" y="44"/>
                      </a:lnTo>
                      <a:lnTo>
                        <a:pt x="514" y="40"/>
                      </a:lnTo>
                      <a:lnTo>
                        <a:pt x="508" y="36"/>
                      </a:lnTo>
                      <a:lnTo>
                        <a:pt x="500" y="32"/>
                      </a:lnTo>
                      <a:lnTo>
                        <a:pt x="488" y="28"/>
                      </a:lnTo>
                      <a:lnTo>
                        <a:pt x="476" y="26"/>
                      </a:lnTo>
                      <a:lnTo>
                        <a:pt x="456" y="26"/>
                      </a:lnTo>
                      <a:lnTo>
                        <a:pt x="450" y="24"/>
                      </a:lnTo>
                      <a:lnTo>
                        <a:pt x="444" y="20"/>
                      </a:lnTo>
                      <a:lnTo>
                        <a:pt x="438" y="12"/>
                      </a:lnTo>
                      <a:lnTo>
                        <a:pt x="434" y="0"/>
                      </a:lnTo>
                      <a:lnTo>
                        <a:pt x="426" y="4"/>
                      </a:lnTo>
                      <a:lnTo>
                        <a:pt x="420" y="8"/>
                      </a:lnTo>
                      <a:lnTo>
                        <a:pt x="410" y="16"/>
                      </a:lnTo>
                      <a:lnTo>
                        <a:pt x="402" y="30"/>
                      </a:lnTo>
                      <a:lnTo>
                        <a:pt x="392" y="42"/>
                      </a:lnTo>
                      <a:lnTo>
                        <a:pt x="384" y="62"/>
                      </a:lnTo>
                      <a:lnTo>
                        <a:pt x="374" y="76"/>
                      </a:lnTo>
                      <a:lnTo>
                        <a:pt x="362" y="88"/>
                      </a:lnTo>
                      <a:lnTo>
                        <a:pt x="348" y="96"/>
                      </a:lnTo>
                      <a:lnTo>
                        <a:pt x="332" y="104"/>
                      </a:lnTo>
                      <a:lnTo>
                        <a:pt x="314" y="110"/>
                      </a:lnTo>
                      <a:lnTo>
                        <a:pt x="274" y="124"/>
                      </a:lnTo>
                      <a:lnTo>
                        <a:pt x="264" y="130"/>
                      </a:lnTo>
                      <a:lnTo>
                        <a:pt x="256" y="136"/>
                      </a:lnTo>
                      <a:lnTo>
                        <a:pt x="248" y="146"/>
                      </a:lnTo>
                      <a:lnTo>
                        <a:pt x="242" y="156"/>
                      </a:lnTo>
                      <a:lnTo>
                        <a:pt x="230" y="176"/>
                      </a:lnTo>
                      <a:lnTo>
                        <a:pt x="218" y="194"/>
                      </a:lnTo>
                      <a:lnTo>
                        <a:pt x="208" y="208"/>
                      </a:lnTo>
                      <a:lnTo>
                        <a:pt x="196" y="224"/>
                      </a:lnTo>
                      <a:lnTo>
                        <a:pt x="188" y="242"/>
                      </a:lnTo>
                      <a:lnTo>
                        <a:pt x="186" y="250"/>
                      </a:lnTo>
                      <a:lnTo>
                        <a:pt x="184" y="260"/>
                      </a:lnTo>
                      <a:lnTo>
                        <a:pt x="188" y="266"/>
                      </a:lnTo>
                      <a:lnTo>
                        <a:pt x="190" y="270"/>
                      </a:lnTo>
                      <a:lnTo>
                        <a:pt x="190" y="274"/>
                      </a:lnTo>
                      <a:lnTo>
                        <a:pt x="190" y="282"/>
                      </a:lnTo>
                      <a:lnTo>
                        <a:pt x="186" y="290"/>
                      </a:lnTo>
                      <a:lnTo>
                        <a:pt x="184" y="296"/>
                      </a:lnTo>
                      <a:lnTo>
                        <a:pt x="180" y="300"/>
                      </a:lnTo>
                      <a:lnTo>
                        <a:pt x="168" y="308"/>
                      </a:lnTo>
                      <a:lnTo>
                        <a:pt x="158" y="316"/>
                      </a:lnTo>
                      <a:lnTo>
                        <a:pt x="132" y="334"/>
                      </a:lnTo>
                      <a:lnTo>
                        <a:pt x="106" y="350"/>
                      </a:lnTo>
                      <a:lnTo>
                        <a:pt x="76" y="362"/>
                      </a:lnTo>
                      <a:lnTo>
                        <a:pt x="62" y="368"/>
                      </a:lnTo>
                      <a:lnTo>
                        <a:pt x="48" y="370"/>
                      </a:lnTo>
                      <a:lnTo>
                        <a:pt x="32" y="374"/>
                      </a:lnTo>
                      <a:lnTo>
                        <a:pt x="18" y="382"/>
                      </a:lnTo>
                      <a:lnTo>
                        <a:pt x="12" y="386"/>
                      </a:lnTo>
                      <a:lnTo>
                        <a:pt x="6" y="392"/>
                      </a:lnTo>
                      <a:lnTo>
                        <a:pt x="4" y="398"/>
                      </a:lnTo>
                      <a:lnTo>
                        <a:pt x="0" y="406"/>
                      </a:lnTo>
                      <a:lnTo>
                        <a:pt x="210" y="424"/>
                      </a:lnTo>
                      <a:lnTo>
                        <a:pt x="206" y="424"/>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3" name="Algeria">
                  <a:extLst>
                    <a:ext uri="{FF2B5EF4-FFF2-40B4-BE49-F238E27FC236}">
                      <a16:creationId xmlns:a16="http://schemas.microsoft.com/office/drawing/2014/main" id="{097CFC8A-59E3-4A5A-AD3E-4D3A459F1519}"/>
                    </a:ext>
                  </a:extLst>
                </p:cNvPr>
                <p:cNvSpPr>
                  <a:spLocks/>
                </p:cNvSpPr>
                <p:nvPr/>
              </p:nvSpPr>
              <p:spPr bwMode="gray">
                <a:xfrm>
                  <a:off x="3540125" y="2211388"/>
                  <a:ext cx="1169987" cy="1120775"/>
                </a:xfrm>
                <a:custGeom>
                  <a:avLst/>
                  <a:gdLst/>
                  <a:ahLst/>
                  <a:cxnLst>
                    <a:cxn ang="0">
                      <a:pos x="420" y="828"/>
                    </a:cxn>
                    <a:cxn ang="0">
                      <a:pos x="438" y="838"/>
                    </a:cxn>
                    <a:cxn ang="0">
                      <a:pos x="440" y="860"/>
                    </a:cxn>
                    <a:cxn ang="0">
                      <a:pos x="460" y="874"/>
                    </a:cxn>
                    <a:cxn ang="0">
                      <a:pos x="486" y="892"/>
                    </a:cxn>
                    <a:cxn ang="0">
                      <a:pos x="532" y="912"/>
                    </a:cxn>
                    <a:cxn ang="0">
                      <a:pos x="538" y="938"/>
                    </a:cxn>
                    <a:cxn ang="0">
                      <a:pos x="532" y="950"/>
                    </a:cxn>
                    <a:cxn ang="0">
                      <a:pos x="768" y="856"/>
                    </a:cxn>
                    <a:cxn ang="0">
                      <a:pos x="986" y="702"/>
                    </a:cxn>
                    <a:cxn ang="0">
                      <a:pos x="962" y="674"/>
                    </a:cxn>
                    <a:cxn ang="0">
                      <a:pos x="932" y="660"/>
                    </a:cxn>
                    <a:cxn ang="0">
                      <a:pos x="914" y="658"/>
                    </a:cxn>
                    <a:cxn ang="0">
                      <a:pos x="878" y="588"/>
                    </a:cxn>
                    <a:cxn ang="0">
                      <a:pos x="878" y="564"/>
                    </a:cxn>
                    <a:cxn ang="0">
                      <a:pos x="904" y="546"/>
                    </a:cxn>
                    <a:cxn ang="0">
                      <a:pos x="896" y="518"/>
                    </a:cxn>
                    <a:cxn ang="0">
                      <a:pos x="904" y="494"/>
                    </a:cxn>
                    <a:cxn ang="0">
                      <a:pos x="894" y="392"/>
                    </a:cxn>
                    <a:cxn ang="0">
                      <a:pos x="868" y="324"/>
                    </a:cxn>
                    <a:cxn ang="0">
                      <a:pos x="854" y="268"/>
                    </a:cxn>
                    <a:cxn ang="0">
                      <a:pos x="802" y="194"/>
                    </a:cxn>
                    <a:cxn ang="0">
                      <a:pos x="802" y="152"/>
                    </a:cxn>
                    <a:cxn ang="0">
                      <a:pos x="840" y="114"/>
                    </a:cxn>
                    <a:cxn ang="0">
                      <a:pos x="850" y="38"/>
                    </a:cxn>
                    <a:cxn ang="0">
                      <a:pos x="842" y="4"/>
                    </a:cxn>
                    <a:cxn ang="0">
                      <a:pos x="808" y="4"/>
                    </a:cxn>
                    <a:cxn ang="0">
                      <a:pos x="776" y="4"/>
                    </a:cxn>
                    <a:cxn ang="0">
                      <a:pos x="748" y="14"/>
                    </a:cxn>
                    <a:cxn ang="0">
                      <a:pos x="712" y="24"/>
                    </a:cxn>
                    <a:cxn ang="0">
                      <a:pos x="616" y="10"/>
                    </a:cxn>
                    <a:cxn ang="0">
                      <a:pos x="484" y="34"/>
                    </a:cxn>
                    <a:cxn ang="0">
                      <a:pos x="466" y="46"/>
                    </a:cxn>
                    <a:cxn ang="0">
                      <a:pos x="420" y="58"/>
                    </a:cxn>
                    <a:cxn ang="0">
                      <a:pos x="384" y="80"/>
                    </a:cxn>
                    <a:cxn ang="0">
                      <a:pos x="364" y="88"/>
                    </a:cxn>
                    <a:cxn ang="0">
                      <a:pos x="382" y="120"/>
                    </a:cxn>
                    <a:cxn ang="0">
                      <a:pos x="376" y="166"/>
                    </a:cxn>
                    <a:cxn ang="0">
                      <a:pos x="394" y="222"/>
                    </a:cxn>
                    <a:cxn ang="0">
                      <a:pos x="380" y="240"/>
                    </a:cxn>
                    <a:cxn ang="0">
                      <a:pos x="334" y="238"/>
                    </a:cxn>
                    <a:cxn ang="0">
                      <a:pos x="298" y="252"/>
                    </a:cxn>
                    <a:cxn ang="0">
                      <a:pos x="258" y="280"/>
                    </a:cxn>
                    <a:cxn ang="0">
                      <a:pos x="252" y="300"/>
                    </a:cxn>
                    <a:cxn ang="0">
                      <a:pos x="208" y="314"/>
                    </a:cxn>
                    <a:cxn ang="0">
                      <a:pos x="186" y="338"/>
                    </a:cxn>
                    <a:cxn ang="0">
                      <a:pos x="94" y="356"/>
                    </a:cxn>
                    <a:cxn ang="0">
                      <a:pos x="48" y="372"/>
                    </a:cxn>
                    <a:cxn ang="0">
                      <a:pos x="2" y="408"/>
                    </a:cxn>
                    <a:cxn ang="0">
                      <a:pos x="0" y="432"/>
                    </a:cxn>
                    <a:cxn ang="0">
                      <a:pos x="162" y="608"/>
                    </a:cxn>
                  </a:cxnLst>
                  <a:rect l="0" t="0" r="r" b="b"/>
                  <a:pathLst>
                    <a:path w="1000" h="958">
                      <a:moveTo>
                        <a:pt x="162" y="608"/>
                      </a:moveTo>
                      <a:lnTo>
                        <a:pt x="416" y="822"/>
                      </a:lnTo>
                      <a:lnTo>
                        <a:pt x="418" y="826"/>
                      </a:lnTo>
                      <a:lnTo>
                        <a:pt x="420" y="828"/>
                      </a:lnTo>
                      <a:lnTo>
                        <a:pt x="426" y="830"/>
                      </a:lnTo>
                      <a:lnTo>
                        <a:pt x="432" y="832"/>
                      </a:lnTo>
                      <a:lnTo>
                        <a:pt x="436" y="836"/>
                      </a:lnTo>
                      <a:lnTo>
                        <a:pt x="438" y="838"/>
                      </a:lnTo>
                      <a:lnTo>
                        <a:pt x="440" y="846"/>
                      </a:lnTo>
                      <a:lnTo>
                        <a:pt x="440" y="852"/>
                      </a:lnTo>
                      <a:lnTo>
                        <a:pt x="438" y="858"/>
                      </a:lnTo>
                      <a:lnTo>
                        <a:pt x="440" y="860"/>
                      </a:lnTo>
                      <a:lnTo>
                        <a:pt x="442" y="862"/>
                      </a:lnTo>
                      <a:lnTo>
                        <a:pt x="450" y="866"/>
                      </a:lnTo>
                      <a:lnTo>
                        <a:pt x="458" y="866"/>
                      </a:lnTo>
                      <a:lnTo>
                        <a:pt x="460" y="874"/>
                      </a:lnTo>
                      <a:lnTo>
                        <a:pt x="464" y="878"/>
                      </a:lnTo>
                      <a:lnTo>
                        <a:pt x="468" y="884"/>
                      </a:lnTo>
                      <a:lnTo>
                        <a:pt x="474" y="888"/>
                      </a:lnTo>
                      <a:lnTo>
                        <a:pt x="486" y="892"/>
                      </a:lnTo>
                      <a:lnTo>
                        <a:pt x="500" y="896"/>
                      </a:lnTo>
                      <a:lnTo>
                        <a:pt x="514" y="902"/>
                      </a:lnTo>
                      <a:lnTo>
                        <a:pt x="526" y="908"/>
                      </a:lnTo>
                      <a:lnTo>
                        <a:pt x="532" y="912"/>
                      </a:lnTo>
                      <a:lnTo>
                        <a:pt x="536" y="918"/>
                      </a:lnTo>
                      <a:lnTo>
                        <a:pt x="538" y="926"/>
                      </a:lnTo>
                      <a:lnTo>
                        <a:pt x="538" y="934"/>
                      </a:lnTo>
                      <a:lnTo>
                        <a:pt x="538" y="938"/>
                      </a:lnTo>
                      <a:lnTo>
                        <a:pt x="536" y="940"/>
                      </a:lnTo>
                      <a:lnTo>
                        <a:pt x="532" y="942"/>
                      </a:lnTo>
                      <a:lnTo>
                        <a:pt x="532" y="946"/>
                      </a:lnTo>
                      <a:lnTo>
                        <a:pt x="532" y="950"/>
                      </a:lnTo>
                      <a:lnTo>
                        <a:pt x="534" y="952"/>
                      </a:lnTo>
                      <a:lnTo>
                        <a:pt x="540" y="958"/>
                      </a:lnTo>
                      <a:lnTo>
                        <a:pt x="674" y="934"/>
                      </a:lnTo>
                      <a:lnTo>
                        <a:pt x="768" y="856"/>
                      </a:lnTo>
                      <a:lnTo>
                        <a:pt x="1000" y="724"/>
                      </a:lnTo>
                      <a:lnTo>
                        <a:pt x="998" y="718"/>
                      </a:lnTo>
                      <a:lnTo>
                        <a:pt x="994" y="712"/>
                      </a:lnTo>
                      <a:lnTo>
                        <a:pt x="986" y="702"/>
                      </a:lnTo>
                      <a:lnTo>
                        <a:pt x="978" y="690"/>
                      </a:lnTo>
                      <a:lnTo>
                        <a:pt x="976" y="684"/>
                      </a:lnTo>
                      <a:lnTo>
                        <a:pt x="974" y="676"/>
                      </a:lnTo>
                      <a:lnTo>
                        <a:pt x="962" y="674"/>
                      </a:lnTo>
                      <a:lnTo>
                        <a:pt x="952" y="668"/>
                      </a:lnTo>
                      <a:lnTo>
                        <a:pt x="944" y="664"/>
                      </a:lnTo>
                      <a:lnTo>
                        <a:pt x="938" y="662"/>
                      </a:lnTo>
                      <a:lnTo>
                        <a:pt x="932" y="660"/>
                      </a:lnTo>
                      <a:lnTo>
                        <a:pt x="926" y="662"/>
                      </a:lnTo>
                      <a:lnTo>
                        <a:pt x="922" y="664"/>
                      </a:lnTo>
                      <a:lnTo>
                        <a:pt x="918" y="662"/>
                      </a:lnTo>
                      <a:lnTo>
                        <a:pt x="914" y="658"/>
                      </a:lnTo>
                      <a:lnTo>
                        <a:pt x="914" y="652"/>
                      </a:lnTo>
                      <a:lnTo>
                        <a:pt x="910" y="642"/>
                      </a:lnTo>
                      <a:lnTo>
                        <a:pt x="888" y="608"/>
                      </a:lnTo>
                      <a:lnTo>
                        <a:pt x="878" y="588"/>
                      </a:lnTo>
                      <a:lnTo>
                        <a:pt x="876" y="580"/>
                      </a:lnTo>
                      <a:lnTo>
                        <a:pt x="874" y="572"/>
                      </a:lnTo>
                      <a:lnTo>
                        <a:pt x="876" y="568"/>
                      </a:lnTo>
                      <a:lnTo>
                        <a:pt x="878" y="564"/>
                      </a:lnTo>
                      <a:lnTo>
                        <a:pt x="886" y="560"/>
                      </a:lnTo>
                      <a:lnTo>
                        <a:pt x="896" y="554"/>
                      </a:lnTo>
                      <a:lnTo>
                        <a:pt x="900" y="550"/>
                      </a:lnTo>
                      <a:lnTo>
                        <a:pt x="904" y="546"/>
                      </a:lnTo>
                      <a:lnTo>
                        <a:pt x="902" y="538"/>
                      </a:lnTo>
                      <a:lnTo>
                        <a:pt x="900" y="532"/>
                      </a:lnTo>
                      <a:lnTo>
                        <a:pt x="896" y="526"/>
                      </a:lnTo>
                      <a:lnTo>
                        <a:pt x="896" y="518"/>
                      </a:lnTo>
                      <a:lnTo>
                        <a:pt x="898" y="512"/>
                      </a:lnTo>
                      <a:lnTo>
                        <a:pt x="900" y="506"/>
                      </a:lnTo>
                      <a:lnTo>
                        <a:pt x="902" y="500"/>
                      </a:lnTo>
                      <a:lnTo>
                        <a:pt x="904" y="494"/>
                      </a:lnTo>
                      <a:lnTo>
                        <a:pt x="904" y="436"/>
                      </a:lnTo>
                      <a:lnTo>
                        <a:pt x="902" y="424"/>
                      </a:lnTo>
                      <a:lnTo>
                        <a:pt x="900" y="414"/>
                      </a:lnTo>
                      <a:lnTo>
                        <a:pt x="894" y="392"/>
                      </a:lnTo>
                      <a:lnTo>
                        <a:pt x="884" y="372"/>
                      </a:lnTo>
                      <a:lnTo>
                        <a:pt x="876" y="352"/>
                      </a:lnTo>
                      <a:lnTo>
                        <a:pt x="872" y="338"/>
                      </a:lnTo>
                      <a:lnTo>
                        <a:pt x="868" y="324"/>
                      </a:lnTo>
                      <a:lnTo>
                        <a:pt x="866" y="300"/>
                      </a:lnTo>
                      <a:lnTo>
                        <a:pt x="862" y="288"/>
                      </a:lnTo>
                      <a:lnTo>
                        <a:pt x="860" y="278"/>
                      </a:lnTo>
                      <a:lnTo>
                        <a:pt x="854" y="268"/>
                      </a:lnTo>
                      <a:lnTo>
                        <a:pt x="846" y="258"/>
                      </a:lnTo>
                      <a:lnTo>
                        <a:pt x="832" y="242"/>
                      </a:lnTo>
                      <a:lnTo>
                        <a:pt x="816" y="220"/>
                      </a:lnTo>
                      <a:lnTo>
                        <a:pt x="802" y="194"/>
                      </a:lnTo>
                      <a:lnTo>
                        <a:pt x="798" y="184"/>
                      </a:lnTo>
                      <a:lnTo>
                        <a:pt x="796" y="174"/>
                      </a:lnTo>
                      <a:lnTo>
                        <a:pt x="798" y="162"/>
                      </a:lnTo>
                      <a:lnTo>
                        <a:pt x="802" y="152"/>
                      </a:lnTo>
                      <a:lnTo>
                        <a:pt x="810" y="144"/>
                      </a:lnTo>
                      <a:lnTo>
                        <a:pt x="818" y="136"/>
                      </a:lnTo>
                      <a:lnTo>
                        <a:pt x="834" y="122"/>
                      </a:lnTo>
                      <a:lnTo>
                        <a:pt x="840" y="114"/>
                      </a:lnTo>
                      <a:lnTo>
                        <a:pt x="844" y="104"/>
                      </a:lnTo>
                      <a:lnTo>
                        <a:pt x="846" y="76"/>
                      </a:lnTo>
                      <a:lnTo>
                        <a:pt x="848" y="50"/>
                      </a:lnTo>
                      <a:lnTo>
                        <a:pt x="850" y="38"/>
                      </a:lnTo>
                      <a:lnTo>
                        <a:pt x="854" y="28"/>
                      </a:lnTo>
                      <a:lnTo>
                        <a:pt x="860" y="18"/>
                      </a:lnTo>
                      <a:lnTo>
                        <a:pt x="868" y="10"/>
                      </a:lnTo>
                      <a:lnTo>
                        <a:pt x="842" y="4"/>
                      </a:lnTo>
                      <a:lnTo>
                        <a:pt x="828" y="2"/>
                      </a:lnTo>
                      <a:lnTo>
                        <a:pt x="814" y="0"/>
                      </a:lnTo>
                      <a:lnTo>
                        <a:pt x="810" y="2"/>
                      </a:lnTo>
                      <a:lnTo>
                        <a:pt x="808" y="4"/>
                      </a:lnTo>
                      <a:lnTo>
                        <a:pt x="806" y="12"/>
                      </a:lnTo>
                      <a:lnTo>
                        <a:pt x="786" y="12"/>
                      </a:lnTo>
                      <a:lnTo>
                        <a:pt x="780" y="8"/>
                      </a:lnTo>
                      <a:lnTo>
                        <a:pt x="776" y="4"/>
                      </a:lnTo>
                      <a:lnTo>
                        <a:pt x="772" y="2"/>
                      </a:lnTo>
                      <a:lnTo>
                        <a:pt x="764" y="4"/>
                      </a:lnTo>
                      <a:lnTo>
                        <a:pt x="760" y="6"/>
                      </a:lnTo>
                      <a:lnTo>
                        <a:pt x="748" y="14"/>
                      </a:lnTo>
                      <a:lnTo>
                        <a:pt x="738" y="22"/>
                      </a:lnTo>
                      <a:lnTo>
                        <a:pt x="730" y="24"/>
                      </a:lnTo>
                      <a:lnTo>
                        <a:pt x="722" y="24"/>
                      </a:lnTo>
                      <a:lnTo>
                        <a:pt x="712" y="24"/>
                      </a:lnTo>
                      <a:lnTo>
                        <a:pt x="700" y="20"/>
                      </a:lnTo>
                      <a:lnTo>
                        <a:pt x="690" y="16"/>
                      </a:lnTo>
                      <a:lnTo>
                        <a:pt x="682" y="10"/>
                      </a:lnTo>
                      <a:lnTo>
                        <a:pt x="616" y="10"/>
                      </a:lnTo>
                      <a:lnTo>
                        <a:pt x="584" y="12"/>
                      </a:lnTo>
                      <a:lnTo>
                        <a:pt x="548" y="18"/>
                      </a:lnTo>
                      <a:lnTo>
                        <a:pt x="512" y="26"/>
                      </a:lnTo>
                      <a:lnTo>
                        <a:pt x="484" y="34"/>
                      </a:lnTo>
                      <a:lnTo>
                        <a:pt x="478" y="38"/>
                      </a:lnTo>
                      <a:lnTo>
                        <a:pt x="476" y="42"/>
                      </a:lnTo>
                      <a:lnTo>
                        <a:pt x="472" y="46"/>
                      </a:lnTo>
                      <a:lnTo>
                        <a:pt x="466" y="46"/>
                      </a:lnTo>
                      <a:lnTo>
                        <a:pt x="450" y="46"/>
                      </a:lnTo>
                      <a:lnTo>
                        <a:pt x="438" y="48"/>
                      </a:lnTo>
                      <a:lnTo>
                        <a:pt x="428" y="52"/>
                      </a:lnTo>
                      <a:lnTo>
                        <a:pt x="420" y="58"/>
                      </a:lnTo>
                      <a:lnTo>
                        <a:pt x="412" y="64"/>
                      </a:lnTo>
                      <a:lnTo>
                        <a:pt x="402" y="70"/>
                      </a:lnTo>
                      <a:lnTo>
                        <a:pt x="394" y="76"/>
                      </a:lnTo>
                      <a:lnTo>
                        <a:pt x="384" y="80"/>
                      </a:lnTo>
                      <a:lnTo>
                        <a:pt x="372" y="80"/>
                      </a:lnTo>
                      <a:lnTo>
                        <a:pt x="364" y="80"/>
                      </a:lnTo>
                      <a:lnTo>
                        <a:pt x="352" y="80"/>
                      </a:lnTo>
                      <a:lnTo>
                        <a:pt x="364" y="88"/>
                      </a:lnTo>
                      <a:lnTo>
                        <a:pt x="372" y="98"/>
                      </a:lnTo>
                      <a:lnTo>
                        <a:pt x="376" y="104"/>
                      </a:lnTo>
                      <a:lnTo>
                        <a:pt x="380" y="110"/>
                      </a:lnTo>
                      <a:lnTo>
                        <a:pt x="382" y="120"/>
                      </a:lnTo>
                      <a:lnTo>
                        <a:pt x="382" y="128"/>
                      </a:lnTo>
                      <a:lnTo>
                        <a:pt x="382" y="142"/>
                      </a:lnTo>
                      <a:lnTo>
                        <a:pt x="380" y="154"/>
                      </a:lnTo>
                      <a:lnTo>
                        <a:pt x="376" y="166"/>
                      </a:lnTo>
                      <a:lnTo>
                        <a:pt x="376" y="178"/>
                      </a:lnTo>
                      <a:lnTo>
                        <a:pt x="378" y="192"/>
                      </a:lnTo>
                      <a:lnTo>
                        <a:pt x="382" y="204"/>
                      </a:lnTo>
                      <a:lnTo>
                        <a:pt x="394" y="222"/>
                      </a:lnTo>
                      <a:lnTo>
                        <a:pt x="390" y="228"/>
                      </a:lnTo>
                      <a:lnTo>
                        <a:pt x="386" y="234"/>
                      </a:lnTo>
                      <a:lnTo>
                        <a:pt x="384" y="238"/>
                      </a:lnTo>
                      <a:lnTo>
                        <a:pt x="380" y="240"/>
                      </a:lnTo>
                      <a:lnTo>
                        <a:pt x="368" y="242"/>
                      </a:lnTo>
                      <a:lnTo>
                        <a:pt x="358" y="242"/>
                      </a:lnTo>
                      <a:lnTo>
                        <a:pt x="346" y="240"/>
                      </a:lnTo>
                      <a:lnTo>
                        <a:pt x="334" y="238"/>
                      </a:lnTo>
                      <a:lnTo>
                        <a:pt x="324" y="238"/>
                      </a:lnTo>
                      <a:lnTo>
                        <a:pt x="318" y="238"/>
                      </a:lnTo>
                      <a:lnTo>
                        <a:pt x="312" y="238"/>
                      </a:lnTo>
                      <a:lnTo>
                        <a:pt x="298" y="252"/>
                      </a:lnTo>
                      <a:lnTo>
                        <a:pt x="260" y="262"/>
                      </a:lnTo>
                      <a:lnTo>
                        <a:pt x="258" y="266"/>
                      </a:lnTo>
                      <a:lnTo>
                        <a:pt x="258" y="272"/>
                      </a:lnTo>
                      <a:lnTo>
                        <a:pt x="258" y="280"/>
                      </a:lnTo>
                      <a:lnTo>
                        <a:pt x="258" y="288"/>
                      </a:lnTo>
                      <a:lnTo>
                        <a:pt x="258" y="290"/>
                      </a:lnTo>
                      <a:lnTo>
                        <a:pt x="256" y="294"/>
                      </a:lnTo>
                      <a:lnTo>
                        <a:pt x="252" y="300"/>
                      </a:lnTo>
                      <a:lnTo>
                        <a:pt x="246" y="304"/>
                      </a:lnTo>
                      <a:lnTo>
                        <a:pt x="234" y="308"/>
                      </a:lnTo>
                      <a:lnTo>
                        <a:pt x="220" y="310"/>
                      </a:lnTo>
                      <a:lnTo>
                        <a:pt x="208" y="314"/>
                      </a:lnTo>
                      <a:lnTo>
                        <a:pt x="200" y="320"/>
                      </a:lnTo>
                      <a:lnTo>
                        <a:pt x="196" y="326"/>
                      </a:lnTo>
                      <a:lnTo>
                        <a:pt x="192" y="332"/>
                      </a:lnTo>
                      <a:lnTo>
                        <a:pt x="186" y="338"/>
                      </a:lnTo>
                      <a:lnTo>
                        <a:pt x="170" y="344"/>
                      </a:lnTo>
                      <a:lnTo>
                        <a:pt x="144" y="350"/>
                      </a:lnTo>
                      <a:lnTo>
                        <a:pt x="106" y="356"/>
                      </a:lnTo>
                      <a:lnTo>
                        <a:pt x="94" y="356"/>
                      </a:lnTo>
                      <a:lnTo>
                        <a:pt x="84" y="358"/>
                      </a:lnTo>
                      <a:lnTo>
                        <a:pt x="72" y="362"/>
                      </a:lnTo>
                      <a:lnTo>
                        <a:pt x="60" y="366"/>
                      </a:lnTo>
                      <a:lnTo>
                        <a:pt x="48" y="372"/>
                      </a:lnTo>
                      <a:lnTo>
                        <a:pt x="26" y="386"/>
                      </a:lnTo>
                      <a:lnTo>
                        <a:pt x="8" y="400"/>
                      </a:lnTo>
                      <a:lnTo>
                        <a:pt x="4" y="404"/>
                      </a:lnTo>
                      <a:lnTo>
                        <a:pt x="2" y="408"/>
                      </a:lnTo>
                      <a:lnTo>
                        <a:pt x="2" y="416"/>
                      </a:lnTo>
                      <a:lnTo>
                        <a:pt x="2" y="424"/>
                      </a:lnTo>
                      <a:lnTo>
                        <a:pt x="2" y="428"/>
                      </a:lnTo>
                      <a:lnTo>
                        <a:pt x="0" y="432"/>
                      </a:lnTo>
                      <a:lnTo>
                        <a:pt x="4" y="450"/>
                      </a:lnTo>
                      <a:lnTo>
                        <a:pt x="2" y="472"/>
                      </a:lnTo>
                      <a:lnTo>
                        <a:pt x="166" y="608"/>
                      </a:lnTo>
                      <a:lnTo>
                        <a:pt x="162" y="60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4" name="Tunisia">
                  <a:extLst>
                    <a:ext uri="{FF2B5EF4-FFF2-40B4-BE49-F238E27FC236}">
                      <a16:creationId xmlns:a16="http://schemas.microsoft.com/office/drawing/2014/main" id="{99F0AD85-7C55-4B4A-A491-684656314EA3}"/>
                    </a:ext>
                  </a:extLst>
                </p:cNvPr>
                <p:cNvSpPr>
                  <a:spLocks/>
                </p:cNvSpPr>
                <p:nvPr/>
              </p:nvSpPr>
              <p:spPr bwMode="gray">
                <a:xfrm>
                  <a:off x="4471988" y="2200275"/>
                  <a:ext cx="231775" cy="444500"/>
                </a:xfrm>
                <a:custGeom>
                  <a:avLst/>
                  <a:gdLst/>
                  <a:ahLst/>
                  <a:cxnLst>
                    <a:cxn ang="0">
                      <a:pos x="80" y="362"/>
                    </a:cxn>
                    <a:cxn ang="0">
                      <a:pos x="72" y="334"/>
                    </a:cxn>
                    <a:cxn ang="0">
                      <a:pos x="66" y="298"/>
                    </a:cxn>
                    <a:cxn ang="0">
                      <a:pos x="58" y="278"/>
                    </a:cxn>
                    <a:cxn ang="0">
                      <a:pos x="36" y="252"/>
                    </a:cxn>
                    <a:cxn ang="0">
                      <a:pos x="6" y="204"/>
                    </a:cxn>
                    <a:cxn ang="0">
                      <a:pos x="0" y="184"/>
                    </a:cxn>
                    <a:cxn ang="0">
                      <a:pos x="6" y="162"/>
                    </a:cxn>
                    <a:cxn ang="0">
                      <a:pos x="22" y="146"/>
                    </a:cxn>
                    <a:cxn ang="0">
                      <a:pos x="44" y="124"/>
                    </a:cxn>
                    <a:cxn ang="0">
                      <a:pos x="50" y="86"/>
                    </a:cxn>
                    <a:cxn ang="0">
                      <a:pos x="54" y="48"/>
                    </a:cxn>
                    <a:cxn ang="0">
                      <a:pos x="64" y="28"/>
                    </a:cxn>
                    <a:cxn ang="0">
                      <a:pos x="86" y="14"/>
                    </a:cxn>
                    <a:cxn ang="0">
                      <a:pos x="106" y="2"/>
                    </a:cxn>
                    <a:cxn ang="0">
                      <a:pos x="120" y="0"/>
                    </a:cxn>
                    <a:cxn ang="0">
                      <a:pos x="132" y="4"/>
                    </a:cxn>
                    <a:cxn ang="0">
                      <a:pos x="150" y="24"/>
                    </a:cxn>
                    <a:cxn ang="0">
                      <a:pos x="158" y="28"/>
                    </a:cxn>
                    <a:cxn ang="0">
                      <a:pos x="170" y="24"/>
                    </a:cxn>
                    <a:cxn ang="0">
                      <a:pos x="182" y="22"/>
                    </a:cxn>
                    <a:cxn ang="0">
                      <a:pos x="184" y="32"/>
                    </a:cxn>
                    <a:cxn ang="0">
                      <a:pos x="170" y="44"/>
                    </a:cxn>
                    <a:cxn ang="0">
                      <a:pos x="156" y="56"/>
                    </a:cxn>
                    <a:cxn ang="0">
                      <a:pos x="156" y="66"/>
                    </a:cxn>
                    <a:cxn ang="0">
                      <a:pos x="166" y="84"/>
                    </a:cxn>
                    <a:cxn ang="0">
                      <a:pos x="174" y="104"/>
                    </a:cxn>
                    <a:cxn ang="0">
                      <a:pos x="174" y="124"/>
                    </a:cxn>
                    <a:cxn ang="0">
                      <a:pos x="162" y="138"/>
                    </a:cxn>
                    <a:cxn ang="0">
                      <a:pos x="148" y="150"/>
                    </a:cxn>
                    <a:cxn ang="0">
                      <a:pos x="136" y="162"/>
                    </a:cxn>
                    <a:cxn ang="0">
                      <a:pos x="136" y="176"/>
                    </a:cxn>
                    <a:cxn ang="0">
                      <a:pos x="140" y="186"/>
                    </a:cxn>
                    <a:cxn ang="0">
                      <a:pos x="156" y="194"/>
                    </a:cxn>
                    <a:cxn ang="0">
                      <a:pos x="178" y="196"/>
                    </a:cxn>
                    <a:cxn ang="0">
                      <a:pos x="182" y="208"/>
                    </a:cxn>
                    <a:cxn ang="0">
                      <a:pos x="188" y="214"/>
                    </a:cxn>
                    <a:cxn ang="0">
                      <a:pos x="198" y="222"/>
                    </a:cxn>
                    <a:cxn ang="0">
                      <a:pos x="196" y="238"/>
                    </a:cxn>
                    <a:cxn ang="0">
                      <a:pos x="194" y="248"/>
                    </a:cxn>
                    <a:cxn ang="0">
                      <a:pos x="180" y="266"/>
                    </a:cxn>
                    <a:cxn ang="0">
                      <a:pos x="148" y="290"/>
                    </a:cxn>
                    <a:cxn ang="0">
                      <a:pos x="132" y="306"/>
                    </a:cxn>
                    <a:cxn ang="0">
                      <a:pos x="130" y="326"/>
                    </a:cxn>
                    <a:cxn ang="0">
                      <a:pos x="130" y="332"/>
                    </a:cxn>
                    <a:cxn ang="0">
                      <a:pos x="130" y="348"/>
                    </a:cxn>
                    <a:cxn ang="0">
                      <a:pos x="120" y="362"/>
                    </a:cxn>
                    <a:cxn ang="0">
                      <a:pos x="106" y="374"/>
                    </a:cxn>
                    <a:cxn ang="0">
                      <a:pos x="90" y="380"/>
                    </a:cxn>
                  </a:cxnLst>
                  <a:rect l="0" t="0" r="r" b="b"/>
                  <a:pathLst>
                    <a:path w="198" h="380">
                      <a:moveTo>
                        <a:pt x="86" y="378"/>
                      </a:moveTo>
                      <a:lnTo>
                        <a:pt x="80" y="362"/>
                      </a:lnTo>
                      <a:lnTo>
                        <a:pt x="76" y="348"/>
                      </a:lnTo>
                      <a:lnTo>
                        <a:pt x="72" y="334"/>
                      </a:lnTo>
                      <a:lnTo>
                        <a:pt x="70" y="310"/>
                      </a:lnTo>
                      <a:lnTo>
                        <a:pt x="66" y="298"/>
                      </a:lnTo>
                      <a:lnTo>
                        <a:pt x="64" y="288"/>
                      </a:lnTo>
                      <a:lnTo>
                        <a:pt x="58" y="278"/>
                      </a:lnTo>
                      <a:lnTo>
                        <a:pt x="50" y="268"/>
                      </a:lnTo>
                      <a:lnTo>
                        <a:pt x="36" y="252"/>
                      </a:lnTo>
                      <a:lnTo>
                        <a:pt x="20" y="230"/>
                      </a:lnTo>
                      <a:lnTo>
                        <a:pt x="6" y="204"/>
                      </a:lnTo>
                      <a:lnTo>
                        <a:pt x="2" y="194"/>
                      </a:lnTo>
                      <a:lnTo>
                        <a:pt x="0" y="184"/>
                      </a:lnTo>
                      <a:lnTo>
                        <a:pt x="2" y="172"/>
                      </a:lnTo>
                      <a:lnTo>
                        <a:pt x="6" y="162"/>
                      </a:lnTo>
                      <a:lnTo>
                        <a:pt x="14" y="154"/>
                      </a:lnTo>
                      <a:lnTo>
                        <a:pt x="22" y="146"/>
                      </a:lnTo>
                      <a:lnTo>
                        <a:pt x="38" y="132"/>
                      </a:lnTo>
                      <a:lnTo>
                        <a:pt x="44" y="124"/>
                      </a:lnTo>
                      <a:lnTo>
                        <a:pt x="48" y="114"/>
                      </a:lnTo>
                      <a:lnTo>
                        <a:pt x="50" y="86"/>
                      </a:lnTo>
                      <a:lnTo>
                        <a:pt x="52" y="60"/>
                      </a:lnTo>
                      <a:lnTo>
                        <a:pt x="54" y="48"/>
                      </a:lnTo>
                      <a:lnTo>
                        <a:pt x="58" y="38"/>
                      </a:lnTo>
                      <a:lnTo>
                        <a:pt x="64" y="28"/>
                      </a:lnTo>
                      <a:lnTo>
                        <a:pt x="72" y="20"/>
                      </a:lnTo>
                      <a:lnTo>
                        <a:pt x="86" y="14"/>
                      </a:lnTo>
                      <a:lnTo>
                        <a:pt x="96" y="8"/>
                      </a:lnTo>
                      <a:lnTo>
                        <a:pt x="106" y="2"/>
                      </a:lnTo>
                      <a:lnTo>
                        <a:pt x="112" y="2"/>
                      </a:lnTo>
                      <a:lnTo>
                        <a:pt x="120" y="0"/>
                      </a:lnTo>
                      <a:lnTo>
                        <a:pt x="126" y="2"/>
                      </a:lnTo>
                      <a:lnTo>
                        <a:pt x="132" y="4"/>
                      </a:lnTo>
                      <a:lnTo>
                        <a:pt x="142" y="14"/>
                      </a:lnTo>
                      <a:lnTo>
                        <a:pt x="150" y="24"/>
                      </a:lnTo>
                      <a:lnTo>
                        <a:pt x="154" y="28"/>
                      </a:lnTo>
                      <a:lnTo>
                        <a:pt x="158" y="28"/>
                      </a:lnTo>
                      <a:lnTo>
                        <a:pt x="164" y="28"/>
                      </a:lnTo>
                      <a:lnTo>
                        <a:pt x="170" y="24"/>
                      </a:lnTo>
                      <a:lnTo>
                        <a:pt x="178" y="18"/>
                      </a:lnTo>
                      <a:lnTo>
                        <a:pt x="182" y="22"/>
                      </a:lnTo>
                      <a:lnTo>
                        <a:pt x="186" y="24"/>
                      </a:lnTo>
                      <a:lnTo>
                        <a:pt x="184" y="32"/>
                      </a:lnTo>
                      <a:lnTo>
                        <a:pt x="180" y="36"/>
                      </a:lnTo>
                      <a:lnTo>
                        <a:pt x="170" y="44"/>
                      </a:lnTo>
                      <a:lnTo>
                        <a:pt x="160" y="52"/>
                      </a:lnTo>
                      <a:lnTo>
                        <a:pt x="156" y="56"/>
                      </a:lnTo>
                      <a:lnTo>
                        <a:pt x="156" y="60"/>
                      </a:lnTo>
                      <a:lnTo>
                        <a:pt x="156" y="66"/>
                      </a:lnTo>
                      <a:lnTo>
                        <a:pt x="158" y="72"/>
                      </a:lnTo>
                      <a:lnTo>
                        <a:pt x="166" y="84"/>
                      </a:lnTo>
                      <a:lnTo>
                        <a:pt x="172" y="98"/>
                      </a:lnTo>
                      <a:lnTo>
                        <a:pt x="174" y="104"/>
                      </a:lnTo>
                      <a:lnTo>
                        <a:pt x="176" y="112"/>
                      </a:lnTo>
                      <a:lnTo>
                        <a:pt x="174" y="124"/>
                      </a:lnTo>
                      <a:lnTo>
                        <a:pt x="170" y="132"/>
                      </a:lnTo>
                      <a:lnTo>
                        <a:pt x="162" y="138"/>
                      </a:lnTo>
                      <a:lnTo>
                        <a:pt x="154" y="144"/>
                      </a:lnTo>
                      <a:lnTo>
                        <a:pt x="148" y="150"/>
                      </a:lnTo>
                      <a:lnTo>
                        <a:pt x="140" y="154"/>
                      </a:lnTo>
                      <a:lnTo>
                        <a:pt x="136" y="162"/>
                      </a:lnTo>
                      <a:lnTo>
                        <a:pt x="134" y="170"/>
                      </a:lnTo>
                      <a:lnTo>
                        <a:pt x="136" y="176"/>
                      </a:lnTo>
                      <a:lnTo>
                        <a:pt x="138" y="182"/>
                      </a:lnTo>
                      <a:lnTo>
                        <a:pt x="140" y="186"/>
                      </a:lnTo>
                      <a:lnTo>
                        <a:pt x="146" y="190"/>
                      </a:lnTo>
                      <a:lnTo>
                        <a:pt x="156" y="194"/>
                      </a:lnTo>
                      <a:lnTo>
                        <a:pt x="166" y="196"/>
                      </a:lnTo>
                      <a:lnTo>
                        <a:pt x="178" y="196"/>
                      </a:lnTo>
                      <a:lnTo>
                        <a:pt x="180" y="204"/>
                      </a:lnTo>
                      <a:lnTo>
                        <a:pt x="182" y="208"/>
                      </a:lnTo>
                      <a:lnTo>
                        <a:pt x="184" y="212"/>
                      </a:lnTo>
                      <a:lnTo>
                        <a:pt x="188" y="214"/>
                      </a:lnTo>
                      <a:lnTo>
                        <a:pt x="196" y="218"/>
                      </a:lnTo>
                      <a:lnTo>
                        <a:pt x="198" y="222"/>
                      </a:lnTo>
                      <a:lnTo>
                        <a:pt x="198" y="228"/>
                      </a:lnTo>
                      <a:lnTo>
                        <a:pt x="196" y="238"/>
                      </a:lnTo>
                      <a:lnTo>
                        <a:pt x="194" y="244"/>
                      </a:lnTo>
                      <a:lnTo>
                        <a:pt x="194" y="248"/>
                      </a:lnTo>
                      <a:lnTo>
                        <a:pt x="198" y="256"/>
                      </a:lnTo>
                      <a:lnTo>
                        <a:pt x="180" y="266"/>
                      </a:lnTo>
                      <a:lnTo>
                        <a:pt x="158" y="282"/>
                      </a:lnTo>
                      <a:lnTo>
                        <a:pt x="148" y="290"/>
                      </a:lnTo>
                      <a:lnTo>
                        <a:pt x="138" y="298"/>
                      </a:lnTo>
                      <a:lnTo>
                        <a:pt x="132" y="306"/>
                      </a:lnTo>
                      <a:lnTo>
                        <a:pt x="130" y="312"/>
                      </a:lnTo>
                      <a:lnTo>
                        <a:pt x="130" y="326"/>
                      </a:lnTo>
                      <a:lnTo>
                        <a:pt x="130" y="328"/>
                      </a:lnTo>
                      <a:lnTo>
                        <a:pt x="130" y="332"/>
                      </a:lnTo>
                      <a:lnTo>
                        <a:pt x="132" y="340"/>
                      </a:lnTo>
                      <a:lnTo>
                        <a:pt x="130" y="348"/>
                      </a:lnTo>
                      <a:lnTo>
                        <a:pt x="126" y="356"/>
                      </a:lnTo>
                      <a:lnTo>
                        <a:pt x="120" y="362"/>
                      </a:lnTo>
                      <a:lnTo>
                        <a:pt x="114" y="368"/>
                      </a:lnTo>
                      <a:lnTo>
                        <a:pt x="106" y="374"/>
                      </a:lnTo>
                      <a:lnTo>
                        <a:pt x="90" y="378"/>
                      </a:lnTo>
                      <a:lnTo>
                        <a:pt x="90" y="380"/>
                      </a:lnTo>
                      <a:lnTo>
                        <a:pt x="86" y="378"/>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highlight>
                      <a:srgbClr val="800000"/>
                    </a:highlight>
                    <a:latin typeface="Arial"/>
                    <a:cs typeface="Arial"/>
                    <a:sym typeface="Arial"/>
                  </a:endParaRPr>
                </a:p>
              </p:txBody>
            </p:sp>
            <p:sp>
              <p:nvSpPr>
                <p:cNvPr id="635" name="Mali">
                  <a:extLst>
                    <a:ext uri="{FF2B5EF4-FFF2-40B4-BE49-F238E27FC236}">
                      <a16:creationId xmlns:a16="http://schemas.microsoft.com/office/drawing/2014/main" id="{B10DBE32-E7BE-4E21-8AE5-4ADDEC19EEA1}"/>
                    </a:ext>
                  </a:extLst>
                </p:cNvPr>
                <p:cNvSpPr>
                  <a:spLocks/>
                </p:cNvSpPr>
                <p:nvPr/>
              </p:nvSpPr>
              <p:spPr bwMode="gray">
                <a:xfrm>
                  <a:off x="3208338" y="2922588"/>
                  <a:ext cx="1019175" cy="942975"/>
                </a:xfrm>
                <a:custGeom>
                  <a:avLst/>
                  <a:gdLst/>
                  <a:ahLst/>
                  <a:cxnLst>
                    <a:cxn ang="0">
                      <a:pos x="622" y="552"/>
                    </a:cxn>
                    <a:cxn ang="0">
                      <a:pos x="574" y="562"/>
                    </a:cxn>
                    <a:cxn ang="0">
                      <a:pos x="534" y="590"/>
                    </a:cxn>
                    <a:cxn ang="0">
                      <a:pos x="520" y="594"/>
                    </a:cxn>
                    <a:cxn ang="0">
                      <a:pos x="502" y="594"/>
                    </a:cxn>
                    <a:cxn ang="0">
                      <a:pos x="480" y="622"/>
                    </a:cxn>
                    <a:cxn ang="0">
                      <a:pos x="462" y="628"/>
                    </a:cxn>
                    <a:cxn ang="0">
                      <a:pos x="450" y="646"/>
                    </a:cxn>
                    <a:cxn ang="0">
                      <a:pos x="428" y="634"/>
                    </a:cxn>
                    <a:cxn ang="0">
                      <a:pos x="408" y="650"/>
                    </a:cxn>
                    <a:cxn ang="0">
                      <a:pos x="378" y="710"/>
                    </a:cxn>
                    <a:cxn ang="0">
                      <a:pos x="356" y="722"/>
                    </a:cxn>
                    <a:cxn ang="0">
                      <a:pos x="348" y="752"/>
                    </a:cxn>
                    <a:cxn ang="0">
                      <a:pos x="342" y="780"/>
                    </a:cxn>
                    <a:cxn ang="0">
                      <a:pos x="326" y="800"/>
                    </a:cxn>
                    <a:cxn ang="0">
                      <a:pos x="306" y="804"/>
                    </a:cxn>
                    <a:cxn ang="0">
                      <a:pos x="284" y="784"/>
                    </a:cxn>
                    <a:cxn ang="0">
                      <a:pos x="266" y="802"/>
                    </a:cxn>
                    <a:cxn ang="0">
                      <a:pos x="240" y="800"/>
                    </a:cxn>
                    <a:cxn ang="0">
                      <a:pos x="210" y="802"/>
                    </a:cxn>
                    <a:cxn ang="0">
                      <a:pos x="196" y="772"/>
                    </a:cxn>
                    <a:cxn ang="0">
                      <a:pos x="186" y="752"/>
                    </a:cxn>
                    <a:cxn ang="0">
                      <a:pos x="164" y="686"/>
                    </a:cxn>
                    <a:cxn ang="0">
                      <a:pos x="148" y="678"/>
                    </a:cxn>
                    <a:cxn ang="0">
                      <a:pos x="122" y="698"/>
                    </a:cxn>
                    <a:cxn ang="0">
                      <a:pos x="100" y="688"/>
                    </a:cxn>
                    <a:cxn ang="0">
                      <a:pos x="82" y="700"/>
                    </a:cxn>
                    <a:cxn ang="0">
                      <a:pos x="56" y="690"/>
                    </a:cxn>
                    <a:cxn ang="0">
                      <a:pos x="40" y="688"/>
                    </a:cxn>
                    <a:cxn ang="0">
                      <a:pos x="38" y="674"/>
                    </a:cxn>
                    <a:cxn ang="0">
                      <a:pos x="42" y="656"/>
                    </a:cxn>
                    <a:cxn ang="0">
                      <a:pos x="28" y="624"/>
                    </a:cxn>
                    <a:cxn ang="0">
                      <a:pos x="16" y="592"/>
                    </a:cxn>
                    <a:cxn ang="0">
                      <a:pos x="14" y="572"/>
                    </a:cxn>
                    <a:cxn ang="0">
                      <a:pos x="18" y="540"/>
                    </a:cxn>
                    <a:cxn ang="0">
                      <a:pos x="34" y="518"/>
                    </a:cxn>
                    <a:cxn ang="0">
                      <a:pos x="48" y="496"/>
                    </a:cxn>
                    <a:cxn ang="0">
                      <a:pos x="70" y="506"/>
                    </a:cxn>
                    <a:cxn ang="0">
                      <a:pos x="94" y="510"/>
                    </a:cxn>
                    <a:cxn ang="0">
                      <a:pos x="122" y="514"/>
                    </a:cxn>
                    <a:cxn ang="0">
                      <a:pos x="154" y="512"/>
                    </a:cxn>
                    <a:cxn ang="0">
                      <a:pos x="168" y="508"/>
                    </a:cxn>
                    <a:cxn ang="0">
                      <a:pos x="362" y="0"/>
                    </a:cxn>
                    <a:cxn ang="0">
                      <a:pos x="702" y="218"/>
                    </a:cxn>
                    <a:cxn ang="0">
                      <a:pos x="720" y="228"/>
                    </a:cxn>
                    <a:cxn ang="0">
                      <a:pos x="722" y="250"/>
                    </a:cxn>
                    <a:cxn ang="0">
                      <a:pos x="742" y="258"/>
                    </a:cxn>
                    <a:cxn ang="0">
                      <a:pos x="758" y="280"/>
                    </a:cxn>
                    <a:cxn ang="0">
                      <a:pos x="810" y="300"/>
                    </a:cxn>
                    <a:cxn ang="0">
                      <a:pos x="822" y="326"/>
                    </a:cxn>
                    <a:cxn ang="0">
                      <a:pos x="816" y="338"/>
                    </a:cxn>
                    <a:cxn ang="0">
                      <a:pos x="872" y="342"/>
                    </a:cxn>
                    <a:cxn ang="0">
                      <a:pos x="870" y="402"/>
                    </a:cxn>
                    <a:cxn ang="0">
                      <a:pos x="866" y="486"/>
                    </a:cxn>
                    <a:cxn ang="0">
                      <a:pos x="828" y="534"/>
                    </a:cxn>
                    <a:cxn ang="0">
                      <a:pos x="712" y="544"/>
                    </a:cxn>
                    <a:cxn ang="0">
                      <a:pos x="676" y="564"/>
                    </a:cxn>
                    <a:cxn ang="0">
                      <a:pos x="654" y="562"/>
                    </a:cxn>
                  </a:cxnLst>
                  <a:rect l="0" t="0" r="r" b="b"/>
                  <a:pathLst>
                    <a:path w="872" h="806">
                      <a:moveTo>
                        <a:pt x="652" y="562"/>
                      </a:moveTo>
                      <a:lnTo>
                        <a:pt x="642" y="558"/>
                      </a:lnTo>
                      <a:lnTo>
                        <a:pt x="632" y="556"/>
                      </a:lnTo>
                      <a:lnTo>
                        <a:pt x="622" y="552"/>
                      </a:lnTo>
                      <a:lnTo>
                        <a:pt x="610" y="550"/>
                      </a:lnTo>
                      <a:lnTo>
                        <a:pt x="600" y="552"/>
                      </a:lnTo>
                      <a:lnTo>
                        <a:pt x="592" y="554"/>
                      </a:lnTo>
                      <a:lnTo>
                        <a:pt x="574" y="562"/>
                      </a:lnTo>
                      <a:lnTo>
                        <a:pt x="556" y="572"/>
                      </a:lnTo>
                      <a:lnTo>
                        <a:pt x="540" y="582"/>
                      </a:lnTo>
                      <a:lnTo>
                        <a:pt x="538" y="586"/>
                      </a:lnTo>
                      <a:lnTo>
                        <a:pt x="534" y="590"/>
                      </a:lnTo>
                      <a:lnTo>
                        <a:pt x="530" y="594"/>
                      </a:lnTo>
                      <a:lnTo>
                        <a:pt x="526" y="596"/>
                      </a:lnTo>
                      <a:lnTo>
                        <a:pt x="522" y="596"/>
                      </a:lnTo>
                      <a:lnTo>
                        <a:pt x="520" y="594"/>
                      </a:lnTo>
                      <a:lnTo>
                        <a:pt x="516" y="592"/>
                      </a:lnTo>
                      <a:lnTo>
                        <a:pt x="512" y="590"/>
                      </a:lnTo>
                      <a:lnTo>
                        <a:pt x="506" y="592"/>
                      </a:lnTo>
                      <a:lnTo>
                        <a:pt x="502" y="594"/>
                      </a:lnTo>
                      <a:lnTo>
                        <a:pt x="494" y="604"/>
                      </a:lnTo>
                      <a:lnTo>
                        <a:pt x="488" y="616"/>
                      </a:lnTo>
                      <a:lnTo>
                        <a:pt x="484" y="620"/>
                      </a:lnTo>
                      <a:lnTo>
                        <a:pt x="480" y="622"/>
                      </a:lnTo>
                      <a:lnTo>
                        <a:pt x="470" y="622"/>
                      </a:lnTo>
                      <a:lnTo>
                        <a:pt x="464" y="624"/>
                      </a:lnTo>
                      <a:lnTo>
                        <a:pt x="462" y="626"/>
                      </a:lnTo>
                      <a:lnTo>
                        <a:pt x="462" y="628"/>
                      </a:lnTo>
                      <a:lnTo>
                        <a:pt x="462" y="634"/>
                      </a:lnTo>
                      <a:lnTo>
                        <a:pt x="460" y="640"/>
                      </a:lnTo>
                      <a:lnTo>
                        <a:pt x="456" y="644"/>
                      </a:lnTo>
                      <a:lnTo>
                        <a:pt x="450" y="646"/>
                      </a:lnTo>
                      <a:lnTo>
                        <a:pt x="444" y="644"/>
                      </a:lnTo>
                      <a:lnTo>
                        <a:pt x="440" y="640"/>
                      </a:lnTo>
                      <a:lnTo>
                        <a:pt x="434" y="636"/>
                      </a:lnTo>
                      <a:lnTo>
                        <a:pt x="428" y="634"/>
                      </a:lnTo>
                      <a:lnTo>
                        <a:pt x="422" y="636"/>
                      </a:lnTo>
                      <a:lnTo>
                        <a:pt x="416" y="640"/>
                      </a:lnTo>
                      <a:lnTo>
                        <a:pt x="410" y="646"/>
                      </a:lnTo>
                      <a:lnTo>
                        <a:pt x="408" y="650"/>
                      </a:lnTo>
                      <a:lnTo>
                        <a:pt x="410" y="656"/>
                      </a:lnTo>
                      <a:lnTo>
                        <a:pt x="414" y="660"/>
                      </a:lnTo>
                      <a:lnTo>
                        <a:pt x="390" y="706"/>
                      </a:lnTo>
                      <a:lnTo>
                        <a:pt x="378" y="710"/>
                      </a:lnTo>
                      <a:lnTo>
                        <a:pt x="368" y="712"/>
                      </a:lnTo>
                      <a:lnTo>
                        <a:pt x="360" y="714"/>
                      </a:lnTo>
                      <a:lnTo>
                        <a:pt x="356" y="718"/>
                      </a:lnTo>
                      <a:lnTo>
                        <a:pt x="356" y="722"/>
                      </a:lnTo>
                      <a:lnTo>
                        <a:pt x="356" y="736"/>
                      </a:lnTo>
                      <a:lnTo>
                        <a:pt x="356" y="742"/>
                      </a:lnTo>
                      <a:lnTo>
                        <a:pt x="354" y="746"/>
                      </a:lnTo>
                      <a:lnTo>
                        <a:pt x="348" y="752"/>
                      </a:lnTo>
                      <a:lnTo>
                        <a:pt x="344" y="758"/>
                      </a:lnTo>
                      <a:lnTo>
                        <a:pt x="340" y="766"/>
                      </a:lnTo>
                      <a:lnTo>
                        <a:pt x="340" y="774"/>
                      </a:lnTo>
                      <a:lnTo>
                        <a:pt x="342" y="780"/>
                      </a:lnTo>
                      <a:lnTo>
                        <a:pt x="344" y="786"/>
                      </a:lnTo>
                      <a:lnTo>
                        <a:pt x="342" y="794"/>
                      </a:lnTo>
                      <a:lnTo>
                        <a:pt x="332" y="796"/>
                      </a:lnTo>
                      <a:lnTo>
                        <a:pt x="326" y="800"/>
                      </a:lnTo>
                      <a:lnTo>
                        <a:pt x="318" y="804"/>
                      </a:lnTo>
                      <a:lnTo>
                        <a:pt x="310" y="806"/>
                      </a:lnTo>
                      <a:lnTo>
                        <a:pt x="308" y="806"/>
                      </a:lnTo>
                      <a:lnTo>
                        <a:pt x="306" y="804"/>
                      </a:lnTo>
                      <a:lnTo>
                        <a:pt x="302" y="798"/>
                      </a:lnTo>
                      <a:lnTo>
                        <a:pt x="300" y="782"/>
                      </a:lnTo>
                      <a:lnTo>
                        <a:pt x="290" y="782"/>
                      </a:lnTo>
                      <a:lnTo>
                        <a:pt x="284" y="784"/>
                      </a:lnTo>
                      <a:lnTo>
                        <a:pt x="278" y="784"/>
                      </a:lnTo>
                      <a:lnTo>
                        <a:pt x="274" y="790"/>
                      </a:lnTo>
                      <a:lnTo>
                        <a:pt x="270" y="796"/>
                      </a:lnTo>
                      <a:lnTo>
                        <a:pt x="266" y="802"/>
                      </a:lnTo>
                      <a:lnTo>
                        <a:pt x="260" y="804"/>
                      </a:lnTo>
                      <a:lnTo>
                        <a:pt x="254" y="804"/>
                      </a:lnTo>
                      <a:lnTo>
                        <a:pt x="246" y="804"/>
                      </a:lnTo>
                      <a:lnTo>
                        <a:pt x="240" y="800"/>
                      </a:lnTo>
                      <a:lnTo>
                        <a:pt x="236" y="796"/>
                      </a:lnTo>
                      <a:lnTo>
                        <a:pt x="230" y="794"/>
                      </a:lnTo>
                      <a:lnTo>
                        <a:pt x="220" y="796"/>
                      </a:lnTo>
                      <a:lnTo>
                        <a:pt x="210" y="802"/>
                      </a:lnTo>
                      <a:lnTo>
                        <a:pt x="206" y="796"/>
                      </a:lnTo>
                      <a:lnTo>
                        <a:pt x="204" y="790"/>
                      </a:lnTo>
                      <a:lnTo>
                        <a:pt x="198" y="778"/>
                      </a:lnTo>
                      <a:lnTo>
                        <a:pt x="196" y="772"/>
                      </a:lnTo>
                      <a:lnTo>
                        <a:pt x="192" y="766"/>
                      </a:lnTo>
                      <a:lnTo>
                        <a:pt x="188" y="760"/>
                      </a:lnTo>
                      <a:lnTo>
                        <a:pt x="180" y="756"/>
                      </a:lnTo>
                      <a:lnTo>
                        <a:pt x="186" y="752"/>
                      </a:lnTo>
                      <a:lnTo>
                        <a:pt x="190" y="750"/>
                      </a:lnTo>
                      <a:lnTo>
                        <a:pt x="190" y="744"/>
                      </a:lnTo>
                      <a:lnTo>
                        <a:pt x="174" y="710"/>
                      </a:lnTo>
                      <a:lnTo>
                        <a:pt x="164" y="686"/>
                      </a:lnTo>
                      <a:lnTo>
                        <a:pt x="158" y="678"/>
                      </a:lnTo>
                      <a:lnTo>
                        <a:pt x="156" y="674"/>
                      </a:lnTo>
                      <a:lnTo>
                        <a:pt x="152" y="676"/>
                      </a:lnTo>
                      <a:lnTo>
                        <a:pt x="148" y="678"/>
                      </a:lnTo>
                      <a:lnTo>
                        <a:pt x="142" y="686"/>
                      </a:lnTo>
                      <a:lnTo>
                        <a:pt x="134" y="694"/>
                      </a:lnTo>
                      <a:lnTo>
                        <a:pt x="128" y="698"/>
                      </a:lnTo>
                      <a:lnTo>
                        <a:pt x="122" y="698"/>
                      </a:lnTo>
                      <a:lnTo>
                        <a:pt x="116" y="696"/>
                      </a:lnTo>
                      <a:lnTo>
                        <a:pt x="112" y="694"/>
                      </a:lnTo>
                      <a:lnTo>
                        <a:pt x="106" y="690"/>
                      </a:lnTo>
                      <a:lnTo>
                        <a:pt x="100" y="688"/>
                      </a:lnTo>
                      <a:lnTo>
                        <a:pt x="96" y="690"/>
                      </a:lnTo>
                      <a:lnTo>
                        <a:pt x="92" y="694"/>
                      </a:lnTo>
                      <a:lnTo>
                        <a:pt x="88" y="698"/>
                      </a:lnTo>
                      <a:lnTo>
                        <a:pt x="82" y="700"/>
                      </a:lnTo>
                      <a:lnTo>
                        <a:pt x="76" y="700"/>
                      </a:lnTo>
                      <a:lnTo>
                        <a:pt x="72" y="696"/>
                      </a:lnTo>
                      <a:lnTo>
                        <a:pt x="64" y="686"/>
                      </a:lnTo>
                      <a:lnTo>
                        <a:pt x="56" y="690"/>
                      </a:lnTo>
                      <a:lnTo>
                        <a:pt x="52" y="692"/>
                      </a:lnTo>
                      <a:lnTo>
                        <a:pt x="48" y="692"/>
                      </a:lnTo>
                      <a:lnTo>
                        <a:pt x="44" y="692"/>
                      </a:lnTo>
                      <a:lnTo>
                        <a:pt x="40" y="688"/>
                      </a:lnTo>
                      <a:lnTo>
                        <a:pt x="38" y="682"/>
                      </a:lnTo>
                      <a:lnTo>
                        <a:pt x="36" y="680"/>
                      </a:lnTo>
                      <a:lnTo>
                        <a:pt x="36" y="678"/>
                      </a:lnTo>
                      <a:lnTo>
                        <a:pt x="38" y="674"/>
                      </a:lnTo>
                      <a:lnTo>
                        <a:pt x="38" y="672"/>
                      </a:lnTo>
                      <a:lnTo>
                        <a:pt x="38" y="670"/>
                      </a:lnTo>
                      <a:lnTo>
                        <a:pt x="40" y="664"/>
                      </a:lnTo>
                      <a:lnTo>
                        <a:pt x="42" y="656"/>
                      </a:lnTo>
                      <a:lnTo>
                        <a:pt x="44" y="650"/>
                      </a:lnTo>
                      <a:lnTo>
                        <a:pt x="42" y="642"/>
                      </a:lnTo>
                      <a:lnTo>
                        <a:pt x="38" y="636"/>
                      </a:lnTo>
                      <a:lnTo>
                        <a:pt x="28" y="624"/>
                      </a:lnTo>
                      <a:lnTo>
                        <a:pt x="16" y="614"/>
                      </a:lnTo>
                      <a:lnTo>
                        <a:pt x="14" y="608"/>
                      </a:lnTo>
                      <a:lnTo>
                        <a:pt x="12" y="602"/>
                      </a:lnTo>
                      <a:lnTo>
                        <a:pt x="16" y="592"/>
                      </a:lnTo>
                      <a:lnTo>
                        <a:pt x="18" y="586"/>
                      </a:lnTo>
                      <a:lnTo>
                        <a:pt x="18" y="580"/>
                      </a:lnTo>
                      <a:lnTo>
                        <a:pt x="16" y="576"/>
                      </a:lnTo>
                      <a:lnTo>
                        <a:pt x="14" y="572"/>
                      </a:lnTo>
                      <a:lnTo>
                        <a:pt x="10" y="568"/>
                      </a:lnTo>
                      <a:lnTo>
                        <a:pt x="8" y="562"/>
                      </a:lnTo>
                      <a:lnTo>
                        <a:pt x="0" y="542"/>
                      </a:lnTo>
                      <a:lnTo>
                        <a:pt x="18" y="540"/>
                      </a:lnTo>
                      <a:lnTo>
                        <a:pt x="26" y="536"/>
                      </a:lnTo>
                      <a:lnTo>
                        <a:pt x="30" y="532"/>
                      </a:lnTo>
                      <a:lnTo>
                        <a:pt x="32" y="528"/>
                      </a:lnTo>
                      <a:lnTo>
                        <a:pt x="34" y="518"/>
                      </a:lnTo>
                      <a:lnTo>
                        <a:pt x="36" y="506"/>
                      </a:lnTo>
                      <a:lnTo>
                        <a:pt x="40" y="502"/>
                      </a:lnTo>
                      <a:lnTo>
                        <a:pt x="42" y="498"/>
                      </a:lnTo>
                      <a:lnTo>
                        <a:pt x="48" y="496"/>
                      </a:lnTo>
                      <a:lnTo>
                        <a:pt x="54" y="494"/>
                      </a:lnTo>
                      <a:lnTo>
                        <a:pt x="58" y="496"/>
                      </a:lnTo>
                      <a:lnTo>
                        <a:pt x="62" y="498"/>
                      </a:lnTo>
                      <a:lnTo>
                        <a:pt x="70" y="506"/>
                      </a:lnTo>
                      <a:lnTo>
                        <a:pt x="76" y="514"/>
                      </a:lnTo>
                      <a:lnTo>
                        <a:pt x="82" y="520"/>
                      </a:lnTo>
                      <a:lnTo>
                        <a:pt x="90" y="512"/>
                      </a:lnTo>
                      <a:lnTo>
                        <a:pt x="94" y="510"/>
                      </a:lnTo>
                      <a:lnTo>
                        <a:pt x="100" y="508"/>
                      </a:lnTo>
                      <a:lnTo>
                        <a:pt x="108" y="510"/>
                      </a:lnTo>
                      <a:lnTo>
                        <a:pt x="116" y="512"/>
                      </a:lnTo>
                      <a:lnTo>
                        <a:pt x="122" y="514"/>
                      </a:lnTo>
                      <a:lnTo>
                        <a:pt x="132" y="514"/>
                      </a:lnTo>
                      <a:lnTo>
                        <a:pt x="142" y="514"/>
                      </a:lnTo>
                      <a:lnTo>
                        <a:pt x="150" y="514"/>
                      </a:lnTo>
                      <a:lnTo>
                        <a:pt x="154" y="512"/>
                      </a:lnTo>
                      <a:lnTo>
                        <a:pt x="156" y="510"/>
                      </a:lnTo>
                      <a:lnTo>
                        <a:pt x="158" y="506"/>
                      </a:lnTo>
                      <a:lnTo>
                        <a:pt x="160" y="500"/>
                      </a:lnTo>
                      <a:lnTo>
                        <a:pt x="168" y="508"/>
                      </a:lnTo>
                      <a:lnTo>
                        <a:pt x="358" y="518"/>
                      </a:lnTo>
                      <a:lnTo>
                        <a:pt x="370" y="474"/>
                      </a:lnTo>
                      <a:lnTo>
                        <a:pt x="356" y="460"/>
                      </a:lnTo>
                      <a:lnTo>
                        <a:pt x="362" y="0"/>
                      </a:lnTo>
                      <a:lnTo>
                        <a:pt x="450" y="0"/>
                      </a:lnTo>
                      <a:lnTo>
                        <a:pt x="446" y="0"/>
                      </a:lnTo>
                      <a:lnTo>
                        <a:pt x="700" y="214"/>
                      </a:lnTo>
                      <a:lnTo>
                        <a:pt x="702" y="218"/>
                      </a:lnTo>
                      <a:lnTo>
                        <a:pt x="704" y="220"/>
                      </a:lnTo>
                      <a:lnTo>
                        <a:pt x="710" y="222"/>
                      </a:lnTo>
                      <a:lnTo>
                        <a:pt x="716" y="224"/>
                      </a:lnTo>
                      <a:lnTo>
                        <a:pt x="720" y="228"/>
                      </a:lnTo>
                      <a:lnTo>
                        <a:pt x="722" y="230"/>
                      </a:lnTo>
                      <a:lnTo>
                        <a:pt x="724" y="238"/>
                      </a:lnTo>
                      <a:lnTo>
                        <a:pt x="724" y="244"/>
                      </a:lnTo>
                      <a:lnTo>
                        <a:pt x="722" y="250"/>
                      </a:lnTo>
                      <a:lnTo>
                        <a:pt x="724" y="252"/>
                      </a:lnTo>
                      <a:lnTo>
                        <a:pt x="726" y="254"/>
                      </a:lnTo>
                      <a:lnTo>
                        <a:pt x="734" y="258"/>
                      </a:lnTo>
                      <a:lnTo>
                        <a:pt x="742" y="258"/>
                      </a:lnTo>
                      <a:lnTo>
                        <a:pt x="744" y="266"/>
                      </a:lnTo>
                      <a:lnTo>
                        <a:pt x="748" y="270"/>
                      </a:lnTo>
                      <a:lnTo>
                        <a:pt x="752" y="276"/>
                      </a:lnTo>
                      <a:lnTo>
                        <a:pt x="758" y="280"/>
                      </a:lnTo>
                      <a:lnTo>
                        <a:pt x="770" y="284"/>
                      </a:lnTo>
                      <a:lnTo>
                        <a:pt x="784" y="288"/>
                      </a:lnTo>
                      <a:lnTo>
                        <a:pt x="798" y="294"/>
                      </a:lnTo>
                      <a:lnTo>
                        <a:pt x="810" y="300"/>
                      </a:lnTo>
                      <a:lnTo>
                        <a:pt x="816" y="304"/>
                      </a:lnTo>
                      <a:lnTo>
                        <a:pt x="820" y="310"/>
                      </a:lnTo>
                      <a:lnTo>
                        <a:pt x="822" y="318"/>
                      </a:lnTo>
                      <a:lnTo>
                        <a:pt x="822" y="326"/>
                      </a:lnTo>
                      <a:lnTo>
                        <a:pt x="822" y="330"/>
                      </a:lnTo>
                      <a:lnTo>
                        <a:pt x="820" y="332"/>
                      </a:lnTo>
                      <a:lnTo>
                        <a:pt x="816" y="334"/>
                      </a:lnTo>
                      <a:lnTo>
                        <a:pt x="816" y="338"/>
                      </a:lnTo>
                      <a:lnTo>
                        <a:pt x="816" y="342"/>
                      </a:lnTo>
                      <a:lnTo>
                        <a:pt x="818" y="344"/>
                      </a:lnTo>
                      <a:lnTo>
                        <a:pt x="824" y="350"/>
                      </a:lnTo>
                      <a:lnTo>
                        <a:pt x="872" y="342"/>
                      </a:lnTo>
                      <a:lnTo>
                        <a:pt x="870" y="352"/>
                      </a:lnTo>
                      <a:lnTo>
                        <a:pt x="868" y="362"/>
                      </a:lnTo>
                      <a:lnTo>
                        <a:pt x="868" y="382"/>
                      </a:lnTo>
                      <a:lnTo>
                        <a:pt x="870" y="402"/>
                      </a:lnTo>
                      <a:lnTo>
                        <a:pt x="872" y="426"/>
                      </a:lnTo>
                      <a:lnTo>
                        <a:pt x="872" y="448"/>
                      </a:lnTo>
                      <a:lnTo>
                        <a:pt x="870" y="468"/>
                      </a:lnTo>
                      <a:lnTo>
                        <a:pt x="866" y="486"/>
                      </a:lnTo>
                      <a:lnTo>
                        <a:pt x="860" y="500"/>
                      </a:lnTo>
                      <a:lnTo>
                        <a:pt x="852" y="514"/>
                      </a:lnTo>
                      <a:lnTo>
                        <a:pt x="842" y="524"/>
                      </a:lnTo>
                      <a:lnTo>
                        <a:pt x="828" y="534"/>
                      </a:lnTo>
                      <a:lnTo>
                        <a:pt x="812" y="542"/>
                      </a:lnTo>
                      <a:lnTo>
                        <a:pt x="768" y="542"/>
                      </a:lnTo>
                      <a:lnTo>
                        <a:pt x="768" y="544"/>
                      </a:lnTo>
                      <a:lnTo>
                        <a:pt x="712" y="544"/>
                      </a:lnTo>
                      <a:lnTo>
                        <a:pt x="700" y="556"/>
                      </a:lnTo>
                      <a:lnTo>
                        <a:pt x="694" y="562"/>
                      </a:lnTo>
                      <a:lnTo>
                        <a:pt x="686" y="564"/>
                      </a:lnTo>
                      <a:lnTo>
                        <a:pt x="676" y="564"/>
                      </a:lnTo>
                      <a:lnTo>
                        <a:pt x="666" y="560"/>
                      </a:lnTo>
                      <a:lnTo>
                        <a:pt x="658" y="560"/>
                      </a:lnTo>
                      <a:lnTo>
                        <a:pt x="656" y="560"/>
                      </a:lnTo>
                      <a:lnTo>
                        <a:pt x="654" y="562"/>
                      </a:lnTo>
                      <a:lnTo>
                        <a:pt x="652" y="562"/>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6" name="Chad">
                  <a:extLst>
                    <a:ext uri="{FF2B5EF4-FFF2-40B4-BE49-F238E27FC236}">
                      <a16:creationId xmlns:a16="http://schemas.microsoft.com/office/drawing/2014/main" id="{974CD8BF-3E5F-4952-AFD1-979DF2FB1A19}"/>
                    </a:ext>
                  </a:extLst>
                </p:cNvPr>
                <p:cNvSpPr>
                  <a:spLocks/>
                </p:cNvSpPr>
                <p:nvPr/>
              </p:nvSpPr>
              <p:spPr bwMode="gray">
                <a:xfrm>
                  <a:off x="4779963" y="3055938"/>
                  <a:ext cx="654050" cy="1016000"/>
                </a:xfrm>
                <a:custGeom>
                  <a:avLst/>
                  <a:gdLst/>
                  <a:ahLst/>
                  <a:cxnLst>
                    <a:cxn ang="0">
                      <a:pos x="92" y="114"/>
                    </a:cxn>
                    <a:cxn ang="0">
                      <a:pos x="122" y="158"/>
                    </a:cxn>
                    <a:cxn ang="0">
                      <a:pos x="122" y="178"/>
                    </a:cxn>
                    <a:cxn ang="0">
                      <a:pos x="104" y="352"/>
                    </a:cxn>
                    <a:cxn ang="0">
                      <a:pos x="14" y="470"/>
                    </a:cxn>
                    <a:cxn ang="0">
                      <a:pos x="0" y="494"/>
                    </a:cxn>
                    <a:cxn ang="0">
                      <a:pos x="8" y="524"/>
                    </a:cxn>
                    <a:cxn ang="0">
                      <a:pos x="36" y="560"/>
                    </a:cxn>
                    <a:cxn ang="0">
                      <a:pos x="72" y="604"/>
                    </a:cxn>
                    <a:cxn ang="0">
                      <a:pos x="86" y="682"/>
                    </a:cxn>
                    <a:cxn ang="0">
                      <a:pos x="76" y="720"/>
                    </a:cxn>
                    <a:cxn ang="0">
                      <a:pos x="34" y="728"/>
                    </a:cxn>
                    <a:cxn ang="0">
                      <a:pos x="28" y="754"/>
                    </a:cxn>
                    <a:cxn ang="0">
                      <a:pos x="42" y="774"/>
                    </a:cxn>
                    <a:cxn ang="0">
                      <a:pos x="80" y="808"/>
                    </a:cxn>
                    <a:cxn ang="0">
                      <a:pos x="110" y="868"/>
                    </a:cxn>
                    <a:cxn ang="0">
                      <a:pos x="150" y="858"/>
                    </a:cxn>
                    <a:cxn ang="0">
                      <a:pos x="168" y="858"/>
                    </a:cxn>
                    <a:cxn ang="0">
                      <a:pos x="182" y="862"/>
                    </a:cxn>
                    <a:cxn ang="0">
                      <a:pos x="199" y="850"/>
                    </a:cxn>
                    <a:cxn ang="0">
                      <a:pos x="263" y="842"/>
                    </a:cxn>
                    <a:cxn ang="0">
                      <a:pos x="291" y="826"/>
                    </a:cxn>
                    <a:cxn ang="0">
                      <a:pos x="309" y="798"/>
                    </a:cxn>
                    <a:cxn ang="0">
                      <a:pos x="321" y="788"/>
                    </a:cxn>
                    <a:cxn ang="0">
                      <a:pos x="369" y="774"/>
                    </a:cxn>
                    <a:cxn ang="0">
                      <a:pos x="417" y="736"/>
                    </a:cxn>
                    <a:cxn ang="0">
                      <a:pos x="443" y="716"/>
                    </a:cxn>
                    <a:cxn ang="0">
                      <a:pos x="447" y="694"/>
                    </a:cxn>
                    <a:cxn ang="0">
                      <a:pos x="473" y="680"/>
                    </a:cxn>
                    <a:cxn ang="0">
                      <a:pos x="491" y="680"/>
                    </a:cxn>
                    <a:cxn ang="0">
                      <a:pos x="507" y="682"/>
                    </a:cxn>
                    <a:cxn ang="0">
                      <a:pos x="507" y="668"/>
                    </a:cxn>
                    <a:cxn ang="0">
                      <a:pos x="511" y="658"/>
                    </a:cxn>
                    <a:cxn ang="0">
                      <a:pos x="499" y="646"/>
                    </a:cxn>
                    <a:cxn ang="0">
                      <a:pos x="489" y="626"/>
                    </a:cxn>
                    <a:cxn ang="0">
                      <a:pos x="475" y="588"/>
                    </a:cxn>
                    <a:cxn ang="0">
                      <a:pos x="453" y="580"/>
                    </a:cxn>
                    <a:cxn ang="0">
                      <a:pos x="451" y="564"/>
                    </a:cxn>
                    <a:cxn ang="0">
                      <a:pos x="463" y="550"/>
                    </a:cxn>
                    <a:cxn ang="0">
                      <a:pos x="471" y="540"/>
                    </a:cxn>
                    <a:cxn ang="0">
                      <a:pos x="463" y="520"/>
                    </a:cxn>
                    <a:cxn ang="0">
                      <a:pos x="487" y="502"/>
                    </a:cxn>
                    <a:cxn ang="0">
                      <a:pos x="483" y="492"/>
                    </a:cxn>
                    <a:cxn ang="0">
                      <a:pos x="479" y="476"/>
                    </a:cxn>
                    <a:cxn ang="0">
                      <a:pos x="503" y="452"/>
                    </a:cxn>
                    <a:cxn ang="0">
                      <a:pos x="531" y="420"/>
                    </a:cxn>
                    <a:cxn ang="0">
                      <a:pos x="142" y="0"/>
                    </a:cxn>
                  </a:cxnLst>
                  <a:rect l="0" t="0" r="r" b="b"/>
                  <a:pathLst>
                    <a:path w="559" h="868">
                      <a:moveTo>
                        <a:pt x="142" y="0"/>
                      </a:moveTo>
                      <a:lnTo>
                        <a:pt x="92" y="28"/>
                      </a:lnTo>
                      <a:lnTo>
                        <a:pt x="92" y="114"/>
                      </a:lnTo>
                      <a:lnTo>
                        <a:pt x="100" y="124"/>
                      </a:lnTo>
                      <a:lnTo>
                        <a:pt x="112" y="140"/>
                      </a:lnTo>
                      <a:lnTo>
                        <a:pt x="122" y="158"/>
                      </a:lnTo>
                      <a:lnTo>
                        <a:pt x="126" y="170"/>
                      </a:lnTo>
                      <a:lnTo>
                        <a:pt x="126" y="174"/>
                      </a:lnTo>
                      <a:lnTo>
                        <a:pt x="122" y="178"/>
                      </a:lnTo>
                      <a:lnTo>
                        <a:pt x="116" y="184"/>
                      </a:lnTo>
                      <a:lnTo>
                        <a:pt x="116" y="258"/>
                      </a:lnTo>
                      <a:lnTo>
                        <a:pt x="104" y="352"/>
                      </a:lnTo>
                      <a:lnTo>
                        <a:pt x="82" y="378"/>
                      </a:lnTo>
                      <a:lnTo>
                        <a:pt x="60" y="408"/>
                      </a:lnTo>
                      <a:lnTo>
                        <a:pt x="14" y="470"/>
                      </a:lnTo>
                      <a:lnTo>
                        <a:pt x="4" y="482"/>
                      </a:lnTo>
                      <a:lnTo>
                        <a:pt x="2" y="488"/>
                      </a:lnTo>
                      <a:lnTo>
                        <a:pt x="0" y="494"/>
                      </a:lnTo>
                      <a:lnTo>
                        <a:pt x="0" y="506"/>
                      </a:lnTo>
                      <a:lnTo>
                        <a:pt x="4" y="516"/>
                      </a:lnTo>
                      <a:lnTo>
                        <a:pt x="8" y="524"/>
                      </a:lnTo>
                      <a:lnTo>
                        <a:pt x="12" y="532"/>
                      </a:lnTo>
                      <a:lnTo>
                        <a:pt x="24" y="546"/>
                      </a:lnTo>
                      <a:lnTo>
                        <a:pt x="36" y="560"/>
                      </a:lnTo>
                      <a:lnTo>
                        <a:pt x="46" y="570"/>
                      </a:lnTo>
                      <a:lnTo>
                        <a:pt x="56" y="580"/>
                      </a:lnTo>
                      <a:lnTo>
                        <a:pt x="72" y="604"/>
                      </a:lnTo>
                      <a:lnTo>
                        <a:pt x="72" y="642"/>
                      </a:lnTo>
                      <a:lnTo>
                        <a:pt x="80" y="662"/>
                      </a:lnTo>
                      <a:lnTo>
                        <a:pt x="86" y="682"/>
                      </a:lnTo>
                      <a:lnTo>
                        <a:pt x="92" y="700"/>
                      </a:lnTo>
                      <a:lnTo>
                        <a:pt x="98" y="720"/>
                      </a:lnTo>
                      <a:lnTo>
                        <a:pt x="76" y="720"/>
                      </a:lnTo>
                      <a:lnTo>
                        <a:pt x="52" y="722"/>
                      </a:lnTo>
                      <a:lnTo>
                        <a:pt x="42" y="724"/>
                      </a:lnTo>
                      <a:lnTo>
                        <a:pt x="34" y="728"/>
                      </a:lnTo>
                      <a:lnTo>
                        <a:pt x="30" y="734"/>
                      </a:lnTo>
                      <a:lnTo>
                        <a:pt x="28" y="744"/>
                      </a:lnTo>
                      <a:lnTo>
                        <a:pt x="28" y="754"/>
                      </a:lnTo>
                      <a:lnTo>
                        <a:pt x="32" y="762"/>
                      </a:lnTo>
                      <a:lnTo>
                        <a:pt x="36" y="768"/>
                      </a:lnTo>
                      <a:lnTo>
                        <a:pt x="42" y="774"/>
                      </a:lnTo>
                      <a:lnTo>
                        <a:pt x="54" y="784"/>
                      </a:lnTo>
                      <a:lnTo>
                        <a:pt x="66" y="792"/>
                      </a:lnTo>
                      <a:lnTo>
                        <a:pt x="80" y="808"/>
                      </a:lnTo>
                      <a:lnTo>
                        <a:pt x="92" y="826"/>
                      </a:lnTo>
                      <a:lnTo>
                        <a:pt x="102" y="846"/>
                      </a:lnTo>
                      <a:lnTo>
                        <a:pt x="110" y="868"/>
                      </a:lnTo>
                      <a:lnTo>
                        <a:pt x="124" y="864"/>
                      </a:lnTo>
                      <a:lnTo>
                        <a:pt x="138" y="862"/>
                      </a:lnTo>
                      <a:lnTo>
                        <a:pt x="150" y="858"/>
                      </a:lnTo>
                      <a:lnTo>
                        <a:pt x="156" y="854"/>
                      </a:lnTo>
                      <a:lnTo>
                        <a:pt x="162" y="850"/>
                      </a:lnTo>
                      <a:lnTo>
                        <a:pt x="168" y="858"/>
                      </a:lnTo>
                      <a:lnTo>
                        <a:pt x="172" y="862"/>
                      </a:lnTo>
                      <a:lnTo>
                        <a:pt x="176" y="862"/>
                      </a:lnTo>
                      <a:lnTo>
                        <a:pt x="182" y="862"/>
                      </a:lnTo>
                      <a:lnTo>
                        <a:pt x="189" y="858"/>
                      </a:lnTo>
                      <a:lnTo>
                        <a:pt x="193" y="854"/>
                      </a:lnTo>
                      <a:lnTo>
                        <a:pt x="199" y="850"/>
                      </a:lnTo>
                      <a:lnTo>
                        <a:pt x="221" y="846"/>
                      </a:lnTo>
                      <a:lnTo>
                        <a:pt x="241" y="844"/>
                      </a:lnTo>
                      <a:lnTo>
                        <a:pt x="263" y="842"/>
                      </a:lnTo>
                      <a:lnTo>
                        <a:pt x="271" y="838"/>
                      </a:lnTo>
                      <a:lnTo>
                        <a:pt x="281" y="834"/>
                      </a:lnTo>
                      <a:lnTo>
                        <a:pt x="291" y="826"/>
                      </a:lnTo>
                      <a:lnTo>
                        <a:pt x="297" y="818"/>
                      </a:lnTo>
                      <a:lnTo>
                        <a:pt x="303" y="808"/>
                      </a:lnTo>
                      <a:lnTo>
                        <a:pt x="309" y="798"/>
                      </a:lnTo>
                      <a:lnTo>
                        <a:pt x="303" y="794"/>
                      </a:lnTo>
                      <a:lnTo>
                        <a:pt x="301" y="788"/>
                      </a:lnTo>
                      <a:lnTo>
                        <a:pt x="321" y="788"/>
                      </a:lnTo>
                      <a:lnTo>
                        <a:pt x="339" y="784"/>
                      </a:lnTo>
                      <a:lnTo>
                        <a:pt x="355" y="780"/>
                      </a:lnTo>
                      <a:lnTo>
                        <a:pt x="369" y="774"/>
                      </a:lnTo>
                      <a:lnTo>
                        <a:pt x="381" y="768"/>
                      </a:lnTo>
                      <a:lnTo>
                        <a:pt x="393" y="758"/>
                      </a:lnTo>
                      <a:lnTo>
                        <a:pt x="417" y="736"/>
                      </a:lnTo>
                      <a:lnTo>
                        <a:pt x="427" y="728"/>
                      </a:lnTo>
                      <a:lnTo>
                        <a:pt x="437" y="720"/>
                      </a:lnTo>
                      <a:lnTo>
                        <a:pt x="443" y="716"/>
                      </a:lnTo>
                      <a:lnTo>
                        <a:pt x="445" y="710"/>
                      </a:lnTo>
                      <a:lnTo>
                        <a:pt x="447" y="702"/>
                      </a:lnTo>
                      <a:lnTo>
                        <a:pt x="447" y="694"/>
                      </a:lnTo>
                      <a:lnTo>
                        <a:pt x="457" y="692"/>
                      </a:lnTo>
                      <a:lnTo>
                        <a:pt x="465" y="686"/>
                      </a:lnTo>
                      <a:lnTo>
                        <a:pt x="473" y="680"/>
                      </a:lnTo>
                      <a:lnTo>
                        <a:pt x="477" y="680"/>
                      </a:lnTo>
                      <a:lnTo>
                        <a:pt x="483" y="678"/>
                      </a:lnTo>
                      <a:lnTo>
                        <a:pt x="491" y="680"/>
                      </a:lnTo>
                      <a:lnTo>
                        <a:pt x="499" y="682"/>
                      </a:lnTo>
                      <a:lnTo>
                        <a:pt x="509" y="688"/>
                      </a:lnTo>
                      <a:lnTo>
                        <a:pt x="507" y="682"/>
                      </a:lnTo>
                      <a:lnTo>
                        <a:pt x="505" y="674"/>
                      </a:lnTo>
                      <a:lnTo>
                        <a:pt x="505" y="672"/>
                      </a:lnTo>
                      <a:lnTo>
                        <a:pt x="507" y="668"/>
                      </a:lnTo>
                      <a:lnTo>
                        <a:pt x="511" y="666"/>
                      </a:lnTo>
                      <a:lnTo>
                        <a:pt x="511" y="662"/>
                      </a:lnTo>
                      <a:lnTo>
                        <a:pt x="511" y="658"/>
                      </a:lnTo>
                      <a:lnTo>
                        <a:pt x="509" y="654"/>
                      </a:lnTo>
                      <a:lnTo>
                        <a:pt x="505" y="650"/>
                      </a:lnTo>
                      <a:lnTo>
                        <a:pt x="499" y="646"/>
                      </a:lnTo>
                      <a:lnTo>
                        <a:pt x="495" y="642"/>
                      </a:lnTo>
                      <a:lnTo>
                        <a:pt x="491" y="636"/>
                      </a:lnTo>
                      <a:lnTo>
                        <a:pt x="489" y="626"/>
                      </a:lnTo>
                      <a:lnTo>
                        <a:pt x="485" y="606"/>
                      </a:lnTo>
                      <a:lnTo>
                        <a:pt x="481" y="596"/>
                      </a:lnTo>
                      <a:lnTo>
                        <a:pt x="475" y="588"/>
                      </a:lnTo>
                      <a:lnTo>
                        <a:pt x="467" y="582"/>
                      </a:lnTo>
                      <a:lnTo>
                        <a:pt x="457" y="580"/>
                      </a:lnTo>
                      <a:lnTo>
                        <a:pt x="453" y="580"/>
                      </a:lnTo>
                      <a:lnTo>
                        <a:pt x="451" y="578"/>
                      </a:lnTo>
                      <a:lnTo>
                        <a:pt x="449" y="570"/>
                      </a:lnTo>
                      <a:lnTo>
                        <a:pt x="451" y="564"/>
                      </a:lnTo>
                      <a:lnTo>
                        <a:pt x="455" y="558"/>
                      </a:lnTo>
                      <a:lnTo>
                        <a:pt x="465" y="550"/>
                      </a:lnTo>
                      <a:lnTo>
                        <a:pt x="463" y="550"/>
                      </a:lnTo>
                      <a:lnTo>
                        <a:pt x="469" y="546"/>
                      </a:lnTo>
                      <a:lnTo>
                        <a:pt x="471" y="544"/>
                      </a:lnTo>
                      <a:lnTo>
                        <a:pt x="471" y="540"/>
                      </a:lnTo>
                      <a:lnTo>
                        <a:pt x="471" y="534"/>
                      </a:lnTo>
                      <a:lnTo>
                        <a:pt x="469" y="530"/>
                      </a:lnTo>
                      <a:lnTo>
                        <a:pt x="463" y="520"/>
                      </a:lnTo>
                      <a:lnTo>
                        <a:pt x="477" y="512"/>
                      </a:lnTo>
                      <a:lnTo>
                        <a:pt x="485" y="504"/>
                      </a:lnTo>
                      <a:lnTo>
                        <a:pt x="487" y="502"/>
                      </a:lnTo>
                      <a:lnTo>
                        <a:pt x="489" y="498"/>
                      </a:lnTo>
                      <a:lnTo>
                        <a:pt x="487" y="496"/>
                      </a:lnTo>
                      <a:lnTo>
                        <a:pt x="483" y="492"/>
                      </a:lnTo>
                      <a:lnTo>
                        <a:pt x="481" y="488"/>
                      </a:lnTo>
                      <a:lnTo>
                        <a:pt x="479" y="482"/>
                      </a:lnTo>
                      <a:lnTo>
                        <a:pt x="479" y="476"/>
                      </a:lnTo>
                      <a:lnTo>
                        <a:pt x="491" y="474"/>
                      </a:lnTo>
                      <a:lnTo>
                        <a:pt x="497" y="466"/>
                      </a:lnTo>
                      <a:lnTo>
                        <a:pt x="503" y="452"/>
                      </a:lnTo>
                      <a:lnTo>
                        <a:pt x="505" y="438"/>
                      </a:lnTo>
                      <a:lnTo>
                        <a:pt x="507" y="424"/>
                      </a:lnTo>
                      <a:lnTo>
                        <a:pt x="531" y="420"/>
                      </a:lnTo>
                      <a:lnTo>
                        <a:pt x="559" y="418"/>
                      </a:lnTo>
                      <a:lnTo>
                        <a:pt x="553" y="208"/>
                      </a:lnTo>
                      <a:lnTo>
                        <a:pt x="142" y="0"/>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7" name="Niger">
                  <a:extLst>
                    <a:ext uri="{FF2B5EF4-FFF2-40B4-BE49-F238E27FC236}">
                      <a16:creationId xmlns:a16="http://schemas.microsoft.com/office/drawing/2014/main" id="{CB5A3635-C362-419F-A442-D5C5E5980FD9}"/>
                    </a:ext>
                  </a:extLst>
                </p:cNvPr>
                <p:cNvSpPr>
                  <a:spLocks/>
                </p:cNvSpPr>
                <p:nvPr/>
              </p:nvSpPr>
              <p:spPr bwMode="gray">
                <a:xfrm>
                  <a:off x="3968750" y="3059113"/>
                  <a:ext cx="958850" cy="725487"/>
                </a:xfrm>
                <a:custGeom>
                  <a:avLst/>
                  <a:gdLst/>
                  <a:ahLst/>
                  <a:cxnLst>
                    <a:cxn ang="0">
                      <a:pos x="164" y="612"/>
                    </a:cxn>
                    <a:cxn ang="0">
                      <a:pos x="134" y="584"/>
                    </a:cxn>
                    <a:cxn ang="0">
                      <a:pos x="114" y="590"/>
                    </a:cxn>
                    <a:cxn ang="0">
                      <a:pos x="98" y="598"/>
                    </a:cxn>
                    <a:cxn ang="0">
                      <a:pos x="90" y="582"/>
                    </a:cxn>
                    <a:cxn ang="0">
                      <a:pos x="100" y="576"/>
                    </a:cxn>
                    <a:cxn ang="0">
                      <a:pos x="88" y="564"/>
                    </a:cxn>
                    <a:cxn ang="0">
                      <a:pos x="76" y="570"/>
                    </a:cxn>
                    <a:cxn ang="0">
                      <a:pos x="64" y="568"/>
                    </a:cxn>
                    <a:cxn ang="0">
                      <a:pos x="38" y="544"/>
                    </a:cxn>
                    <a:cxn ang="0">
                      <a:pos x="18" y="498"/>
                    </a:cxn>
                    <a:cxn ang="0">
                      <a:pos x="0" y="460"/>
                    </a:cxn>
                    <a:cxn ang="0">
                      <a:pos x="6" y="444"/>
                    </a:cxn>
                    <a:cxn ang="0">
                      <a:pos x="26" y="448"/>
                    </a:cxn>
                    <a:cxn ang="0">
                      <a:pos x="50" y="440"/>
                    </a:cxn>
                    <a:cxn ang="0">
                      <a:pos x="118" y="426"/>
                    </a:cxn>
                    <a:cxn ang="0">
                      <a:pos x="192" y="408"/>
                    </a:cxn>
                    <a:cxn ang="0">
                      <a:pos x="216" y="370"/>
                    </a:cxn>
                    <a:cxn ang="0">
                      <a:pos x="222" y="310"/>
                    </a:cxn>
                    <a:cxn ang="0">
                      <a:pos x="218" y="246"/>
                    </a:cxn>
                    <a:cxn ang="0">
                      <a:pos x="308" y="210"/>
                    </a:cxn>
                    <a:cxn ang="0">
                      <a:pos x="656" y="2"/>
                    </a:cxn>
                    <a:cxn ang="0">
                      <a:pos x="712" y="24"/>
                    </a:cxn>
                    <a:cxn ang="0">
                      <a:pos x="732" y="42"/>
                    </a:cxn>
                    <a:cxn ang="0">
                      <a:pos x="754" y="42"/>
                    </a:cxn>
                    <a:cxn ang="0">
                      <a:pos x="786" y="26"/>
                    </a:cxn>
                    <a:cxn ang="0">
                      <a:pos x="806" y="138"/>
                    </a:cxn>
                    <a:cxn ang="0">
                      <a:pos x="820" y="172"/>
                    </a:cxn>
                    <a:cxn ang="0">
                      <a:pos x="810" y="256"/>
                    </a:cxn>
                    <a:cxn ang="0">
                      <a:pos x="754" y="406"/>
                    </a:cxn>
                    <a:cxn ang="0">
                      <a:pos x="696" y="486"/>
                    </a:cxn>
                    <a:cxn ang="0">
                      <a:pos x="696" y="510"/>
                    </a:cxn>
                    <a:cxn ang="0">
                      <a:pos x="682" y="532"/>
                    </a:cxn>
                    <a:cxn ang="0">
                      <a:pos x="638" y="560"/>
                    </a:cxn>
                    <a:cxn ang="0">
                      <a:pos x="612" y="558"/>
                    </a:cxn>
                    <a:cxn ang="0">
                      <a:pos x="574" y="540"/>
                    </a:cxn>
                    <a:cxn ang="0">
                      <a:pos x="536" y="544"/>
                    </a:cxn>
                    <a:cxn ang="0">
                      <a:pos x="508" y="560"/>
                    </a:cxn>
                    <a:cxn ang="0">
                      <a:pos x="474" y="568"/>
                    </a:cxn>
                    <a:cxn ang="0">
                      <a:pos x="436" y="554"/>
                    </a:cxn>
                    <a:cxn ang="0">
                      <a:pos x="400" y="540"/>
                    </a:cxn>
                    <a:cxn ang="0">
                      <a:pos x="376" y="548"/>
                    </a:cxn>
                    <a:cxn ang="0">
                      <a:pos x="352" y="556"/>
                    </a:cxn>
                    <a:cxn ang="0">
                      <a:pos x="338" y="546"/>
                    </a:cxn>
                    <a:cxn ang="0">
                      <a:pos x="318" y="524"/>
                    </a:cxn>
                    <a:cxn ang="0">
                      <a:pos x="270" y="510"/>
                    </a:cxn>
                    <a:cxn ang="0">
                      <a:pos x="216" y="520"/>
                    </a:cxn>
                    <a:cxn ang="0">
                      <a:pos x="200" y="538"/>
                    </a:cxn>
                    <a:cxn ang="0">
                      <a:pos x="188" y="566"/>
                    </a:cxn>
                    <a:cxn ang="0">
                      <a:pos x="172" y="586"/>
                    </a:cxn>
                    <a:cxn ang="0">
                      <a:pos x="170" y="616"/>
                    </a:cxn>
                  </a:cxnLst>
                  <a:rect l="0" t="0" r="r" b="b"/>
                  <a:pathLst>
                    <a:path w="820" h="620">
                      <a:moveTo>
                        <a:pt x="170" y="616"/>
                      </a:moveTo>
                      <a:lnTo>
                        <a:pt x="172" y="620"/>
                      </a:lnTo>
                      <a:lnTo>
                        <a:pt x="164" y="612"/>
                      </a:lnTo>
                      <a:lnTo>
                        <a:pt x="152" y="600"/>
                      </a:lnTo>
                      <a:lnTo>
                        <a:pt x="140" y="588"/>
                      </a:lnTo>
                      <a:lnTo>
                        <a:pt x="134" y="584"/>
                      </a:lnTo>
                      <a:lnTo>
                        <a:pt x="130" y="582"/>
                      </a:lnTo>
                      <a:lnTo>
                        <a:pt x="124" y="584"/>
                      </a:lnTo>
                      <a:lnTo>
                        <a:pt x="114" y="590"/>
                      </a:lnTo>
                      <a:lnTo>
                        <a:pt x="106" y="596"/>
                      </a:lnTo>
                      <a:lnTo>
                        <a:pt x="102" y="600"/>
                      </a:lnTo>
                      <a:lnTo>
                        <a:pt x="98" y="598"/>
                      </a:lnTo>
                      <a:lnTo>
                        <a:pt x="94" y="596"/>
                      </a:lnTo>
                      <a:lnTo>
                        <a:pt x="90" y="590"/>
                      </a:lnTo>
                      <a:lnTo>
                        <a:pt x="90" y="582"/>
                      </a:lnTo>
                      <a:lnTo>
                        <a:pt x="94" y="584"/>
                      </a:lnTo>
                      <a:lnTo>
                        <a:pt x="102" y="582"/>
                      </a:lnTo>
                      <a:lnTo>
                        <a:pt x="100" y="576"/>
                      </a:lnTo>
                      <a:lnTo>
                        <a:pt x="98" y="570"/>
                      </a:lnTo>
                      <a:lnTo>
                        <a:pt x="94" y="566"/>
                      </a:lnTo>
                      <a:lnTo>
                        <a:pt x="88" y="564"/>
                      </a:lnTo>
                      <a:lnTo>
                        <a:pt x="84" y="566"/>
                      </a:lnTo>
                      <a:lnTo>
                        <a:pt x="80" y="568"/>
                      </a:lnTo>
                      <a:lnTo>
                        <a:pt x="76" y="570"/>
                      </a:lnTo>
                      <a:lnTo>
                        <a:pt x="72" y="570"/>
                      </a:lnTo>
                      <a:lnTo>
                        <a:pt x="68" y="570"/>
                      </a:lnTo>
                      <a:lnTo>
                        <a:pt x="64" y="568"/>
                      </a:lnTo>
                      <a:lnTo>
                        <a:pt x="52" y="560"/>
                      </a:lnTo>
                      <a:lnTo>
                        <a:pt x="44" y="552"/>
                      </a:lnTo>
                      <a:lnTo>
                        <a:pt x="38" y="544"/>
                      </a:lnTo>
                      <a:lnTo>
                        <a:pt x="54" y="536"/>
                      </a:lnTo>
                      <a:lnTo>
                        <a:pt x="38" y="520"/>
                      </a:lnTo>
                      <a:lnTo>
                        <a:pt x="18" y="498"/>
                      </a:lnTo>
                      <a:lnTo>
                        <a:pt x="10" y="486"/>
                      </a:lnTo>
                      <a:lnTo>
                        <a:pt x="4" y="474"/>
                      </a:lnTo>
                      <a:lnTo>
                        <a:pt x="0" y="460"/>
                      </a:lnTo>
                      <a:lnTo>
                        <a:pt x="0" y="452"/>
                      </a:lnTo>
                      <a:lnTo>
                        <a:pt x="2" y="446"/>
                      </a:lnTo>
                      <a:lnTo>
                        <a:pt x="6" y="444"/>
                      </a:lnTo>
                      <a:lnTo>
                        <a:pt x="8" y="444"/>
                      </a:lnTo>
                      <a:lnTo>
                        <a:pt x="16" y="444"/>
                      </a:lnTo>
                      <a:lnTo>
                        <a:pt x="26" y="448"/>
                      </a:lnTo>
                      <a:lnTo>
                        <a:pt x="36" y="448"/>
                      </a:lnTo>
                      <a:lnTo>
                        <a:pt x="44" y="446"/>
                      </a:lnTo>
                      <a:lnTo>
                        <a:pt x="50" y="440"/>
                      </a:lnTo>
                      <a:lnTo>
                        <a:pt x="62" y="428"/>
                      </a:lnTo>
                      <a:lnTo>
                        <a:pt x="118" y="428"/>
                      </a:lnTo>
                      <a:lnTo>
                        <a:pt x="118" y="426"/>
                      </a:lnTo>
                      <a:lnTo>
                        <a:pt x="162" y="426"/>
                      </a:lnTo>
                      <a:lnTo>
                        <a:pt x="178" y="418"/>
                      </a:lnTo>
                      <a:lnTo>
                        <a:pt x="192" y="408"/>
                      </a:lnTo>
                      <a:lnTo>
                        <a:pt x="202" y="398"/>
                      </a:lnTo>
                      <a:lnTo>
                        <a:pt x="210" y="384"/>
                      </a:lnTo>
                      <a:lnTo>
                        <a:pt x="216" y="370"/>
                      </a:lnTo>
                      <a:lnTo>
                        <a:pt x="220" y="352"/>
                      </a:lnTo>
                      <a:lnTo>
                        <a:pt x="222" y="332"/>
                      </a:lnTo>
                      <a:lnTo>
                        <a:pt x="222" y="310"/>
                      </a:lnTo>
                      <a:lnTo>
                        <a:pt x="220" y="286"/>
                      </a:lnTo>
                      <a:lnTo>
                        <a:pt x="218" y="266"/>
                      </a:lnTo>
                      <a:lnTo>
                        <a:pt x="218" y="246"/>
                      </a:lnTo>
                      <a:lnTo>
                        <a:pt x="220" y="236"/>
                      </a:lnTo>
                      <a:lnTo>
                        <a:pt x="222" y="226"/>
                      </a:lnTo>
                      <a:lnTo>
                        <a:pt x="308" y="210"/>
                      </a:lnTo>
                      <a:lnTo>
                        <a:pt x="402" y="132"/>
                      </a:lnTo>
                      <a:lnTo>
                        <a:pt x="634" y="0"/>
                      </a:lnTo>
                      <a:lnTo>
                        <a:pt x="656" y="2"/>
                      </a:lnTo>
                      <a:lnTo>
                        <a:pt x="674" y="8"/>
                      </a:lnTo>
                      <a:lnTo>
                        <a:pt x="708" y="20"/>
                      </a:lnTo>
                      <a:lnTo>
                        <a:pt x="712" y="24"/>
                      </a:lnTo>
                      <a:lnTo>
                        <a:pt x="716" y="26"/>
                      </a:lnTo>
                      <a:lnTo>
                        <a:pt x="724" y="34"/>
                      </a:lnTo>
                      <a:lnTo>
                        <a:pt x="732" y="42"/>
                      </a:lnTo>
                      <a:lnTo>
                        <a:pt x="736" y="44"/>
                      </a:lnTo>
                      <a:lnTo>
                        <a:pt x="742" y="44"/>
                      </a:lnTo>
                      <a:lnTo>
                        <a:pt x="754" y="42"/>
                      </a:lnTo>
                      <a:lnTo>
                        <a:pt x="766" y="38"/>
                      </a:lnTo>
                      <a:lnTo>
                        <a:pt x="778" y="32"/>
                      </a:lnTo>
                      <a:lnTo>
                        <a:pt x="786" y="26"/>
                      </a:lnTo>
                      <a:lnTo>
                        <a:pt x="786" y="112"/>
                      </a:lnTo>
                      <a:lnTo>
                        <a:pt x="794" y="122"/>
                      </a:lnTo>
                      <a:lnTo>
                        <a:pt x="806" y="138"/>
                      </a:lnTo>
                      <a:lnTo>
                        <a:pt x="816" y="156"/>
                      </a:lnTo>
                      <a:lnTo>
                        <a:pt x="820" y="168"/>
                      </a:lnTo>
                      <a:lnTo>
                        <a:pt x="820" y="172"/>
                      </a:lnTo>
                      <a:lnTo>
                        <a:pt x="816" y="176"/>
                      </a:lnTo>
                      <a:lnTo>
                        <a:pt x="810" y="182"/>
                      </a:lnTo>
                      <a:lnTo>
                        <a:pt x="810" y="256"/>
                      </a:lnTo>
                      <a:lnTo>
                        <a:pt x="798" y="350"/>
                      </a:lnTo>
                      <a:lnTo>
                        <a:pt x="776" y="376"/>
                      </a:lnTo>
                      <a:lnTo>
                        <a:pt x="754" y="406"/>
                      </a:lnTo>
                      <a:lnTo>
                        <a:pt x="708" y="468"/>
                      </a:lnTo>
                      <a:lnTo>
                        <a:pt x="698" y="480"/>
                      </a:lnTo>
                      <a:lnTo>
                        <a:pt x="696" y="486"/>
                      </a:lnTo>
                      <a:lnTo>
                        <a:pt x="694" y="492"/>
                      </a:lnTo>
                      <a:lnTo>
                        <a:pt x="694" y="502"/>
                      </a:lnTo>
                      <a:lnTo>
                        <a:pt x="696" y="510"/>
                      </a:lnTo>
                      <a:lnTo>
                        <a:pt x="704" y="524"/>
                      </a:lnTo>
                      <a:lnTo>
                        <a:pt x="692" y="526"/>
                      </a:lnTo>
                      <a:lnTo>
                        <a:pt x="682" y="532"/>
                      </a:lnTo>
                      <a:lnTo>
                        <a:pt x="664" y="544"/>
                      </a:lnTo>
                      <a:lnTo>
                        <a:pt x="646" y="556"/>
                      </a:lnTo>
                      <a:lnTo>
                        <a:pt x="638" y="560"/>
                      </a:lnTo>
                      <a:lnTo>
                        <a:pt x="630" y="560"/>
                      </a:lnTo>
                      <a:lnTo>
                        <a:pt x="620" y="560"/>
                      </a:lnTo>
                      <a:lnTo>
                        <a:pt x="612" y="558"/>
                      </a:lnTo>
                      <a:lnTo>
                        <a:pt x="598" y="550"/>
                      </a:lnTo>
                      <a:lnTo>
                        <a:pt x="582" y="542"/>
                      </a:lnTo>
                      <a:lnTo>
                        <a:pt x="574" y="540"/>
                      </a:lnTo>
                      <a:lnTo>
                        <a:pt x="562" y="538"/>
                      </a:lnTo>
                      <a:lnTo>
                        <a:pt x="548" y="540"/>
                      </a:lnTo>
                      <a:lnTo>
                        <a:pt x="536" y="544"/>
                      </a:lnTo>
                      <a:lnTo>
                        <a:pt x="526" y="548"/>
                      </a:lnTo>
                      <a:lnTo>
                        <a:pt x="516" y="554"/>
                      </a:lnTo>
                      <a:lnTo>
                        <a:pt x="508" y="560"/>
                      </a:lnTo>
                      <a:lnTo>
                        <a:pt x="498" y="564"/>
                      </a:lnTo>
                      <a:lnTo>
                        <a:pt x="488" y="568"/>
                      </a:lnTo>
                      <a:lnTo>
                        <a:pt x="474" y="568"/>
                      </a:lnTo>
                      <a:lnTo>
                        <a:pt x="462" y="568"/>
                      </a:lnTo>
                      <a:lnTo>
                        <a:pt x="452" y="564"/>
                      </a:lnTo>
                      <a:lnTo>
                        <a:pt x="436" y="554"/>
                      </a:lnTo>
                      <a:lnTo>
                        <a:pt x="420" y="546"/>
                      </a:lnTo>
                      <a:lnTo>
                        <a:pt x="410" y="542"/>
                      </a:lnTo>
                      <a:lnTo>
                        <a:pt x="400" y="540"/>
                      </a:lnTo>
                      <a:lnTo>
                        <a:pt x="394" y="542"/>
                      </a:lnTo>
                      <a:lnTo>
                        <a:pt x="388" y="544"/>
                      </a:lnTo>
                      <a:lnTo>
                        <a:pt x="376" y="548"/>
                      </a:lnTo>
                      <a:lnTo>
                        <a:pt x="366" y="554"/>
                      </a:lnTo>
                      <a:lnTo>
                        <a:pt x="360" y="556"/>
                      </a:lnTo>
                      <a:lnTo>
                        <a:pt x="352" y="556"/>
                      </a:lnTo>
                      <a:lnTo>
                        <a:pt x="348" y="556"/>
                      </a:lnTo>
                      <a:lnTo>
                        <a:pt x="344" y="554"/>
                      </a:lnTo>
                      <a:lnTo>
                        <a:pt x="338" y="546"/>
                      </a:lnTo>
                      <a:lnTo>
                        <a:pt x="328" y="530"/>
                      </a:lnTo>
                      <a:lnTo>
                        <a:pt x="324" y="526"/>
                      </a:lnTo>
                      <a:lnTo>
                        <a:pt x="318" y="524"/>
                      </a:lnTo>
                      <a:lnTo>
                        <a:pt x="302" y="518"/>
                      </a:lnTo>
                      <a:lnTo>
                        <a:pt x="284" y="512"/>
                      </a:lnTo>
                      <a:lnTo>
                        <a:pt x="270" y="510"/>
                      </a:lnTo>
                      <a:lnTo>
                        <a:pt x="246" y="512"/>
                      </a:lnTo>
                      <a:lnTo>
                        <a:pt x="226" y="516"/>
                      </a:lnTo>
                      <a:lnTo>
                        <a:pt x="216" y="520"/>
                      </a:lnTo>
                      <a:lnTo>
                        <a:pt x="208" y="524"/>
                      </a:lnTo>
                      <a:lnTo>
                        <a:pt x="204" y="530"/>
                      </a:lnTo>
                      <a:lnTo>
                        <a:pt x="200" y="538"/>
                      </a:lnTo>
                      <a:lnTo>
                        <a:pt x="198" y="552"/>
                      </a:lnTo>
                      <a:lnTo>
                        <a:pt x="192" y="562"/>
                      </a:lnTo>
                      <a:lnTo>
                        <a:pt x="188" y="566"/>
                      </a:lnTo>
                      <a:lnTo>
                        <a:pt x="182" y="572"/>
                      </a:lnTo>
                      <a:lnTo>
                        <a:pt x="176" y="578"/>
                      </a:lnTo>
                      <a:lnTo>
                        <a:pt x="172" y="586"/>
                      </a:lnTo>
                      <a:lnTo>
                        <a:pt x="170" y="600"/>
                      </a:lnTo>
                      <a:lnTo>
                        <a:pt x="168" y="620"/>
                      </a:lnTo>
                      <a:lnTo>
                        <a:pt x="170" y="616"/>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8" name="Sudan">
                  <a:extLst>
                    <a:ext uri="{FF2B5EF4-FFF2-40B4-BE49-F238E27FC236}">
                      <a16:creationId xmlns:a16="http://schemas.microsoft.com/office/drawing/2014/main" id="{D59D04AF-CBE9-4561-B685-4649586BFB83}"/>
                    </a:ext>
                  </a:extLst>
                </p:cNvPr>
                <p:cNvSpPr>
                  <a:spLocks/>
                </p:cNvSpPr>
                <p:nvPr/>
              </p:nvSpPr>
              <p:spPr bwMode="gray">
                <a:xfrm>
                  <a:off x="5305425" y="3051175"/>
                  <a:ext cx="998537" cy="1257300"/>
                </a:xfrm>
                <a:custGeom>
                  <a:avLst/>
                  <a:gdLst/>
                  <a:ahLst/>
                  <a:cxnLst>
                    <a:cxn ang="0">
                      <a:pos x="562" y="70"/>
                    </a:cxn>
                    <a:cxn ang="0">
                      <a:pos x="592" y="78"/>
                    </a:cxn>
                    <a:cxn ang="0">
                      <a:pos x="604" y="56"/>
                    </a:cxn>
                    <a:cxn ang="0">
                      <a:pos x="638" y="46"/>
                    </a:cxn>
                    <a:cxn ang="0">
                      <a:pos x="686" y="0"/>
                    </a:cxn>
                    <a:cxn ang="0">
                      <a:pos x="740" y="50"/>
                    </a:cxn>
                    <a:cxn ang="0">
                      <a:pos x="772" y="116"/>
                    </a:cxn>
                    <a:cxn ang="0">
                      <a:pos x="802" y="228"/>
                    </a:cxn>
                    <a:cxn ang="0">
                      <a:pos x="852" y="264"/>
                    </a:cxn>
                    <a:cxn ang="0">
                      <a:pos x="842" y="294"/>
                    </a:cxn>
                    <a:cxn ang="0">
                      <a:pos x="786" y="334"/>
                    </a:cxn>
                    <a:cxn ang="0">
                      <a:pos x="776" y="384"/>
                    </a:cxn>
                    <a:cxn ang="0">
                      <a:pos x="764" y="460"/>
                    </a:cxn>
                    <a:cxn ang="0">
                      <a:pos x="758" y="514"/>
                    </a:cxn>
                    <a:cxn ang="0">
                      <a:pos x="756" y="560"/>
                    </a:cxn>
                    <a:cxn ang="0">
                      <a:pos x="730" y="574"/>
                    </a:cxn>
                    <a:cxn ang="0">
                      <a:pos x="710" y="610"/>
                    </a:cxn>
                    <a:cxn ang="0">
                      <a:pos x="694" y="672"/>
                    </a:cxn>
                    <a:cxn ang="0">
                      <a:pos x="668" y="682"/>
                    </a:cxn>
                    <a:cxn ang="0">
                      <a:pos x="658" y="736"/>
                    </a:cxn>
                    <a:cxn ang="0">
                      <a:pos x="642" y="800"/>
                    </a:cxn>
                    <a:cxn ang="0">
                      <a:pos x="608" y="820"/>
                    </a:cxn>
                    <a:cxn ang="0">
                      <a:pos x="606" y="838"/>
                    </a:cxn>
                    <a:cxn ang="0">
                      <a:pos x="666" y="868"/>
                    </a:cxn>
                    <a:cxn ang="0">
                      <a:pos x="706" y="928"/>
                    </a:cxn>
                    <a:cxn ang="0">
                      <a:pos x="728" y="960"/>
                    </a:cxn>
                    <a:cxn ang="0">
                      <a:pos x="754" y="978"/>
                    </a:cxn>
                    <a:cxn ang="0">
                      <a:pos x="680" y="1008"/>
                    </a:cxn>
                    <a:cxn ang="0">
                      <a:pos x="626" y="1056"/>
                    </a:cxn>
                    <a:cxn ang="0">
                      <a:pos x="562" y="1066"/>
                    </a:cxn>
                    <a:cxn ang="0">
                      <a:pos x="520" y="1060"/>
                    </a:cxn>
                    <a:cxn ang="0">
                      <a:pos x="482" y="1074"/>
                    </a:cxn>
                    <a:cxn ang="0">
                      <a:pos x="474" y="1058"/>
                    </a:cxn>
                    <a:cxn ang="0">
                      <a:pos x="448" y="1046"/>
                    </a:cxn>
                    <a:cxn ang="0">
                      <a:pos x="420" y="1018"/>
                    </a:cxn>
                    <a:cxn ang="0">
                      <a:pos x="406" y="1032"/>
                    </a:cxn>
                    <a:cxn ang="0">
                      <a:pos x="374" y="1026"/>
                    </a:cxn>
                    <a:cxn ang="0">
                      <a:pos x="346" y="1036"/>
                    </a:cxn>
                    <a:cxn ang="0">
                      <a:pos x="308" y="1000"/>
                    </a:cxn>
                    <a:cxn ang="0">
                      <a:pos x="294" y="974"/>
                    </a:cxn>
                    <a:cxn ang="0">
                      <a:pos x="256" y="942"/>
                    </a:cxn>
                    <a:cxn ang="0">
                      <a:pos x="238" y="902"/>
                    </a:cxn>
                    <a:cxn ang="0">
                      <a:pos x="182" y="858"/>
                    </a:cxn>
                    <a:cxn ang="0">
                      <a:pos x="162" y="832"/>
                    </a:cxn>
                    <a:cxn ang="0">
                      <a:pos x="126" y="814"/>
                    </a:cxn>
                    <a:cxn ang="0">
                      <a:pos x="94" y="794"/>
                    </a:cxn>
                    <a:cxn ang="0">
                      <a:pos x="98" y="758"/>
                    </a:cxn>
                    <a:cxn ang="0">
                      <a:pos x="78" y="712"/>
                    </a:cxn>
                    <a:cxn ang="0">
                      <a:pos x="58" y="672"/>
                    </a:cxn>
                    <a:cxn ang="0">
                      <a:pos x="56" y="654"/>
                    </a:cxn>
                    <a:cxn ang="0">
                      <a:pos x="36" y="610"/>
                    </a:cxn>
                    <a:cxn ang="0">
                      <a:pos x="4" y="584"/>
                    </a:cxn>
                    <a:cxn ang="0">
                      <a:pos x="16" y="554"/>
                    </a:cxn>
                    <a:cxn ang="0">
                      <a:pos x="22" y="538"/>
                    </a:cxn>
                    <a:cxn ang="0">
                      <a:pos x="38" y="506"/>
                    </a:cxn>
                    <a:cxn ang="0">
                      <a:pos x="30" y="486"/>
                    </a:cxn>
                    <a:cxn ang="0">
                      <a:pos x="56" y="442"/>
                    </a:cxn>
                    <a:cxn ang="0">
                      <a:pos x="104" y="212"/>
                    </a:cxn>
                  </a:cxnLst>
                  <a:rect l="0" t="0" r="r" b="b"/>
                  <a:pathLst>
                    <a:path w="854" h="1074">
                      <a:moveTo>
                        <a:pt x="104" y="212"/>
                      </a:moveTo>
                      <a:lnTo>
                        <a:pt x="104" y="188"/>
                      </a:lnTo>
                      <a:lnTo>
                        <a:pt x="154" y="188"/>
                      </a:lnTo>
                      <a:lnTo>
                        <a:pt x="148" y="80"/>
                      </a:lnTo>
                      <a:lnTo>
                        <a:pt x="562" y="70"/>
                      </a:lnTo>
                      <a:lnTo>
                        <a:pt x="570" y="72"/>
                      </a:lnTo>
                      <a:lnTo>
                        <a:pt x="576" y="76"/>
                      </a:lnTo>
                      <a:lnTo>
                        <a:pt x="580" y="78"/>
                      </a:lnTo>
                      <a:lnTo>
                        <a:pt x="588" y="78"/>
                      </a:lnTo>
                      <a:lnTo>
                        <a:pt x="592" y="78"/>
                      </a:lnTo>
                      <a:lnTo>
                        <a:pt x="596" y="76"/>
                      </a:lnTo>
                      <a:lnTo>
                        <a:pt x="598" y="70"/>
                      </a:lnTo>
                      <a:lnTo>
                        <a:pt x="600" y="62"/>
                      </a:lnTo>
                      <a:lnTo>
                        <a:pt x="602" y="58"/>
                      </a:lnTo>
                      <a:lnTo>
                        <a:pt x="604" y="56"/>
                      </a:lnTo>
                      <a:lnTo>
                        <a:pt x="610" y="54"/>
                      </a:lnTo>
                      <a:lnTo>
                        <a:pt x="618" y="52"/>
                      </a:lnTo>
                      <a:lnTo>
                        <a:pt x="626" y="52"/>
                      </a:lnTo>
                      <a:lnTo>
                        <a:pt x="632" y="50"/>
                      </a:lnTo>
                      <a:lnTo>
                        <a:pt x="638" y="46"/>
                      </a:lnTo>
                      <a:lnTo>
                        <a:pt x="640" y="42"/>
                      </a:lnTo>
                      <a:lnTo>
                        <a:pt x="646" y="28"/>
                      </a:lnTo>
                      <a:lnTo>
                        <a:pt x="654" y="20"/>
                      </a:lnTo>
                      <a:lnTo>
                        <a:pt x="664" y="12"/>
                      </a:lnTo>
                      <a:lnTo>
                        <a:pt x="686" y="0"/>
                      </a:lnTo>
                      <a:lnTo>
                        <a:pt x="692" y="10"/>
                      </a:lnTo>
                      <a:lnTo>
                        <a:pt x="700" y="16"/>
                      </a:lnTo>
                      <a:lnTo>
                        <a:pt x="710" y="20"/>
                      </a:lnTo>
                      <a:lnTo>
                        <a:pt x="718" y="26"/>
                      </a:lnTo>
                      <a:lnTo>
                        <a:pt x="740" y="50"/>
                      </a:lnTo>
                      <a:lnTo>
                        <a:pt x="750" y="60"/>
                      </a:lnTo>
                      <a:lnTo>
                        <a:pt x="758" y="72"/>
                      </a:lnTo>
                      <a:lnTo>
                        <a:pt x="764" y="86"/>
                      </a:lnTo>
                      <a:lnTo>
                        <a:pt x="770" y="100"/>
                      </a:lnTo>
                      <a:lnTo>
                        <a:pt x="772" y="116"/>
                      </a:lnTo>
                      <a:lnTo>
                        <a:pt x="774" y="134"/>
                      </a:lnTo>
                      <a:lnTo>
                        <a:pt x="778" y="158"/>
                      </a:lnTo>
                      <a:lnTo>
                        <a:pt x="786" y="188"/>
                      </a:lnTo>
                      <a:lnTo>
                        <a:pt x="796" y="218"/>
                      </a:lnTo>
                      <a:lnTo>
                        <a:pt x="802" y="228"/>
                      </a:lnTo>
                      <a:lnTo>
                        <a:pt x="806" y="234"/>
                      </a:lnTo>
                      <a:lnTo>
                        <a:pt x="818" y="242"/>
                      </a:lnTo>
                      <a:lnTo>
                        <a:pt x="834" y="250"/>
                      </a:lnTo>
                      <a:lnTo>
                        <a:pt x="848" y="258"/>
                      </a:lnTo>
                      <a:lnTo>
                        <a:pt x="852" y="264"/>
                      </a:lnTo>
                      <a:lnTo>
                        <a:pt x="854" y="268"/>
                      </a:lnTo>
                      <a:lnTo>
                        <a:pt x="854" y="276"/>
                      </a:lnTo>
                      <a:lnTo>
                        <a:pt x="850" y="284"/>
                      </a:lnTo>
                      <a:lnTo>
                        <a:pt x="848" y="290"/>
                      </a:lnTo>
                      <a:lnTo>
                        <a:pt x="842" y="294"/>
                      </a:lnTo>
                      <a:lnTo>
                        <a:pt x="830" y="304"/>
                      </a:lnTo>
                      <a:lnTo>
                        <a:pt x="816" y="312"/>
                      </a:lnTo>
                      <a:lnTo>
                        <a:pt x="802" y="320"/>
                      </a:lnTo>
                      <a:lnTo>
                        <a:pt x="790" y="328"/>
                      </a:lnTo>
                      <a:lnTo>
                        <a:pt x="786" y="334"/>
                      </a:lnTo>
                      <a:lnTo>
                        <a:pt x="782" y="340"/>
                      </a:lnTo>
                      <a:lnTo>
                        <a:pt x="778" y="346"/>
                      </a:lnTo>
                      <a:lnTo>
                        <a:pt x="778" y="354"/>
                      </a:lnTo>
                      <a:lnTo>
                        <a:pt x="778" y="370"/>
                      </a:lnTo>
                      <a:lnTo>
                        <a:pt x="776" y="384"/>
                      </a:lnTo>
                      <a:lnTo>
                        <a:pt x="770" y="400"/>
                      </a:lnTo>
                      <a:lnTo>
                        <a:pt x="764" y="418"/>
                      </a:lnTo>
                      <a:lnTo>
                        <a:pt x="762" y="434"/>
                      </a:lnTo>
                      <a:lnTo>
                        <a:pt x="762" y="446"/>
                      </a:lnTo>
                      <a:lnTo>
                        <a:pt x="764" y="460"/>
                      </a:lnTo>
                      <a:lnTo>
                        <a:pt x="766" y="472"/>
                      </a:lnTo>
                      <a:lnTo>
                        <a:pt x="768" y="482"/>
                      </a:lnTo>
                      <a:lnTo>
                        <a:pt x="766" y="494"/>
                      </a:lnTo>
                      <a:lnTo>
                        <a:pt x="762" y="506"/>
                      </a:lnTo>
                      <a:lnTo>
                        <a:pt x="758" y="514"/>
                      </a:lnTo>
                      <a:lnTo>
                        <a:pt x="756" y="522"/>
                      </a:lnTo>
                      <a:lnTo>
                        <a:pt x="756" y="534"/>
                      </a:lnTo>
                      <a:lnTo>
                        <a:pt x="758" y="544"/>
                      </a:lnTo>
                      <a:lnTo>
                        <a:pt x="758" y="554"/>
                      </a:lnTo>
                      <a:lnTo>
                        <a:pt x="756" y="560"/>
                      </a:lnTo>
                      <a:lnTo>
                        <a:pt x="754" y="564"/>
                      </a:lnTo>
                      <a:lnTo>
                        <a:pt x="750" y="566"/>
                      </a:lnTo>
                      <a:lnTo>
                        <a:pt x="744" y="568"/>
                      </a:lnTo>
                      <a:lnTo>
                        <a:pt x="736" y="568"/>
                      </a:lnTo>
                      <a:lnTo>
                        <a:pt x="730" y="574"/>
                      </a:lnTo>
                      <a:lnTo>
                        <a:pt x="726" y="580"/>
                      </a:lnTo>
                      <a:lnTo>
                        <a:pt x="724" y="586"/>
                      </a:lnTo>
                      <a:lnTo>
                        <a:pt x="720" y="592"/>
                      </a:lnTo>
                      <a:lnTo>
                        <a:pt x="714" y="602"/>
                      </a:lnTo>
                      <a:lnTo>
                        <a:pt x="710" y="610"/>
                      </a:lnTo>
                      <a:lnTo>
                        <a:pt x="704" y="628"/>
                      </a:lnTo>
                      <a:lnTo>
                        <a:pt x="702" y="648"/>
                      </a:lnTo>
                      <a:lnTo>
                        <a:pt x="700" y="660"/>
                      </a:lnTo>
                      <a:lnTo>
                        <a:pt x="696" y="670"/>
                      </a:lnTo>
                      <a:lnTo>
                        <a:pt x="694" y="672"/>
                      </a:lnTo>
                      <a:lnTo>
                        <a:pt x="690" y="672"/>
                      </a:lnTo>
                      <a:lnTo>
                        <a:pt x="682" y="674"/>
                      </a:lnTo>
                      <a:lnTo>
                        <a:pt x="676" y="676"/>
                      </a:lnTo>
                      <a:lnTo>
                        <a:pt x="672" y="678"/>
                      </a:lnTo>
                      <a:lnTo>
                        <a:pt x="668" y="682"/>
                      </a:lnTo>
                      <a:lnTo>
                        <a:pt x="668" y="688"/>
                      </a:lnTo>
                      <a:lnTo>
                        <a:pt x="668" y="704"/>
                      </a:lnTo>
                      <a:lnTo>
                        <a:pt x="664" y="716"/>
                      </a:lnTo>
                      <a:lnTo>
                        <a:pt x="660" y="726"/>
                      </a:lnTo>
                      <a:lnTo>
                        <a:pt x="658" y="736"/>
                      </a:lnTo>
                      <a:lnTo>
                        <a:pt x="656" y="746"/>
                      </a:lnTo>
                      <a:lnTo>
                        <a:pt x="656" y="782"/>
                      </a:lnTo>
                      <a:lnTo>
                        <a:pt x="654" y="792"/>
                      </a:lnTo>
                      <a:lnTo>
                        <a:pt x="648" y="798"/>
                      </a:lnTo>
                      <a:lnTo>
                        <a:pt x="642" y="800"/>
                      </a:lnTo>
                      <a:lnTo>
                        <a:pt x="632" y="802"/>
                      </a:lnTo>
                      <a:lnTo>
                        <a:pt x="618" y="806"/>
                      </a:lnTo>
                      <a:lnTo>
                        <a:pt x="612" y="810"/>
                      </a:lnTo>
                      <a:lnTo>
                        <a:pt x="610" y="816"/>
                      </a:lnTo>
                      <a:lnTo>
                        <a:pt x="608" y="820"/>
                      </a:lnTo>
                      <a:lnTo>
                        <a:pt x="606" y="824"/>
                      </a:lnTo>
                      <a:lnTo>
                        <a:pt x="604" y="826"/>
                      </a:lnTo>
                      <a:lnTo>
                        <a:pt x="602" y="830"/>
                      </a:lnTo>
                      <a:lnTo>
                        <a:pt x="604" y="834"/>
                      </a:lnTo>
                      <a:lnTo>
                        <a:pt x="606" y="838"/>
                      </a:lnTo>
                      <a:lnTo>
                        <a:pt x="614" y="838"/>
                      </a:lnTo>
                      <a:lnTo>
                        <a:pt x="624" y="838"/>
                      </a:lnTo>
                      <a:lnTo>
                        <a:pt x="632" y="840"/>
                      </a:lnTo>
                      <a:lnTo>
                        <a:pt x="648" y="852"/>
                      </a:lnTo>
                      <a:lnTo>
                        <a:pt x="666" y="868"/>
                      </a:lnTo>
                      <a:lnTo>
                        <a:pt x="682" y="884"/>
                      </a:lnTo>
                      <a:lnTo>
                        <a:pt x="696" y="900"/>
                      </a:lnTo>
                      <a:lnTo>
                        <a:pt x="700" y="906"/>
                      </a:lnTo>
                      <a:lnTo>
                        <a:pt x="702" y="914"/>
                      </a:lnTo>
                      <a:lnTo>
                        <a:pt x="706" y="928"/>
                      </a:lnTo>
                      <a:lnTo>
                        <a:pt x="708" y="942"/>
                      </a:lnTo>
                      <a:lnTo>
                        <a:pt x="712" y="948"/>
                      </a:lnTo>
                      <a:lnTo>
                        <a:pt x="716" y="954"/>
                      </a:lnTo>
                      <a:lnTo>
                        <a:pt x="722" y="960"/>
                      </a:lnTo>
                      <a:lnTo>
                        <a:pt x="728" y="960"/>
                      </a:lnTo>
                      <a:lnTo>
                        <a:pt x="736" y="962"/>
                      </a:lnTo>
                      <a:lnTo>
                        <a:pt x="744" y="962"/>
                      </a:lnTo>
                      <a:lnTo>
                        <a:pt x="748" y="964"/>
                      </a:lnTo>
                      <a:lnTo>
                        <a:pt x="750" y="968"/>
                      </a:lnTo>
                      <a:lnTo>
                        <a:pt x="754" y="978"/>
                      </a:lnTo>
                      <a:lnTo>
                        <a:pt x="756" y="988"/>
                      </a:lnTo>
                      <a:lnTo>
                        <a:pt x="756" y="996"/>
                      </a:lnTo>
                      <a:lnTo>
                        <a:pt x="758" y="1002"/>
                      </a:lnTo>
                      <a:lnTo>
                        <a:pt x="760" y="1008"/>
                      </a:lnTo>
                      <a:lnTo>
                        <a:pt x="680" y="1008"/>
                      </a:lnTo>
                      <a:lnTo>
                        <a:pt x="670" y="1020"/>
                      </a:lnTo>
                      <a:lnTo>
                        <a:pt x="654" y="1036"/>
                      </a:lnTo>
                      <a:lnTo>
                        <a:pt x="638" y="1050"/>
                      </a:lnTo>
                      <a:lnTo>
                        <a:pt x="632" y="1054"/>
                      </a:lnTo>
                      <a:lnTo>
                        <a:pt x="626" y="1056"/>
                      </a:lnTo>
                      <a:lnTo>
                        <a:pt x="608" y="1056"/>
                      </a:lnTo>
                      <a:lnTo>
                        <a:pt x="598" y="1058"/>
                      </a:lnTo>
                      <a:lnTo>
                        <a:pt x="586" y="1062"/>
                      </a:lnTo>
                      <a:lnTo>
                        <a:pt x="574" y="1066"/>
                      </a:lnTo>
                      <a:lnTo>
                        <a:pt x="562" y="1066"/>
                      </a:lnTo>
                      <a:lnTo>
                        <a:pt x="556" y="1066"/>
                      </a:lnTo>
                      <a:lnTo>
                        <a:pt x="548" y="1062"/>
                      </a:lnTo>
                      <a:lnTo>
                        <a:pt x="540" y="1060"/>
                      </a:lnTo>
                      <a:lnTo>
                        <a:pt x="530" y="1058"/>
                      </a:lnTo>
                      <a:lnTo>
                        <a:pt x="520" y="1060"/>
                      </a:lnTo>
                      <a:lnTo>
                        <a:pt x="514" y="1062"/>
                      </a:lnTo>
                      <a:lnTo>
                        <a:pt x="502" y="1066"/>
                      </a:lnTo>
                      <a:lnTo>
                        <a:pt x="492" y="1072"/>
                      </a:lnTo>
                      <a:lnTo>
                        <a:pt x="488" y="1074"/>
                      </a:lnTo>
                      <a:lnTo>
                        <a:pt x="482" y="1074"/>
                      </a:lnTo>
                      <a:lnTo>
                        <a:pt x="478" y="1074"/>
                      </a:lnTo>
                      <a:lnTo>
                        <a:pt x="476" y="1072"/>
                      </a:lnTo>
                      <a:lnTo>
                        <a:pt x="474" y="1068"/>
                      </a:lnTo>
                      <a:lnTo>
                        <a:pt x="474" y="1062"/>
                      </a:lnTo>
                      <a:lnTo>
                        <a:pt x="474" y="1058"/>
                      </a:lnTo>
                      <a:lnTo>
                        <a:pt x="472" y="1056"/>
                      </a:lnTo>
                      <a:lnTo>
                        <a:pt x="468" y="1056"/>
                      </a:lnTo>
                      <a:lnTo>
                        <a:pt x="458" y="1054"/>
                      </a:lnTo>
                      <a:lnTo>
                        <a:pt x="452" y="1052"/>
                      </a:lnTo>
                      <a:lnTo>
                        <a:pt x="448" y="1046"/>
                      </a:lnTo>
                      <a:lnTo>
                        <a:pt x="440" y="1034"/>
                      </a:lnTo>
                      <a:lnTo>
                        <a:pt x="436" y="1028"/>
                      </a:lnTo>
                      <a:lnTo>
                        <a:pt x="432" y="1024"/>
                      </a:lnTo>
                      <a:lnTo>
                        <a:pt x="426" y="1020"/>
                      </a:lnTo>
                      <a:lnTo>
                        <a:pt x="420" y="1018"/>
                      </a:lnTo>
                      <a:lnTo>
                        <a:pt x="418" y="1020"/>
                      </a:lnTo>
                      <a:lnTo>
                        <a:pt x="414" y="1020"/>
                      </a:lnTo>
                      <a:lnTo>
                        <a:pt x="412" y="1026"/>
                      </a:lnTo>
                      <a:lnTo>
                        <a:pt x="408" y="1030"/>
                      </a:lnTo>
                      <a:lnTo>
                        <a:pt x="406" y="1032"/>
                      </a:lnTo>
                      <a:lnTo>
                        <a:pt x="404" y="1032"/>
                      </a:lnTo>
                      <a:lnTo>
                        <a:pt x="396" y="1032"/>
                      </a:lnTo>
                      <a:lnTo>
                        <a:pt x="388" y="1030"/>
                      </a:lnTo>
                      <a:lnTo>
                        <a:pt x="382" y="1028"/>
                      </a:lnTo>
                      <a:lnTo>
                        <a:pt x="374" y="1026"/>
                      </a:lnTo>
                      <a:lnTo>
                        <a:pt x="366" y="1028"/>
                      </a:lnTo>
                      <a:lnTo>
                        <a:pt x="362" y="1032"/>
                      </a:lnTo>
                      <a:lnTo>
                        <a:pt x="358" y="1034"/>
                      </a:lnTo>
                      <a:lnTo>
                        <a:pt x="352" y="1036"/>
                      </a:lnTo>
                      <a:lnTo>
                        <a:pt x="346" y="1036"/>
                      </a:lnTo>
                      <a:lnTo>
                        <a:pt x="340" y="1034"/>
                      </a:lnTo>
                      <a:lnTo>
                        <a:pt x="332" y="1026"/>
                      </a:lnTo>
                      <a:lnTo>
                        <a:pt x="322" y="1010"/>
                      </a:lnTo>
                      <a:lnTo>
                        <a:pt x="316" y="1004"/>
                      </a:lnTo>
                      <a:lnTo>
                        <a:pt x="308" y="1000"/>
                      </a:lnTo>
                      <a:lnTo>
                        <a:pt x="302" y="996"/>
                      </a:lnTo>
                      <a:lnTo>
                        <a:pt x="296" y="992"/>
                      </a:lnTo>
                      <a:lnTo>
                        <a:pt x="294" y="986"/>
                      </a:lnTo>
                      <a:lnTo>
                        <a:pt x="294" y="980"/>
                      </a:lnTo>
                      <a:lnTo>
                        <a:pt x="294" y="974"/>
                      </a:lnTo>
                      <a:lnTo>
                        <a:pt x="294" y="968"/>
                      </a:lnTo>
                      <a:lnTo>
                        <a:pt x="288" y="960"/>
                      </a:lnTo>
                      <a:lnTo>
                        <a:pt x="280" y="954"/>
                      </a:lnTo>
                      <a:lnTo>
                        <a:pt x="262" y="946"/>
                      </a:lnTo>
                      <a:lnTo>
                        <a:pt x="256" y="942"/>
                      </a:lnTo>
                      <a:lnTo>
                        <a:pt x="250" y="938"/>
                      </a:lnTo>
                      <a:lnTo>
                        <a:pt x="248" y="930"/>
                      </a:lnTo>
                      <a:lnTo>
                        <a:pt x="246" y="924"/>
                      </a:lnTo>
                      <a:lnTo>
                        <a:pt x="240" y="908"/>
                      </a:lnTo>
                      <a:lnTo>
                        <a:pt x="238" y="902"/>
                      </a:lnTo>
                      <a:lnTo>
                        <a:pt x="232" y="896"/>
                      </a:lnTo>
                      <a:lnTo>
                        <a:pt x="202" y="878"/>
                      </a:lnTo>
                      <a:lnTo>
                        <a:pt x="188" y="868"/>
                      </a:lnTo>
                      <a:lnTo>
                        <a:pt x="184" y="864"/>
                      </a:lnTo>
                      <a:lnTo>
                        <a:pt x="182" y="858"/>
                      </a:lnTo>
                      <a:lnTo>
                        <a:pt x="182" y="846"/>
                      </a:lnTo>
                      <a:lnTo>
                        <a:pt x="182" y="842"/>
                      </a:lnTo>
                      <a:lnTo>
                        <a:pt x="180" y="840"/>
                      </a:lnTo>
                      <a:lnTo>
                        <a:pt x="172" y="834"/>
                      </a:lnTo>
                      <a:lnTo>
                        <a:pt x="162" y="832"/>
                      </a:lnTo>
                      <a:lnTo>
                        <a:pt x="152" y="830"/>
                      </a:lnTo>
                      <a:lnTo>
                        <a:pt x="142" y="826"/>
                      </a:lnTo>
                      <a:lnTo>
                        <a:pt x="132" y="822"/>
                      </a:lnTo>
                      <a:lnTo>
                        <a:pt x="128" y="818"/>
                      </a:lnTo>
                      <a:lnTo>
                        <a:pt x="126" y="814"/>
                      </a:lnTo>
                      <a:lnTo>
                        <a:pt x="128" y="810"/>
                      </a:lnTo>
                      <a:lnTo>
                        <a:pt x="128" y="800"/>
                      </a:lnTo>
                      <a:lnTo>
                        <a:pt x="106" y="800"/>
                      </a:lnTo>
                      <a:lnTo>
                        <a:pt x="100" y="798"/>
                      </a:lnTo>
                      <a:lnTo>
                        <a:pt x="94" y="794"/>
                      </a:lnTo>
                      <a:lnTo>
                        <a:pt x="90" y="786"/>
                      </a:lnTo>
                      <a:lnTo>
                        <a:pt x="88" y="776"/>
                      </a:lnTo>
                      <a:lnTo>
                        <a:pt x="90" y="770"/>
                      </a:lnTo>
                      <a:lnTo>
                        <a:pt x="94" y="764"/>
                      </a:lnTo>
                      <a:lnTo>
                        <a:pt x="98" y="758"/>
                      </a:lnTo>
                      <a:lnTo>
                        <a:pt x="100" y="750"/>
                      </a:lnTo>
                      <a:lnTo>
                        <a:pt x="98" y="740"/>
                      </a:lnTo>
                      <a:lnTo>
                        <a:pt x="92" y="730"/>
                      </a:lnTo>
                      <a:lnTo>
                        <a:pt x="86" y="720"/>
                      </a:lnTo>
                      <a:lnTo>
                        <a:pt x="78" y="712"/>
                      </a:lnTo>
                      <a:lnTo>
                        <a:pt x="62" y="694"/>
                      </a:lnTo>
                      <a:lnTo>
                        <a:pt x="58" y="686"/>
                      </a:lnTo>
                      <a:lnTo>
                        <a:pt x="56" y="678"/>
                      </a:lnTo>
                      <a:lnTo>
                        <a:pt x="56" y="676"/>
                      </a:lnTo>
                      <a:lnTo>
                        <a:pt x="58" y="672"/>
                      </a:lnTo>
                      <a:lnTo>
                        <a:pt x="62" y="670"/>
                      </a:lnTo>
                      <a:lnTo>
                        <a:pt x="62" y="666"/>
                      </a:lnTo>
                      <a:lnTo>
                        <a:pt x="62" y="662"/>
                      </a:lnTo>
                      <a:lnTo>
                        <a:pt x="60" y="658"/>
                      </a:lnTo>
                      <a:lnTo>
                        <a:pt x="56" y="654"/>
                      </a:lnTo>
                      <a:lnTo>
                        <a:pt x="50" y="650"/>
                      </a:lnTo>
                      <a:lnTo>
                        <a:pt x="46" y="646"/>
                      </a:lnTo>
                      <a:lnTo>
                        <a:pt x="42" y="640"/>
                      </a:lnTo>
                      <a:lnTo>
                        <a:pt x="40" y="630"/>
                      </a:lnTo>
                      <a:lnTo>
                        <a:pt x="36" y="610"/>
                      </a:lnTo>
                      <a:lnTo>
                        <a:pt x="32" y="600"/>
                      </a:lnTo>
                      <a:lnTo>
                        <a:pt x="26" y="592"/>
                      </a:lnTo>
                      <a:lnTo>
                        <a:pt x="18" y="586"/>
                      </a:lnTo>
                      <a:lnTo>
                        <a:pt x="8" y="584"/>
                      </a:lnTo>
                      <a:lnTo>
                        <a:pt x="4" y="584"/>
                      </a:lnTo>
                      <a:lnTo>
                        <a:pt x="2" y="582"/>
                      </a:lnTo>
                      <a:lnTo>
                        <a:pt x="0" y="574"/>
                      </a:lnTo>
                      <a:lnTo>
                        <a:pt x="2" y="568"/>
                      </a:lnTo>
                      <a:lnTo>
                        <a:pt x="6" y="562"/>
                      </a:lnTo>
                      <a:lnTo>
                        <a:pt x="16" y="554"/>
                      </a:lnTo>
                      <a:lnTo>
                        <a:pt x="14" y="554"/>
                      </a:lnTo>
                      <a:lnTo>
                        <a:pt x="20" y="550"/>
                      </a:lnTo>
                      <a:lnTo>
                        <a:pt x="22" y="548"/>
                      </a:lnTo>
                      <a:lnTo>
                        <a:pt x="22" y="544"/>
                      </a:lnTo>
                      <a:lnTo>
                        <a:pt x="22" y="538"/>
                      </a:lnTo>
                      <a:lnTo>
                        <a:pt x="20" y="534"/>
                      </a:lnTo>
                      <a:lnTo>
                        <a:pt x="14" y="524"/>
                      </a:lnTo>
                      <a:lnTo>
                        <a:pt x="28" y="516"/>
                      </a:lnTo>
                      <a:lnTo>
                        <a:pt x="36" y="508"/>
                      </a:lnTo>
                      <a:lnTo>
                        <a:pt x="38" y="506"/>
                      </a:lnTo>
                      <a:lnTo>
                        <a:pt x="40" y="502"/>
                      </a:lnTo>
                      <a:lnTo>
                        <a:pt x="38" y="500"/>
                      </a:lnTo>
                      <a:lnTo>
                        <a:pt x="34" y="496"/>
                      </a:lnTo>
                      <a:lnTo>
                        <a:pt x="32" y="492"/>
                      </a:lnTo>
                      <a:lnTo>
                        <a:pt x="30" y="486"/>
                      </a:lnTo>
                      <a:lnTo>
                        <a:pt x="30" y="480"/>
                      </a:lnTo>
                      <a:lnTo>
                        <a:pt x="42" y="478"/>
                      </a:lnTo>
                      <a:lnTo>
                        <a:pt x="48" y="470"/>
                      </a:lnTo>
                      <a:lnTo>
                        <a:pt x="54" y="456"/>
                      </a:lnTo>
                      <a:lnTo>
                        <a:pt x="56" y="442"/>
                      </a:lnTo>
                      <a:lnTo>
                        <a:pt x="58" y="428"/>
                      </a:lnTo>
                      <a:lnTo>
                        <a:pt x="82" y="424"/>
                      </a:lnTo>
                      <a:lnTo>
                        <a:pt x="110" y="422"/>
                      </a:lnTo>
                      <a:lnTo>
                        <a:pt x="106" y="212"/>
                      </a:lnTo>
                      <a:lnTo>
                        <a:pt x="104" y="212"/>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39" name="Libya">
                  <a:extLst>
                    <a:ext uri="{FF2B5EF4-FFF2-40B4-BE49-F238E27FC236}">
                      <a16:creationId xmlns:a16="http://schemas.microsoft.com/office/drawing/2014/main" id="{15365BD7-B59E-4487-8E08-56B7298638C5}"/>
                    </a:ext>
                  </a:extLst>
                </p:cNvPr>
                <p:cNvSpPr>
                  <a:spLocks/>
                </p:cNvSpPr>
                <p:nvPr/>
              </p:nvSpPr>
              <p:spPr bwMode="gray">
                <a:xfrm>
                  <a:off x="4562475" y="2466975"/>
                  <a:ext cx="922337" cy="831850"/>
                </a:xfrm>
                <a:custGeom>
                  <a:avLst/>
                  <a:gdLst/>
                  <a:ahLst/>
                  <a:cxnLst>
                    <a:cxn ang="0">
                      <a:pos x="759" y="66"/>
                    </a:cxn>
                    <a:cxn ang="0">
                      <a:pos x="739" y="60"/>
                    </a:cxn>
                    <a:cxn ang="0">
                      <a:pos x="723" y="64"/>
                    </a:cxn>
                    <a:cxn ang="0">
                      <a:pos x="667" y="60"/>
                    </a:cxn>
                    <a:cxn ang="0">
                      <a:pos x="657" y="42"/>
                    </a:cxn>
                    <a:cxn ang="0">
                      <a:pos x="619" y="24"/>
                    </a:cxn>
                    <a:cxn ang="0">
                      <a:pos x="573" y="20"/>
                    </a:cxn>
                    <a:cxn ang="0">
                      <a:pos x="539" y="32"/>
                    </a:cxn>
                    <a:cxn ang="0">
                      <a:pos x="515" y="54"/>
                    </a:cxn>
                    <a:cxn ang="0">
                      <a:pos x="517" y="76"/>
                    </a:cxn>
                    <a:cxn ang="0">
                      <a:pos x="533" y="102"/>
                    </a:cxn>
                    <a:cxn ang="0">
                      <a:pos x="521" y="128"/>
                    </a:cxn>
                    <a:cxn ang="0">
                      <a:pos x="501" y="144"/>
                    </a:cxn>
                    <a:cxn ang="0">
                      <a:pos x="471" y="142"/>
                    </a:cxn>
                    <a:cxn ang="0">
                      <a:pos x="417" y="116"/>
                    </a:cxn>
                    <a:cxn ang="0">
                      <a:pos x="385" y="100"/>
                    </a:cxn>
                    <a:cxn ang="0">
                      <a:pos x="336" y="96"/>
                    </a:cxn>
                    <a:cxn ang="0">
                      <a:pos x="314" y="84"/>
                    </a:cxn>
                    <a:cxn ang="0">
                      <a:pos x="304" y="64"/>
                    </a:cxn>
                    <a:cxn ang="0">
                      <a:pos x="292" y="34"/>
                    </a:cxn>
                    <a:cxn ang="0">
                      <a:pos x="254" y="18"/>
                    </a:cxn>
                    <a:cxn ang="0">
                      <a:pos x="200" y="10"/>
                    </a:cxn>
                    <a:cxn ang="0">
                      <a:pos x="178" y="20"/>
                    </a:cxn>
                    <a:cxn ang="0">
                      <a:pos x="134" y="6"/>
                    </a:cxn>
                    <a:cxn ang="0">
                      <a:pos x="116" y="16"/>
                    </a:cxn>
                    <a:cxn ang="0">
                      <a:pos x="102" y="38"/>
                    </a:cxn>
                    <a:cxn ang="0">
                      <a:pos x="60" y="70"/>
                    </a:cxn>
                    <a:cxn ang="0">
                      <a:pos x="52" y="98"/>
                    </a:cxn>
                    <a:cxn ang="0">
                      <a:pos x="54" y="112"/>
                    </a:cxn>
                    <a:cxn ang="0">
                      <a:pos x="42" y="134"/>
                    </a:cxn>
                    <a:cxn ang="0">
                      <a:pos x="10" y="150"/>
                    </a:cxn>
                    <a:cxn ang="0">
                      <a:pos x="30" y="218"/>
                    </a:cxn>
                    <a:cxn ang="0">
                      <a:pos x="26" y="288"/>
                    </a:cxn>
                    <a:cxn ang="0">
                      <a:pos x="22" y="308"/>
                    </a:cxn>
                    <a:cxn ang="0">
                      <a:pos x="30" y="328"/>
                    </a:cxn>
                    <a:cxn ang="0">
                      <a:pos x="12" y="342"/>
                    </a:cxn>
                    <a:cxn ang="0">
                      <a:pos x="0" y="354"/>
                    </a:cxn>
                    <a:cxn ang="0">
                      <a:pos x="14" y="390"/>
                    </a:cxn>
                    <a:cxn ang="0">
                      <a:pos x="40" y="440"/>
                    </a:cxn>
                    <a:cxn ang="0">
                      <a:pos x="52" y="444"/>
                    </a:cxn>
                    <a:cxn ang="0">
                      <a:pos x="70" y="446"/>
                    </a:cxn>
                    <a:cxn ang="0">
                      <a:pos x="100" y="458"/>
                    </a:cxn>
                    <a:cxn ang="0">
                      <a:pos x="112" y="484"/>
                    </a:cxn>
                    <a:cxn ang="0">
                      <a:pos x="126" y="506"/>
                    </a:cxn>
                    <a:cxn ang="0">
                      <a:pos x="200" y="526"/>
                    </a:cxn>
                    <a:cxn ang="0">
                      <a:pos x="216" y="540"/>
                    </a:cxn>
                    <a:cxn ang="0">
                      <a:pos x="234" y="550"/>
                    </a:cxn>
                    <a:cxn ang="0">
                      <a:pos x="270" y="538"/>
                    </a:cxn>
                    <a:cxn ang="0">
                      <a:pos x="739" y="712"/>
                    </a:cxn>
                    <a:cxn ang="0">
                      <a:pos x="783" y="580"/>
                    </a:cxn>
                    <a:cxn ang="0">
                      <a:pos x="757" y="174"/>
                    </a:cxn>
                    <a:cxn ang="0">
                      <a:pos x="753" y="142"/>
                    </a:cxn>
                    <a:cxn ang="0">
                      <a:pos x="763" y="120"/>
                    </a:cxn>
                    <a:cxn ang="0">
                      <a:pos x="753" y="100"/>
                    </a:cxn>
                    <a:cxn ang="0">
                      <a:pos x="755" y="80"/>
                    </a:cxn>
                    <a:cxn ang="0">
                      <a:pos x="763" y="74"/>
                    </a:cxn>
                  </a:cxnLst>
                  <a:rect l="0" t="0" r="r" b="b"/>
                  <a:pathLst>
                    <a:path w="789" h="712">
                      <a:moveTo>
                        <a:pt x="763" y="74"/>
                      </a:moveTo>
                      <a:lnTo>
                        <a:pt x="763" y="70"/>
                      </a:lnTo>
                      <a:lnTo>
                        <a:pt x="759" y="66"/>
                      </a:lnTo>
                      <a:lnTo>
                        <a:pt x="753" y="60"/>
                      </a:lnTo>
                      <a:lnTo>
                        <a:pt x="747" y="58"/>
                      </a:lnTo>
                      <a:lnTo>
                        <a:pt x="739" y="60"/>
                      </a:lnTo>
                      <a:lnTo>
                        <a:pt x="735" y="62"/>
                      </a:lnTo>
                      <a:lnTo>
                        <a:pt x="731" y="64"/>
                      </a:lnTo>
                      <a:lnTo>
                        <a:pt x="723" y="64"/>
                      </a:lnTo>
                      <a:lnTo>
                        <a:pt x="679" y="64"/>
                      </a:lnTo>
                      <a:lnTo>
                        <a:pt x="673" y="64"/>
                      </a:lnTo>
                      <a:lnTo>
                        <a:pt x="667" y="60"/>
                      </a:lnTo>
                      <a:lnTo>
                        <a:pt x="663" y="56"/>
                      </a:lnTo>
                      <a:lnTo>
                        <a:pt x="661" y="52"/>
                      </a:lnTo>
                      <a:lnTo>
                        <a:pt x="657" y="42"/>
                      </a:lnTo>
                      <a:lnTo>
                        <a:pt x="653" y="40"/>
                      </a:lnTo>
                      <a:lnTo>
                        <a:pt x="649" y="36"/>
                      </a:lnTo>
                      <a:lnTo>
                        <a:pt x="619" y="24"/>
                      </a:lnTo>
                      <a:lnTo>
                        <a:pt x="603" y="20"/>
                      </a:lnTo>
                      <a:lnTo>
                        <a:pt x="583" y="18"/>
                      </a:lnTo>
                      <a:lnTo>
                        <a:pt x="573" y="20"/>
                      </a:lnTo>
                      <a:lnTo>
                        <a:pt x="561" y="22"/>
                      </a:lnTo>
                      <a:lnTo>
                        <a:pt x="549" y="26"/>
                      </a:lnTo>
                      <a:lnTo>
                        <a:pt x="539" y="32"/>
                      </a:lnTo>
                      <a:lnTo>
                        <a:pt x="529" y="38"/>
                      </a:lnTo>
                      <a:lnTo>
                        <a:pt x="521" y="46"/>
                      </a:lnTo>
                      <a:lnTo>
                        <a:pt x="515" y="54"/>
                      </a:lnTo>
                      <a:lnTo>
                        <a:pt x="513" y="64"/>
                      </a:lnTo>
                      <a:lnTo>
                        <a:pt x="515" y="70"/>
                      </a:lnTo>
                      <a:lnTo>
                        <a:pt x="517" y="76"/>
                      </a:lnTo>
                      <a:lnTo>
                        <a:pt x="523" y="88"/>
                      </a:lnTo>
                      <a:lnTo>
                        <a:pt x="529" y="98"/>
                      </a:lnTo>
                      <a:lnTo>
                        <a:pt x="533" y="102"/>
                      </a:lnTo>
                      <a:lnTo>
                        <a:pt x="533" y="108"/>
                      </a:lnTo>
                      <a:lnTo>
                        <a:pt x="529" y="116"/>
                      </a:lnTo>
                      <a:lnTo>
                        <a:pt x="521" y="128"/>
                      </a:lnTo>
                      <a:lnTo>
                        <a:pt x="515" y="134"/>
                      </a:lnTo>
                      <a:lnTo>
                        <a:pt x="509" y="140"/>
                      </a:lnTo>
                      <a:lnTo>
                        <a:pt x="501" y="144"/>
                      </a:lnTo>
                      <a:lnTo>
                        <a:pt x="493" y="144"/>
                      </a:lnTo>
                      <a:lnTo>
                        <a:pt x="481" y="144"/>
                      </a:lnTo>
                      <a:lnTo>
                        <a:pt x="471" y="142"/>
                      </a:lnTo>
                      <a:lnTo>
                        <a:pt x="451" y="134"/>
                      </a:lnTo>
                      <a:lnTo>
                        <a:pt x="435" y="124"/>
                      </a:lnTo>
                      <a:lnTo>
                        <a:pt x="417" y="116"/>
                      </a:lnTo>
                      <a:lnTo>
                        <a:pt x="403" y="108"/>
                      </a:lnTo>
                      <a:lnTo>
                        <a:pt x="395" y="104"/>
                      </a:lnTo>
                      <a:lnTo>
                        <a:pt x="385" y="100"/>
                      </a:lnTo>
                      <a:lnTo>
                        <a:pt x="370" y="98"/>
                      </a:lnTo>
                      <a:lnTo>
                        <a:pt x="354" y="98"/>
                      </a:lnTo>
                      <a:lnTo>
                        <a:pt x="336" y="96"/>
                      </a:lnTo>
                      <a:lnTo>
                        <a:pt x="330" y="94"/>
                      </a:lnTo>
                      <a:lnTo>
                        <a:pt x="324" y="92"/>
                      </a:lnTo>
                      <a:lnTo>
                        <a:pt x="314" y="84"/>
                      </a:lnTo>
                      <a:lnTo>
                        <a:pt x="308" y="78"/>
                      </a:lnTo>
                      <a:lnTo>
                        <a:pt x="304" y="70"/>
                      </a:lnTo>
                      <a:lnTo>
                        <a:pt x="304" y="64"/>
                      </a:lnTo>
                      <a:lnTo>
                        <a:pt x="300" y="50"/>
                      </a:lnTo>
                      <a:lnTo>
                        <a:pt x="298" y="42"/>
                      </a:lnTo>
                      <a:lnTo>
                        <a:pt x="292" y="34"/>
                      </a:lnTo>
                      <a:lnTo>
                        <a:pt x="286" y="32"/>
                      </a:lnTo>
                      <a:lnTo>
                        <a:pt x="278" y="26"/>
                      </a:lnTo>
                      <a:lnTo>
                        <a:pt x="254" y="18"/>
                      </a:lnTo>
                      <a:lnTo>
                        <a:pt x="228" y="12"/>
                      </a:lnTo>
                      <a:lnTo>
                        <a:pt x="210" y="8"/>
                      </a:lnTo>
                      <a:lnTo>
                        <a:pt x="200" y="10"/>
                      </a:lnTo>
                      <a:lnTo>
                        <a:pt x="194" y="14"/>
                      </a:lnTo>
                      <a:lnTo>
                        <a:pt x="188" y="18"/>
                      </a:lnTo>
                      <a:lnTo>
                        <a:pt x="178" y="20"/>
                      </a:lnTo>
                      <a:lnTo>
                        <a:pt x="160" y="18"/>
                      </a:lnTo>
                      <a:lnTo>
                        <a:pt x="148" y="14"/>
                      </a:lnTo>
                      <a:lnTo>
                        <a:pt x="134" y="6"/>
                      </a:lnTo>
                      <a:lnTo>
                        <a:pt x="120" y="0"/>
                      </a:lnTo>
                      <a:lnTo>
                        <a:pt x="118" y="10"/>
                      </a:lnTo>
                      <a:lnTo>
                        <a:pt x="116" y="16"/>
                      </a:lnTo>
                      <a:lnTo>
                        <a:pt x="116" y="20"/>
                      </a:lnTo>
                      <a:lnTo>
                        <a:pt x="120" y="28"/>
                      </a:lnTo>
                      <a:lnTo>
                        <a:pt x="102" y="38"/>
                      </a:lnTo>
                      <a:lnTo>
                        <a:pt x="80" y="54"/>
                      </a:lnTo>
                      <a:lnTo>
                        <a:pt x="70" y="62"/>
                      </a:lnTo>
                      <a:lnTo>
                        <a:pt x="60" y="70"/>
                      </a:lnTo>
                      <a:lnTo>
                        <a:pt x="54" y="78"/>
                      </a:lnTo>
                      <a:lnTo>
                        <a:pt x="52" y="84"/>
                      </a:lnTo>
                      <a:lnTo>
                        <a:pt x="52" y="98"/>
                      </a:lnTo>
                      <a:lnTo>
                        <a:pt x="52" y="100"/>
                      </a:lnTo>
                      <a:lnTo>
                        <a:pt x="52" y="104"/>
                      </a:lnTo>
                      <a:lnTo>
                        <a:pt x="54" y="112"/>
                      </a:lnTo>
                      <a:lnTo>
                        <a:pt x="52" y="120"/>
                      </a:lnTo>
                      <a:lnTo>
                        <a:pt x="48" y="128"/>
                      </a:lnTo>
                      <a:lnTo>
                        <a:pt x="42" y="134"/>
                      </a:lnTo>
                      <a:lnTo>
                        <a:pt x="34" y="140"/>
                      </a:lnTo>
                      <a:lnTo>
                        <a:pt x="26" y="144"/>
                      </a:lnTo>
                      <a:lnTo>
                        <a:pt x="10" y="150"/>
                      </a:lnTo>
                      <a:lnTo>
                        <a:pt x="22" y="182"/>
                      </a:lnTo>
                      <a:lnTo>
                        <a:pt x="28" y="200"/>
                      </a:lnTo>
                      <a:lnTo>
                        <a:pt x="30" y="218"/>
                      </a:lnTo>
                      <a:lnTo>
                        <a:pt x="30" y="276"/>
                      </a:lnTo>
                      <a:lnTo>
                        <a:pt x="28" y="282"/>
                      </a:lnTo>
                      <a:lnTo>
                        <a:pt x="26" y="288"/>
                      </a:lnTo>
                      <a:lnTo>
                        <a:pt x="24" y="294"/>
                      </a:lnTo>
                      <a:lnTo>
                        <a:pt x="22" y="300"/>
                      </a:lnTo>
                      <a:lnTo>
                        <a:pt x="22" y="308"/>
                      </a:lnTo>
                      <a:lnTo>
                        <a:pt x="26" y="314"/>
                      </a:lnTo>
                      <a:lnTo>
                        <a:pt x="28" y="320"/>
                      </a:lnTo>
                      <a:lnTo>
                        <a:pt x="30" y="328"/>
                      </a:lnTo>
                      <a:lnTo>
                        <a:pt x="26" y="332"/>
                      </a:lnTo>
                      <a:lnTo>
                        <a:pt x="22" y="336"/>
                      </a:lnTo>
                      <a:lnTo>
                        <a:pt x="12" y="342"/>
                      </a:lnTo>
                      <a:lnTo>
                        <a:pt x="4" y="346"/>
                      </a:lnTo>
                      <a:lnTo>
                        <a:pt x="2" y="350"/>
                      </a:lnTo>
                      <a:lnTo>
                        <a:pt x="0" y="354"/>
                      </a:lnTo>
                      <a:lnTo>
                        <a:pt x="2" y="362"/>
                      </a:lnTo>
                      <a:lnTo>
                        <a:pt x="4" y="370"/>
                      </a:lnTo>
                      <a:lnTo>
                        <a:pt x="14" y="390"/>
                      </a:lnTo>
                      <a:lnTo>
                        <a:pt x="36" y="424"/>
                      </a:lnTo>
                      <a:lnTo>
                        <a:pt x="40" y="434"/>
                      </a:lnTo>
                      <a:lnTo>
                        <a:pt x="40" y="440"/>
                      </a:lnTo>
                      <a:lnTo>
                        <a:pt x="44" y="444"/>
                      </a:lnTo>
                      <a:lnTo>
                        <a:pt x="48" y="446"/>
                      </a:lnTo>
                      <a:lnTo>
                        <a:pt x="52" y="444"/>
                      </a:lnTo>
                      <a:lnTo>
                        <a:pt x="58" y="442"/>
                      </a:lnTo>
                      <a:lnTo>
                        <a:pt x="64" y="444"/>
                      </a:lnTo>
                      <a:lnTo>
                        <a:pt x="70" y="446"/>
                      </a:lnTo>
                      <a:lnTo>
                        <a:pt x="78" y="450"/>
                      </a:lnTo>
                      <a:lnTo>
                        <a:pt x="88" y="456"/>
                      </a:lnTo>
                      <a:lnTo>
                        <a:pt x="100" y="458"/>
                      </a:lnTo>
                      <a:lnTo>
                        <a:pt x="102" y="466"/>
                      </a:lnTo>
                      <a:lnTo>
                        <a:pt x="104" y="472"/>
                      </a:lnTo>
                      <a:lnTo>
                        <a:pt x="112" y="484"/>
                      </a:lnTo>
                      <a:lnTo>
                        <a:pt x="120" y="494"/>
                      </a:lnTo>
                      <a:lnTo>
                        <a:pt x="124" y="500"/>
                      </a:lnTo>
                      <a:lnTo>
                        <a:pt x="126" y="506"/>
                      </a:lnTo>
                      <a:lnTo>
                        <a:pt x="148" y="508"/>
                      </a:lnTo>
                      <a:lnTo>
                        <a:pt x="166" y="514"/>
                      </a:lnTo>
                      <a:lnTo>
                        <a:pt x="200" y="526"/>
                      </a:lnTo>
                      <a:lnTo>
                        <a:pt x="204" y="530"/>
                      </a:lnTo>
                      <a:lnTo>
                        <a:pt x="208" y="532"/>
                      </a:lnTo>
                      <a:lnTo>
                        <a:pt x="216" y="540"/>
                      </a:lnTo>
                      <a:lnTo>
                        <a:pt x="224" y="548"/>
                      </a:lnTo>
                      <a:lnTo>
                        <a:pt x="228" y="550"/>
                      </a:lnTo>
                      <a:lnTo>
                        <a:pt x="234" y="550"/>
                      </a:lnTo>
                      <a:lnTo>
                        <a:pt x="246" y="548"/>
                      </a:lnTo>
                      <a:lnTo>
                        <a:pt x="258" y="544"/>
                      </a:lnTo>
                      <a:lnTo>
                        <a:pt x="270" y="538"/>
                      </a:lnTo>
                      <a:lnTo>
                        <a:pt x="278" y="532"/>
                      </a:lnTo>
                      <a:lnTo>
                        <a:pt x="328" y="504"/>
                      </a:lnTo>
                      <a:lnTo>
                        <a:pt x="739" y="712"/>
                      </a:lnTo>
                      <a:lnTo>
                        <a:pt x="739" y="688"/>
                      </a:lnTo>
                      <a:lnTo>
                        <a:pt x="789" y="688"/>
                      </a:lnTo>
                      <a:lnTo>
                        <a:pt x="783" y="580"/>
                      </a:lnTo>
                      <a:lnTo>
                        <a:pt x="763" y="190"/>
                      </a:lnTo>
                      <a:lnTo>
                        <a:pt x="761" y="184"/>
                      </a:lnTo>
                      <a:lnTo>
                        <a:pt x="757" y="174"/>
                      </a:lnTo>
                      <a:lnTo>
                        <a:pt x="753" y="162"/>
                      </a:lnTo>
                      <a:lnTo>
                        <a:pt x="751" y="150"/>
                      </a:lnTo>
                      <a:lnTo>
                        <a:pt x="753" y="142"/>
                      </a:lnTo>
                      <a:lnTo>
                        <a:pt x="757" y="136"/>
                      </a:lnTo>
                      <a:lnTo>
                        <a:pt x="761" y="130"/>
                      </a:lnTo>
                      <a:lnTo>
                        <a:pt x="763" y="120"/>
                      </a:lnTo>
                      <a:lnTo>
                        <a:pt x="761" y="112"/>
                      </a:lnTo>
                      <a:lnTo>
                        <a:pt x="757" y="106"/>
                      </a:lnTo>
                      <a:lnTo>
                        <a:pt x="753" y="100"/>
                      </a:lnTo>
                      <a:lnTo>
                        <a:pt x="751" y="92"/>
                      </a:lnTo>
                      <a:lnTo>
                        <a:pt x="751" y="84"/>
                      </a:lnTo>
                      <a:lnTo>
                        <a:pt x="755" y="80"/>
                      </a:lnTo>
                      <a:lnTo>
                        <a:pt x="759" y="76"/>
                      </a:lnTo>
                      <a:lnTo>
                        <a:pt x="767" y="76"/>
                      </a:lnTo>
                      <a:lnTo>
                        <a:pt x="763" y="74"/>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0" name="Uganda">
                  <a:extLst>
                    <a:ext uri="{FF2B5EF4-FFF2-40B4-BE49-F238E27FC236}">
                      <a16:creationId xmlns:a16="http://schemas.microsoft.com/office/drawing/2014/main" id="{FE26DE5D-25CD-45A6-9345-46DB518087FF}"/>
                    </a:ext>
                  </a:extLst>
                </p:cNvPr>
                <p:cNvSpPr>
                  <a:spLocks/>
                </p:cNvSpPr>
                <p:nvPr/>
              </p:nvSpPr>
              <p:spPr bwMode="gray">
                <a:xfrm>
                  <a:off x="5795963" y="4251325"/>
                  <a:ext cx="349250" cy="376237"/>
                </a:xfrm>
                <a:custGeom>
                  <a:avLst/>
                  <a:gdLst/>
                  <a:ahLst/>
                  <a:cxnLst>
                    <a:cxn ang="0">
                      <a:pos x="64" y="54"/>
                    </a:cxn>
                    <a:cxn ang="0">
                      <a:pos x="62" y="74"/>
                    </a:cxn>
                    <a:cxn ang="0">
                      <a:pos x="64" y="82"/>
                    </a:cxn>
                    <a:cxn ang="0">
                      <a:pos x="66" y="88"/>
                    </a:cxn>
                    <a:cxn ang="0">
                      <a:pos x="64" y="96"/>
                    </a:cxn>
                    <a:cxn ang="0">
                      <a:pos x="60" y="106"/>
                    </a:cxn>
                    <a:cxn ang="0">
                      <a:pos x="64" y="112"/>
                    </a:cxn>
                    <a:cxn ang="0">
                      <a:pos x="80" y="118"/>
                    </a:cxn>
                    <a:cxn ang="0">
                      <a:pos x="84" y="126"/>
                    </a:cxn>
                    <a:cxn ang="0">
                      <a:pos x="78" y="140"/>
                    </a:cxn>
                    <a:cxn ang="0">
                      <a:pos x="28" y="188"/>
                    </a:cxn>
                    <a:cxn ang="0">
                      <a:pos x="18" y="198"/>
                    </a:cxn>
                    <a:cxn ang="0">
                      <a:pos x="16" y="214"/>
                    </a:cxn>
                    <a:cxn ang="0">
                      <a:pos x="8" y="248"/>
                    </a:cxn>
                    <a:cxn ang="0">
                      <a:pos x="2" y="291"/>
                    </a:cxn>
                    <a:cxn ang="0">
                      <a:pos x="2" y="321"/>
                    </a:cxn>
                    <a:cxn ang="0">
                      <a:pos x="14" y="317"/>
                    </a:cxn>
                    <a:cxn ang="0">
                      <a:pos x="20" y="319"/>
                    </a:cxn>
                    <a:cxn ang="0">
                      <a:pos x="26" y="321"/>
                    </a:cxn>
                    <a:cxn ang="0">
                      <a:pos x="38" y="315"/>
                    </a:cxn>
                    <a:cxn ang="0">
                      <a:pos x="50" y="305"/>
                    </a:cxn>
                    <a:cxn ang="0">
                      <a:pos x="52" y="301"/>
                    </a:cxn>
                    <a:cxn ang="0">
                      <a:pos x="128" y="297"/>
                    </a:cxn>
                    <a:cxn ang="0">
                      <a:pos x="122" y="289"/>
                    </a:cxn>
                    <a:cxn ang="0">
                      <a:pos x="124" y="281"/>
                    </a:cxn>
                    <a:cxn ang="0">
                      <a:pos x="130" y="273"/>
                    </a:cxn>
                    <a:cxn ang="0">
                      <a:pos x="134" y="265"/>
                    </a:cxn>
                    <a:cxn ang="0">
                      <a:pos x="140" y="250"/>
                    </a:cxn>
                    <a:cxn ang="0">
                      <a:pos x="162" y="242"/>
                    </a:cxn>
                    <a:cxn ang="0">
                      <a:pos x="166" y="242"/>
                    </a:cxn>
                    <a:cxn ang="0">
                      <a:pos x="172" y="238"/>
                    </a:cxn>
                    <a:cxn ang="0">
                      <a:pos x="180" y="234"/>
                    </a:cxn>
                    <a:cxn ang="0">
                      <a:pos x="186" y="238"/>
                    </a:cxn>
                    <a:cxn ang="0">
                      <a:pos x="194" y="234"/>
                    </a:cxn>
                    <a:cxn ang="0">
                      <a:pos x="200" y="232"/>
                    </a:cxn>
                    <a:cxn ang="0">
                      <a:pos x="208" y="234"/>
                    </a:cxn>
                    <a:cxn ang="0">
                      <a:pos x="214" y="228"/>
                    </a:cxn>
                    <a:cxn ang="0">
                      <a:pos x="218" y="220"/>
                    </a:cxn>
                    <a:cxn ang="0">
                      <a:pos x="226" y="220"/>
                    </a:cxn>
                    <a:cxn ang="0">
                      <a:pos x="232" y="236"/>
                    </a:cxn>
                    <a:cxn ang="0">
                      <a:pos x="244" y="246"/>
                    </a:cxn>
                    <a:cxn ang="0">
                      <a:pos x="246" y="226"/>
                    </a:cxn>
                    <a:cxn ang="0">
                      <a:pos x="260" y="202"/>
                    </a:cxn>
                    <a:cxn ang="0">
                      <a:pos x="284" y="170"/>
                    </a:cxn>
                    <a:cxn ang="0">
                      <a:pos x="296" y="146"/>
                    </a:cxn>
                    <a:cxn ang="0">
                      <a:pos x="296" y="112"/>
                    </a:cxn>
                    <a:cxn ang="0">
                      <a:pos x="286" y="76"/>
                    </a:cxn>
                    <a:cxn ang="0">
                      <a:pos x="260" y="30"/>
                    </a:cxn>
                    <a:cxn ang="0">
                      <a:pos x="244" y="0"/>
                    </a:cxn>
                    <a:cxn ang="0">
                      <a:pos x="214" y="28"/>
                    </a:cxn>
                    <a:cxn ang="0">
                      <a:pos x="188" y="30"/>
                    </a:cxn>
                    <a:cxn ang="0">
                      <a:pos x="166" y="36"/>
                    </a:cxn>
                    <a:cxn ang="0">
                      <a:pos x="142" y="40"/>
                    </a:cxn>
                    <a:cxn ang="0">
                      <a:pos x="128" y="36"/>
                    </a:cxn>
                    <a:cxn ang="0">
                      <a:pos x="110" y="32"/>
                    </a:cxn>
                    <a:cxn ang="0">
                      <a:pos x="94" y="36"/>
                    </a:cxn>
                    <a:cxn ang="0">
                      <a:pos x="72" y="46"/>
                    </a:cxn>
                    <a:cxn ang="0">
                      <a:pos x="64" y="48"/>
                    </a:cxn>
                  </a:cxnLst>
                  <a:rect l="0" t="0" r="r" b="b"/>
                  <a:pathLst>
                    <a:path w="298" h="321">
                      <a:moveTo>
                        <a:pt x="62" y="48"/>
                      </a:moveTo>
                      <a:lnTo>
                        <a:pt x="64" y="54"/>
                      </a:lnTo>
                      <a:lnTo>
                        <a:pt x="64" y="60"/>
                      </a:lnTo>
                      <a:lnTo>
                        <a:pt x="62" y="74"/>
                      </a:lnTo>
                      <a:lnTo>
                        <a:pt x="64" y="78"/>
                      </a:lnTo>
                      <a:lnTo>
                        <a:pt x="64" y="82"/>
                      </a:lnTo>
                      <a:lnTo>
                        <a:pt x="66" y="84"/>
                      </a:lnTo>
                      <a:lnTo>
                        <a:pt x="66" y="88"/>
                      </a:lnTo>
                      <a:lnTo>
                        <a:pt x="66" y="94"/>
                      </a:lnTo>
                      <a:lnTo>
                        <a:pt x="64" y="96"/>
                      </a:lnTo>
                      <a:lnTo>
                        <a:pt x="62" y="100"/>
                      </a:lnTo>
                      <a:lnTo>
                        <a:pt x="60" y="106"/>
                      </a:lnTo>
                      <a:lnTo>
                        <a:pt x="62" y="110"/>
                      </a:lnTo>
                      <a:lnTo>
                        <a:pt x="64" y="112"/>
                      </a:lnTo>
                      <a:lnTo>
                        <a:pt x="72" y="116"/>
                      </a:lnTo>
                      <a:lnTo>
                        <a:pt x="80" y="118"/>
                      </a:lnTo>
                      <a:lnTo>
                        <a:pt x="84" y="122"/>
                      </a:lnTo>
                      <a:lnTo>
                        <a:pt x="84" y="126"/>
                      </a:lnTo>
                      <a:lnTo>
                        <a:pt x="82" y="134"/>
                      </a:lnTo>
                      <a:lnTo>
                        <a:pt x="78" y="140"/>
                      </a:lnTo>
                      <a:lnTo>
                        <a:pt x="64" y="150"/>
                      </a:lnTo>
                      <a:lnTo>
                        <a:pt x="28" y="188"/>
                      </a:lnTo>
                      <a:lnTo>
                        <a:pt x="20" y="194"/>
                      </a:lnTo>
                      <a:lnTo>
                        <a:pt x="18" y="198"/>
                      </a:lnTo>
                      <a:lnTo>
                        <a:pt x="16" y="202"/>
                      </a:lnTo>
                      <a:lnTo>
                        <a:pt x="16" y="214"/>
                      </a:lnTo>
                      <a:lnTo>
                        <a:pt x="14" y="226"/>
                      </a:lnTo>
                      <a:lnTo>
                        <a:pt x="8" y="248"/>
                      </a:lnTo>
                      <a:lnTo>
                        <a:pt x="4" y="277"/>
                      </a:lnTo>
                      <a:lnTo>
                        <a:pt x="2" y="291"/>
                      </a:lnTo>
                      <a:lnTo>
                        <a:pt x="0" y="305"/>
                      </a:lnTo>
                      <a:lnTo>
                        <a:pt x="2" y="321"/>
                      </a:lnTo>
                      <a:lnTo>
                        <a:pt x="8" y="319"/>
                      </a:lnTo>
                      <a:lnTo>
                        <a:pt x="14" y="317"/>
                      </a:lnTo>
                      <a:lnTo>
                        <a:pt x="18" y="319"/>
                      </a:lnTo>
                      <a:lnTo>
                        <a:pt x="20" y="319"/>
                      </a:lnTo>
                      <a:lnTo>
                        <a:pt x="22" y="321"/>
                      </a:lnTo>
                      <a:lnTo>
                        <a:pt x="26" y="321"/>
                      </a:lnTo>
                      <a:lnTo>
                        <a:pt x="30" y="319"/>
                      </a:lnTo>
                      <a:lnTo>
                        <a:pt x="38" y="315"/>
                      </a:lnTo>
                      <a:lnTo>
                        <a:pt x="42" y="309"/>
                      </a:lnTo>
                      <a:lnTo>
                        <a:pt x="50" y="305"/>
                      </a:lnTo>
                      <a:lnTo>
                        <a:pt x="52" y="305"/>
                      </a:lnTo>
                      <a:lnTo>
                        <a:pt x="52" y="301"/>
                      </a:lnTo>
                      <a:lnTo>
                        <a:pt x="56" y="297"/>
                      </a:lnTo>
                      <a:lnTo>
                        <a:pt x="128" y="297"/>
                      </a:lnTo>
                      <a:lnTo>
                        <a:pt x="124" y="293"/>
                      </a:lnTo>
                      <a:lnTo>
                        <a:pt x="122" y="289"/>
                      </a:lnTo>
                      <a:lnTo>
                        <a:pt x="122" y="285"/>
                      </a:lnTo>
                      <a:lnTo>
                        <a:pt x="124" y="281"/>
                      </a:lnTo>
                      <a:lnTo>
                        <a:pt x="126" y="277"/>
                      </a:lnTo>
                      <a:lnTo>
                        <a:pt x="130" y="273"/>
                      </a:lnTo>
                      <a:lnTo>
                        <a:pt x="132" y="269"/>
                      </a:lnTo>
                      <a:lnTo>
                        <a:pt x="134" y="265"/>
                      </a:lnTo>
                      <a:lnTo>
                        <a:pt x="136" y="254"/>
                      </a:lnTo>
                      <a:lnTo>
                        <a:pt x="140" y="250"/>
                      </a:lnTo>
                      <a:lnTo>
                        <a:pt x="148" y="248"/>
                      </a:lnTo>
                      <a:lnTo>
                        <a:pt x="162" y="242"/>
                      </a:lnTo>
                      <a:lnTo>
                        <a:pt x="164" y="242"/>
                      </a:lnTo>
                      <a:lnTo>
                        <a:pt x="166" y="242"/>
                      </a:lnTo>
                      <a:lnTo>
                        <a:pt x="170" y="242"/>
                      </a:lnTo>
                      <a:lnTo>
                        <a:pt x="172" y="238"/>
                      </a:lnTo>
                      <a:lnTo>
                        <a:pt x="176" y="236"/>
                      </a:lnTo>
                      <a:lnTo>
                        <a:pt x="180" y="234"/>
                      </a:lnTo>
                      <a:lnTo>
                        <a:pt x="184" y="236"/>
                      </a:lnTo>
                      <a:lnTo>
                        <a:pt x="186" y="238"/>
                      </a:lnTo>
                      <a:lnTo>
                        <a:pt x="192" y="236"/>
                      </a:lnTo>
                      <a:lnTo>
                        <a:pt x="194" y="234"/>
                      </a:lnTo>
                      <a:lnTo>
                        <a:pt x="198" y="230"/>
                      </a:lnTo>
                      <a:lnTo>
                        <a:pt x="200" y="232"/>
                      </a:lnTo>
                      <a:lnTo>
                        <a:pt x="204" y="234"/>
                      </a:lnTo>
                      <a:lnTo>
                        <a:pt x="208" y="234"/>
                      </a:lnTo>
                      <a:lnTo>
                        <a:pt x="210" y="232"/>
                      </a:lnTo>
                      <a:lnTo>
                        <a:pt x="214" y="228"/>
                      </a:lnTo>
                      <a:lnTo>
                        <a:pt x="216" y="222"/>
                      </a:lnTo>
                      <a:lnTo>
                        <a:pt x="218" y="220"/>
                      </a:lnTo>
                      <a:lnTo>
                        <a:pt x="222" y="220"/>
                      </a:lnTo>
                      <a:lnTo>
                        <a:pt x="226" y="220"/>
                      </a:lnTo>
                      <a:lnTo>
                        <a:pt x="228" y="228"/>
                      </a:lnTo>
                      <a:lnTo>
                        <a:pt x="232" y="236"/>
                      </a:lnTo>
                      <a:lnTo>
                        <a:pt x="238" y="244"/>
                      </a:lnTo>
                      <a:lnTo>
                        <a:pt x="244" y="246"/>
                      </a:lnTo>
                      <a:lnTo>
                        <a:pt x="244" y="238"/>
                      </a:lnTo>
                      <a:lnTo>
                        <a:pt x="246" y="226"/>
                      </a:lnTo>
                      <a:lnTo>
                        <a:pt x="252" y="214"/>
                      </a:lnTo>
                      <a:lnTo>
                        <a:pt x="260" y="202"/>
                      </a:lnTo>
                      <a:lnTo>
                        <a:pt x="276" y="180"/>
                      </a:lnTo>
                      <a:lnTo>
                        <a:pt x="284" y="170"/>
                      </a:lnTo>
                      <a:lnTo>
                        <a:pt x="292" y="158"/>
                      </a:lnTo>
                      <a:lnTo>
                        <a:pt x="296" y="146"/>
                      </a:lnTo>
                      <a:lnTo>
                        <a:pt x="298" y="130"/>
                      </a:lnTo>
                      <a:lnTo>
                        <a:pt x="296" y="112"/>
                      </a:lnTo>
                      <a:lnTo>
                        <a:pt x="292" y="94"/>
                      </a:lnTo>
                      <a:lnTo>
                        <a:pt x="286" y="76"/>
                      </a:lnTo>
                      <a:lnTo>
                        <a:pt x="278" y="60"/>
                      </a:lnTo>
                      <a:lnTo>
                        <a:pt x="260" y="30"/>
                      </a:lnTo>
                      <a:lnTo>
                        <a:pt x="250" y="14"/>
                      </a:lnTo>
                      <a:lnTo>
                        <a:pt x="244" y="0"/>
                      </a:lnTo>
                      <a:lnTo>
                        <a:pt x="222" y="20"/>
                      </a:lnTo>
                      <a:lnTo>
                        <a:pt x="214" y="28"/>
                      </a:lnTo>
                      <a:lnTo>
                        <a:pt x="206" y="30"/>
                      </a:lnTo>
                      <a:lnTo>
                        <a:pt x="188" y="30"/>
                      </a:lnTo>
                      <a:lnTo>
                        <a:pt x="178" y="32"/>
                      </a:lnTo>
                      <a:lnTo>
                        <a:pt x="166" y="36"/>
                      </a:lnTo>
                      <a:lnTo>
                        <a:pt x="154" y="40"/>
                      </a:lnTo>
                      <a:lnTo>
                        <a:pt x="142" y="40"/>
                      </a:lnTo>
                      <a:lnTo>
                        <a:pt x="136" y="40"/>
                      </a:lnTo>
                      <a:lnTo>
                        <a:pt x="128" y="36"/>
                      </a:lnTo>
                      <a:lnTo>
                        <a:pt x="120" y="34"/>
                      </a:lnTo>
                      <a:lnTo>
                        <a:pt x="110" y="32"/>
                      </a:lnTo>
                      <a:lnTo>
                        <a:pt x="100" y="34"/>
                      </a:lnTo>
                      <a:lnTo>
                        <a:pt x="94" y="36"/>
                      </a:lnTo>
                      <a:lnTo>
                        <a:pt x="82" y="40"/>
                      </a:lnTo>
                      <a:lnTo>
                        <a:pt x="72" y="46"/>
                      </a:lnTo>
                      <a:lnTo>
                        <a:pt x="68" y="48"/>
                      </a:lnTo>
                      <a:lnTo>
                        <a:pt x="64" y="48"/>
                      </a:lnTo>
                      <a:lnTo>
                        <a:pt x="62" y="48"/>
                      </a:lnTo>
                      <a:close/>
                    </a:path>
                  </a:pathLst>
                </a:custGeom>
                <a:solidFill>
                  <a:schemeClr val="accent3"/>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1" name="Eritrea">
                  <a:extLst>
                    <a:ext uri="{FF2B5EF4-FFF2-40B4-BE49-F238E27FC236}">
                      <a16:creationId xmlns:a16="http://schemas.microsoft.com/office/drawing/2014/main" id="{E0D8E41B-D60D-4AAF-8FCC-628E71109A70}"/>
                    </a:ext>
                  </a:extLst>
                </p:cNvPr>
                <p:cNvSpPr>
                  <a:spLocks/>
                </p:cNvSpPr>
                <p:nvPr/>
              </p:nvSpPr>
              <p:spPr bwMode="gray">
                <a:xfrm>
                  <a:off x="6196013" y="3365500"/>
                  <a:ext cx="407987" cy="347662"/>
                </a:xfrm>
                <a:custGeom>
                  <a:avLst/>
                  <a:gdLst/>
                  <a:ahLst/>
                  <a:cxnLst>
                    <a:cxn ang="0">
                      <a:pos x="26" y="204"/>
                    </a:cxn>
                    <a:cxn ang="0">
                      <a:pos x="50" y="200"/>
                    </a:cxn>
                    <a:cxn ang="0">
                      <a:pos x="58" y="208"/>
                    </a:cxn>
                    <a:cxn ang="0">
                      <a:pos x="64" y="214"/>
                    </a:cxn>
                    <a:cxn ang="0">
                      <a:pos x="70" y="210"/>
                    </a:cxn>
                    <a:cxn ang="0">
                      <a:pos x="80" y="186"/>
                    </a:cxn>
                    <a:cxn ang="0">
                      <a:pos x="92" y="182"/>
                    </a:cxn>
                    <a:cxn ang="0">
                      <a:pos x="110" y="194"/>
                    </a:cxn>
                    <a:cxn ang="0">
                      <a:pos x="122" y="196"/>
                    </a:cxn>
                    <a:cxn ang="0">
                      <a:pos x="132" y="192"/>
                    </a:cxn>
                    <a:cxn ang="0">
                      <a:pos x="142" y="186"/>
                    </a:cxn>
                    <a:cxn ang="0">
                      <a:pos x="148" y="190"/>
                    </a:cxn>
                    <a:cxn ang="0">
                      <a:pos x="158" y="194"/>
                    </a:cxn>
                    <a:cxn ang="0">
                      <a:pos x="178" y="194"/>
                    </a:cxn>
                    <a:cxn ang="0">
                      <a:pos x="212" y="198"/>
                    </a:cxn>
                    <a:cxn ang="0">
                      <a:pos x="242" y="216"/>
                    </a:cxn>
                    <a:cxn ang="0">
                      <a:pos x="248" y="226"/>
                    </a:cxn>
                    <a:cxn ang="0">
                      <a:pos x="254" y="236"/>
                    </a:cxn>
                    <a:cxn ang="0">
                      <a:pos x="290" y="264"/>
                    </a:cxn>
                    <a:cxn ang="0">
                      <a:pos x="316" y="288"/>
                    </a:cxn>
                    <a:cxn ang="0">
                      <a:pos x="336" y="290"/>
                    </a:cxn>
                    <a:cxn ang="0">
                      <a:pos x="342" y="278"/>
                    </a:cxn>
                    <a:cxn ang="0">
                      <a:pos x="324" y="262"/>
                    </a:cxn>
                    <a:cxn ang="0">
                      <a:pos x="314" y="244"/>
                    </a:cxn>
                    <a:cxn ang="0">
                      <a:pos x="308" y="234"/>
                    </a:cxn>
                    <a:cxn ang="0">
                      <a:pos x="288" y="226"/>
                    </a:cxn>
                    <a:cxn ang="0">
                      <a:pos x="270" y="214"/>
                    </a:cxn>
                    <a:cxn ang="0">
                      <a:pos x="258" y="196"/>
                    </a:cxn>
                    <a:cxn ang="0">
                      <a:pos x="246" y="182"/>
                    </a:cxn>
                    <a:cxn ang="0">
                      <a:pos x="228" y="176"/>
                    </a:cxn>
                    <a:cxn ang="0">
                      <a:pos x="206" y="172"/>
                    </a:cxn>
                    <a:cxn ang="0">
                      <a:pos x="190" y="160"/>
                    </a:cxn>
                    <a:cxn ang="0">
                      <a:pos x="184" y="148"/>
                    </a:cxn>
                    <a:cxn ang="0">
                      <a:pos x="174" y="144"/>
                    </a:cxn>
                    <a:cxn ang="0">
                      <a:pos x="164" y="140"/>
                    </a:cxn>
                    <a:cxn ang="0">
                      <a:pos x="150" y="120"/>
                    </a:cxn>
                    <a:cxn ang="0">
                      <a:pos x="132" y="80"/>
                    </a:cxn>
                    <a:cxn ang="0">
                      <a:pos x="120" y="34"/>
                    </a:cxn>
                    <a:cxn ang="0">
                      <a:pos x="108" y="12"/>
                    </a:cxn>
                    <a:cxn ang="0">
                      <a:pos x="92" y="0"/>
                    </a:cxn>
                    <a:cxn ang="0">
                      <a:pos x="90" y="16"/>
                    </a:cxn>
                    <a:cxn ang="0">
                      <a:pos x="80" y="26"/>
                    </a:cxn>
                    <a:cxn ang="0">
                      <a:pos x="54" y="44"/>
                    </a:cxn>
                    <a:cxn ang="0">
                      <a:pos x="28" y="60"/>
                    </a:cxn>
                    <a:cxn ang="0">
                      <a:pos x="20" y="72"/>
                    </a:cxn>
                    <a:cxn ang="0">
                      <a:pos x="16" y="86"/>
                    </a:cxn>
                    <a:cxn ang="0">
                      <a:pos x="14" y="116"/>
                    </a:cxn>
                    <a:cxn ang="0">
                      <a:pos x="4" y="150"/>
                    </a:cxn>
                    <a:cxn ang="0">
                      <a:pos x="2" y="188"/>
                    </a:cxn>
                    <a:cxn ang="0">
                      <a:pos x="4" y="208"/>
                    </a:cxn>
                  </a:cxnLst>
                  <a:rect l="0" t="0" r="r" b="b"/>
                  <a:pathLst>
                    <a:path w="348" h="298">
                      <a:moveTo>
                        <a:pt x="4" y="208"/>
                      </a:moveTo>
                      <a:lnTo>
                        <a:pt x="26" y="204"/>
                      </a:lnTo>
                      <a:lnTo>
                        <a:pt x="34" y="210"/>
                      </a:lnTo>
                      <a:lnTo>
                        <a:pt x="50" y="200"/>
                      </a:lnTo>
                      <a:lnTo>
                        <a:pt x="54" y="204"/>
                      </a:lnTo>
                      <a:lnTo>
                        <a:pt x="58" y="208"/>
                      </a:lnTo>
                      <a:lnTo>
                        <a:pt x="60" y="212"/>
                      </a:lnTo>
                      <a:lnTo>
                        <a:pt x="64" y="214"/>
                      </a:lnTo>
                      <a:lnTo>
                        <a:pt x="68" y="214"/>
                      </a:lnTo>
                      <a:lnTo>
                        <a:pt x="70" y="210"/>
                      </a:lnTo>
                      <a:lnTo>
                        <a:pt x="76" y="198"/>
                      </a:lnTo>
                      <a:lnTo>
                        <a:pt x="80" y="186"/>
                      </a:lnTo>
                      <a:lnTo>
                        <a:pt x="84" y="176"/>
                      </a:lnTo>
                      <a:lnTo>
                        <a:pt x="92" y="182"/>
                      </a:lnTo>
                      <a:lnTo>
                        <a:pt x="102" y="188"/>
                      </a:lnTo>
                      <a:lnTo>
                        <a:pt x="110" y="194"/>
                      </a:lnTo>
                      <a:lnTo>
                        <a:pt x="116" y="196"/>
                      </a:lnTo>
                      <a:lnTo>
                        <a:pt x="122" y="196"/>
                      </a:lnTo>
                      <a:lnTo>
                        <a:pt x="130" y="196"/>
                      </a:lnTo>
                      <a:lnTo>
                        <a:pt x="132" y="192"/>
                      </a:lnTo>
                      <a:lnTo>
                        <a:pt x="136" y="188"/>
                      </a:lnTo>
                      <a:lnTo>
                        <a:pt x="142" y="186"/>
                      </a:lnTo>
                      <a:lnTo>
                        <a:pt x="144" y="188"/>
                      </a:lnTo>
                      <a:lnTo>
                        <a:pt x="148" y="190"/>
                      </a:lnTo>
                      <a:lnTo>
                        <a:pt x="150" y="196"/>
                      </a:lnTo>
                      <a:lnTo>
                        <a:pt x="158" y="194"/>
                      </a:lnTo>
                      <a:lnTo>
                        <a:pt x="164" y="194"/>
                      </a:lnTo>
                      <a:lnTo>
                        <a:pt x="178" y="194"/>
                      </a:lnTo>
                      <a:lnTo>
                        <a:pt x="196" y="194"/>
                      </a:lnTo>
                      <a:lnTo>
                        <a:pt x="212" y="198"/>
                      </a:lnTo>
                      <a:lnTo>
                        <a:pt x="228" y="204"/>
                      </a:lnTo>
                      <a:lnTo>
                        <a:pt x="242" y="216"/>
                      </a:lnTo>
                      <a:lnTo>
                        <a:pt x="246" y="220"/>
                      </a:lnTo>
                      <a:lnTo>
                        <a:pt x="248" y="226"/>
                      </a:lnTo>
                      <a:lnTo>
                        <a:pt x="250" y="230"/>
                      </a:lnTo>
                      <a:lnTo>
                        <a:pt x="254" y="236"/>
                      </a:lnTo>
                      <a:lnTo>
                        <a:pt x="270" y="250"/>
                      </a:lnTo>
                      <a:lnTo>
                        <a:pt x="290" y="264"/>
                      </a:lnTo>
                      <a:lnTo>
                        <a:pt x="308" y="280"/>
                      </a:lnTo>
                      <a:lnTo>
                        <a:pt x="316" y="288"/>
                      </a:lnTo>
                      <a:lnTo>
                        <a:pt x="322" y="298"/>
                      </a:lnTo>
                      <a:lnTo>
                        <a:pt x="336" y="290"/>
                      </a:lnTo>
                      <a:lnTo>
                        <a:pt x="348" y="284"/>
                      </a:lnTo>
                      <a:lnTo>
                        <a:pt x="342" y="278"/>
                      </a:lnTo>
                      <a:lnTo>
                        <a:pt x="332" y="270"/>
                      </a:lnTo>
                      <a:lnTo>
                        <a:pt x="324" y="262"/>
                      </a:lnTo>
                      <a:lnTo>
                        <a:pt x="318" y="256"/>
                      </a:lnTo>
                      <a:lnTo>
                        <a:pt x="314" y="244"/>
                      </a:lnTo>
                      <a:lnTo>
                        <a:pt x="312" y="238"/>
                      </a:lnTo>
                      <a:lnTo>
                        <a:pt x="308" y="234"/>
                      </a:lnTo>
                      <a:lnTo>
                        <a:pt x="298" y="230"/>
                      </a:lnTo>
                      <a:lnTo>
                        <a:pt x="288" y="226"/>
                      </a:lnTo>
                      <a:lnTo>
                        <a:pt x="280" y="222"/>
                      </a:lnTo>
                      <a:lnTo>
                        <a:pt x="270" y="214"/>
                      </a:lnTo>
                      <a:lnTo>
                        <a:pt x="264" y="206"/>
                      </a:lnTo>
                      <a:lnTo>
                        <a:pt x="258" y="196"/>
                      </a:lnTo>
                      <a:lnTo>
                        <a:pt x="250" y="186"/>
                      </a:lnTo>
                      <a:lnTo>
                        <a:pt x="246" y="182"/>
                      </a:lnTo>
                      <a:lnTo>
                        <a:pt x="240" y="180"/>
                      </a:lnTo>
                      <a:lnTo>
                        <a:pt x="228" y="176"/>
                      </a:lnTo>
                      <a:lnTo>
                        <a:pt x="218" y="176"/>
                      </a:lnTo>
                      <a:lnTo>
                        <a:pt x="206" y="172"/>
                      </a:lnTo>
                      <a:lnTo>
                        <a:pt x="194" y="166"/>
                      </a:lnTo>
                      <a:lnTo>
                        <a:pt x="190" y="160"/>
                      </a:lnTo>
                      <a:lnTo>
                        <a:pt x="186" y="154"/>
                      </a:lnTo>
                      <a:lnTo>
                        <a:pt x="184" y="148"/>
                      </a:lnTo>
                      <a:lnTo>
                        <a:pt x="176" y="142"/>
                      </a:lnTo>
                      <a:lnTo>
                        <a:pt x="174" y="144"/>
                      </a:lnTo>
                      <a:lnTo>
                        <a:pt x="172" y="144"/>
                      </a:lnTo>
                      <a:lnTo>
                        <a:pt x="164" y="140"/>
                      </a:lnTo>
                      <a:lnTo>
                        <a:pt x="158" y="132"/>
                      </a:lnTo>
                      <a:lnTo>
                        <a:pt x="150" y="120"/>
                      </a:lnTo>
                      <a:lnTo>
                        <a:pt x="138" y="98"/>
                      </a:lnTo>
                      <a:lnTo>
                        <a:pt x="132" y="80"/>
                      </a:lnTo>
                      <a:lnTo>
                        <a:pt x="128" y="58"/>
                      </a:lnTo>
                      <a:lnTo>
                        <a:pt x="120" y="34"/>
                      </a:lnTo>
                      <a:lnTo>
                        <a:pt x="114" y="22"/>
                      </a:lnTo>
                      <a:lnTo>
                        <a:pt x="108" y="12"/>
                      </a:lnTo>
                      <a:lnTo>
                        <a:pt x="100" y="4"/>
                      </a:lnTo>
                      <a:lnTo>
                        <a:pt x="92" y="0"/>
                      </a:lnTo>
                      <a:lnTo>
                        <a:pt x="92" y="8"/>
                      </a:lnTo>
                      <a:lnTo>
                        <a:pt x="90" y="16"/>
                      </a:lnTo>
                      <a:lnTo>
                        <a:pt x="86" y="22"/>
                      </a:lnTo>
                      <a:lnTo>
                        <a:pt x="80" y="26"/>
                      </a:lnTo>
                      <a:lnTo>
                        <a:pt x="68" y="36"/>
                      </a:lnTo>
                      <a:lnTo>
                        <a:pt x="54" y="44"/>
                      </a:lnTo>
                      <a:lnTo>
                        <a:pt x="40" y="50"/>
                      </a:lnTo>
                      <a:lnTo>
                        <a:pt x="28" y="60"/>
                      </a:lnTo>
                      <a:lnTo>
                        <a:pt x="24" y="66"/>
                      </a:lnTo>
                      <a:lnTo>
                        <a:pt x="20" y="72"/>
                      </a:lnTo>
                      <a:lnTo>
                        <a:pt x="18" y="78"/>
                      </a:lnTo>
                      <a:lnTo>
                        <a:pt x="16" y="86"/>
                      </a:lnTo>
                      <a:lnTo>
                        <a:pt x="16" y="102"/>
                      </a:lnTo>
                      <a:lnTo>
                        <a:pt x="14" y="116"/>
                      </a:lnTo>
                      <a:lnTo>
                        <a:pt x="8" y="132"/>
                      </a:lnTo>
                      <a:lnTo>
                        <a:pt x="4" y="150"/>
                      </a:lnTo>
                      <a:lnTo>
                        <a:pt x="0" y="166"/>
                      </a:lnTo>
                      <a:lnTo>
                        <a:pt x="2" y="188"/>
                      </a:lnTo>
                      <a:lnTo>
                        <a:pt x="6" y="208"/>
                      </a:lnTo>
                      <a:lnTo>
                        <a:pt x="4" y="20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2" name="Ethiopia">
                  <a:extLst>
                    <a:ext uri="{FF2B5EF4-FFF2-40B4-BE49-F238E27FC236}">
                      <a16:creationId xmlns:a16="http://schemas.microsoft.com/office/drawing/2014/main" id="{D93413CD-476B-4E78-80A7-0A6E101F72E8}"/>
                    </a:ext>
                  </a:extLst>
                </p:cNvPr>
                <p:cNvSpPr>
                  <a:spLocks/>
                </p:cNvSpPr>
                <p:nvPr/>
              </p:nvSpPr>
              <p:spPr bwMode="gray">
                <a:xfrm>
                  <a:off x="6010275" y="3570288"/>
                  <a:ext cx="915987" cy="730250"/>
                </a:xfrm>
                <a:custGeom>
                  <a:avLst/>
                  <a:gdLst/>
                  <a:ahLst/>
                  <a:cxnLst>
                    <a:cxn ang="0">
                      <a:pos x="164" y="50"/>
                    </a:cxn>
                    <a:cxn ang="0">
                      <a:pos x="154" y="78"/>
                    </a:cxn>
                    <a:cxn ang="0">
                      <a:pos x="156" y="110"/>
                    </a:cxn>
                    <a:cxn ang="0">
                      <a:pos x="148" y="122"/>
                    </a:cxn>
                    <a:cxn ang="0">
                      <a:pos x="128" y="130"/>
                    </a:cxn>
                    <a:cxn ang="0">
                      <a:pos x="118" y="148"/>
                    </a:cxn>
                    <a:cxn ang="0">
                      <a:pos x="104" y="184"/>
                    </a:cxn>
                    <a:cxn ang="0">
                      <a:pos x="94" y="226"/>
                    </a:cxn>
                    <a:cxn ang="0">
                      <a:pos x="80" y="230"/>
                    </a:cxn>
                    <a:cxn ang="0">
                      <a:pos x="68" y="238"/>
                    </a:cxn>
                    <a:cxn ang="0">
                      <a:pos x="62" y="272"/>
                    </a:cxn>
                    <a:cxn ang="0">
                      <a:pos x="54" y="302"/>
                    </a:cxn>
                    <a:cxn ang="0">
                      <a:pos x="48" y="352"/>
                    </a:cxn>
                    <a:cxn ang="0">
                      <a:pos x="16" y="362"/>
                    </a:cxn>
                    <a:cxn ang="0">
                      <a:pos x="8" y="376"/>
                    </a:cxn>
                    <a:cxn ang="0">
                      <a:pos x="0" y="386"/>
                    </a:cxn>
                    <a:cxn ang="0">
                      <a:pos x="12" y="394"/>
                    </a:cxn>
                    <a:cxn ang="0">
                      <a:pos x="48" y="408"/>
                    </a:cxn>
                    <a:cxn ang="0">
                      <a:pos x="94" y="456"/>
                    </a:cxn>
                    <a:cxn ang="0">
                      <a:pos x="104" y="482"/>
                    </a:cxn>
                    <a:cxn ang="0">
                      <a:pos x="114" y="510"/>
                    </a:cxn>
                    <a:cxn ang="0">
                      <a:pos x="134" y="518"/>
                    </a:cxn>
                    <a:cxn ang="0">
                      <a:pos x="150" y="524"/>
                    </a:cxn>
                    <a:cxn ang="0">
                      <a:pos x="154" y="552"/>
                    </a:cxn>
                    <a:cxn ang="0">
                      <a:pos x="190" y="576"/>
                    </a:cxn>
                    <a:cxn ang="0">
                      <a:pos x="242" y="596"/>
                    </a:cxn>
                    <a:cxn ang="0">
                      <a:pos x="308" y="614"/>
                    </a:cxn>
                    <a:cxn ang="0">
                      <a:pos x="336" y="624"/>
                    </a:cxn>
                    <a:cxn ang="0">
                      <a:pos x="364" y="616"/>
                    </a:cxn>
                    <a:cxn ang="0">
                      <a:pos x="386" y="592"/>
                    </a:cxn>
                    <a:cxn ang="0">
                      <a:pos x="414" y="576"/>
                    </a:cxn>
                    <a:cxn ang="0">
                      <a:pos x="428" y="584"/>
                    </a:cxn>
                    <a:cxn ang="0">
                      <a:pos x="444" y="592"/>
                    </a:cxn>
                    <a:cxn ang="0">
                      <a:pos x="502" y="580"/>
                    </a:cxn>
                    <a:cxn ang="0">
                      <a:pos x="550" y="554"/>
                    </a:cxn>
                    <a:cxn ang="0">
                      <a:pos x="638" y="532"/>
                    </a:cxn>
                    <a:cxn ang="0">
                      <a:pos x="726" y="354"/>
                    </a:cxn>
                    <a:cxn ang="0">
                      <a:pos x="558" y="296"/>
                    </a:cxn>
                    <a:cxn ang="0">
                      <a:pos x="530" y="262"/>
                    </a:cxn>
                    <a:cxn ang="0">
                      <a:pos x="500" y="216"/>
                    </a:cxn>
                    <a:cxn ang="0">
                      <a:pos x="514" y="190"/>
                    </a:cxn>
                    <a:cxn ang="0">
                      <a:pos x="502" y="190"/>
                    </a:cxn>
                    <a:cxn ang="0">
                      <a:pos x="468" y="204"/>
                    </a:cxn>
                    <a:cxn ang="0">
                      <a:pos x="452" y="186"/>
                    </a:cxn>
                    <a:cxn ang="0">
                      <a:pos x="452" y="152"/>
                    </a:cxn>
                    <a:cxn ang="0">
                      <a:pos x="482" y="122"/>
                    </a:cxn>
                    <a:cxn ang="0">
                      <a:pos x="450" y="88"/>
                    </a:cxn>
                    <a:cxn ang="0">
                      <a:pos x="410" y="54"/>
                    </a:cxn>
                    <a:cxn ang="0">
                      <a:pos x="402" y="40"/>
                    </a:cxn>
                    <a:cxn ang="0">
                      <a:pos x="356" y="18"/>
                    </a:cxn>
                    <a:cxn ang="0">
                      <a:pos x="318" y="18"/>
                    </a:cxn>
                    <a:cxn ang="0">
                      <a:pos x="304" y="12"/>
                    </a:cxn>
                    <a:cxn ang="0">
                      <a:pos x="292" y="16"/>
                    </a:cxn>
                    <a:cxn ang="0">
                      <a:pos x="276" y="20"/>
                    </a:cxn>
                    <a:cxn ang="0">
                      <a:pos x="252" y="6"/>
                    </a:cxn>
                    <a:cxn ang="0">
                      <a:pos x="236" y="22"/>
                    </a:cxn>
                    <a:cxn ang="0">
                      <a:pos x="224" y="38"/>
                    </a:cxn>
                    <a:cxn ang="0">
                      <a:pos x="214" y="28"/>
                    </a:cxn>
                    <a:cxn ang="0">
                      <a:pos x="186" y="28"/>
                    </a:cxn>
                  </a:cxnLst>
                  <a:rect l="0" t="0" r="r" b="b"/>
                  <a:pathLst>
                    <a:path w="784" h="624">
                      <a:moveTo>
                        <a:pt x="166" y="32"/>
                      </a:moveTo>
                      <a:lnTo>
                        <a:pt x="166" y="38"/>
                      </a:lnTo>
                      <a:lnTo>
                        <a:pt x="164" y="50"/>
                      </a:lnTo>
                      <a:lnTo>
                        <a:pt x="160" y="60"/>
                      </a:lnTo>
                      <a:lnTo>
                        <a:pt x="156" y="70"/>
                      </a:lnTo>
                      <a:lnTo>
                        <a:pt x="154" y="78"/>
                      </a:lnTo>
                      <a:lnTo>
                        <a:pt x="154" y="90"/>
                      </a:lnTo>
                      <a:lnTo>
                        <a:pt x="156" y="100"/>
                      </a:lnTo>
                      <a:lnTo>
                        <a:pt x="156" y="110"/>
                      </a:lnTo>
                      <a:lnTo>
                        <a:pt x="156" y="116"/>
                      </a:lnTo>
                      <a:lnTo>
                        <a:pt x="152" y="120"/>
                      </a:lnTo>
                      <a:lnTo>
                        <a:pt x="148" y="122"/>
                      </a:lnTo>
                      <a:lnTo>
                        <a:pt x="144" y="124"/>
                      </a:lnTo>
                      <a:lnTo>
                        <a:pt x="134" y="124"/>
                      </a:lnTo>
                      <a:lnTo>
                        <a:pt x="128" y="130"/>
                      </a:lnTo>
                      <a:lnTo>
                        <a:pt x="124" y="136"/>
                      </a:lnTo>
                      <a:lnTo>
                        <a:pt x="122" y="142"/>
                      </a:lnTo>
                      <a:lnTo>
                        <a:pt x="118" y="148"/>
                      </a:lnTo>
                      <a:lnTo>
                        <a:pt x="112" y="156"/>
                      </a:lnTo>
                      <a:lnTo>
                        <a:pt x="108" y="166"/>
                      </a:lnTo>
                      <a:lnTo>
                        <a:pt x="104" y="184"/>
                      </a:lnTo>
                      <a:lnTo>
                        <a:pt x="100" y="204"/>
                      </a:lnTo>
                      <a:lnTo>
                        <a:pt x="98" y="216"/>
                      </a:lnTo>
                      <a:lnTo>
                        <a:pt x="94" y="226"/>
                      </a:lnTo>
                      <a:lnTo>
                        <a:pt x="92" y="228"/>
                      </a:lnTo>
                      <a:lnTo>
                        <a:pt x="90" y="228"/>
                      </a:lnTo>
                      <a:lnTo>
                        <a:pt x="80" y="230"/>
                      </a:lnTo>
                      <a:lnTo>
                        <a:pt x="74" y="232"/>
                      </a:lnTo>
                      <a:lnTo>
                        <a:pt x="70" y="234"/>
                      </a:lnTo>
                      <a:lnTo>
                        <a:pt x="68" y="238"/>
                      </a:lnTo>
                      <a:lnTo>
                        <a:pt x="66" y="244"/>
                      </a:lnTo>
                      <a:lnTo>
                        <a:pt x="66" y="260"/>
                      </a:lnTo>
                      <a:lnTo>
                        <a:pt x="62" y="272"/>
                      </a:lnTo>
                      <a:lnTo>
                        <a:pt x="58" y="282"/>
                      </a:lnTo>
                      <a:lnTo>
                        <a:pt x="56" y="292"/>
                      </a:lnTo>
                      <a:lnTo>
                        <a:pt x="54" y="302"/>
                      </a:lnTo>
                      <a:lnTo>
                        <a:pt x="54" y="338"/>
                      </a:lnTo>
                      <a:lnTo>
                        <a:pt x="52" y="348"/>
                      </a:lnTo>
                      <a:lnTo>
                        <a:pt x="48" y="352"/>
                      </a:lnTo>
                      <a:lnTo>
                        <a:pt x="40" y="356"/>
                      </a:lnTo>
                      <a:lnTo>
                        <a:pt x="32" y="358"/>
                      </a:lnTo>
                      <a:lnTo>
                        <a:pt x="16" y="362"/>
                      </a:lnTo>
                      <a:lnTo>
                        <a:pt x="10" y="366"/>
                      </a:lnTo>
                      <a:lnTo>
                        <a:pt x="8" y="372"/>
                      </a:lnTo>
                      <a:lnTo>
                        <a:pt x="8" y="376"/>
                      </a:lnTo>
                      <a:lnTo>
                        <a:pt x="4" y="380"/>
                      </a:lnTo>
                      <a:lnTo>
                        <a:pt x="2" y="382"/>
                      </a:lnTo>
                      <a:lnTo>
                        <a:pt x="0" y="386"/>
                      </a:lnTo>
                      <a:lnTo>
                        <a:pt x="2" y="390"/>
                      </a:lnTo>
                      <a:lnTo>
                        <a:pt x="4" y="392"/>
                      </a:lnTo>
                      <a:lnTo>
                        <a:pt x="12" y="394"/>
                      </a:lnTo>
                      <a:lnTo>
                        <a:pt x="22" y="394"/>
                      </a:lnTo>
                      <a:lnTo>
                        <a:pt x="30" y="396"/>
                      </a:lnTo>
                      <a:lnTo>
                        <a:pt x="48" y="408"/>
                      </a:lnTo>
                      <a:lnTo>
                        <a:pt x="64" y="424"/>
                      </a:lnTo>
                      <a:lnTo>
                        <a:pt x="82" y="440"/>
                      </a:lnTo>
                      <a:lnTo>
                        <a:pt x="94" y="456"/>
                      </a:lnTo>
                      <a:lnTo>
                        <a:pt x="98" y="462"/>
                      </a:lnTo>
                      <a:lnTo>
                        <a:pt x="100" y="468"/>
                      </a:lnTo>
                      <a:lnTo>
                        <a:pt x="104" y="482"/>
                      </a:lnTo>
                      <a:lnTo>
                        <a:pt x="108" y="498"/>
                      </a:lnTo>
                      <a:lnTo>
                        <a:pt x="110" y="504"/>
                      </a:lnTo>
                      <a:lnTo>
                        <a:pt x="114" y="510"/>
                      </a:lnTo>
                      <a:lnTo>
                        <a:pt x="120" y="514"/>
                      </a:lnTo>
                      <a:lnTo>
                        <a:pt x="126" y="516"/>
                      </a:lnTo>
                      <a:lnTo>
                        <a:pt x="134" y="518"/>
                      </a:lnTo>
                      <a:lnTo>
                        <a:pt x="142" y="518"/>
                      </a:lnTo>
                      <a:lnTo>
                        <a:pt x="146" y="520"/>
                      </a:lnTo>
                      <a:lnTo>
                        <a:pt x="150" y="524"/>
                      </a:lnTo>
                      <a:lnTo>
                        <a:pt x="154" y="532"/>
                      </a:lnTo>
                      <a:lnTo>
                        <a:pt x="154" y="542"/>
                      </a:lnTo>
                      <a:lnTo>
                        <a:pt x="154" y="552"/>
                      </a:lnTo>
                      <a:lnTo>
                        <a:pt x="156" y="558"/>
                      </a:lnTo>
                      <a:lnTo>
                        <a:pt x="158" y="564"/>
                      </a:lnTo>
                      <a:lnTo>
                        <a:pt x="190" y="576"/>
                      </a:lnTo>
                      <a:lnTo>
                        <a:pt x="218" y="584"/>
                      </a:lnTo>
                      <a:lnTo>
                        <a:pt x="230" y="590"/>
                      </a:lnTo>
                      <a:lnTo>
                        <a:pt x="242" y="596"/>
                      </a:lnTo>
                      <a:lnTo>
                        <a:pt x="254" y="604"/>
                      </a:lnTo>
                      <a:lnTo>
                        <a:pt x="268" y="614"/>
                      </a:lnTo>
                      <a:lnTo>
                        <a:pt x="308" y="614"/>
                      </a:lnTo>
                      <a:lnTo>
                        <a:pt x="316" y="618"/>
                      </a:lnTo>
                      <a:lnTo>
                        <a:pt x="326" y="620"/>
                      </a:lnTo>
                      <a:lnTo>
                        <a:pt x="336" y="624"/>
                      </a:lnTo>
                      <a:lnTo>
                        <a:pt x="346" y="624"/>
                      </a:lnTo>
                      <a:lnTo>
                        <a:pt x="356" y="622"/>
                      </a:lnTo>
                      <a:lnTo>
                        <a:pt x="364" y="616"/>
                      </a:lnTo>
                      <a:lnTo>
                        <a:pt x="370" y="608"/>
                      </a:lnTo>
                      <a:lnTo>
                        <a:pt x="378" y="600"/>
                      </a:lnTo>
                      <a:lnTo>
                        <a:pt x="386" y="592"/>
                      </a:lnTo>
                      <a:lnTo>
                        <a:pt x="394" y="584"/>
                      </a:lnTo>
                      <a:lnTo>
                        <a:pt x="404" y="578"/>
                      </a:lnTo>
                      <a:lnTo>
                        <a:pt x="414" y="576"/>
                      </a:lnTo>
                      <a:lnTo>
                        <a:pt x="420" y="576"/>
                      </a:lnTo>
                      <a:lnTo>
                        <a:pt x="422" y="578"/>
                      </a:lnTo>
                      <a:lnTo>
                        <a:pt x="428" y="584"/>
                      </a:lnTo>
                      <a:lnTo>
                        <a:pt x="434" y="590"/>
                      </a:lnTo>
                      <a:lnTo>
                        <a:pt x="440" y="592"/>
                      </a:lnTo>
                      <a:lnTo>
                        <a:pt x="444" y="592"/>
                      </a:lnTo>
                      <a:lnTo>
                        <a:pt x="464" y="590"/>
                      </a:lnTo>
                      <a:lnTo>
                        <a:pt x="484" y="586"/>
                      </a:lnTo>
                      <a:lnTo>
                        <a:pt x="502" y="580"/>
                      </a:lnTo>
                      <a:lnTo>
                        <a:pt x="518" y="572"/>
                      </a:lnTo>
                      <a:lnTo>
                        <a:pt x="534" y="564"/>
                      </a:lnTo>
                      <a:lnTo>
                        <a:pt x="550" y="554"/>
                      </a:lnTo>
                      <a:lnTo>
                        <a:pt x="562" y="542"/>
                      </a:lnTo>
                      <a:lnTo>
                        <a:pt x="574" y="532"/>
                      </a:lnTo>
                      <a:lnTo>
                        <a:pt x="638" y="532"/>
                      </a:lnTo>
                      <a:lnTo>
                        <a:pt x="784" y="352"/>
                      </a:lnTo>
                      <a:lnTo>
                        <a:pt x="784" y="354"/>
                      </a:lnTo>
                      <a:lnTo>
                        <a:pt x="726" y="354"/>
                      </a:lnTo>
                      <a:lnTo>
                        <a:pt x="578" y="308"/>
                      </a:lnTo>
                      <a:lnTo>
                        <a:pt x="568" y="302"/>
                      </a:lnTo>
                      <a:lnTo>
                        <a:pt x="558" y="296"/>
                      </a:lnTo>
                      <a:lnTo>
                        <a:pt x="550" y="290"/>
                      </a:lnTo>
                      <a:lnTo>
                        <a:pt x="544" y="280"/>
                      </a:lnTo>
                      <a:lnTo>
                        <a:pt x="530" y="262"/>
                      </a:lnTo>
                      <a:lnTo>
                        <a:pt x="516" y="242"/>
                      </a:lnTo>
                      <a:lnTo>
                        <a:pt x="498" y="222"/>
                      </a:lnTo>
                      <a:lnTo>
                        <a:pt x="500" y="216"/>
                      </a:lnTo>
                      <a:lnTo>
                        <a:pt x="506" y="208"/>
                      </a:lnTo>
                      <a:lnTo>
                        <a:pt x="518" y="194"/>
                      </a:lnTo>
                      <a:lnTo>
                        <a:pt x="514" y="190"/>
                      </a:lnTo>
                      <a:lnTo>
                        <a:pt x="512" y="188"/>
                      </a:lnTo>
                      <a:lnTo>
                        <a:pt x="510" y="188"/>
                      </a:lnTo>
                      <a:lnTo>
                        <a:pt x="502" y="190"/>
                      </a:lnTo>
                      <a:lnTo>
                        <a:pt x="492" y="194"/>
                      </a:lnTo>
                      <a:lnTo>
                        <a:pt x="480" y="200"/>
                      </a:lnTo>
                      <a:lnTo>
                        <a:pt x="468" y="204"/>
                      </a:lnTo>
                      <a:lnTo>
                        <a:pt x="450" y="204"/>
                      </a:lnTo>
                      <a:lnTo>
                        <a:pt x="452" y="196"/>
                      </a:lnTo>
                      <a:lnTo>
                        <a:pt x="452" y="186"/>
                      </a:lnTo>
                      <a:lnTo>
                        <a:pt x="450" y="162"/>
                      </a:lnTo>
                      <a:lnTo>
                        <a:pt x="450" y="158"/>
                      </a:lnTo>
                      <a:lnTo>
                        <a:pt x="452" y="152"/>
                      </a:lnTo>
                      <a:lnTo>
                        <a:pt x="460" y="142"/>
                      </a:lnTo>
                      <a:lnTo>
                        <a:pt x="470" y="132"/>
                      </a:lnTo>
                      <a:lnTo>
                        <a:pt x="482" y="122"/>
                      </a:lnTo>
                      <a:lnTo>
                        <a:pt x="476" y="112"/>
                      </a:lnTo>
                      <a:lnTo>
                        <a:pt x="468" y="104"/>
                      </a:lnTo>
                      <a:lnTo>
                        <a:pt x="450" y="88"/>
                      </a:lnTo>
                      <a:lnTo>
                        <a:pt x="430" y="74"/>
                      </a:lnTo>
                      <a:lnTo>
                        <a:pt x="414" y="60"/>
                      </a:lnTo>
                      <a:lnTo>
                        <a:pt x="410" y="54"/>
                      </a:lnTo>
                      <a:lnTo>
                        <a:pt x="408" y="50"/>
                      </a:lnTo>
                      <a:lnTo>
                        <a:pt x="406" y="44"/>
                      </a:lnTo>
                      <a:lnTo>
                        <a:pt x="402" y="40"/>
                      </a:lnTo>
                      <a:lnTo>
                        <a:pt x="388" y="28"/>
                      </a:lnTo>
                      <a:lnTo>
                        <a:pt x="372" y="22"/>
                      </a:lnTo>
                      <a:lnTo>
                        <a:pt x="356" y="18"/>
                      </a:lnTo>
                      <a:lnTo>
                        <a:pt x="338" y="18"/>
                      </a:lnTo>
                      <a:lnTo>
                        <a:pt x="324" y="18"/>
                      </a:lnTo>
                      <a:lnTo>
                        <a:pt x="318" y="18"/>
                      </a:lnTo>
                      <a:lnTo>
                        <a:pt x="310" y="20"/>
                      </a:lnTo>
                      <a:lnTo>
                        <a:pt x="308" y="14"/>
                      </a:lnTo>
                      <a:lnTo>
                        <a:pt x="304" y="12"/>
                      </a:lnTo>
                      <a:lnTo>
                        <a:pt x="302" y="10"/>
                      </a:lnTo>
                      <a:lnTo>
                        <a:pt x="296" y="12"/>
                      </a:lnTo>
                      <a:lnTo>
                        <a:pt x="292" y="16"/>
                      </a:lnTo>
                      <a:lnTo>
                        <a:pt x="290" y="20"/>
                      </a:lnTo>
                      <a:lnTo>
                        <a:pt x="282" y="20"/>
                      </a:lnTo>
                      <a:lnTo>
                        <a:pt x="276" y="20"/>
                      </a:lnTo>
                      <a:lnTo>
                        <a:pt x="270" y="18"/>
                      </a:lnTo>
                      <a:lnTo>
                        <a:pt x="262" y="12"/>
                      </a:lnTo>
                      <a:lnTo>
                        <a:pt x="252" y="6"/>
                      </a:lnTo>
                      <a:lnTo>
                        <a:pt x="244" y="0"/>
                      </a:lnTo>
                      <a:lnTo>
                        <a:pt x="240" y="10"/>
                      </a:lnTo>
                      <a:lnTo>
                        <a:pt x="236" y="22"/>
                      </a:lnTo>
                      <a:lnTo>
                        <a:pt x="230" y="34"/>
                      </a:lnTo>
                      <a:lnTo>
                        <a:pt x="228" y="38"/>
                      </a:lnTo>
                      <a:lnTo>
                        <a:pt x="224" y="38"/>
                      </a:lnTo>
                      <a:lnTo>
                        <a:pt x="220" y="36"/>
                      </a:lnTo>
                      <a:lnTo>
                        <a:pt x="218" y="32"/>
                      </a:lnTo>
                      <a:lnTo>
                        <a:pt x="214" y="28"/>
                      </a:lnTo>
                      <a:lnTo>
                        <a:pt x="210" y="24"/>
                      </a:lnTo>
                      <a:lnTo>
                        <a:pt x="194" y="34"/>
                      </a:lnTo>
                      <a:lnTo>
                        <a:pt x="186" y="28"/>
                      </a:lnTo>
                      <a:lnTo>
                        <a:pt x="166" y="32"/>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3" name="Rwanda">
                  <a:extLst>
                    <a:ext uri="{FF2B5EF4-FFF2-40B4-BE49-F238E27FC236}">
                      <a16:creationId xmlns:a16="http://schemas.microsoft.com/office/drawing/2014/main" id="{7012661F-85BF-47A2-8153-15AC9A7047F0}"/>
                    </a:ext>
                  </a:extLst>
                </p:cNvPr>
                <p:cNvSpPr>
                  <a:spLocks/>
                </p:cNvSpPr>
                <p:nvPr/>
              </p:nvSpPr>
              <p:spPr bwMode="gray">
                <a:xfrm>
                  <a:off x="5754688" y="4608513"/>
                  <a:ext cx="128587" cy="109537"/>
                </a:xfrm>
                <a:custGeom>
                  <a:avLst/>
                  <a:gdLst/>
                  <a:ahLst/>
                  <a:cxnLst>
                    <a:cxn ang="0">
                      <a:pos x="84" y="68"/>
                    </a:cxn>
                    <a:cxn ang="0">
                      <a:pos x="98" y="68"/>
                    </a:cxn>
                    <a:cxn ang="0">
                      <a:pos x="104" y="68"/>
                    </a:cxn>
                    <a:cxn ang="0">
                      <a:pos x="108" y="64"/>
                    </a:cxn>
                    <a:cxn ang="0">
                      <a:pos x="110" y="58"/>
                    </a:cxn>
                    <a:cxn ang="0">
                      <a:pos x="110" y="50"/>
                    </a:cxn>
                    <a:cxn ang="0">
                      <a:pos x="110" y="46"/>
                    </a:cxn>
                    <a:cxn ang="0">
                      <a:pos x="108" y="42"/>
                    </a:cxn>
                    <a:cxn ang="0">
                      <a:pos x="104" y="38"/>
                    </a:cxn>
                    <a:cxn ang="0">
                      <a:pos x="104" y="34"/>
                    </a:cxn>
                    <a:cxn ang="0">
                      <a:pos x="102" y="24"/>
                    </a:cxn>
                    <a:cxn ang="0">
                      <a:pos x="98" y="16"/>
                    </a:cxn>
                    <a:cxn ang="0">
                      <a:pos x="92" y="8"/>
                    </a:cxn>
                    <a:cxn ang="0">
                      <a:pos x="86" y="0"/>
                    </a:cxn>
                    <a:cxn ang="0">
                      <a:pos x="78" y="4"/>
                    </a:cxn>
                    <a:cxn ang="0">
                      <a:pos x="74" y="10"/>
                    </a:cxn>
                    <a:cxn ang="0">
                      <a:pos x="66" y="14"/>
                    </a:cxn>
                    <a:cxn ang="0">
                      <a:pos x="62" y="16"/>
                    </a:cxn>
                    <a:cxn ang="0">
                      <a:pos x="58" y="16"/>
                    </a:cxn>
                    <a:cxn ang="0">
                      <a:pos x="56" y="14"/>
                    </a:cxn>
                    <a:cxn ang="0">
                      <a:pos x="54" y="14"/>
                    </a:cxn>
                    <a:cxn ang="0">
                      <a:pos x="50" y="12"/>
                    </a:cxn>
                    <a:cxn ang="0">
                      <a:pos x="44" y="14"/>
                    </a:cxn>
                    <a:cxn ang="0">
                      <a:pos x="40" y="16"/>
                    </a:cxn>
                    <a:cxn ang="0">
                      <a:pos x="28" y="22"/>
                    </a:cxn>
                    <a:cxn ang="0">
                      <a:pos x="20" y="32"/>
                    </a:cxn>
                    <a:cxn ang="0">
                      <a:pos x="18" y="38"/>
                    </a:cxn>
                    <a:cxn ang="0">
                      <a:pos x="16" y="42"/>
                    </a:cxn>
                    <a:cxn ang="0">
                      <a:pos x="18" y="50"/>
                    </a:cxn>
                    <a:cxn ang="0">
                      <a:pos x="18" y="56"/>
                    </a:cxn>
                    <a:cxn ang="0">
                      <a:pos x="14" y="58"/>
                    </a:cxn>
                    <a:cxn ang="0">
                      <a:pos x="6" y="64"/>
                    </a:cxn>
                    <a:cxn ang="0">
                      <a:pos x="2" y="68"/>
                    </a:cxn>
                    <a:cxn ang="0">
                      <a:pos x="0" y="76"/>
                    </a:cxn>
                    <a:cxn ang="0">
                      <a:pos x="2" y="80"/>
                    </a:cxn>
                    <a:cxn ang="0">
                      <a:pos x="2" y="84"/>
                    </a:cxn>
                    <a:cxn ang="0">
                      <a:pos x="8" y="90"/>
                    </a:cxn>
                    <a:cxn ang="0">
                      <a:pos x="8" y="88"/>
                    </a:cxn>
                    <a:cxn ang="0">
                      <a:pos x="10" y="84"/>
                    </a:cxn>
                    <a:cxn ang="0">
                      <a:pos x="16" y="82"/>
                    </a:cxn>
                    <a:cxn ang="0">
                      <a:pos x="22" y="84"/>
                    </a:cxn>
                    <a:cxn ang="0">
                      <a:pos x="28" y="88"/>
                    </a:cxn>
                    <a:cxn ang="0">
                      <a:pos x="32" y="92"/>
                    </a:cxn>
                    <a:cxn ang="0">
                      <a:pos x="38" y="94"/>
                    </a:cxn>
                    <a:cxn ang="0">
                      <a:pos x="46" y="92"/>
                    </a:cxn>
                    <a:cxn ang="0">
                      <a:pos x="52" y="90"/>
                    </a:cxn>
                    <a:cxn ang="0">
                      <a:pos x="56" y="84"/>
                    </a:cxn>
                    <a:cxn ang="0">
                      <a:pos x="60" y="80"/>
                    </a:cxn>
                    <a:cxn ang="0">
                      <a:pos x="62" y="74"/>
                    </a:cxn>
                    <a:cxn ang="0">
                      <a:pos x="66" y="70"/>
                    </a:cxn>
                    <a:cxn ang="0">
                      <a:pos x="72" y="68"/>
                    </a:cxn>
                    <a:cxn ang="0">
                      <a:pos x="80" y="66"/>
                    </a:cxn>
                    <a:cxn ang="0">
                      <a:pos x="86" y="68"/>
                    </a:cxn>
                    <a:cxn ang="0">
                      <a:pos x="84" y="68"/>
                    </a:cxn>
                  </a:cxnLst>
                  <a:rect l="0" t="0" r="r" b="b"/>
                  <a:pathLst>
                    <a:path w="110" h="94">
                      <a:moveTo>
                        <a:pt x="84" y="68"/>
                      </a:moveTo>
                      <a:lnTo>
                        <a:pt x="98" y="68"/>
                      </a:lnTo>
                      <a:lnTo>
                        <a:pt x="104" y="68"/>
                      </a:lnTo>
                      <a:lnTo>
                        <a:pt x="108" y="64"/>
                      </a:lnTo>
                      <a:lnTo>
                        <a:pt x="110" y="58"/>
                      </a:lnTo>
                      <a:lnTo>
                        <a:pt x="110" y="50"/>
                      </a:lnTo>
                      <a:lnTo>
                        <a:pt x="110" y="46"/>
                      </a:lnTo>
                      <a:lnTo>
                        <a:pt x="108" y="42"/>
                      </a:lnTo>
                      <a:lnTo>
                        <a:pt x="104" y="38"/>
                      </a:lnTo>
                      <a:lnTo>
                        <a:pt x="104" y="34"/>
                      </a:lnTo>
                      <a:lnTo>
                        <a:pt x="102" y="24"/>
                      </a:lnTo>
                      <a:lnTo>
                        <a:pt x="98" y="16"/>
                      </a:lnTo>
                      <a:lnTo>
                        <a:pt x="92" y="8"/>
                      </a:lnTo>
                      <a:lnTo>
                        <a:pt x="86" y="0"/>
                      </a:lnTo>
                      <a:lnTo>
                        <a:pt x="78" y="4"/>
                      </a:lnTo>
                      <a:lnTo>
                        <a:pt x="74" y="10"/>
                      </a:lnTo>
                      <a:lnTo>
                        <a:pt x="66" y="14"/>
                      </a:lnTo>
                      <a:lnTo>
                        <a:pt x="62" y="16"/>
                      </a:lnTo>
                      <a:lnTo>
                        <a:pt x="58" y="16"/>
                      </a:lnTo>
                      <a:lnTo>
                        <a:pt x="56" y="14"/>
                      </a:lnTo>
                      <a:lnTo>
                        <a:pt x="54" y="14"/>
                      </a:lnTo>
                      <a:lnTo>
                        <a:pt x="50" y="12"/>
                      </a:lnTo>
                      <a:lnTo>
                        <a:pt x="44" y="14"/>
                      </a:lnTo>
                      <a:lnTo>
                        <a:pt x="40" y="16"/>
                      </a:lnTo>
                      <a:lnTo>
                        <a:pt x="28" y="22"/>
                      </a:lnTo>
                      <a:lnTo>
                        <a:pt x="20" y="32"/>
                      </a:lnTo>
                      <a:lnTo>
                        <a:pt x="18" y="38"/>
                      </a:lnTo>
                      <a:lnTo>
                        <a:pt x="16" y="42"/>
                      </a:lnTo>
                      <a:lnTo>
                        <a:pt x="18" y="50"/>
                      </a:lnTo>
                      <a:lnTo>
                        <a:pt x="18" y="56"/>
                      </a:lnTo>
                      <a:lnTo>
                        <a:pt x="14" y="58"/>
                      </a:lnTo>
                      <a:lnTo>
                        <a:pt x="6" y="64"/>
                      </a:lnTo>
                      <a:lnTo>
                        <a:pt x="2" y="68"/>
                      </a:lnTo>
                      <a:lnTo>
                        <a:pt x="0" y="76"/>
                      </a:lnTo>
                      <a:lnTo>
                        <a:pt x="2" y="80"/>
                      </a:lnTo>
                      <a:lnTo>
                        <a:pt x="2" y="84"/>
                      </a:lnTo>
                      <a:lnTo>
                        <a:pt x="8" y="90"/>
                      </a:lnTo>
                      <a:lnTo>
                        <a:pt x="8" y="88"/>
                      </a:lnTo>
                      <a:lnTo>
                        <a:pt x="10" y="84"/>
                      </a:lnTo>
                      <a:lnTo>
                        <a:pt x="16" y="82"/>
                      </a:lnTo>
                      <a:lnTo>
                        <a:pt x="22" y="84"/>
                      </a:lnTo>
                      <a:lnTo>
                        <a:pt x="28" y="88"/>
                      </a:lnTo>
                      <a:lnTo>
                        <a:pt x="32" y="92"/>
                      </a:lnTo>
                      <a:lnTo>
                        <a:pt x="38" y="94"/>
                      </a:lnTo>
                      <a:lnTo>
                        <a:pt x="46" y="92"/>
                      </a:lnTo>
                      <a:lnTo>
                        <a:pt x="52" y="90"/>
                      </a:lnTo>
                      <a:lnTo>
                        <a:pt x="56" y="84"/>
                      </a:lnTo>
                      <a:lnTo>
                        <a:pt x="60" y="80"/>
                      </a:lnTo>
                      <a:lnTo>
                        <a:pt x="62" y="74"/>
                      </a:lnTo>
                      <a:lnTo>
                        <a:pt x="66" y="70"/>
                      </a:lnTo>
                      <a:lnTo>
                        <a:pt x="72" y="68"/>
                      </a:lnTo>
                      <a:lnTo>
                        <a:pt x="80" y="66"/>
                      </a:lnTo>
                      <a:lnTo>
                        <a:pt x="86" y="68"/>
                      </a:lnTo>
                      <a:lnTo>
                        <a:pt x="84" y="68"/>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4" name="Tanzinia">
                  <a:extLst>
                    <a:ext uri="{FF2B5EF4-FFF2-40B4-BE49-F238E27FC236}">
                      <a16:creationId xmlns:a16="http://schemas.microsoft.com/office/drawing/2014/main" id="{FE0E6321-54B0-4B5F-8F23-6055385B0149}"/>
                    </a:ext>
                  </a:extLst>
                </p:cNvPr>
                <p:cNvSpPr>
                  <a:spLocks/>
                </p:cNvSpPr>
                <p:nvPr/>
              </p:nvSpPr>
              <p:spPr bwMode="gray">
                <a:xfrm>
                  <a:off x="5803900" y="4592638"/>
                  <a:ext cx="654050" cy="673100"/>
                </a:xfrm>
                <a:custGeom>
                  <a:avLst/>
                  <a:gdLst/>
                  <a:ahLst/>
                  <a:cxnLst>
                    <a:cxn ang="0">
                      <a:pos x="240" y="4"/>
                    </a:cxn>
                    <a:cxn ang="0">
                      <a:pos x="200" y="56"/>
                    </a:cxn>
                    <a:cxn ang="0">
                      <a:pos x="222" y="66"/>
                    </a:cxn>
                    <a:cxn ang="0">
                      <a:pos x="204" y="90"/>
                    </a:cxn>
                    <a:cxn ang="0">
                      <a:pos x="186" y="80"/>
                    </a:cxn>
                    <a:cxn ang="0">
                      <a:pos x="172" y="88"/>
                    </a:cxn>
                    <a:cxn ang="0">
                      <a:pos x="144" y="76"/>
                    </a:cxn>
                    <a:cxn ang="0">
                      <a:pos x="120" y="90"/>
                    </a:cxn>
                    <a:cxn ang="0">
                      <a:pos x="124" y="76"/>
                    </a:cxn>
                    <a:cxn ang="0">
                      <a:pos x="116" y="72"/>
                    </a:cxn>
                    <a:cxn ang="0">
                      <a:pos x="120" y="36"/>
                    </a:cxn>
                    <a:cxn ang="0">
                      <a:pos x="122" y="6"/>
                    </a:cxn>
                    <a:cxn ang="0">
                      <a:pos x="44" y="14"/>
                    </a:cxn>
                    <a:cxn ang="0">
                      <a:pos x="62" y="48"/>
                    </a:cxn>
                    <a:cxn ang="0">
                      <a:pos x="68" y="64"/>
                    </a:cxn>
                    <a:cxn ang="0">
                      <a:pos x="56" y="82"/>
                    </a:cxn>
                    <a:cxn ang="0">
                      <a:pos x="50" y="90"/>
                    </a:cxn>
                    <a:cxn ang="0">
                      <a:pos x="58" y="114"/>
                    </a:cxn>
                    <a:cxn ang="0">
                      <a:pos x="64" y="120"/>
                    </a:cxn>
                    <a:cxn ang="0">
                      <a:pos x="52" y="142"/>
                    </a:cxn>
                    <a:cxn ang="0">
                      <a:pos x="32" y="170"/>
                    </a:cxn>
                    <a:cxn ang="0">
                      <a:pos x="6" y="194"/>
                    </a:cxn>
                    <a:cxn ang="0">
                      <a:pos x="10" y="234"/>
                    </a:cxn>
                    <a:cxn ang="0">
                      <a:pos x="12" y="256"/>
                    </a:cxn>
                    <a:cxn ang="0">
                      <a:pos x="12" y="276"/>
                    </a:cxn>
                    <a:cxn ang="0">
                      <a:pos x="12" y="296"/>
                    </a:cxn>
                    <a:cxn ang="0">
                      <a:pos x="40" y="318"/>
                    </a:cxn>
                    <a:cxn ang="0">
                      <a:pos x="62" y="372"/>
                    </a:cxn>
                    <a:cxn ang="0">
                      <a:pos x="84" y="414"/>
                    </a:cxn>
                    <a:cxn ang="0">
                      <a:pos x="102" y="428"/>
                    </a:cxn>
                    <a:cxn ang="0">
                      <a:pos x="168" y="458"/>
                    </a:cxn>
                    <a:cxn ang="0">
                      <a:pos x="214" y="470"/>
                    </a:cxn>
                    <a:cxn ang="0">
                      <a:pos x="242" y="478"/>
                    </a:cxn>
                    <a:cxn ang="0">
                      <a:pos x="262" y="546"/>
                    </a:cxn>
                    <a:cxn ang="0">
                      <a:pos x="272" y="574"/>
                    </a:cxn>
                    <a:cxn ang="0">
                      <a:pos x="326" y="562"/>
                    </a:cxn>
                    <a:cxn ang="0">
                      <a:pos x="380" y="576"/>
                    </a:cxn>
                    <a:cxn ang="0">
                      <a:pos x="428" y="558"/>
                    </a:cxn>
                    <a:cxn ang="0">
                      <a:pos x="474" y="552"/>
                    </a:cxn>
                    <a:cxn ang="0">
                      <a:pos x="532" y="530"/>
                    </a:cxn>
                    <a:cxn ang="0">
                      <a:pos x="552" y="502"/>
                    </a:cxn>
                    <a:cxn ang="0">
                      <a:pos x="532" y="470"/>
                    </a:cxn>
                    <a:cxn ang="0">
                      <a:pos x="518" y="422"/>
                    </a:cxn>
                    <a:cxn ang="0">
                      <a:pos x="522" y="390"/>
                    </a:cxn>
                    <a:cxn ang="0">
                      <a:pos x="518" y="366"/>
                    </a:cxn>
                    <a:cxn ang="0">
                      <a:pos x="524" y="346"/>
                    </a:cxn>
                    <a:cxn ang="0">
                      <a:pos x="530" y="328"/>
                    </a:cxn>
                    <a:cxn ang="0">
                      <a:pos x="508" y="306"/>
                    </a:cxn>
                    <a:cxn ang="0">
                      <a:pos x="492" y="278"/>
                    </a:cxn>
                    <a:cxn ang="0">
                      <a:pos x="510" y="222"/>
                    </a:cxn>
                  </a:cxnLst>
                  <a:rect l="0" t="0" r="r" b="b"/>
                  <a:pathLst>
                    <a:path w="560" h="576">
                      <a:moveTo>
                        <a:pt x="514" y="202"/>
                      </a:moveTo>
                      <a:lnTo>
                        <a:pt x="430" y="138"/>
                      </a:lnTo>
                      <a:lnTo>
                        <a:pt x="436" y="114"/>
                      </a:lnTo>
                      <a:lnTo>
                        <a:pt x="240" y="4"/>
                      </a:lnTo>
                      <a:lnTo>
                        <a:pt x="238" y="0"/>
                      </a:lnTo>
                      <a:lnTo>
                        <a:pt x="212" y="46"/>
                      </a:lnTo>
                      <a:lnTo>
                        <a:pt x="206" y="52"/>
                      </a:lnTo>
                      <a:lnTo>
                        <a:pt x="200" y="56"/>
                      </a:lnTo>
                      <a:lnTo>
                        <a:pt x="194" y="60"/>
                      </a:lnTo>
                      <a:lnTo>
                        <a:pt x="192" y="62"/>
                      </a:lnTo>
                      <a:lnTo>
                        <a:pt x="190" y="66"/>
                      </a:lnTo>
                      <a:lnTo>
                        <a:pt x="222" y="66"/>
                      </a:lnTo>
                      <a:lnTo>
                        <a:pt x="218" y="74"/>
                      </a:lnTo>
                      <a:lnTo>
                        <a:pt x="214" y="80"/>
                      </a:lnTo>
                      <a:lnTo>
                        <a:pt x="208" y="84"/>
                      </a:lnTo>
                      <a:lnTo>
                        <a:pt x="204" y="90"/>
                      </a:lnTo>
                      <a:lnTo>
                        <a:pt x="200" y="88"/>
                      </a:lnTo>
                      <a:lnTo>
                        <a:pt x="198" y="84"/>
                      </a:lnTo>
                      <a:lnTo>
                        <a:pt x="192" y="82"/>
                      </a:lnTo>
                      <a:lnTo>
                        <a:pt x="186" y="80"/>
                      </a:lnTo>
                      <a:lnTo>
                        <a:pt x="180" y="82"/>
                      </a:lnTo>
                      <a:lnTo>
                        <a:pt x="178" y="84"/>
                      </a:lnTo>
                      <a:lnTo>
                        <a:pt x="176" y="88"/>
                      </a:lnTo>
                      <a:lnTo>
                        <a:pt x="172" y="88"/>
                      </a:lnTo>
                      <a:lnTo>
                        <a:pt x="166" y="86"/>
                      </a:lnTo>
                      <a:lnTo>
                        <a:pt x="160" y="82"/>
                      </a:lnTo>
                      <a:lnTo>
                        <a:pt x="152" y="78"/>
                      </a:lnTo>
                      <a:lnTo>
                        <a:pt x="144" y="76"/>
                      </a:lnTo>
                      <a:lnTo>
                        <a:pt x="138" y="78"/>
                      </a:lnTo>
                      <a:lnTo>
                        <a:pt x="132" y="82"/>
                      </a:lnTo>
                      <a:lnTo>
                        <a:pt x="124" y="94"/>
                      </a:lnTo>
                      <a:lnTo>
                        <a:pt x="120" y="90"/>
                      </a:lnTo>
                      <a:lnTo>
                        <a:pt x="122" y="86"/>
                      </a:lnTo>
                      <a:lnTo>
                        <a:pt x="122" y="84"/>
                      </a:lnTo>
                      <a:lnTo>
                        <a:pt x="124" y="80"/>
                      </a:lnTo>
                      <a:lnTo>
                        <a:pt x="124" y="76"/>
                      </a:lnTo>
                      <a:lnTo>
                        <a:pt x="124" y="74"/>
                      </a:lnTo>
                      <a:lnTo>
                        <a:pt x="122" y="72"/>
                      </a:lnTo>
                      <a:lnTo>
                        <a:pt x="120" y="72"/>
                      </a:lnTo>
                      <a:lnTo>
                        <a:pt x="116" y="72"/>
                      </a:lnTo>
                      <a:lnTo>
                        <a:pt x="116" y="64"/>
                      </a:lnTo>
                      <a:lnTo>
                        <a:pt x="114" y="54"/>
                      </a:lnTo>
                      <a:lnTo>
                        <a:pt x="116" y="44"/>
                      </a:lnTo>
                      <a:lnTo>
                        <a:pt x="120" y="36"/>
                      </a:lnTo>
                      <a:lnTo>
                        <a:pt x="124" y="26"/>
                      </a:lnTo>
                      <a:lnTo>
                        <a:pt x="126" y="16"/>
                      </a:lnTo>
                      <a:lnTo>
                        <a:pt x="124" y="10"/>
                      </a:lnTo>
                      <a:lnTo>
                        <a:pt x="122" y="6"/>
                      </a:lnTo>
                      <a:lnTo>
                        <a:pt x="50" y="6"/>
                      </a:lnTo>
                      <a:lnTo>
                        <a:pt x="46" y="10"/>
                      </a:lnTo>
                      <a:lnTo>
                        <a:pt x="46" y="14"/>
                      </a:lnTo>
                      <a:lnTo>
                        <a:pt x="44" y="14"/>
                      </a:lnTo>
                      <a:lnTo>
                        <a:pt x="50" y="22"/>
                      </a:lnTo>
                      <a:lnTo>
                        <a:pt x="56" y="30"/>
                      </a:lnTo>
                      <a:lnTo>
                        <a:pt x="60" y="38"/>
                      </a:lnTo>
                      <a:lnTo>
                        <a:pt x="62" y="48"/>
                      </a:lnTo>
                      <a:lnTo>
                        <a:pt x="62" y="52"/>
                      </a:lnTo>
                      <a:lnTo>
                        <a:pt x="66" y="56"/>
                      </a:lnTo>
                      <a:lnTo>
                        <a:pt x="68" y="60"/>
                      </a:lnTo>
                      <a:lnTo>
                        <a:pt x="68" y="64"/>
                      </a:lnTo>
                      <a:lnTo>
                        <a:pt x="68" y="72"/>
                      </a:lnTo>
                      <a:lnTo>
                        <a:pt x="66" y="78"/>
                      </a:lnTo>
                      <a:lnTo>
                        <a:pt x="62" y="82"/>
                      </a:lnTo>
                      <a:lnTo>
                        <a:pt x="56" y="82"/>
                      </a:lnTo>
                      <a:lnTo>
                        <a:pt x="42" y="82"/>
                      </a:lnTo>
                      <a:lnTo>
                        <a:pt x="44" y="82"/>
                      </a:lnTo>
                      <a:lnTo>
                        <a:pt x="48" y="86"/>
                      </a:lnTo>
                      <a:lnTo>
                        <a:pt x="50" y="90"/>
                      </a:lnTo>
                      <a:lnTo>
                        <a:pt x="50" y="102"/>
                      </a:lnTo>
                      <a:lnTo>
                        <a:pt x="50" y="106"/>
                      </a:lnTo>
                      <a:lnTo>
                        <a:pt x="54" y="112"/>
                      </a:lnTo>
                      <a:lnTo>
                        <a:pt x="58" y="114"/>
                      </a:lnTo>
                      <a:lnTo>
                        <a:pt x="64" y="116"/>
                      </a:lnTo>
                      <a:lnTo>
                        <a:pt x="64" y="120"/>
                      </a:lnTo>
                      <a:lnTo>
                        <a:pt x="62" y="116"/>
                      </a:lnTo>
                      <a:lnTo>
                        <a:pt x="64" y="120"/>
                      </a:lnTo>
                      <a:lnTo>
                        <a:pt x="66" y="122"/>
                      </a:lnTo>
                      <a:lnTo>
                        <a:pt x="64" y="128"/>
                      </a:lnTo>
                      <a:lnTo>
                        <a:pt x="62" y="132"/>
                      </a:lnTo>
                      <a:lnTo>
                        <a:pt x="52" y="142"/>
                      </a:lnTo>
                      <a:lnTo>
                        <a:pt x="42" y="150"/>
                      </a:lnTo>
                      <a:lnTo>
                        <a:pt x="38" y="156"/>
                      </a:lnTo>
                      <a:lnTo>
                        <a:pt x="36" y="160"/>
                      </a:lnTo>
                      <a:lnTo>
                        <a:pt x="32" y="170"/>
                      </a:lnTo>
                      <a:lnTo>
                        <a:pt x="26" y="182"/>
                      </a:lnTo>
                      <a:lnTo>
                        <a:pt x="16" y="190"/>
                      </a:lnTo>
                      <a:lnTo>
                        <a:pt x="12" y="194"/>
                      </a:lnTo>
                      <a:lnTo>
                        <a:pt x="6" y="194"/>
                      </a:lnTo>
                      <a:lnTo>
                        <a:pt x="0" y="194"/>
                      </a:lnTo>
                      <a:lnTo>
                        <a:pt x="4" y="210"/>
                      </a:lnTo>
                      <a:lnTo>
                        <a:pt x="8" y="226"/>
                      </a:lnTo>
                      <a:lnTo>
                        <a:pt x="10" y="234"/>
                      </a:lnTo>
                      <a:lnTo>
                        <a:pt x="10" y="240"/>
                      </a:lnTo>
                      <a:lnTo>
                        <a:pt x="10" y="250"/>
                      </a:lnTo>
                      <a:lnTo>
                        <a:pt x="10" y="252"/>
                      </a:lnTo>
                      <a:lnTo>
                        <a:pt x="12" y="256"/>
                      </a:lnTo>
                      <a:lnTo>
                        <a:pt x="14" y="260"/>
                      </a:lnTo>
                      <a:lnTo>
                        <a:pt x="18" y="262"/>
                      </a:lnTo>
                      <a:lnTo>
                        <a:pt x="16" y="270"/>
                      </a:lnTo>
                      <a:lnTo>
                        <a:pt x="12" y="276"/>
                      </a:lnTo>
                      <a:lnTo>
                        <a:pt x="10" y="282"/>
                      </a:lnTo>
                      <a:lnTo>
                        <a:pt x="8" y="288"/>
                      </a:lnTo>
                      <a:lnTo>
                        <a:pt x="8" y="292"/>
                      </a:lnTo>
                      <a:lnTo>
                        <a:pt x="12" y="296"/>
                      </a:lnTo>
                      <a:lnTo>
                        <a:pt x="18" y="300"/>
                      </a:lnTo>
                      <a:lnTo>
                        <a:pt x="28" y="304"/>
                      </a:lnTo>
                      <a:lnTo>
                        <a:pt x="32" y="308"/>
                      </a:lnTo>
                      <a:lnTo>
                        <a:pt x="40" y="318"/>
                      </a:lnTo>
                      <a:lnTo>
                        <a:pt x="46" y="328"/>
                      </a:lnTo>
                      <a:lnTo>
                        <a:pt x="48" y="338"/>
                      </a:lnTo>
                      <a:lnTo>
                        <a:pt x="52" y="350"/>
                      </a:lnTo>
                      <a:lnTo>
                        <a:pt x="62" y="372"/>
                      </a:lnTo>
                      <a:lnTo>
                        <a:pt x="70" y="394"/>
                      </a:lnTo>
                      <a:lnTo>
                        <a:pt x="76" y="402"/>
                      </a:lnTo>
                      <a:lnTo>
                        <a:pt x="80" y="408"/>
                      </a:lnTo>
                      <a:lnTo>
                        <a:pt x="84" y="414"/>
                      </a:lnTo>
                      <a:lnTo>
                        <a:pt x="86" y="422"/>
                      </a:lnTo>
                      <a:lnTo>
                        <a:pt x="94" y="422"/>
                      </a:lnTo>
                      <a:lnTo>
                        <a:pt x="96" y="422"/>
                      </a:lnTo>
                      <a:lnTo>
                        <a:pt x="102" y="428"/>
                      </a:lnTo>
                      <a:lnTo>
                        <a:pt x="110" y="434"/>
                      </a:lnTo>
                      <a:lnTo>
                        <a:pt x="130" y="442"/>
                      </a:lnTo>
                      <a:lnTo>
                        <a:pt x="148" y="448"/>
                      </a:lnTo>
                      <a:lnTo>
                        <a:pt x="168" y="458"/>
                      </a:lnTo>
                      <a:lnTo>
                        <a:pt x="186" y="466"/>
                      </a:lnTo>
                      <a:lnTo>
                        <a:pt x="194" y="468"/>
                      </a:lnTo>
                      <a:lnTo>
                        <a:pt x="204" y="470"/>
                      </a:lnTo>
                      <a:lnTo>
                        <a:pt x="214" y="470"/>
                      </a:lnTo>
                      <a:lnTo>
                        <a:pt x="226" y="468"/>
                      </a:lnTo>
                      <a:lnTo>
                        <a:pt x="228" y="468"/>
                      </a:lnTo>
                      <a:lnTo>
                        <a:pt x="230" y="468"/>
                      </a:lnTo>
                      <a:lnTo>
                        <a:pt x="242" y="478"/>
                      </a:lnTo>
                      <a:lnTo>
                        <a:pt x="248" y="486"/>
                      </a:lnTo>
                      <a:lnTo>
                        <a:pt x="258" y="510"/>
                      </a:lnTo>
                      <a:lnTo>
                        <a:pt x="258" y="536"/>
                      </a:lnTo>
                      <a:lnTo>
                        <a:pt x="262" y="546"/>
                      </a:lnTo>
                      <a:lnTo>
                        <a:pt x="262" y="556"/>
                      </a:lnTo>
                      <a:lnTo>
                        <a:pt x="262" y="562"/>
                      </a:lnTo>
                      <a:lnTo>
                        <a:pt x="266" y="566"/>
                      </a:lnTo>
                      <a:lnTo>
                        <a:pt x="272" y="574"/>
                      </a:lnTo>
                      <a:lnTo>
                        <a:pt x="298" y="566"/>
                      </a:lnTo>
                      <a:lnTo>
                        <a:pt x="310" y="562"/>
                      </a:lnTo>
                      <a:lnTo>
                        <a:pt x="320" y="560"/>
                      </a:lnTo>
                      <a:lnTo>
                        <a:pt x="326" y="562"/>
                      </a:lnTo>
                      <a:lnTo>
                        <a:pt x="332" y="564"/>
                      </a:lnTo>
                      <a:lnTo>
                        <a:pt x="342" y="570"/>
                      </a:lnTo>
                      <a:lnTo>
                        <a:pt x="360" y="574"/>
                      </a:lnTo>
                      <a:lnTo>
                        <a:pt x="380" y="576"/>
                      </a:lnTo>
                      <a:lnTo>
                        <a:pt x="392" y="574"/>
                      </a:lnTo>
                      <a:lnTo>
                        <a:pt x="400" y="572"/>
                      </a:lnTo>
                      <a:lnTo>
                        <a:pt x="414" y="564"/>
                      </a:lnTo>
                      <a:lnTo>
                        <a:pt x="428" y="558"/>
                      </a:lnTo>
                      <a:lnTo>
                        <a:pt x="434" y="554"/>
                      </a:lnTo>
                      <a:lnTo>
                        <a:pt x="442" y="554"/>
                      </a:lnTo>
                      <a:lnTo>
                        <a:pt x="462" y="554"/>
                      </a:lnTo>
                      <a:lnTo>
                        <a:pt x="474" y="552"/>
                      </a:lnTo>
                      <a:lnTo>
                        <a:pt x="488" y="550"/>
                      </a:lnTo>
                      <a:lnTo>
                        <a:pt x="504" y="544"/>
                      </a:lnTo>
                      <a:lnTo>
                        <a:pt x="518" y="538"/>
                      </a:lnTo>
                      <a:lnTo>
                        <a:pt x="532" y="530"/>
                      </a:lnTo>
                      <a:lnTo>
                        <a:pt x="544" y="522"/>
                      </a:lnTo>
                      <a:lnTo>
                        <a:pt x="554" y="514"/>
                      </a:lnTo>
                      <a:lnTo>
                        <a:pt x="560" y="504"/>
                      </a:lnTo>
                      <a:lnTo>
                        <a:pt x="552" y="502"/>
                      </a:lnTo>
                      <a:lnTo>
                        <a:pt x="546" y="498"/>
                      </a:lnTo>
                      <a:lnTo>
                        <a:pt x="540" y="494"/>
                      </a:lnTo>
                      <a:lnTo>
                        <a:pt x="536" y="486"/>
                      </a:lnTo>
                      <a:lnTo>
                        <a:pt x="532" y="470"/>
                      </a:lnTo>
                      <a:lnTo>
                        <a:pt x="530" y="454"/>
                      </a:lnTo>
                      <a:lnTo>
                        <a:pt x="528" y="444"/>
                      </a:lnTo>
                      <a:lnTo>
                        <a:pt x="524" y="432"/>
                      </a:lnTo>
                      <a:lnTo>
                        <a:pt x="518" y="422"/>
                      </a:lnTo>
                      <a:lnTo>
                        <a:pt x="516" y="410"/>
                      </a:lnTo>
                      <a:lnTo>
                        <a:pt x="518" y="404"/>
                      </a:lnTo>
                      <a:lnTo>
                        <a:pt x="520" y="396"/>
                      </a:lnTo>
                      <a:lnTo>
                        <a:pt x="522" y="390"/>
                      </a:lnTo>
                      <a:lnTo>
                        <a:pt x="522" y="382"/>
                      </a:lnTo>
                      <a:lnTo>
                        <a:pt x="522" y="376"/>
                      </a:lnTo>
                      <a:lnTo>
                        <a:pt x="520" y="370"/>
                      </a:lnTo>
                      <a:lnTo>
                        <a:pt x="518" y="366"/>
                      </a:lnTo>
                      <a:lnTo>
                        <a:pt x="516" y="360"/>
                      </a:lnTo>
                      <a:lnTo>
                        <a:pt x="516" y="354"/>
                      </a:lnTo>
                      <a:lnTo>
                        <a:pt x="518" y="352"/>
                      </a:lnTo>
                      <a:lnTo>
                        <a:pt x="524" y="346"/>
                      </a:lnTo>
                      <a:lnTo>
                        <a:pt x="528" y="340"/>
                      </a:lnTo>
                      <a:lnTo>
                        <a:pt x="530" y="338"/>
                      </a:lnTo>
                      <a:lnTo>
                        <a:pt x="530" y="334"/>
                      </a:lnTo>
                      <a:lnTo>
                        <a:pt x="530" y="328"/>
                      </a:lnTo>
                      <a:lnTo>
                        <a:pt x="530" y="324"/>
                      </a:lnTo>
                      <a:lnTo>
                        <a:pt x="526" y="318"/>
                      </a:lnTo>
                      <a:lnTo>
                        <a:pt x="520" y="314"/>
                      </a:lnTo>
                      <a:lnTo>
                        <a:pt x="508" y="306"/>
                      </a:lnTo>
                      <a:lnTo>
                        <a:pt x="502" y="300"/>
                      </a:lnTo>
                      <a:lnTo>
                        <a:pt x="498" y="294"/>
                      </a:lnTo>
                      <a:lnTo>
                        <a:pt x="494" y="288"/>
                      </a:lnTo>
                      <a:lnTo>
                        <a:pt x="492" y="278"/>
                      </a:lnTo>
                      <a:lnTo>
                        <a:pt x="494" y="268"/>
                      </a:lnTo>
                      <a:lnTo>
                        <a:pt x="496" y="258"/>
                      </a:lnTo>
                      <a:lnTo>
                        <a:pt x="504" y="240"/>
                      </a:lnTo>
                      <a:lnTo>
                        <a:pt x="510" y="222"/>
                      </a:lnTo>
                      <a:lnTo>
                        <a:pt x="512" y="214"/>
                      </a:lnTo>
                      <a:lnTo>
                        <a:pt x="512" y="202"/>
                      </a:lnTo>
                      <a:lnTo>
                        <a:pt x="514" y="202"/>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5" name="Republic of the Congo">
                  <a:extLst>
                    <a:ext uri="{FF2B5EF4-FFF2-40B4-BE49-F238E27FC236}">
                      <a16:creationId xmlns:a16="http://schemas.microsoft.com/office/drawing/2014/main" id="{205F4628-B83B-445D-900F-4E305D981B7C}"/>
                    </a:ext>
                  </a:extLst>
                </p:cNvPr>
                <p:cNvSpPr>
                  <a:spLocks/>
                </p:cNvSpPr>
                <p:nvPr/>
              </p:nvSpPr>
              <p:spPr bwMode="gray">
                <a:xfrm>
                  <a:off x="4618038" y="4303713"/>
                  <a:ext cx="493712" cy="557212"/>
                </a:xfrm>
                <a:custGeom>
                  <a:avLst/>
                  <a:gdLst/>
                  <a:ahLst/>
                  <a:cxnLst>
                    <a:cxn ang="0">
                      <a:pos x="278" y="82"/>
                    </a:cxn>
                    <a:cxn ang="0">
                      <a:pos x="262" y="96"/>
                    </a:cxn>
                    <a:cxn ang="0">
                      <a:pos x="236" y="92"/>
                    </a:cxn>
                    <a:cxn ang="0">
                      <a:pos x="190" y="78"/>
                    </a:cxn>
                    <a:cxn ang="0">
                      <a:pos x="144" y="76"/>
                    </a:cxn>
                    <a:cxn ang="0">
                      <a:pos x="124" y="86"/>
                    </a:cxn>
                    <a:cxn ang="0">
                      <a:pos x="116" y="108"/>
                    </a:cxn>
                    <a:cxn ang="0">
                      <a:pos x="138" y="136"/>
                    </a:cxn>
                    <a:cxn ang="0">
                      <a:pos x="166" y="130"/>
                    </a:cxn>
                    <a:cxn ang="0">
                      <a:pos x="182" y="148"/>
                    </a:cxn>
                    <a:cxn ang="0">
                      <a:pos x="180" y="170"/>
                    </a:cxn>
                    <a:cxn ang="0">
                      <a:pos x="158" y="186"/>
                    </a:cxn>
                    <a:cxn ang="0">
                      <a:pos x="154" y="206"/>
                    </a:cxn>
                    <a:cxn ang="0">
                      <a:pos x="178" y="223"/>
                    </a:cxn>
                    <a:cxn ang="0">
                      <a:pos x="190" y="237"/>
                    </a:cxn>
                    <a:cxn ang="0">
                      <a:pos x="172" y="317"/>
                    </a:cxn>
                    <a:cxn ang="0">
                      <a:pos x="162" y="333"/>
                    </a:cxn>
                    <a:cxn ang="0">
                      <a:pos x="144" y="321"/>
                    </a:cxn>
                    <a:cxn ang="0">
                      <a:pos x="126" y="329"/>
                    </a:cxn>
                    <a:cxn ang="0">
                      <a:pos x="108" y="317"/>
                    </a:cxn>
                    <a:cxn ang="0">
                      <a:pos x="94" y="303"/>
                    </a:cxn>
                    <a:cxn ang="0">
                      <a:pos x="82" y="311"/>
                    </a:cxn>
                    <a:cxn ang="0">
                      <a:pos x="62" y="329"/>
                    </a:cxn>
                    <a:cxn ang="0">
                      <a:pos x="36" y="331"/>
                    </a:cxn>
                    <a:cxn ang="0">
                      <a:pos x="32" y="369"/>
                    </a:cxn>
                    <a:cxn ang="0">
                      <a:pos x="50" y="385"/>
                    </a:cxn>
                    <a:cxn ang="0">
                      <a:pos x="36" y="397"/>
                    </a:cxn>
                    <a:cxn ang="0">
                      <a:pos x="24" y="391"/>
                    </a:cxn>
                    <a:cxn ang="0">
                      <a:pos x="8" y="405"/>
                    </a:cxn>
                    <a:cxn ang="0">
                      <a:pos x="4" y="417"/>
                    </a:cxn>
                    <a:cxn ang="0">
                      <a:pos x="46" y="459"/>
                    </a:cxn>
                    <a:cxn ang="0">
                      <a:pos x="66" y="471"/>
                    </a:cxn>
                    <a:cxn ang="0">
                      <a:pos x="96" y="449"/>
                    </a:cxn>
                    <a:cxn ang="0">
                      <a:pos x="120" y="461"/>
                    </a:cxn>
                    <a:cxn ang="0">
                      <a:pos x="140" y="461"/>
                    </a:cxn>
                    <a:cxn ang="0">
                      <a:pos x="186" y="441"/>
                    </a:cxn>
                    <a:cxn ang="0">
                      <a:pos x="178" y="457"/>
                    </a:cxn>
                    <a:cxn ang="0">
                      <a:pos x="190" y="473"/>
                    </a:cxn>
                    <a:cxn ang="0">
                      <a:pos x="210" y="471"/>
                    </a:cxn>
                    <a:cxn ang="0">
                      <a:pos x="238" y="449"/>
                    </a:cxn>
                    <a:cxn ang="0">
                      <a:pos x="242" y="433"/>
                    </a:cxn>
                    <a:cxn ang="0">
                      <a:pos x="266" y="423"/>
                    </a:cxn>
                    <a:cxn ang="0">
                      <a:pos x="280" y="409"/>
                    </a:cxn>
                    <a:cxn ang="0">
                      <a:pos x="290" y="359"/>
                    </a:cxn>
                    <a:cxn ang="0">
                      <a:pos x="296" y="313"/>
                    </a:cxn>
                    <a:cxn ang="0">
                      <a:pos x="335" y="269"/>
                    </a:cxn>
                    <a:cxn ang="0">
                      <a:pos x="367" y="219"/>
                    </a:cxn>
                    <a:cxn ang="0">
                      <a:pos x="385" y="128"/>
                    </a:cxn>
                    <a:cxn ang="0">
                      <a:pos x="393" y="90"/>
                    </a:cxn>
                    <a:cxn ang="0">
                      <a:pos x="405" y="68"/>
                    </a:cxn>
                    <a:cxn ang="0">
                      <a:pos x="421" y="36"/>
                    </a:cxn>
                    <a:cxn ang="0">
                      <a:pos x="381" y="6"/>
                    </a:cxn>
                    <a:cxn ang="0">
                      <a:pos x="331" y="2"/>
                    </a:cxn>
                    <a:cxn ang="0">
                      <a:pos x="302" y="22"/>
                    </a:cxn>
                    <a:cxn ang="0">
                      <a:pos x="284" y="68"/>
                    </a:cxn>
                  </a:cxnLst>
                  <a:rect l="0" t="0" r="r" b="b"/>
                  <a:pathLst>
                    <a:path w="421" h="477">
                      <a:moveTo>
                        <a:pt x="284" y="62"/>
                      </a:moveTo>
                      <a:lnTo>
                        <a:pt x="280" y="72"/>
                      </a:lnTo>
                      <a:lnTo>
                        <a:pt x="278" y="82"/>
                      </a:lnTo>
                      <a:lnTo>
                        <a:pt x="276" y="92"/>
                      </a:lnTo>
                      <a:lnTo>
                        <a:pt x="272" y="102"/>
                      </a:lnTo>
                      <a:lnTo>
                        <a:pt x="262" y="96"/>
                      </a:lnTo>
                      <a:lnTo>
                        <a:pt x="256" y="94"/>
                      </a:lnTo>
                      <a:lnTo>
                        <a:pt x="248" y="92"/>
                      </a:lnTo>
                      <a:lnTo>
                        <a:pt x="236" y="92"/>
                      </a:lnTo>
                      <a:lnTo>
                        <a:pt x="226" y="90"/>
                      </a:lnTo>
                      <a:lnTo>
                        <a:pt x="208" y="84"/>
                      </a:lnTo>
                      <a:lnTo>
                        <a:pt x="190" y="78"/>
                      </a:lnTo>
                      <a:lnTo>
                        <a:pt x="178" y="76"/>
                      </a:lnTo>
                      <a:lnTo>
                        <a:pt x="166" y="74"/>
                      </a:lnTo>
                      <a:lnTo>
                        <a:pt x="144" y="76"/>
                      </a:lnTo>
                      <a:lnTo>
                        <a:pt x="136" y="78"/>
                      </a:lnTo>
                      <a:lnTo>
                        <a:pt x="130" y="80"/>
                      </a:lnTo>
                      <a:lnTo>
                        <a:pt x="124" y="86"/>
                      </a:lnTo>
                      <a:lnTo>
                        <a:pt x="120" y="92"/>
                      </a:lnTo>
                      <a:lnTo>
                        <a:pt x="118" y="98"/>
                      </a:lnTo>
                      <a:lnTo>
                        <a:pt x="116" y="108"/>
                      </a:lnTo>
                      <a:lnTo>
                        <a:pt x="116" y="142"/>
                      </a:lnTo>
                      <a:lnTo>
                        <a:pt x="128" y="140"/>
                      </a:lnTo>
                      <a:lnTo>
                        <a:pt x="138" y="136"/>
                      </a:lnTo>
                      <a:lnTo>
                        <a:pt x="150" y="132"/>
                      </a:lnTo>
                      <a:lnTo>
                        <a:pt x="162" y="130"/>
                      </a:lnTo>
                      <a:lnTo>
                        <a:pt x="166" y="130"/>
                      </a:lnTo>
                      <a:lnTo>
                        <a:pt x="172" y="132"/>
                      </a:lnTo>
                      <a:lnTo>
                        <a:pt x="178" y="140"/>
                      </a:lnTo>
                      <a:lnTo>
                        <a:pt x="182" y="148"/>
                      </a:lnTo>
                      <a:lnTo>
                        <a:pt x="184" y="158"/>
                      </a:lnTo>
                      <a:lnTo>
                        <a:pt x="182" y="164"/>
                      </a:lnTo>
                      <a:lnTo>
                        <a:pt x="180" y="170"/>
                      </a:lnTo>
                      <a:lnTo>
                        <a:pt x="168" y="176"/>
                      </a:lnTo>
                      <a:lnTo>
                        <a:pt x="162" y="180"/>
                      </a:lnTo>
                      <a:lnTo>
                        <a:pt x="158" y="186"/>
                      </a:lnTo>
                      <a:lnTo>
                        <a:pt x="154" y="192"/>
                      </a:lnTo>
                      <a:lnTo>
                        <a:pt x="152" y="200"/>
                      </a:lnTo>
                      <a:lnTo>
                        <a:pt x="154" y="206"/>
                      </a:lnTo>
                      <a:lnTo>
                        <a:pt x="158" y="212"/>
                      </a:lnTo>
                      <a:lnTo>
                        <a:pt x="170" y="219"/>
                      </a:lnTo>
                      <a:lnTo>
                        <a:pt x="178" y="223"/>
                      </a:lnTo>
                      <a:lnTo>
                        <a:pt x="184" y="227"/>
                      </a:lnTo>
                      <a:lnTo>
                        <a:pt x="188" y="231"/>
                      </a:lnTo>
                      <a:lnTo>
                        <a:pt x="190" y="237"/>
                      </a:lnTo>
                      <a:lnTo>
                        <a:pt x="188" y="257"/>
                      </a:lnTo>
                      <a:lnTo>
                        <a:pt x="184" y="281"/>
                      </a:lnTo>
                      <a:lnTo>
                        <a:pt x="172" y="317"/>
                      </a:lnTo>
                      <a:lnTo>
                        <a:pt x="170" y="327"/>
                      </a:lnTo>
                      <a:lnTo>
                        <a:pt x="168" y="331"/>
                      </a:lnTo>
                      <a:lnTo>
                        <a:pt x="162" y="333"/>
                      </a:lnTo>
                      <a:lnTo>
                        <a:pt x="156" y="327"/>
                      </a:lnTo>
                      <a:lnTo>
                        <a:pt x="152" y="319"/>
                      </a:lnTo>
                      <a:lnTo>
                        <a:pt x="144" y="321"/>
                      </a:lnTo>
                      <a:lnTo>
                        <a:pt x="140" y="325"/>
                      </a:lnTo>
                      <a:lnTo>
                        <a:pt x="134" y="329"/>
                      </a:lnTo>
                      <a:lnTo>
                        <a:pt x="126" y="329"/>
                      </a:lnTo>
                      <a:lnTo>
                        <a:pt x="120" y="329"/>
                      </a:lnTo>
                      <a:lnTo>
                        <a:pt x="114" y="325"/>
                      </a:lnTo>
                      <a:lnTo>
                        <a:pt x="108" y="317"/>
                      </a:lnTo>
                      <a:lnTo>
                        <a:pt x="102" y="307"/>
                      </a:lnTo>
                      <a:lnTo>
                        <a:pt x="98" y="305"/>
                      </a:lnTo>
                      <a:lnTo>
                        <a:pt x="94" y="303"/>
                      </a:lnTo>
                      <a:lnTo>
                        <a:pt x="90" y="303"/>
                      </a:lnTo>
                      <a:lnTo>
                        <a:pt x="86" y="305"/>
                      </a:lnTo>
                      <a:lnTo>
                        <a:pt x="82" y="311"/>
                      </a:lnTo>
                      <a:lnTo>
                        <a:pt x="72" y="325"/>
                      </a:lnTo>
                      <a:lnTo>
                        <a:pt x="68" y="329"/>
                      </a:lnTo>
                      <a:lnTo>
                        <a:pt x="62" y="329"/>
                      </a:lnTo>
                      <a:lnTo>
                        <a:pt x="48" y="327"/>
                      </a:lnTo>
                      <a:lnTo>
                        <a:pt x="42" y="327"/>
                      </a:lnTo>
                      <a:lnTo>
                        <a:pt x="36" y="331"/>
                      </a:lnTo>
                      <a:lnTo>
                        <a:pt x="34" y="337"/>
                      </a:lnTo>
                      <a:lnTo>
                        <a:pt x="32" y="349"/>
                      </a:lnTo>
                      <a:lnTo>
                        <a:pt x="32" y="369"/>
                      </a:lnTo>
                      <a:lnTo>
                        <a:pt x="34" y="375"/>
                      </a:lnTo>
                      <a:lnTo>
                        <a:pt x="38" y="379"/>
                      </a:lnTo>
                      <a:lnTo>
                        <a:pt x="50" y="385"/>
                      </a:lnTo>
                      <a:lnTo>
                        <a:pt x="46" y="393"/>
                      </a:lnTo>
                      <a:lnTo>
                        <a:pt x="42" y="401"/>
                      </a:lnTo>
                      <a:lnTo>
                        <a:pt x="36" y="397"/>
                      </a:lnTo>
                      <a:lnTo>
                        <a:pt x="32" y="393"/>
                      </a:lnTo>
                      <a:lnTo>
                        <a:pt x="28" y="391"/>
                      </a:lnTo>
                      <a:lnTo>
                        <a:pt x="24" y="391"/>
                      </a:lnTo>
                      <a:lnTo>
                        <a:pt x="20" y="393"/>
                      </a:lnTo>
                      <a:lnTo>
                        <a:pt x="14" y="399"/>
                      </a:lnTo>
                      <a:lnTo>
                        <a:pt x="8" y="405"/>
                      </a:lnTo>
                      <a:lnTo>
                        <a:pt x="4" y="407"/>
                      </a:lnTo>
                      <a:lnTo>
                        <a:pt x="0" y="407"/>
                      </a:lnTo>
                      <a:lnTo>
                        <a:pt x="4" y="417"/>
                      </a:lnTo>
                      <a:lnTo>
                        <a:pt x="12" y="427"/>
                      </a:lnTo>
                      <a:lnTo>
                        <a:pt x="28" y="443"/>
                      </a:lnTo>
                      <a:lnTo>
                        <a:pt x="46" y="459"/>
                      </a:lnTo>
                      <a:lnTo>
                        <a:pt x="54" y="467"/>
                      </a:lnTo>
                      <a:lnTo>
                        <a:pt x="60" y="477"/>
                      </a:lnTo>
                      <a:lnTo>
                        <a:pt x="66" y="471"/>
                      </a:lnTo>
                      <a:lnTo>
                        <a:pt x="76" y="461"/>
                      </a:lnTo>
                      <a:lnTo>
                        <a:pt x="88" y="453"/>
                      </a:lnTo>
                      <a:lnTo>
                        <a:pt x="96" y="449"/>
                      </a:lnTo>
                      <a:lnTo>
                        <a:pt x="104" y="453"/>
                      </a:lnTo>
                      <a:lnTo>
                        <a:pt x="110" y="455"/>
                      </a:lnTo>
                      <a:lnTo>
                        <a:pt x="120" y="461"/>
                      </a:lnTo>
                      <a:lnTo>
                        <a:pt x="124" y="463"/>
                      </a:lnTo>
                      <a:lnTo>
                        <a:pt x="130" y="463"/>
                      </a:lnTo>
                      <a:lnTo>
                        <a:pt x="140" y="461"/>
                      </a:lnTo>
                      <a:lnTo>
                        <a:pt x="150" y="455"/>
                      </a:lnTo>
                      <a:lnTo>
                        <a:pt x="170" y="441"/>
                      </a:lnTo>
                      <a:lnTo>
                        <a:pt x="186" y="441"/>
                      </a:lnTo>
                      <a:lnTo>
                        <a:pt x="180" y="449"/>
                      </a:lnTo>
                      <a:lnTo>
                        <a:pt x="178" y="453"/>
                      </a:lnTo>
                      <a:lnTo>
                        <a:pt x="178" y="457"/>
                      </a:lnTo>
                      <a:lnTo>
                        <a:pt x="180" y="465"/>
                      </a:lnTo>
                      <a:lnTo>
                        <a:pt x="184" y="471"/>
                      </a:lnTo>
                      <a:lnTo>
                        <a:pt x="190" y="473"/>
                      </a:lnTo>
                      <a:lnTo>
                        <a:pt x="198" y="473"/>
                      </a:lnTo>
                      <a:lnTo>
                        <a:pt x="204" y="473"/>
                      </a:lnTo>
                      <a:lnTo>
                        <a:pt x="210" y="471"/>
                      </a:lnTo>
                      <a:lnTo>
                        <a:pt x="224" y="463"/>
                      </a:lnTo>
                      <a:lnTo>
                        <a:pt x="234" y="453"/>
                      </a:lnTo>
                      <a:lnTo>
                        <a:pt x="238" y="449"/>
                      </a:lnTo>
                      <a:lnTo>
                        <a:pt x="238" y="443"/>
                      </a:lnTo>
                      <a:lnTo>
                        <a:pt x="238" y="437"/>
                      </a:lnTo>
                      <a:lnTo>
                        <a:pt x="242" y="433"/>
                      </a:lnTo>
                      <a:lnTo>
                        <a:pt x="246" y="431"/>
                      </a:lnTo>
                      <a:lnTo>
                        <a:pt x="252" y="427"/>
                      </a:lnTo>
                      <a:lnTo>
                        <a:pt x="266" y="423"/>
                      </a:lnTo>
                      <a:lnTo>
                        <a:pt x="272" y="419"/>
                      </a:lnTo>
                      <a:lnTo>
                        <a:pt x="276" y="415"/>
                      </a:lnTo>
                      <a:lnTo>
                        <a:pt x="280" y="409"/>
                      </a:lnTo>
                      <a:lnTo>
                        <a:pt x="284" y="401"/>
                      </a:lnTo>
                      <a:lnTo>
                        <a:pt x="288" y="381"/>
                      </a:lnTo>
                      <a:lnTo>
                        <a:pt x="290" y="359"/>
                      </a:lnTo>
                      <a:lnTo>
                        <a:pt x="290" y="339"/>
                      </a:lnTo>
                      <a:lnTo>
                        <a:pt x="292" y="325"/>
                      </a:lnTo>
                      <a:lnTo>
                        <a:pt x="296" y="313"/>
                      </a:lnTo>
                      <a:lnTo>
                        <a:pt x="304" y="301"/>
                      </a:lnTo>
                      <a:lnTo>
                        <a:pt x="314" y="289"/>
                      </a:lnTo>
                      <a:lnTo>
                        <a:pt x="335" y="269"/>
                      </a:lnTo>
                      <a:lnTo>
                        <a:pt x="351" y="251"/>
                      </a:lnTo>
                      <a:lnTo>
                        <a:pt x="359" y="237"/>
                      </a:lnTo>
                      <a:lnTo>
                        <a:pt x="367" y="219"/>
                      </a:lnTo>
                      <a:lnTo>
                        <a:pt x="381" y="184"/>
                      </a:lnTo>
                      <a:lnTo>
                        <a:pt x="381" y="142"/>
                      </a:lnTo>
                      <a:lnTo>
                        <a:pt x="385" y="128"/>
                      </a:lnTo>
                      <a:lnTo>
                        <a:pt x="387" y="116"/>
                      </a:lnTo>
                      <a:lnTo>
                        <a:pt x="389" y="104"/>
                      </a:lnTo>
                      <a:lnTo>
                        <a:pt x="393" y="90"/>
                      </a:lnTo>
                      <a:lnTo>
                        <a:pt x="391" y="90"/>
                      </a:lnTo>
                      <a:lnTo>
                        <a:pt x="397" y="78"/>
                      </a:lnTo>
                      <a:lnTo>
                        <a:pt x="405" y="68"/>
                      </a:lnTo>
                      <a:lnTo>
                        <a:pt x="413" y="58"/>
                      </a:lnTo>
                      <a:lnTo>
                        <a:pt x="419" y="46"/>
                      </a:lnTo>
                      <a:lnTo>
                        <a:pt x="421" y="36"/>
                      </a:lnTo>
                      <a:lnTo>
                        <a:pt x="421" y="26"/>
                      </a:lnTo>
                      <a:lnTo>
                        <a:pt x="419" y="6"/>
                      </a:lnTo>
                      <a:lnTo>
                        <a:pt x="381" y="6"/>
                      </a:lnTo>
                      <a:lnTo>
                        <a:pt x="365" y="2"/>
                      </a:lnTo>
                      <a:lnTo>
                        <a:pt x="347" y="0"/>
                      </a:lnTo>
                      <a:lnTo>
                        <a:pt x="331" y="2"/>
                      </a:lnTo>
                      <a:lnTo>
                        <a:pt x="318" y="6"/>
                      </a:lnTo>
                      <a:lnTo>
                        <a:pt x="308" y="14"/>
                      </a:lnTo>
                      <a:lnTo>
                        <a:pt x="302" y="22"/>
                      </a:lnTo>
                      <a:lnTo>
                        <a:pt x="296" y="32"/>
                      </a:lnTo>
                      <a:lnTo>
                        <a:pt x="292" y="44"/>
                      </a:lnTo>
                      <a:lnTo>
                        <a:pt x="284" y="68"/>
                      </a:lnTo>
                      <a:lnTo>
                        <a:pt x="284" y="62"/>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6" name="Gabon">
                  <a:extLst>
                    <a:ext uri="{FF2B5EF4-FFF2-40B4-BE49-F238E27FC236}">
                      <a16:creationId xmlns:a16="http://schemas.microsoft.com/office/drawing/2014/main" id="{CF6C10F5-DD6F-4C18-9283-F243F39949B4}"/>
                    </a:ext>
                  </a:extLst>
                </p:cNvPr>
                <p:cNvSpPr>
                  <a:spLocks/>
                </p:cNvSpPr>
                <p:nvPr/>
              </p:nvSpPr>
              <p:spPr bwMode="gray">
                <a:xfrm>
                  <a:off x="4481513" y="4398963"/>
                  <a:ext cx="358775" cy="381000"/>
                </a:xfrm>
                <a:custGeom>
                  <a:avLst/>
                  <a:gdLst/>
                  <a:ahLst/>
                  <a:cxnLst>
                    <a:cxn ang="0">
                      <a:pos x="236" y="14"/>
                    </a:cxn>
                    <a:cxn ang="0">
                      <a:pos x="234" y="60"/>
                    </a:cxn>
                    <a:cxn ang="0">
                      <a:pos x="256" y="54"/>
                    </a:cxn>
                    <a:cxn ang="0">
                      <a:pos x="280" y="48"/>
                    </a:cxn>
                    <a:cxn ang="0">
                      <a:pos x="290" y="50"/>
                    </a:cxn>
                    <a:cxn ang="0">
                      <a:pos x="300" y="66"/>
                    </a:cxn>
                    <a:cxn ang="0">
                      <a:pos x="300" y="82"/>
                    </a:cxn>
                    <a:cxn ang="0">
                      <a:pos x="286" y="94"/>
                    </a:cxn>
                    <a:cxn ang="0">
                      <a:pos x="276" y="104"/>
                    </a:cxn>
                    <a:cxn ang="0">
                      <a:pos x="270" y="118"/>
                    </a:cxn>
                    <a:cxn ang="0">
                      <a:pos x="276" y="130"/>
                    </a:cxn>
                    <a:cxn ang="0">
                      <a:pos x="296" y="141"/>
                    </a:cxn>
                    <a:cxn ang="0">
                      <a:pos x="306" y="149"/>
                    </a:cxn>
                    <a:cxn ang="0">
                      <a:pos x="306" y="175"/>
                    </a:cxn>
                    <a:cxn ang="0">
                      <a:pos x="290" y="235"/>
                    </a:cxn>
                    <a:cxn ang="0">
                      <a:pos x="286" y="249"/>
                    </a:cxn>
                    <a:cxn ang="0">
                      <a:pos x="274" y="245"/>
                    </a:cxn>
                    <a:cxn ang="0">
                      <a:pos x="262" y="239"/>
                    </a:cxn>
                    <a:cxn ang="0">
                      <a:pos x="252" y="247"/>
                    </a:cxn>
                    <a:cxn ang="0">
                      <a:pos x="238" y="247"/>
                    </a:cxn>
                    <a:cxn ang="0">
                      <a:pos x="226" y="235"/>
                    </a:cxn>
                    <a:cxn ang="0">
                      <a:pos x="216" y="223"/>
                    </a:cxn>
                    <a:cxn ang="0">
                      <a:pos x="208" y="221"/>
                    </a:cxn>
                    <a:cxn ang="0">
                      <a:pos x="200" y="229"/>
                    </a:cxn>
                    <a:cxn ang="0">
                      <a:pos x="186" y="247"/>
                    </a:cxn>
                    <a:cxn ang="0">
                      <a:pos x="166" y="245"/>
                    </a:cxn>
                    <a:cxn ang="0">
                      <a:pos x="154" y="249"/>
                    </a:cxn>
                    <a:cxn ang="0">
                      <a:pos x="150" y="267"/>
                    </a:cxn>
                    <a:cxn ang="0">
                      <a:pos x="152" y="293"/>
                    </a:cxn>
                    <a:cxn ang="0">
                      <a:pos x="168" y="303"/>
                    </a:cxn>
                    <a:cxn ang="0">
                      <a:pos x="160" y="319"/>
                    </a:cxn>
                    <a:cxn ang="0">
                      <a:pos x="150" y="311"/>
                    </a:cxn>
                    <a:cxn ang="0">
                      <a:pos x="142" y="309"/>
                    </a:cxn>
                    <a:cxn ang="0">
                      <a:pos x="132" y="317"/>
                    </a:cxn>
                    <a:cxn ang="0">
                      <a:pos x="122" y="325"/>
                    </a:cxn>
                    <a:cxn ang="0">
                      <a:pos x="112" y="315"/>
                    </a:cxn>
                    <a:cxn ang="0">
                      <a:pos x="94" y="293"/>
                    </a:cxn>
                    <a:cxn ang="0">
                      <a:pos x="64" y="267"/>
                    </a:cxn>
                    <a:cxn ang="0">
                      <a:pos x="50" y="247"/>
                    </a:cxn>
                    <a:cxn ang="0">
                      <a:pos x="38" y="223"/>
                    </a:cxn>
                    <a:cxn ang="0">
                      <a:pos x="14" y="193"/>
                    </a:cxn>
                    <a:cxn ang="0">
                      <a:pos x="0" y="165"/>
                    </a:cxn>
                    <a:cxn ang="0">
                      <a:pos x="4" y="159"/>
                    </a:cxn>
                    <a:cxn ang="0">
                      <a:pos x="14" y="149"/>
                    </a:cxn>
                    <a:cxn ang="0">
                      <a:pos x="28" y="118"/>
                    </a:cxn>
                    <a:cxn ang="0">
                      <a:pos x="44" y="64"/>
                    </a:cxn>
                    <a:cxn ang="0">
                      <a:pos x="138" y="0"/>
                    </a:cxn>
                    <a:cxn ang="0">
                      <a:pos x="244" y="4"/>
                    </a:cxn>
                    <a:cxn ang="0">
                      <a:pos x="242" y="4"/>
                    </a:cxn>
                  </a:cxnLst>
                  <a:rect l="0" t="0" r="r" b="b"/>
                  <a:pathLst>
                    <a:path w="308" h="325">
                      <a:moveTo>
                        <a:pt x="242" y="4"/>
                      </a:moveTo>
                      <a:lnTo>
                        <a:pt x="236" y="14"/>
                      </a:lnTo>
                      <a:lnTo>
                        <a:pt x="234" y="26"/>
                      </a:lnTo>
                      <a:lnTo>
                        <a:pt x="234" y="60"/>
                      </a:lnTo>
                      <a:lnTo>
                        <a:pt x="246" y="58"/>
                      </a:lnTo>
                      <a:lnTo>
                        <a:pt x="256" y="54"/>
                      </a:lnTo>
                      <a:lnTo>
                        <a:pt x="268" y="50"/>
                      </a:lnTo>
                      <a:lnTo>
                        <a:pt x="280" y="48"/>
                      </a:lnTo>
                      <a:lnTo>
                        <a:pt x="284" y="48"/>
                      </a:lnTo>
                      <a:lnTo>
                        <a:pt x="290" y="50"/>
                      </a:lnTo>
                      <a:lnTo>
                        <a:pt x="296" y="58"/>
                      </a:lnTo>
                      <a:lnTo>
                        <a:pt x="300" y="66"/>
                      </a:lnTo>
                      <a:lnTo>
                        <a:pt x="302" y="76"/>
                      </a:lnTo>
                      <a:lnTo>
                        <a:pt x="300" y="82"/>
                      </a:lnTo>
                      <a:lnTo>
                        <a:pt x="298" y="88"/>
                      </a:lnTo>
                      <a:lnTo>
                        <a:pt x="286" y="94"/>
                      </a:lnTo>
                      <a:lnTo>
                        <a:pt x="280" y="98"/>
                      </a:lnTo>
                      <a:lnTo>
                        <a:pt x="276" y="104"/>
                      </a:lnTo>
                      <a:lnTo>
                        <a:pt x="272" y="110"/>
                      </a:lnTo>
                      <a:lnTo>
                        <a:pt x="270" y="118"/>
                      </a:lnTo>
                      <a:lnTo>
                        <a:pt x="272" y="124"/>
                      </a:lnTo>
                      <a:lnTo>
                        <a:pt x="276" y="130"/>
                      </a:lnTo>
                      <a:lnTo>
                        <a:pt x="288" y="137"/>
                      </a:lnTo>
                      <a:lnTo>
                        <a:pt x="296" y="141"/>
                      </a:lnTo>
                      <a:lnTo>
                        <a:pt x="302" y="145"/>
                      </a:lnTo>
                      <a:lnTo>
                        <a:pt x="306" y="149"/>
                      </a:lnTo>
                      <a:lnTo>
                        <a:pt x="308" y="155"/>
                      </a:lnTo>
                      <a:lnTo>
                        <a:pt x="306" y="175"/>
                      </a:lnTo>
                      <a:lnTo>
                        <a:pt x="302" y="199"/>
                      </a:lnTo>
                      <a:lnTo>
                        <a:pt x="290" y="235"/>
                      </a:lnTo>
                      <a:lnTo>
                        <a:pt x="288" y="245"/>
                      </a:lnTo>
                      <a:lnTo>
                        <a:pt x="286" y="249"/>
                      </a:lnTo>
                      <a:lnTo>
                        <a:pt x="280" y="251"/>
                      </a:lnTo>
                      <a:lnTo>
                        <a:pt x="274" y="245"/>
                      </a:lnTo>
                      <a:lnTo>
                        <a:pt x="270" y="237"/>
                      </a:lnTo>
                      <a:lnTo>
                        <a:pt x="262" y="239"/>
                      </a:lnTo>
                      <a:lnTo>
                        <a:pt x="258" y="243"/>
                      </a:lnTo>
                      <a:lnTo>
                        <a:pt x="252" y="247"/>
                      </a:lnTo>
                      <a:lnTo>
                        <a:pt x="244" y="247"/>
                      </a:lnTo>
                      <a:lnTo>
                        <a:pt x="238" y="247"/>
                      </a:lnTo>
                      <a:lnTo>
                        <a:pt x="232" y="243"/>
                      </a:lnTo>
                      <a:lnTo>
                        <a:pt x="226" y="235"/>
                      </a:lnTo>
                      <a:lnTo>
                        <a:pt x="220" y="225"/>
                      </a:lnTo>
                      <a:lnTo>
                        <a:pt x="216" y="223"/>
                      </a:lnTo>
                      <a:lnTo>
                        <a:pt x="212" y="221"/>
                      </a:lnTo>
                      <a:lnTo>
                        <a:pt x="208" y="221"/>
                      </a:lnTo>
                      <a:lnTo>
                        <a:pt x="204" y="223"/>
                      </a:lnTo>
                      <a:lnTo>
                        <a:pt x="200" y="229"/>
                      </a:lnTo>
                      <a:lnTo>
                        <a:pt x="190" y="243"/>
                      </a:lnTo>
                      <a:lnTo>
                        <a:pt x="186" y="247"/>
                      </a:lnTo>
                      <a:lnTo>
                        <a:pt x="180" y="247"/>
                      </a:lnTo>
                      <a:lnTo>
                        <a:pt x="166" y="245"/>
                      </a:lnTo>
                      <a:lnTo>
                        <a:pt x="160" y="245"/>
                      </a:lnTo>
                      <a:lnTo>
                        <a:pt x="154" y="249"/>
                      </a:lnTo>
                      <a:lnTo>
                        <a:pt x="152" y="255"/>
                      </a:lnTo>
                      <a:lnTo>
                        <a:pt x="150" y="267"/>
                      </a:lnTo>
                      <a:lnTo>
                        <a:pt x="150" y="287"/>
                      </a:lnTo>
                      <a:lnTo>
                        <a:pt x="152" y="293"/>
                      </a:lnTo>
                      <a:lnTo>
                        <a:pt x="156" y="297"/>
                      </a:lnTo>
                      <a:lnTo>
                        <a:pt x="168" y="303"/>
                      </a:lnTo>
                      <a:lnTo>
                        <a:pt x="164" y="311"/>
                      </a:lnTo>
                      <a:lnTo>
                        <a:pt x="160" y="319"/>
                      </a:lnTo>
                      <a:lnTo>
                        <a:pt x="154" y="315"/>
                      </a:lnTo>
                      <a:lnTo>
                        <a:pt x="150" y="311"/>
                      </a:lnTo>
                      <a:lnTo>
                        <a:pt x="146" y="309"/>
                      </a:lnTo>
                      <a:lnTo>
                        <a:pt x="142" y="309"/>
                      </a:lnTo>
                      <a:lnTo>
                        <a:pt x="138" y="311"/>
                      </a:lnTo>
                      <a:lnTo>
                        <a:pt x="132" y="317"/>
                      </a:lnTo>
                      <a:lnTo>
                        <a:pt x="126" y="323"/>
                      </a:lnTo>
                      <a:lnTo>
                        <a:pt x="122" y="325"/>
                      </a:lnTo>
                      <a:lnTo>
                        <a:pt x="118" y="325"/>
                      </a:lnTo>
                      <a:lnTo>
                        <a:pt x="112" y="315"/>
                      </a:lnTo>
                      <a:lnTo>
                        <a:pt x="106" y="307"/>
                      </a:lnTo>
                      <a:lnTo>
                        <a:pt x="94" y="293"/>
                      </a:lnTo>
                      <a:lnTo>
                        <a:pt x="80" y="281"/>
                      </a:lnTo>
                      <a:lnTo>
                        <a:pt x="64" y="267"/>
                      </a:lnTo>
                      <a:lnTo>
                        <a:pt x="56" y="257"/>
                      </a:lnTo>
                      <a:lnTo>
                        <a:pt x="50" y="247"/>
                      </a:lnTo>
                      <a:lnTo>
                        <a:pt x="46" y="235"/>
                      </a:lnTo>
                      <a:lnTo>
                        <a:pt x="38" y="223"/>
                      </a:lnTo>
                      <a:lnTo>
                        <a:pt x="28" y="209"/>
                      </a:lnTo>
                      <a:lnTo>
                        <a:pt x="14" y="193"/>
                      </a:lnTo>
                      <a:lnTo>
                        <a:pt x="4" y="175"/>
                      </a:lnTo>
                      <a:lnTo>
                        <a:pt x="0" y="165"/>
                      </a:lnTo>
                      <a:lnTo>
                        <a:pt x="0" y="157"/>
                      </a:lnTo>
                      <a:lnTo>
                        <a:pt x="4" y="159"/>
                      </a:lnTo>
                      <a:lnTo>
                        <a:pt x="6" y="157"/>
                      </a:lnTo>
                      <a:lnTo>
                        <a:pt x="14" y="149"/>
                      </a:lnTo>
                      <a:lnTo>
                        <a:pt x="22" y="134"/>
                      </a:lnTo>
                      <a:lnTo>
                        <a:pt x="28" y="118"/>
                      </a:lnTo>
                      <a:lnTo>
                        <a:pt x="40" y="84"/>
                      </a:lnTo>
                      <a:lnTo>
                        <a:pt x="44" y="64"/>
                      </a:lnTo>
                      <a:lnTo>
                        <a:pt x="138" y="64"/>
                      </a:lnTo>
                      <a:lnTo>
                        <a:pt x="138" y="0"/>
                      </a:lnTo>
                      <a:lnTo>
                        <a:pt x="236" y="0"/>
                      </a:lnTo>
                      <a:lnTo>
                        <a:pt x="244" y="4"/>
                      </a:lnTo>
                      <a:lnTo>
                        <a:pt x="244" y="2"/>
                      </a:lnTo>
                      <a:lnTo>
                        <a:pt x="242" y="4"/>
                      </a:lnTo>
                      <a:close/>
                    </a:path>
                  </a:pathLst>
                </a:custGeom>
                <a:solidFill>
                  <a:schemeClr val="bg2"/>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7" name="Burkina Faso">
                  <a:extLst>
                    <a:ext uri="{FF2B5EF4-FFF2-40B4-BE49-F238E27FC236}">
                      <a16:creationId xmlns:a16="http://schemas.microsoft.com/office/drawing/2014/main" id="{23E4784B-5726-46FB-83AF-BC2BD79611B3}"/>
                    </a:ext>
                  </a:extLst>
                </p:cNvPr>
                <p:cNvSpPr>
                  <a:spLocks/>
                </p:cNvSpPr>
                <p:nvPr/>
              </p:nvSpPr>
              <p:spPr bwMode="gray">
                <a:xfrm>
                  <a:off x="3605213" y="3565525"/>
                  <a:ext cx="488950" cy="352425"/>
                </a:xfrm>
                <a:custGeom>
                  <a:avLst/>
                  <a:gdLst/>
                  <a:ahLst/>
                  <a:cxnLst>
                    <a:cxn ang="0">
                      <a:pos x="404" y="162"/>
                    </a:cxn>
                    <a:cxn ang="0">
                      <a:pos x="404" y="150"/>
                    </a:cxn>
                    <a:cxn ang="0">
                      <a:pos x="408" y="136"/>
                    </a:cxn>
                    <a:cxn ang="0">
                      <a:pos x="394" y="132"/>
                    </a:cxn>
                    <a:cxn ang="0">
                      <a:pos x="382" y="136"/>
                    </a:cxn>
                    <a:cxn ang="0">
                      <a:pos x="362" y="126"/>
                    </a:cxn>
                    <a:cxn ang="0">
                      <a:pos x="364" y="102"/>
                    </a:cxn>
                    <a:cxn ang="0">
                      <a:pos x="320" y="52"/>
                    </a:cxn>
                    <a:cxn ang="0">
                      <a:pos x="310" y="18"/>
                    </a:cxn>
                    <a:cxn ang="0">
                      <a:pos x="292" y="6"/>
                    </a:cxn>
                    <a:cxn ang="0">
                      <a:pos x="260" y="2"/>
                    </a:cxn>
                    <a:cxn ang="0">
                      <a:pos x="216" y="22"/>
                    </a:cxn>
                    <a:cxn ang="0">
                      <a:pos x="194" y="40"/>
                    </a:cxn>
                    <a:cxn ang="0">
                      <a:pos x="182" y="46"/>
                    </a:cxn>
                    <a:cxn ang="0">
                      <a:pos x="172" y="40"/>
                    </a:cxn>
                    <a:cxn ang="0">
                      <a:pos x="154" y="54"/>
                    </a:cxn>
                    <a:cxn ang="0">
                      <a:pos x="140" y="72"/>
                    </a:cxn>
                    <a:cxn ang="0">
                      <a:pos x="122" y="76"/>
                    </a:cxn>
                    <a:cxn ang="0">
                      <a:pos x="120" y="90"/>
                    </a:cxn>
                    <a:cxn ang="0">
                      <a:pos x="104" y="94"/>
                    </a:cxn>
                    <a:cxn ang="0">
                      <a:pos x="88" y="84"/>
                    </a:cxn>
                    <a:cxn ang="0">
                      <a:pos x="70" y="96"/>
                    </a:cxn>
                    <a:cxn ang="0">
                      <a:pos x="74" y="110"/>
                    </a:cxn>
                    <a:cxn ang="0">
                      <a:pos x="28" y="162"/>
                    </a:cxn>
                    <a:cxn ang="0">
                      <a:pos x="16" y="172"/>
                    </a:cxn>
                    <a:cxn ang="0">
                      <a:pos x="14" y="196"/>
                    </a:cxn>
                    <a:cxn ang="0">
                      <a:pos x="0" y="216"/>
                    </a:cxn>
                    <a:cxn ang="0">
                      <a:pos x="4" y="236"/>
                    </a:cxn>
                    <a:cxn ang="0">
                      <a:pos x="18" y="250"/>
                    </a:cxn>
                    <a:cxn ang="0">
                      <a:pos x="32" y="270"/>
                    </a:cxn>
                    <a:cxn ang="0">
                      <a:pos x="56" y="282"/>
                    </a:cxn>
                    <a:cxn ang="0">
                      <a:pos x="88" y="274"/>
                    </a:cxn>
                    <a:cxn ang="0">
                      <a:pos x="112" y="276"/>
                    </a:cxn>
                    <a:cxn ang="0">
                      <a:pos x="130" y="292"/>
                    </a:cxn>
                    <a:cxn ang="0">
                      <a:pos x="136" y="238"/>
                    </a:cxn>
                    <a:cxn ang="0">
                      <a:pos x="148" y="218"/>
                    </a:cxn>
                    <a:cxn ang="0">
                      <a:pos x="238" y="224"/>
                    </a:cxn>
                    <a:cxn ang="0">
                      <a:pos x="272" y="222"/>
                    </a:cxn>
                    <a:cxn ang="0">
                      <a:pos x="286" y="222"/>
                    </a:cxn>
                    <a:cxn ang="0">
                      <a:pos x="292" y="218"/>
                    </a:cxn>
                    <a:cxn ang="0">
                      <a:pos x="314" y="222"/>
                    </a:cxn>
                    <a:cxn ang="0">
                      <a:pos x="338" y="222"/>
                    </a:cxn>
                    <a:cxn ang="0">
                      <a:pos x="354" y="208"/>
                    </a:cxn>
                    <a:cxn ang="0">
                      <a:pos x="390" y="200"/>
                    </a:cxn>
                    <a:cxn ang="0">
                      <a:pos x="406" y="190"/>
                    </a:cxn>
                    <a:cxn ang="0">
                      <a:pos x="418" y="160"/>
                    </a:cxn>
                  </a:cxnLst>
                  <a:rect l="0" t="0" r="r" b="b"/>
                  <a:pathLst>
                    <a:path w="418" h="300">
                      <a:moveTo>
                        <a:pt x="412" y="168"/>
                      </a:moveTo>
                      <a:lnTo>
                        <a:pt x="406" y="166"/>
                      </a:lnTo>
                      <a:lnTo>
                        <a:pt x="404" y="162"/>
                      </a:lnTo>
                      <a:lnTo>
                        <a:pt x="400" y="156"/>
                      </a:lnTo>
                      <a:lnTo>
                        <a:pt x="400" y="148"/>
                      </a:lnTo>
                      <a:lnTo>
                        <a:pt x="404" y="150"/>
                      </a:lnTo>
                      <a:lnTo>
                        <a:pt x="412" y="148"/>
                      </a:lnTo>
                      <a:lnTo>
                        <a:pt x="410" y="142"/>
                      </a:lnTo>
                      <a:lnTo>
                        <a:pt x="408" y="136"/>
                      </a:lnTo>
                      <a:lnTo>
                        <a:pt x="404" y="132"/>
                      </a:lnTo>
                      <a:lnTo>
                        <a:pt x="398" y="130"/>
                      </a:lnTo>
                      <a:lnTo>
                        <a:pt x="394" y="132"/>
                      </a:lnTo>
                      <a:lnTo>
                        <a:pt x="390" y="134"/>
                      </a:lnTo>
                      <a:lnTo>
                        <a:pt x="386" y="136"/>
                      </a:lnTo>
                      <a:lnTo>
                        <a:pt x="382" y="136"/>
                      </a:lnTo>
                      <a:lnTo>
                        <a:pt x="378" y="136"/>
                      </a:lnTo>
                      <a:lnTo>
                        <a:pt x="374" y="134"/>
                      </a:lnTo>
                      <a:lnTo>
                        <a:pt x="362" y="126"/>
                      </a:lnTo>
                      <a:lnTo>
                        <a:pt x="354" y="118"/>
                      </a:lnTo>
                      <a:lnTo>
                        <a:pt x="348" y="110"/>
                      </a:lnTo>
                      <a:lnTo>
                        <a:pt x="364" y="102"/>
                      </a:lnTo>
                      <a:lnTo>
                        <a:pt x="348" y="86"/>
                      </a:lnTo>
                      <a:lnTo>
                        <a:pt x="328" y="64"/>
                      </a:lnTo>
                      <a:lnTo>
                        <a:pt x="320" y="52"/>
                      </a:lnTo>
                      <a:lnTo>
                        <a:pt x="314" y="40"/>
                      </a:lnTo>
                      <a:lnTo>
                        <a:pt x="310" y="26"/>
                      </a:lnTo>
                      <a:lnTo>
                        <a:pt x="310" y="18"/>
                      </a:lnTo>
                      <a:lnTo>
                        <a:pt x="312" y="12"/>
                      </a:lnTo>
                      <a:lnTo>
                        <a:pt x="302" y="8"/>
                      </a:lnTo>
                      <a:lnTo>
                        <a:pt x="292" y="6"/>
                      </a:lnTo>
                      <a:lnTo>
                        <a:pt x="282" y="2"/>
                      </a:lnTo>
                      <a:lnTo>
                        <a:pt x="270" y="0"/>
                      </a:lnTo>
                      <a:lnTo>
                        <a:pt x="260" y="2"/>
                      </a:lnTo>
                      <a:lnTo>
                        <a:pt x="252" y="4"/>
                      </a:lnTo>
                      <a:lnTo>
                        <a:pt x="234" y="12"/>
                      </a:lnTo>
                      <a:lnTo>
                        <a:pt x="216" y="22"/>
                      </a:lnTo>
                      <a:lnTo>
                        <a:pt x="200" y="32"/>
                      </a:lnTo>
                      <a:lnTo>
                        <a:pt x="198" y="36"/>
                      </a:lnTo>
                      <a:lnTo>
                        <a:pt x="194" y="40"/>
                      </a:lnTo>
                      <a:lnTo>
                        <a:pt x="190" y="44"/>
                      </a:lnTo>
                      <a:lnTo>
                        <a:pt x="186" y="46"/>
                      </a:lnTo>
                      <a:lnTo>
                        <a:pt x="182" y="46"/>
                      </a:lnTo>
                      <a:lnTo>
                        <a:pt x="180" y="44"/>
                      </a:lnTo>
                      <a:lnTo>
                        <a:pt x="176" y="42"/>
                      </a:lnTo>
                      <a:lnTo>
                        <a:pt x="172" y="40"/>
                      </a:lnTo>
                      <a:lnTo>
                        <a:pt x="166" y="42"/>
                      </a:lnTo>
                      <a:lnTo>
                        <a:pt x="162" y="44"/>
                      </a:lnTo>
                      <a:lnTo>
                        <a:pt x="154" y="54"/>
                      </a:lnTo>
                      <a:lnTo>
                        <a:pt x="148" y="66"/>
                      </a:lnTo>
                      <a:lnTo>
                        <a:pt x="144" y="70"/>
                      </a:lnTo>
                      <a:lnTo>
                        <a:pt x="140" y="72"/>
                      </a:lnTo>
                      <a:lnTo>
                        <a:pt x="130" y="72"/>
                      </a:lnTo>
                      <a:lnTo>
                        <a:pt x="124" y="74"/>
                      </a:lnTo>
                      <a:lnTo>
                        <a:pt x="122" y="76"/>
                      </a:lnTo>
                      <a:lnTo>
                        <a:pt x="122" y="78"/>
                      </a:lnTo>
                      <a:lnTo>
                        <a:pt x="122" y="84"/>
                      </a:lnTo>
                      <a:lnTo>
                        <a:pt x="120" y="90"/>
                      </a:lnTo>
                      <a:lnTo>
                        <a:pt x="116" y="94"/>
                      </a:lnTo>
                      <a:lnTo>
                        <a:pt x="110" y="96"/>
                      </a:lnTo>
                      <a:lnTo>
                        <a:pt x="104" y="94"/>
                      </a:lnTo>
                      <a:lnTo>
                        <a:pt x="100" y="90"/>
                      </a:lnTo>
                      <a:lnTo>
                        <a:pt x="94" y="86"/>
                      </a:lnTo>
                      <a:lnTo>
                        <a:pt x="88" y="84"/>
                      </a:lnTo>
                      <a:lnTo>
                        <a:pt x="82" y="86"/>
                      </a:lnTo>
                      <a:lnTo>
                        <a:pt x="76" y="90"/>
                      </a:lnTo>
                      <a:lnTo>
                        <a:pt x="70" y="96"/>
                      </a:lnTo>
                      <a:lnTo>
                        <a:pt x="68" y="100"/>
                      </a:lnTo>
                      <a:lnTo>
                        <a:pt x="70" y="106"/>
                      </a:lnTo>
                      <a:lnTo>
                        <a:pt x="74" y="110"/>
                      </a:lnTo>
                      <a:lnTo>
                        <a:pt x="50" y="156"/>
                      </a:lnTo>
                      <a:lnTo>
                        <a:pt x="38" y="160"/>
                      </a:lnTo>
                      <a:lnTo>
                        <a:pt x="28" y="162"/>
                      </a:lnTo>
                      <a:lnTo>
                        <a:pt x="20" y="164"/>
                      </a:lnTo>
                      <a:lnTo>
                        <a:pt x="16" y="168"/>
                      </a:lnTo>
                      <a:lnTo>
                        <a:pt x="16" y="172"/>
                      </a:lnTo>
                      <a:lnTo>
                        <a:pt x="16" y="186"/>
                      </a:lnTo>
                      <a:lnTo>
                        <a:pt x="16" y="192"/>
                      </a:lnTo>
                      <a:lnTo>
                        <a:pt x="14" y="196"/>
                      </a:lnTo>
                      <a:lnTo>
                        <a:pt x="8" y="202"/>
                      </a:lnTo>
                      <a:lnTo>
                        <a:pt x="4" y="208"/>
                      </a:lnTo>
                      <a:lnTo>
                        <a:pt x="0" y="216"/>
                      </a:lnTo>
                      <a:lnTo>
                        <a:pt x="0" y="224"/>
                      </a:lnTo>
                      <a:lnTo>
                        <a:pt x="2" y="230"/>
                      </a:lnTo>
                      <a:lnTo>
                        <a:pt x="4" y="236"/>
                      </a:lnTo>
                      <a:lnTo>
                        <a:pt x="2" y="244"/>
                      </a:lnTo>
                      <a:lnTo>
                        <a:pt x="12" y="246"/>
                      </a:lnTo>
                      <a:lnTo>
                        <a:pt x="18" y="250"/>
                      </a:lnTo>
                      <a:lnTo>
                        <a:pt x="24" y="256"/>
                      </a:lnTo>
                      <a:lnTo>
                        <a:pt x="28" y="264"/>
                      </a:lnTo>
                      <a:lnTo>
                        <a:pt x="32" y="270"/>
                      </a:lnTo>
                      <a:lnTo>
                        <a:pt x="38" y="276"/>
                      </a:lnTo>
                      <a:lnTo>
                        <a:pt x="46" y="282"/>
                      </a:lnTo>
                      <a:lnTo>
                        <a:pt x="56" y="282"/>
                      </a:lnTo>
                      <a:lnTo>
                        <a:pt x="68" y="282"/>
                      </a:lnTo>
                      <a:lnTo>
                        <a:pt x="78" y="278"/>
                      </a:lnTo>
                      <a:lnTo>
                        <a:pt x="88" y="274"/>
                      </a:lnTo>
                      <a:lnTo>
                        <a:pt x="98" y="272"/>
                      </a:lnTo>
                      <a:lnTo>
                        <a:pt x="106" y="274"/>
                      </a:lnTo>
                      <a:lnTo>
                        <a:pt x="112" y="276"/>
                      </a:lnTo>
                      <a:lnTo>
                        <a:pt x="118" y="278"/>
                      </a:lnTo>
                      <a:lnTo>
                        <a:pt x="122" y="282"/>
                      </a:lnTo>
                      <a:lnTo>
                        <a:pt x="130" y="292"/>
                      </a:lnTo>
                      <a:lnTo>
                        <a:pt x="138" y="300"/>
                      </a:lnTo>
                      <a:lnTo>
                        <a:pt x="136" y="284"/>
                      </a:lnTo>
                      <a:lnTo>
                        <a:pt x="136" y="238"/>
                      </a:lnTo>
                      <a:lnTo>
                        <a:pt x="138" y="230"/>
                      </a:lnTo>
                      <a:lnTo>
                        <a:pt x="142" y="222"/>
                      </a:lnTo>
                      <a:lnTo>
                        <a:pt x="148" y="218"/>
                      </a:lnTo>
                      <a:lnTo>
                        <a:pt x="156" y="214"/>
                      </a:lnTo>
                      <a:lnTo>
                        <a:pt x="224" y="224"/>
                      </a:lnTo>
                      <a:lnTo>
                        <a:pt x="238" y="224"/>
                      </a:lnTo>
                      <a:lnTo>
                        <a:pt x="246" y="226"/>
                      </a:lnTo>
                      <a:lnTo>
                        <a:pt x="264" y="228"/>
                      </a:lnTo>
                      <a:lnTo>
                        <a:pt x="272" y="222"/>
                      </a:lnTo>
                      <a:lnTo>
                        <a:pt x="276" y="220"/>
                      </a:lnTo>
                      <a:lnTo>
                        <a:pt x="280" y="220"/>
                      </a:lnTo>
                      <a:lnTo>
                        <a:pt x="286" y="222"/>
                      </a:lnTo>
                      <a:lnTo>
                        <a:pt x="290" y="224"/>
                      </a:lnTo>
                      <a:lnTo>
                        <a:pt x="288" y="222"/>
                      </a:lnTo>
                      <a:lnTo>
                        <a:pt x="292" y="218"/>
                      </a:lnTo>
                      <a:lnTo>
                        <a:pt x="296" y="216"/>
                      </a:lnTo>
                      <a:lnTo>
                        <a:pt x="306" y="218"/>
                      </a:lnTo>
                      <a:lnTo>
                        <a:pt x="314" y="222"/>
                      </a:lnTo>
                      <a:lnTo>
                        <a:pt x="324" y="226"/>
                      </a:lnTo>
                      <a:lnTo>
                        <a:pt x="334" y="228"/>
                      </a:lnTo>
                      <a:lnTo>
                        <a:pt x="338" y="222"/>
                      </a:lnTo>
                      <a:lnTo>
                        <a:pt x="342" y="216"/>
                      </a:lnTo>
                      <a:lnTo>
                        <a:pt x="348" y="210"/>
                      </a:lnTo>
                      <a:lnTo>
                        <a:pt x="354" y="208"/>
                      </a:lnTo>
                      <a:lnTo>
                        <a:pt x="368" y="202"/>
                      </a:lnTo>
                      <a:lnTo>
                        <a:pt x="382" y="200"/>
                      </a:lnTo>
                      <a:lnTo>
                        <a:pt x="390" y="200"/>
                      </a:lnTo>
                      <a:lnTo>
                        <a:pt x="396" y="198"/>
                      </a:lnTo>
                      <a:lnTo>
                        <a:pt x="402" y="194"/>
                      </a:lnTo>
                      <a:lnTo>
                        <a:pt x="406" y="190"/>
                      </a:lnTo>
                      <a:lnTo>
                        <a:pt x="410" y="178"/>
                      </a:lnTo>
                      <a:lnTo>
                        <a:pt x="412" y="166"/>
                      </a:lnTo>
                      <a:lnTo>
                        <a:pt x="418" y="160"/>
                      </a:lnTo>
                      <a:lnTo>
                        <a:pt x="412" y="168"/>
                      </a:lnTo>
                      <a:close/>
                    </a:path>
                  </a:pathLst>
                </a:custGeom>
                <a:solidFill>
                  <a:schemeClr val="accent3"/>
                </a:solid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8" name="Angola">
                  <a:extLst>
                    <a:ext uri="{FF2B5EF4-FFF2-40B4-BE49-F238E27FC236}">
                      <a16:creationId xmlns:a16="http://schemas.microsoft.com/office/drawing/2014/main" id="{18F7C7B1-2B3E-4E9E-A852-8C19E378887E}"/>
                    </a:ext>
                  </a:extLst>
                </p:cNvPr>
                <p:cNvSpPr>
                  <a:spLocks/>
                </p:cNvSpPr>
                <p:nvPr/>
              </p:nvSpPr>
              <p:spPr bwMode="gray">
                <a:xfrm>
                  <a:off x="4705350" y="4835525"/>
                  <a:ext cx="42862" cy="69850"/>
                </a:xfrm>
                <a:custGeom>
                  <a:avLst/>
                  <a:gdLst/>
                  <a:ahLst/>
                  <a:cxnLst>
                    <a:cxn ang="0">
                      <a:pos x="0" y="60"/>
                    </a:cxn>
                    <a:cxn ang="0">
                      <a:pos x="6" y="58"/>
                    </a:cxn>
                    <a:cxn ang="0">
                      <a:pos x="8" y="56"/>
                    </a:cxn>
                    <a:cxn ang="0">
                      <a:pos x="10" y="50"/>
                    </a:cxn>
                    <a:cxn ang="0">
                      <a:pos x="10" y="44"/>
                    </a:cxn>
                    <a:cxn ang="0">
                      <a:pos x="10" y="32"/>
                    </a:cxn>
                    <a:cxn ang="0">
                      <a:pos x="12" y="20"/>
                    </a:cxn>
                    <a:cxn ang="0">
                      <a:pos x="16" y="14"/>
                    </a:cxn>
                    <a:cxn ang="0">
                      <a:pos x="22" y="10"/>
                    </a:cxn>
                    <a:cxn ang="0">
                      <a:pos x="30" y="6"/>
                    </a:cxn>
                    <a:cxn ang="0">
                      <a:pos x="36" y="0"/>
                    </a:cxn>
                  </a:cxnLst>
                  <a:rect l="0" t="0" r="r" b="b"/>
                  <a:pathLst>
                    <a:path w="36" h="60">
                      <a:moveTo>
                        <a:pt x="0" y="60"/>
                      </a:moveTo>
                      <a:lnTo>
                        <a:pt x="6" y="58"/>
                      </a:lnTo>
                      <a:lnTo>
                        <a:pt x="8" y="56"/>
                      </a:lnTo>
                      <a:lnTo>
                        <a:pt x="10" y="50"/>
                      </a:lnTo>
                      <a:lnTo>
                        <a:pt x="10" y="44"/>
                      </a:lnTo>
                      <a:lnTo>
                        <a:pt x="10" y="32"/>
                      </a:lnTo>
                      <a:lnTo>
                        <a:pt x="12" y="20"/>
                      </a:lnTo>
                      <a:lnTo>
                        <a:pt x="16" y="14"/>
                      </a:lnTo>
                      <a:lnTo>
                        <a:pt x="22" y="10"/>
                      </a:lnTo>
                      <a:lnTo>
                        <a:pt x="30" y="6"/>
                      </a:lnTo>
                      <a:lnTo>
                        <a:pt x="36" y="0"/>
                      </a:lnTo>
                    </a:path>
                  </a:pathLst>
                </a:custGeom>
                <a:grp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49" name="Walvis Bay, Namibia">
                  <a:extLst>
                    <a:ext uri="{FF2B5EF4-FFF2-40B4-BE49-F238E27FC236}">
                      <a16:creationId xmlns:a16="http://schemas.microsoft.com/office/drawing/2014/main" id="{91206F1A-E797-4519-8DD9-74A12E23B5D9}"/>
                    </a:ext>
                  </a:extLst>
                </p:cNvPr>
                <p:cNvSpPr>
                  <a:spLocks/>
                </p:cNvSpPr>
                <p:nvPr/>
              </p:nvSpPr>
              <p:spPr bwMode="gray">
                <a:xfrm>
                  <a:off x="4845050" y="5940425"/>
                  <a:ext cx="26987" cy="60325"/>
                </a:xfrm>
                <a:custGeom>
                  <a:avLst/>
                  <a:gdLst/>
                  <a:ahLst/>
                  <a:cxnLst>
                    <a:cxn ang="0">
                      <a:pos x="0" y="0"/>
                    </a:cxn>
                    <a:cxn ang="0">
                      <a:pos x="6" y="6"/>
                    </a:cxn>
                    <a:cxn ang="0">
                      <a:pos x="14" y="12"/>
                    </a:cxn>
                    <a:cxn ang="0">
                      <a:pos x="20" y="18"/>
                    </a:cxn>
                    <a:cxn ang="0">
                      <a:pos x="22" y="28"/>
                    </a:cxn>
                    <a:cxn ang="0">
                      <a:pos x="22" y="32"/>
                    </a:cxn>
                    <a:cxn ang="0">
                      <a:pos x="22" y="36"/>
                    </a:cxn>
                    <a:cxn ang="0">
                      <a:pos x="20" y="40"/>
                    </a:cxn>
                    <a:cxn ang="0">
                      <a:pos x="16" y="44"/>
                    </a:cxn>
                    <a:cxn ang="0">
                      <a:pos x="10" y="48"/>
                    </a:cxn>
                    <a:cxn ang="0">
                      <a:pos x="2" y="52"/>
                    </a:cxn>
                    <a:cxn ang="0">
                      <a:pos x="0" y="0"/>
                    </a:cxn>
                  </a:cxnLst>
                  <a:rect l="0" t="0" r="r" b="b"/>
                  <a:pathLst>
                    <a:path w="22" h="52">
                      <a:moveTo>
                        <a:pt x="0" y="0"/>
                      </a:moveTo>
                      <a:lnTo>
                        <a:pt x="6" y="6"/>
                      </a:lnTo>
                      <a:lnTo>
                        <a:pt x="14" y="12"/>
                      </a:lnTo>
                      <a:lnTo>
                        <a:pt x="20" y="18"/>
                      </a:lnTo>
                      <a:lnTo>
                        <a:pt x="22" y="28"/>
                      </a:lnTo>
                      <a:lnTo>
                        <a:pt x="22" y="32"/>
                      </a:lnTo>
                      <a:lnTo>
                        <a:pt x="22" y="36"/>
                      </a:lnTo>
                      <a:lnTo>
                        <a:pt x="20" y="40"/>
                      </a:lnTo>
                      <a:lnTo>
                        <a:pt x="16" y="44"/>
                      </a:lnTo>
                      <a:lnTo>
                        <a:pt x="10" y="48"/>
                      </a:lnTo>
                      <a:lnTo>
                        <a:pt x="2" y="52"/>
                      </a:lnTo>
                      <a:lnTo>
                        <a:pt x="0" y="0"/>
                      </a:lnTo>
                      <a:close/>
                    </a:path>
                  </a:pathLst>
                </a:custGeom>
                <a:grpFill/>
                <a:ln w="6350" cmpd="sng">
                  <a:solidFill>
                    <a:srgbClr val="D04A02">
                      <a:lumMod val="20000"/>
                      <a:lumOff val="80000"/>
                    </a:srgbClr>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650" name="Equatorial Guinea">
                  <a:extLst>
                    <a:ext uri="{FF2B5EF4-FFF2-40B4-BE49-F238E27FC236}">
                      <a16:creationId xmlns:a16="http://schemas.microsoft.com/office/drawing/2014/main" id="{B71AC862-BE62-46B5-AF85-009EB47444D7}"/>
                    </a:ext>
                  </a:extLst>
                </p:cNvPr>
                <p:cNvSpPr>
                  <a:spLocks/>
                </p:cNvSpPr>
                <p:nvPr/>
              </p:nvSpPr>
              <p:spPr bwMode="gray">
                <a:xfrm>
                  <a:off x="4525963" y="4398962"/>
                  <a:ext cx="114694" cy="77787"/>
                </a:xfrm>
                <a:custGeom>
                  <a:avLst/>
                  <a:gdLst/>
                  <a:ahLst/>
                  <a:cxnLst>
                    <a:cxn ang="0">
                      <a:pos x="100" y="0"/>
                    </a:cxn>
                    <a:cxn ang="0">
                      <a:pos x="18" y="0"/>
                    </a:cxn>
                    <a:cxn ang="0">
                      <a:pos x="16" y="8"/>
                    </a:cxn>
                    <a:cxn ang="0">
                      <a:pos x="14" y="14"/>
                    </a:cxn>
                    <a:cxn ang="0">
                      <a:pos x="8" y="24"/>
                    </a:cxn>
                    <a:cxn ang="0">
                      <a:pos x="2" y="34"/>
                    </a:cxn>
                    <a:cxn ang="0">
                      <a:pos x="0" y="40"/>
                    </a:cxn>
                    <a:cxn ang="0">
                      <a:pos x="0" y="46"/>
                    </a:cxn>
                    <a:cxn ang="0">
                      <a:pos x="2" y="56"/>
                    </a:cxn>
                    <a:cxn ang="0">
                      <a:pos x="6" y="64"/>
                    </a:cxn>
                    <a:cxn ang="0">
                      <a:pos x="100" y="64"/>
                    </a:cxn>
                    <a:cxn ang="0">
                      <a:pos x="100" y="2"/>
                    </a:cxn>
                    <a:cxn ang="0">
                      <a:pos x="100" y="0"/>
                    </a:cxn>
                  </a:cxnLst>
                  <a:rect l="0" t="0" r="r" b="b"/>
                  <a:pathLst>
                    <a:path w="100" h="64">
                      <a:moveTo>
                        <a:pt x="100" y="0"/>
                      </a:moveTo>
                      <a:lnTo>
                        <a:pt x="18" y="0"/>
                      </a:lnTo>
                      <a:lnTo>
                        <a:pt x="16" y="8"/>
                      </a:lnTo>
                      <a:lnTo>
                        <a:pt x="14" y="14"/>
                      </a:lnTo>
                      <a:lnTo>
                        <a:pt x="8" y="24"/>
                      </a:lnTo>
                      <a:lnTo>
                        <a:pt x="2" y="34"/>
                      </a:lnTo>
                      <a:lnTo>
                        <a:pt x="0" y="40"/>
                      </a:lnTo>
                      <a:lnTo>
                        <a:pt x="0" y="46"/>
                      </a:lnTo>
                      <a:lnTo>
                        <a:pt x="2" y="56"/>
                      </a:lnTo>
                      <a:lnTo>
                        <a:pt x="6" y="64"/>
                      </a:lnTo>
                      <a:lnTo>
                        <a:pt x="100" y="64"/>
                      </a:lnTo>
                      <a:lnTo>
                        <a:pt x="100" y="2"/>
                      </a:lnTo>
                      <a:lnTo>
                        <a:pt x="100" y="0"/>
                      </a:lnTo>
                      <a:close/>
                    </a:path>
                  </a:pathLst>
                </a:custGeom>
                <a:solidFill>
                  <a:schemeClr val="bg2"/>
                </a:solidFill>
                <a:ln w="6350" cmpd="sng">
                  <a:solidFill>
                    <a:srgbClr val="D04A02">
                      <a:lumMod val="20000"/>
                      <a:lumOff val="80000"/>
                    </a:srgbClr>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grpSp>
          <p:grpSp>
            <p:nvGrpSpPr>
              <p:cNvPr id="590" name="Africa Lakes">
                <a:extLst>
                  <a:ext uri="{FF2B5EF4-FFF2-40B4-BE49-F238E27FC236}">
                    <a16:creationId xmlns:a16="http://schemas.microsoft.com/office/drawing/2014/main" id="{72B74E91-0BA1-4C32-ACC7-2E85A9F24634}"/>
                  </a:ext>
                </a:extLst>
              </p:cNvPr>
              <p:cNvGrpSpPr/>
              <p:nvPr/>
            </p:nvGrpSpPr>
            <p:grpSpPr bwMode="gray">
              <a:xfrm>
                <a:off x="5881021" y="4582124"/>
                <a:ext cx="381958" cy="986025"/>
                <a:chOff x="5773738" y="4508500"/>
                <a:chExt cx="360362" cy="930275"/>
              </a:xfrm>
            </p:grpSpPr>
            <p:sp>
              <p:nvSpPr>
                <p:cNvPr id="591" name="Lake Tanganyika">
                  <a:extLst>
                    <a:ext uri="{FF2B5EF4-FFF2-40B4-BE49-F238E27FC236}">
                      <a16:creationId xmlns:a16="http://schemas.microsoft.com/office/drawing/2014/main" id="{5C98F899-3A28-4C33-A503-E727A20AC88A}"/>
                    </a:ext>
                  </a:extLst>
                </p:cNvPr>
                <p:cNvSpPr>
                  <a:spLocks/>
                </p:cNvSpPr>
                <p:nvPr/>
              </p:nvSpPr>
              <p:spPr bwMode="gray">
                <a:xfrm>
                  <a:off x="5773738" y="4781550"/>
                  <a:ext cx="130175" cy="306387"/>
                </a:xfrm>
                <a:custGeom>
                  <a:avLst/>
                  <a:gdLst/>
                  <a:ahLst/>
                  <a:cxnLst>
                    <a:cxn ang="0">
                      <a:pos x="10" y="10"/>
                    </a:cxn>
                    <a:cxn ang="0">
                      <a:pos x="16" y="14"/>
                    </a:cxn>
                    <a:cxn ang="0">
                      <a:pos x="20" y="20"/>
                    </a:cxn>
                    <a:cxn ang="0">
                      <a:pos x="26" y="34"/>
                    </a:cxn>
                    <a:cxn ang="0">
                      <a:pos x="36" y="64"/>
                    </a:cxn>
                    <a:cxn ang="0">
                      <a:pos x="36" y="72"/>
                    </a:cxn>
                    <a:cxn ang="0">
                      <a:pos x="38" y="78"/>
                    </a:cxn>
                    <a:cxn ang="0">
                      <a:pos x="36" y="88"/>
                    </a:cxn>
                    <a:cxn ang="0">
                      <a:pos x="36" y="92"/>
                    </a:cxn>
                    <a:cxn ang="0">
                      <a:pos x="38" y="94"/>
                    </a:cxn>
                    <a:cxn ang="0">
                      <a:pos x="40" y="98"/>
                    </a:cxn>
                    <a:cxn ang="0">
                      <a:pos x="44" y="100"/>
                    </a:cxn>
                    <a:cxn ang="0">
                      <a:pos x="42" y="108"/>
                    </a:cxn>
                    <a:cxn ang="0">
                      <a:pos x="38" y="114"/>
                    </a:cxn>
                    <a:cxn ang="0">
                      <a:pos x="36" y="120"/>
                    </a:cxn>
                    <a:cxn ang="0">
                      <a:pos x="34" y="126"/>
                    </a:cxn>
                    <a:cxn ang="0">
                      <a:pos x="36" y="130"/>
                    </a:cxn>
                    <a:cxn ang="0">
                      <a:pos x="38" y="134"/>
                    </a:cxn>
                    <a:cxn ang="0">
                      <a:pos x="46" y="138"/>
                    </a:cxn>
                    <a:cxn ang="0">
                      <a:pos x="54" y="142"/>
                    </a:cxn>
                    <a:cxn ang="0">
                      <a:pos x="60" y="146"/>
                    </a:cxn>
                    <a:cxn ang="0">
                      <a:pos x="68" y="156"/>
                    </a:cxn>
                    <a:cxn ang="0">
                      <a:pos x="72" y="166"/>
                    </a:cxn>
                    <a:cxn ang="0">
                      <a:pos x="74" y="178"/>
                    </a:cxn>
                    <a:cxn ang="0">
                      <a:pos x="80" y="188"/>
                    </a:cxn>
                    <a:cxn ang="0">
                      <a:pos x="88" y="212"/>
                    </a:cxn>
                    <a:cxn ang="0">
                      <a:pos x="96" y="232"/>
                    </a:cxn>
                    <a:cxn ang="0">
                      <a:pos x="102" y="240"/>
                    </a:cxn>
                    <a:cxn ang="0">
                      <a:pos x="106" y="246"/>
                    </a:cxn>
                    <a:cxn ang="0">
                      <a:pos x="112" y="252"/>
                    </a:cxn>
                    <a:cxn ang="0">
                      <a:pos x="112" y="260"/>
                    </a:cxn>
                    <a:cxn ang="0">
                      <a:pos x="112" y="262"/>
                    </a:cxn>
                    <a:cxn ang="0">
                      <a:pos x="108" y="260"/>
                    </a:cxn>
                    <a:cxn ang="0">
                      <a:pos x="100" y="258"/>
                    </a:cxn>
                    <a:cxn ang="0">
                      <a:pos x="88" y="242"/>
                    </a:cxn>
                    <a:cxn ang="0">
                      <a:pos x="82" y="236"/>
                    </a:cxn>
                    <a:cxn ang="0">
                      <a:pos x="76" y="230"/>
                    </a:cxn>
                    <a:cxn ang="0">
                      <a:pos x="68" y="222"/>
                    </a:cxn>
                    <a:cxn ang="0">
                      <a:pos x="62" y="212"/>
                    </a:cxn>
                    <a:cxn ang="0">
                      <a:pos x="58" y="202"/>
                    </a:cxn>
                    <a:cxn ang="0">
                      <a:pos x="54" y="190"/>
                    </a:cxn>
                    <a:cxn ang="0">
                      <a:pos x="50" y="182"/>
                    </a:cxn>
                    <a:cxn ang="0">
                      <a:pos x="42" y="178"/>
                    </a:cxn>
                    <a:cxn ang="0">
                      <a:pos x="28" y="166"/>
                    </a:cxn>
                    <a:cxn ang="0">
                      <a:pos x="22" y="158"/>
                    </a:cxn>
                    <a:cxn ang="0">
                      <a:pos x="16" y="144"/>
                    </a:cxn>
                    <a:cxn ang="0">
                      <a:pos x="10" y="130"/>
                    </a:cxn>
                    <a:cxn ang="0">
                      <a:pos x="8" y="118"/>
                    </a:cxn>
                    <a:cxn ang="0">
                      <a:pos x="8" y="102"/>
                    </a:cxn>
                    <a:cxn ang="0">
                      <a:pos x="8" y="92"/>
                    </a:cxn>
                    <a:cxn ang="0">
                      <a:pos x="4" y="82"/>
                    </a:cxn>
                    <a:cxn ang="0">
                      <a:pos x="0" y="70"/>
                    </a:cxn>
                    <a:cxn ang="0">
                      <a:pos x="0" y="56"/>
                    </a:cxn>
                    <a:cxn ang="0">
                      <a:pos x="0" y="48"/>
                    </a:cxn>
                    <a:cxn ang="0">
                      <a:pos x="2" y="42"/>
                    </a:cxn>
                    <a:cxn ang="0">
                      <a:pos x="4" y="30"/>
                    </a:cxn>
                    <a:cxn ang="0">
                      <a:pos x="2" y="24"/>
                    </a:cxn>
                    <a:cxn ang="0">
                      <a:pos x="2" y="20"/>
                    </a:cxn>
                    <a:cxn ang="0">
                      <a:pos x="0" y="10"/>
                    </a:cxn>
                    <a:cxn ang="0">
                      <a:pos x="0" y="0"/>
                    </a:cxn>
                    <a:cxn ang="0">
                      <a:pos x="4" y="0"/>
                    </a:cxn>
                    <a:cxn ang="0">
                      <a:pos x="8" y="6"/>
                    </a:cxn>
                    <a:cxn ang="0">
                      <a:pos x="8" y="10"/>
                    </a:cxn>
                  </a:cxnLst>
                  <a:rect l="0" t="0" r="r" b="b"/>
                  <a:pathLst>
                    <a:path w="112" h="262">
                      <a:moveTo>
                        <a:pt x="10" y="10"/>
                      </a:moveTo>
                      <a:lnTo>
                        <a:pt x="16" y="14"/>
                      </a:lnTo>
                      <a:lnTo>
                        <a:pt x="20" y="20"/>
                      </a:lnTo>
                      <a:lnTo>
                        <a:pt x="26" y="34"/>
                      </a:lnTo>
                      <a:lnTo>
                        <a:pt x="36" y="64"/>
                      </a:lnTo>
                      <a:lnTo>
                        <a:pt x="36" y="72"/>
                      </a:lnTo>
                      <a:lnTo>
                        <a:pt x="38" y="78"/>
                      </a:lnTo>
                      <a:lnTo>
                        <a:pt x="36" y="88"/>
                      </a:lnTo>
                      <a:lnTo>
                        <a:pt x="36" y="92"/>
                      </a:lnTo>
                      <a:lnTo>
                        <a:pt x="38" y="94"/>
                      </a:lnTo>
                      <a:lnTo>
                        <a:pt x="40" y="98"/>
                      </a:lnTo>
                      <a:lnTo>
                        <a:pt x="44" y="100"/>
                      </a:lnTo>
                      <a:lnTo>
                        <a:pt x="42" y="108"/>
                      </a:lnTo>
                      <a:lnTo>
                        <a:pt x="38" y="114"/>
                      </a:lnTo>
                      <a:lnTo>
                        <a:pt x="36" y="120"/>
                      </a:lnTo>
                      <a:lnTo>
                        <a:pt x="34" y="126"/>
                      </a:lnTo>
                      <a:lnTo>
                        <a:pt x="36" y="130"/>
                      </a:lnTo>
                      <a:lnTo>
                        <a:pt x="38" y="134"/>
                      </a:lnTo>
                      <a:lnTo>
                        <a:pt x="46" y="138"/>
                      </a:lnTo>
                      <a:lnTo>
                        <a:pt x="54" y="142"/>
                      </a:lnTo>
                      <a:lnTo>
                        <a:pt x="60" y="146"/>
                      </a:lnTo>
                      <a:lnTo>
                        <a:pt x="68" y="156"/>
                      </a:lnTo>
                      <a:lnTo>
                        <a:pt x="72" y="166"/>
                      </a:lnTo>
                      <a:lnTo>
                        <a:pt x="74" y="178"/>
                      </a:lnTo>
                      <a:lnTo>
                        <a:pt x="80" y="188"/>
                      </a:lnTo>
                      <a:lnTo>
                        <a:pt x="88" y="212"/>
                      </a:lnTo>
                      <a:lnTo>
                        <a:pt x="96" y="232"/>
                      </a:lnTo>
                      <a:lnTo>
                        <a:pt x="102" y="240"/>
                      </a:lnTo>
                      <a:lnTo>
                        <a:pt x="106" y="246"/>
                      </a:lnTo>
                      <a:lnTo>
                        <a:pt x="112" y="252"/>
                      </a:lnTo>
                      <a:lnTo>
                        <a:pt x="112" y="260"/>
                      </a:lnTo>
                      <a:lnTo>
                        <a:pt x="112" y="262"/>
                      </a:lnTo>
                      <a:lnTo>
                        <a:pt x="108" y="260"/>
                      </a:lnTo>
                      <a:lnTo>
                        <a:pt x="100" y="258"/>
                      </a:lnTo>
                      <a:lnTo>
                        <a:pt x="88" y="242"/>
                      </a:lnTo>
                      <a:lnTo>
                        <a:pt x="82" y="236"/>
                      </a:lnTo>
                      <a:lnTo>
                        <a:pt x="76" y="230"/>
                      </a:lnTo>
                      <a:lnTo>
                        <a:pt x="68" y="222"/>
                      </a:lnTo>
                      <a:lnTo>
                        <a:pt x="62" y="212"/>
                      </a:lnTo>
                      <a:lnTo>
                        <a:pt x="58" y="202"/>
                      </a:lnTo>
                      <a:lnTo>
                        <a:pt x="54" y="190"/>
                      </a:lnTo>
                      <a:lnTo>
                        <a:pt x="50" y="182"/>
                      </a:lnTo>
                      <a:lnTo>
                        <a:pt x="42" y="178"/>
                      </a:lnTo>
                      <a:lnTo>
                        <a:pt x="28" y="166"/>
                      </a:lnTo>
                      <a:lnTo>
                        <a:pt x="22" y="158"/>
                      </a:lnTo>
                      <a:lnTo>
                        <a:pt x="16" y="144"/>
                      </a:lnTo>
                      <a:lnTo>
                        <a:pt x="10" y="130"/>
                      </a:lnTo>
                      <a:lnTo>
                        <a:pt x="8" y="118"/>
                      </a:lnTo>
                      <a:lnTo>
                        <a:pt x="8" y="102"/>
                      </a:lnTo>
                      <a:lnTo>
                        <a:pt x="8" y="92"/>
                      </a:lnTo>
                      <a:lnTo>
                        <a:pt x="4" y="82"/>
                      </a:lnTo>
                      <a:lnTo>
                        <a:pt x="0" y="70"/>
                      </a:lnTo>
                      <a:lnTo>
                        <a:pt x="0" y="56"/>
                      </a:lnTo>
                      <a:lnTo>
                        <a:pt x="0" y="48"/>
                      </a:lnTo>
                      <a:lnTo>
                        <a:pt x="2" y="42"/>
                      </a:lnTo>
                      <a:lnTo>
                        <a:pt x="4" y="30"/>
                      </a:lnTo>
                      <a:lnTo>
                        <a:pt x="2" y="24"/>
                      </a:lnTo>
                      <a:lnTo>
                        <a:pt x="2" y="20"/>
                      </a:lnTo>
                      <a:lnTo>
                        <a:pt x="0" y="10"/>
                      </a:lnTo>
                      <a:lnTo>
                        <a:pt x="0" y="0"/>
                      </a:lnTo>
                      <a:lnTo>
                        <a:pt x="4" y="0"/>
                      </a:lnTo>
                      <a:lnTo>
                        <a:pt x="8" y="6"/>
                      </a:lnTo>
                      <a:lnTo>
                        <a:pt x="8" y="10"/>
                      </a:lnTo>
                    </a:path>
                  </a:pathLst>
                </a:custGeom>
                <a:solidFill>
                  <a:srgbClr val="D04A02"/>
                </a:solidFill>
                <a:ln w="6350" cmpd="sng">
                  <a:solidFill>
                    <a:srgbClr val="D04A02"/>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92" name="Lake Nyasa">
                  <a:extLst>
                    <a:ext uri="{FF2B5EF4-FFF2-40B4-BE49-F238E27FC236}">
                      <a16:creationId xmlns:a16="http://schemas.microsoft.com/office/drawing/2014/main" id="{53CCDE11-9CF4-4369-BDD8-E938A20B79F8}"/>
                    </a:ext>
                  </a:extLst>
                </p:cNvPr>
                <p:cNvSpPr>
                  <a:spLocks/>
                </p:cNvSpPr>
                <p:nvPr/>
              </p:nvSpPr>
              <p:spPr bwMode="gray">
                <a:xfrm>
                  <a:off x="6067425" y="5140325"/>
                  <a:ext cx="66675" cy="298450"/>
                </a:xfrm>
                <a:custGeom>
                  <a:avLst/>
                  <a:gdLst/>
                  <a:ahLst/>
                  <a:cxnLst>
                    <a:cxn ang="0">
                      <a:pos x="8" y="36"/>
                    </a:cxn>
                    <a:cxn ang="0">
                      <a:pos x="2" y="18"/>
                    </a:cxn>
                    <a:cxn ang="0">
                      <a:pos x="2" y="0"/>
                    </a:cxn>
                    <a:cxn ang="0">
                      <a:pos x="16" y="10"/>
                    </a:cxn>
                    <a:cxn ang="0">
                      <a:pos x="32" y="42"/>
                    </a:cxn>
                    <a:cxn ang="0">
                      <a:pos x="36" y="78"/>
                    </a:cxn>
                    <a:cxn ang="0">
                      <a:pos x="36" y="92"/>
                    </a:cxn>
                    <a:cxn ang="0">
                      <a:pos x="44" y="102"/>
                    </a:cxn>
                    <a:cxn ang="0">
                      <a:pos x="50" y="112"/>
                    </a:cxn>
                    <a:cxn ang="0">
                      <a:pos x="48" y="124"/>
                    </a:cxn>
                    <a:cxn ang="0">
                      <a:pos x="40" y="138"/>
                    </a:cxn>
                    <a:cxn ang="0">
                      <a:pos x="36" y="152"/>
                    </a:cxn>
                    <a:cxn ang="0">
                      <a:pos x="38" y="174"/>
                    </a:cxn>
                    <a:cxn ang="0">
                      <a:pos x="40" y="212"/>
                    </a:cxn>
                    <a:cxn ang="0">
                      <a:pos x="46" y="226"/>
                    </a:cxn>
                    <a:cxn ang="0">
                      <a:pos x="54" y="238"/>
                    </a:cxn>
                    <a:cxn ang="0">
                      <a:pos x="54" y="248"/>
                    </a:cxn>
                    <a:cxn ang="0">
                      <a:pos x="54" y="252"/>
                    </a:cxn>
                    <a:cxn ang="0">
                      <a:pos x="40" y="246"/>
                    </a:cxn>
                    <a:cxn ang="0">
                      <a:pos x="36" y="256"/>
                    </a:cxn>
                    <a:cxn ang="0">
                      <a:pos x="26" y="252"/>
                    </a:cxn>
                    <a:cxn ang="0">
                      <a:pos x="24" y="242"/>
                    </a:cxn>
                    <a:cxn ang="0">
                      <a:pos x="26" y="230"/>
                    </a:cxn>
                    <a:cxn ang="0">
                      <a:pos x="24" y="224"/>
                    </a:cxn>
                    <a:cxn ang="0">
                      <a:pos x="20" y="218"/>
                    </a:cxn>
                    <a:cxn ang="0">
                      <a:pos x="14" y="198"/>
                    </a:cxn>
                    <a:cxn ang="0">
                      <a:pos x="10" y="168"/>
                    </a:cxn>
                    <a:cxn ang="0">
                      <a:pos x="2" y="158"/>
                    </a:cxn>
                    <a:cxn ang="0">
                      <a:pos x="4" y="150"/>
                    </a:cxn>
                    <a:cxn ang="0">
                      <a:pos x="12" y="130"/>
                    </a:cxn>
                    <a:cxn ang="0">
                      <a:pos x="18" y="48"/>
                    </a:cxn>
                    <a:cxn ang="0">
                      <a:pos x="14" y="42"/>
                    </a:cxn>
                    <a:cxn ang="0">
                      <a:pos x="10" y="38"/>
                    </a:cxn>
                  </a:cxnLst>
                  <a:rect l="0" t="0" r="r" b="b"/>
                  <a:pathLst>
                    <a:path w="56" h="256">
                      <a:moveTo>
                        <a:pt x="8" y="38"/>
                      </a:moveTo>
                      <a:lnTo>
                        <a:pt x="8" y="36"/>
                      </a:lnTo>
                      <a:lnTo>
                        <a:pt x="8" y="32"/>
                      </a:lnTo>
                      <a:lnTo>
                        <a:pt x="2" y="18"/>
                      </a:lnTo>
                      <a:lnTo>
                        <a:pt x="0" y="0"/>
                      </a:lnTo>
                      <a:lnTo>
                        <a:pt x="2" y="0"/>
                      </a:lnTo>
                      <a:lnTo>
                        <a:pt x="4" y="0"/>
                      </a:lnTo>
                      <a:lnTo>
                        <a:pt x="16" y="10"/>
                      </a:lnTo>
                      <a:lnTo>
                        <a:pt x="22" y="18"/>
                      </a:lnTo>
                      <a:lnTo>
                        <a:pt x="32" y="42"/>
                      </a:lnTo>
                      <a:lnTo>
                        <a:pt x="32" y="68"/>
                      </a:lnTo>
                      <a:lnTo>
                        <a:pt x="36" y="78"/>
                      </a:lnTo>
                      <a:lnTo>
                        <a:pt x="36" y="88"/>
                      </a:lnTo>
                      <a:lnTo>
                        <a:pt x="36" y="92"/>
                      </a:lnTo>
                      <a:lnTo>
                        <a:pt x="38" y="96"/>
                      </a:lnTo>
                      <a:lnTo>
                        <a:pt x="44" y="102"/>
                      </a:lnTo>
                      <a:lnTo>
                        <a:pt x="48" y="108"/>
                      </a:lnTo>
                      <a:lnTo>
                        <a:pt x="50" y="112"/>
                      </a:lnTo>
                      <a:lnTo>
                        <a:pt x="50" y="116"/>
                      </a:lnTo>
                      <a:lnTo>
                        <a:pt x="48" y="124"/>
                      </a:lnTo>
                      <a:lnTo>
                        <a:pt x="44" y="132"/>
                      </a:lnTo>
                      <a:lnTo>
                        <a:pt x="40" y="138"/>
                      </a:lnTo>
                      <a:lnTo>
                        <a:pt x="36" y="144"/>
                      </a:lnTo>
                      <a:lnTo>
                        <a:pt x="36" y="152"/>
                      </a:lnTo>
                      <a:lnTo>
                        <a:pt x="36" y="160"/>
                      </a:lnTo>
                      <a:lnTo>
                        <a:pt x="38" y="174"/>
                      </a:lnTo>
                      <a:lnTo>
                        <a:pt x="38" y="204"/>
                      </a:lnTo>
                      <a:lnTo>
                        <a:pt x="40" y="212"/>
                      </a:lnTo>
                      <a:lnTo>
                        <a:pt x="42" y="218"/>
                      </a:lnTo>
                      <a:lnTo>
                        <a:pt x="46" y="226"/>
                      </a:lnTo>
                      <a:lnTo>
                        <a:pt x="52" y="234"/>
                      </a:lnTo>
                      <a:lnTo>
                        <a:pt x="54" y="238"/>
                      </a:lnTo>
                      <a:lnTo>
                        <a:pt x="56" y="244"/>
                      </a:lnTo>
                      <a:lnTo>
                        <a:pt x="54" y="248"/>
                      </a:lnTo>
                      <a:lnTo>
                        <a:pt x="54" y="250"/>
                      </a:lnTo>
                      <a:lnTo>
                        <a:pt x="54" y="252"/>
                      </a:lnTo>
                      <a:lnTo>
                        <a:pt x="56" y="256"/>
                      </a:lnTo>
                      <a:lnTo>
                        <a:pt x="40" y="246"/>
                      </a:lnTo>
                      <a:lnTo>
                        <a:pt x="36" y="252"/>
                      </a:lnTo>
                      <a:lnTo>
                        <a:pt x="36" y="256"/>
                      </a:lnTo>
                      <a:lnTo>
                        <a:pt x="30" y="256"/>
                      </a:lnTo>
                      <a:lnTo>
                        <a:pt x="26" y="252"/>
                      </a:lnTo>
                      <a:lnTo>
                        <a:pt x="24" y="248"/>
                      </a:lnTo>
                      <a:lnTo>
                        <a:pt x="24" y="242"/>
                      </a:lnTo>
                      <a:lnTo>
                        <a:pt x="24" y="236"/>
                      </a:lnTo>
                      <a:lnTo>
                        <a:pt x="26" y="230"/>
                      </a:lnTo>
                      <a:lnTo>
                        <a:pt x="26" y="226"/>
                      </a:lnTo>
                      <a:lnTo>
                        <a:pt x="24" y="224"/>
                      </a:lnTo>
                      <a:lnTo>
                        <a:pt x="22" y="222"/>
                      </a:lnTo>
                      <a:lnTo>
                        <a:pt x="20" y="218"/>
                      </a:lnTo>
                      <a:lnTo>
                        <a:pt x="16" y="208"/>
                      </a:lnTo>
                      <a:lnTo>
                        <a:pt x="14" y="198"/>
                      </a:lnTo>
                      <a:lnTo>
                        <a:pt x="12" y="176"/>
                      </a:lnTo>
                      <a:lnTo>
                        <a:pt x="10" y="168"/>
                      </a:lnTo>
                      <a:lnTo>
                        <a:pt x="6" y="162"/>
                      </a:lnTo>
                      <a:lnTo>
                        <a:pt x="2" y="158"/>
                      </a:lnTo>
                      <a:lnTo>
                        <a:pt x="0" y="150"/>
                      </a:lnTo>
                      <a:lnTo>
                        <a:pt x="4" y="150"/>
                      </a:lnTo>
                      <a:lnTo>
                        <a:pt x="6" y="144"/>
                      </a:lnTo>
                      <a:lnTo>
                        <a:pt x="12" y="130"/>
                      </a:lnTo>
                      <a:lnTo>
                        <a:pt x="18" y="106"/>
                      </a:lnTo>
                      <a:lnTo>
                        <a:pt x="18" y="48"/>
                      </a:lnTo>
                      <a:lnTo>
                        <a:pt x="16" y="46"/>
                      </a:lnTo>
                      <a:lnTo>
                        <a:pt x="14" y="42"/>
                      </a:lnTo>
                      <a:lnTo>
                        <a:pt x="12" y="40"/>
                      </a:lnTo>
                      <a:lnTo>
                        <a:pt x="10" y="38"/>
                      </a:lnTo>
                    </a:path>
                  </a:pathLst>
                </a:custGeom>
                <a:solidFill>
                  <a:srgbClr val="D04A02"/>
                </a:solidFill>
                <a:ln w="6350" cmpd="sng">
                  <a:solidFill>
                    <a:srgbClr val="D04A02"/>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93" name="Lake Victoria">
                  <a:extLst>
                    <a:ext uri="{FF2B5EF4-FFF2-40B4-BE49-F238E27FC236}">
                      <a16:creationId xmlns:a16="http://schemas.microsoft.com/office/drawing/2014/main" id="{346D293F-6077-46FB-AF2A-03EE4E284BB6}"/>
                    </a:ext>
                  </a:extLst>
                </p:cNvPr>
                <p:cNvSpPr>
                  <a:spLocks/>
                </p:cNvSpPr>
                <p:nvPr/>
              </p:nvSpPr>
              <p:spPr bwMode="gray">
                <a:xfrm>
                  <a:off x="5937250" y="4508500"/>
                  <a:ext cx="192087" cy="193675"/>
                </a:xfrm>
                <a:custGeom>
                  <a:avLst/>
                  <a:gdLst/>
                  <a:ahLst/>
                  <a:cxnLst>
                    <a:cxn ang="0">
                      <a:pos x="122" y="73"/>
                    </a:cxn>
                    <a:cxn ang="0">
                      <a:pos x="126" y="67"/>
                    </a:cxn>
                    <a:cxn ang="0">
                      <a:pos x="130" y="49"/>
                    </a:cxn>
                    <a:cxn ang="0">
                      <a:pos x="136" y="43"/>
                    </a:cxn>
                    <a:cxn ang="0">
                      <a:pos x="150" y="40"/>
                    </a:cxn>
                    <a:cxn ang="0">
                      <a:pos x="164" y="32"/>
                    </a:cxn>
                    <a:cxn ang="0">
                      <a:pos x="156" y="28"/>
                    </a:cxn>
                    <a:cxn ang="0">
                      <a:pos x="138" y="30"/>
                    </a:cxn>
                    <a:cxn ang="0">
                      <a:pos x="124" y="26"/>
                    </a:cxn>
                    <a:cxn ang="0">
                      <a:pos x="112" y="16"/>
                    </a:cxn>
                    <a:cxn ang="0">
                      <a:pos x="106" y="0"/>
                    </a:cxn>
                    <a:cxn ang="0">
                      <a:pos x="100" y="0"/>
                    </a:cxn>
                    <a:cxn ang="0">
                      <a:pos x="96" y="2"/>
                    </a:cxn>
                    <a:cxn ang="0">
                      <a:pos x="90" y="12"/>
                    </a:cxn>
                    <a:cxn ang="0">
                      <a:pos x="84" y="14"/>
                    </a:cxn>
                    <a:cxn ang="0">
                      <a:pos x="78" y="10"/>
                    </a:cxn>
                    <a:cxn ang="0">
                      <a:pos x="72" y="16"/>
                    </a:cxn>
                    <a:cxn ang="0">
                      <a:pos x="64" y="16"/>
                    </a:cxn>
                    <a:cxn ang="0">
                      <a:pos x="56" y="16"/>
                    </a:cxn>
                    <a:cxn ang="0">
                      <a:pos x="50" y="22"/>
                    </a:cxn>
                    <a:cxn ang="0">
                      <a:pos x="44" y="22"/>
                    </a:cxn>
                    <a:cxn ang="0">
                      <a:pos x="28" y="28"/>
                    </a:cxn>
                    <a:cxn ang="0">
                      <a:pos x="16" y="34"/>
                    </a:cxn>
                    <a:cxn ang="0">
                      <a:pos x="14" y="49"/>
                    </a:cxn>
                    <a:cxn ang="0">
                      <a:pos x="6" y="57"/>
                    </a:cxn>
                    <a:cxn ang="0">
                      <a:pos x="2" y="65"/>
                    </a:cxn>
                    <a:cxn ang="0">
                      <a:pos x="8" y="75"/>
                    </a:cxn>
                    <a:cxn ang="0">
                      <a:pos x="12" y="87"/>
                    </a:cxn>
                    <a:cxn ang="0">
                      <a:pos x="6" y="107"/>
                    </a:cxn>
                    <a:cxn ang="0">
                      <a:pos x="0" y="125"/>
                    </a:cxn>
                    <a:cxn ang="0">
                      <a:pos x="4" y="143"/>
                    </a:cxn>
                    <a:cxn ang="0">
                      <a:pos x="8" y="143"/>
                    </a:cxn>
                    <a:cxn ang="0">
                      <a:pos x="12" y="147"/>
                    </a:cxn>
                    <a:cxn ang="0">
                      <a:pos x="10" y="155"/>
                    </a:cxn>
                    <a:cxn ang="0">
                      <a:pos x="8" y="161"/>
                    </a:cxn>
                    <a:cxn ang="0">
                      <a:pos x="20" y="153"/>
                    </a:cxn>
                    <a:cxn ang="0">
                      <a:pos x="32" y="147"/>
                    </a:cxn>
                    <a:cxn ang="0">
                      <a:pos x="46" y="153"/>
                    </a:cxn>
                    <a:cxn ang="0">
                      <a:pos x="58" y="159"/>
                    </a:cxn>
                    <a:cxn ang="0">
                      <a:pos x="64" y="155"/>
                    </a:cxn>
                    <a:cxn ang="0">
                      <a:pos x="72" y="151"/>
                    </a:cxn>
                    <a:cxn ang="0">
                      <a:pos x="84" y="155"/>
                    </a:cxn>
                    <a:cxn ang="0">
                      <a:pos x="92" y="161"/>
                    </a:cxn>
                    <a:cxn ang="0">
                      <a:pos x="100" y="151"/>
                    </a:cxn>
                    <a:cxn ang="0">
                      <a:pos x="108" y="137"/>
                    </a:cxn>
                    <a:cxn ang="0">
                      <a:pos x="78" y="133"/>
                    </a:cxn>
                    <a:cxn ang="0">
                      <a:pos x="86" y="127"/>
                    </a:cxn>
                    <a:cxn ang="0">
                      <a:pos x="98" y="117"/>
                    </a:cxn>
                    <a:cxn ang="0">
                      <a:pos x="126" y="75"/>
                    </a:cxn>
                  </a:cxnLst>
                  <a:rect l="0" t="0" r="r" b="b"/>
                  <a:pathLst>
                    <a:path w="164" h="165">
                      <a:moveTo>
                        <a:pt x="126" y="75"/>
                      </a:moveTo>
                      <a:lnTo>
                        <a:pt x="122" y="73"/>
                      </a:lnTo>
                      <a:lnTo>
                        <a:pt x="124" y="71"/>
                      </a:lnTo>
                      <a:lnTo>
                        <a:pt x="126" y="67"/>
                      </a:lnTo>
                      <a:lnTo>
                        <a:pt x="128" y="59"/>
                      </a:lnTo>
                      <a:lnTo>
                        <a:pt x="130" y="49"/>
                      </a:lnTo>
                      <a:lnTo>
                        <a:pt x="132" y="45"/>
                      </a:lnTo>
                      <a:lnTo>
                        <a:pt x="136" y="43"/>
                      </a:lnTo>
                      <a:lnTo>
                        <a:pt x="144" y="40"/>
                      </a:lnTo>
                      <a:lnTo>
                        <a:pt x="150" y="40"/>
                      </a:lnTo>
                      <a:lnTo>
                        <a:pt x="158" y="38"/>
                      </a:lnTo>
                      <a:lnTo>
                        <a:pt x="164" y="32"/>
                      </a:lnTo>
                      <a:lnTo>
                        <a:pt x="160" y="30"/>
                      </a:lnTo>
                      <a:lnTo>
                        <a:pt x="156" y="28"/>
                      </a:lnTo>
                      <a:lnTo>
                        <a:pt x="148" y="30"/>
                      </a:lnTo>
                      <a:lnTo>
                        <a:pt x="138" y="30"/>
                      </a:lnTo>
                      <a:lnTo>
                        <a:pt x="130" y="28"/>
                      </a:lnTo>
                      <a:lnTo>
                        <a:pt x="124" y="26"/>
                      </a:lnTo>
                      <a:lnTo>
                        <a:pt x="118" y="24"/>
                      </a:lnTo>
                      <a:lnTo>
                        <a:pt x="112" y="16"/>
                      </a:lnTo>
                      <a:lnTo>
                        <a:pt x="108" y="8"/>
                      </a:lnTo>
                      <a:lnTo>
                        <a:pt x="106" y="0"/>
                      </a:lnTo>
                      <a:lnTo>
                        <a:pt x="102" y="0"/>
                      </a:lnTo>
                      <a:lnTo>
                        <a:pt x="100" y="0"/>
                      </a:lnTo>
                      <a:lnTo>
                        <a:pt x="98" y="0"/>
                      </a:lnTo>
                      <a:lnTo>
                        <a:pt x="96" y="2"/>
                      </a:lnTo>
                      <a:lnTo>
                        <a:pt x="94" y="8"/>
                      </a:lnTo>
                      <a:lnTo>
                        <a:pt x="90" y="12"/>
                      </a:lnTo>
                      <a:lnTo>
                        <a:pt x="88" y="14"/>
                      </a:lnTo>
                      <a:lnTo>
                        <a:pt x="84" y="14"/>
                      </a:lnTo>
                      <a:lnTo>
                        <a:pt x="80" y="12"/>
                      </a:lnTo>
                      <a:lnTo>
                        <a:pt x="78" y="10"/>
                      </a:lnTo>
                      <a:lnTo>
                        <a:pt x="74" y="14"/>
                      </a:lnTo>
                      <a:lnTo>
                        <a:pt x="72" y="16"/>
                      </a:lnTo>
                      <a:lnTo>
                        <a:pt x="68" y="18"/>
                      </a:lnTo>
                      <a:lnTo>
                        <a:pt x="64" y="16"/>
                      </a:lnTo>
                      <a:lnTo>
                        <a:pt x="60" y="14"/>
                      </a:lnTo>
                      <a:lnTo>
                        <a:pt x="56" y="16"/>
                      </a:lnTo>
                      <a:lnTo>
                        <a:pt x="52" y="18"/>
                      </a:lnTo>
                      <a:lnTo>
                        <a:pt x="50" y="22"/>
                      </a:lnTo>
                      <a:lnTo>
                        <a:pt x="48" y="22"/>
                      </a:lnTo>
                      <a:lnTo>
                        <a:pt x="44" y="22"/>
                      </a:lnTo>
                      <a:lnTo>
                        <a:pt x="42" y="22"/>
                      </a:lnTo>
                      <a:lnTo>
                        <a:pt x="28" y="28"/>
                      </a:lnTo>
                      <a:lnTo>
                        <a:pt x="20" y="30"/>
                      </a:lnTo>
                      <a:lnTo>
                        <a:pt x="16" y="34"/>
                      </a:lnTo>
                      <a:lnTo>
                        <a:pt x="14" y="45"/>
                      </a:lnTo>
                      <a:lnTo>
                        <a:pt x="14" y="49"/>
                      </a:lnTo>
                      <a:lnTo>
                        <a:pt x="10" y="53"/>
                      </a:lnTo>
                      <a:lnTo>
                        <a:pt x="6" y="57"/>
                      </a:lnTo>
                      <a:lnTo>
                        <a:pt x="4" y="61"/>
                      </a:lnTo>
                      <a:lnTo>
                        <a:pt x="2" y="65"/>
                      </a:lnTo>
                      <a:lnTo>
                        <a:pt x="4" y="71"/>
                      </a:lnTo>
                      <a:lnTo>
                        <a:pt x="8" y="75"/>
                      </a:lnTo>
                      <a:lnTo>
                        <a:pt x="10" y="79"/>
                      </a:lnTo>
                      <a:lnTo>
                        <a:pt x="12" y="87"/>
                      </a:lnTo>
                      <a:lnTo>
                        <a:pt x="10" y="97"/>
                      </a:lnTo>
                      <a:lnTo>
                        <a:pt x="6" y="107"/>
                      </a:lnTo>
                      <a:lnTo>
                        <a:pt x="2" y="115"/>
                      </a:lnTo>
                      <a:lnTo>
                        <a:pt x="0" y="125"/>
                      </a:lnTo>
                      <a:lnTo>
                        <a:pt x="2" y="135"/>
                      </a:lnTo>
                      <a:lnTo>
                        <a:pt x="4" y="143"/>
                      </a:lnTo>
                      <a:lnTo>
                        <a:pt x="6" y="143"/>
                      </a:lnTo>
                      <a:lnTo>
                        <a:pt x="8" y="143"/>
                      </a:lnTo>
                      <a:lnTo>
                        <a:pt x="10" y="145"/>
                      </a:lnTo>
                      <a:lnTo>
                        <a:pt x="12" y="147"/>
                      </a:lnTo>
                      <a:lnTo>
                        <a:pt x="10" y="151"/>
                      </a:lnTo>
                      <a:lnTo>
                        <a:pt x="10" y="155"/>
                      </a:lnTo>
                      <a:lnTo>
                        <a:pt x="8" y="157"/>
                      </a:lnTo>
                      <a:lnTo>
                        <a:pt x="8" y="161"/>
                      </a:lnTo>
                      <a:lnTo>
                        <a:pt x="10" y="165"/>
                      </a:lnTo>
                      <a:lnTo>
                        <a:pt x="20" y="153"/>
                      </a:lnTo>
                      <a:lnTo>
                        <a:pt x="24" y="149"/>
                      </a:lnTo>
                      <a:lnTo>
                        <a:pt x="32" y="147"/>
                      </a:lnTo>
                      <a:lnTo>
                        <a:pt x="38" y="149"/>
                      </a:lnTo>
                      <a:lnTo>
                        <a:pt x="46" y="153"/>
                      </a:lnTo>
                      <a:lnTo>
                        <a:pt x="52" y="157"/>
                      </a:lnTo>
                      <a:lnTo>
                        <a:pt x="58" y="159"/>
                      </a:lnTo>
                      <a:lnTo>
                        <a:pt x="62" y="159"/>
                      </a:lnTo>
                      <a:lnTo>
                        <a:pt x="64" y="155"/>
                      </a:lnTo>
                      <a:lnTo>
                        <a:pt x="66" y="153"/>
                      </a:lnTo>
                      <a:lnTo>
                        <a:pt x="72" y="151"/>
                      </a:lnTo>
                      <a:lnTo>
                        <a:pt x="78" y="153"/>
                      </a:lnTo>
                      <a:lnTo>
                        <a:pt x="84" y="155"/>
                      </a:lnTo>
                      <a:lnTo>
                        <a:pt x="86" y="159"/>
                      </a:lnTo>
                      <a:lnTo>
                        <a:pt x="92" y="161"/>
                      </a:lnTo>
                      <a:lnTo>
                        <a:pt x="94" y="157"/>
                      </a:lnTo>
                      <a:lnTo>
                        <a:pt x="100" y="151"/>
                      </a:lnTo>
                      <a:lnTo>
                        <a:pt x="106" y="145"/>
                      </a:lnTo>
                      <a:lnTo>
                        <a:pt x="108" y="137"/>
                      </a:lnTo>
                      <a:lnTo>
                        <a:pt x="76" y="137"/>
                      </a:lnTo>
                      <a:lnTo>
                        <a:pt x="78" y="133"/>
                      </a:lnTo>
                      <a:lnTo>
                        <a:pt x="80" y="131"/>
                      </a:lnTo>
                      <a:lnTo>
                        <a:pt x="86" y="127"/>
                      </a:lnTo>
                      <a:lnTo>
                        <a:pt x="94" y="123"/>
                      </a:lnTo>
                      <a:lnTo>
                        <a:pt x="98" y="117"/>
                      </a:lnTo>
                      <a:lnTo>
                        <a:pt x="124" y="71"/>
                      </a:lnTo>
                      <a:lnTo>
                        <a:pt x="126" y="75"/>
                      </a:lnTo>
                      <a:close/>
                    </a:path>
                  </a:pathLst>
                </a:custGeom>
                <a:solidFill>
                  <a:srgbClr val="7D7D7D"/>
                </a:solidFill>
                <a:ln w="3175" cmpd="sng">
                  <a:solidFill>
                    <a:schemeClr val="bg1"/>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94" name="Lake Tanganyika">
                  <a:extLst>
                    <a:ext uri="{FF2B5EF4-FFF2-40B4-BE49-F238E27FC236}">
                      <a16:creationId xmlns:a16="http://schemas.microsoft.com/office/drawing/2014/main" id="{8FD6F004-5D09-4FA7-A449-19668F8A69B6}"/>
                    </a:ext>
                  </a:extLst>
                </p:cNvPr>
                <p:cNvSpPr>
                  <a:spLocks/>
                </p:cNvSpPr>
                <p:nvPr/>
              </p:nvSpPr>
              <p:spPr bwMode="gray">
                <a:xfrm>
                  <a:off x="5773738" y="4781550"/>
                  <a:ext cx="130175" cy="306387"/>
                </a:xfrm>
                <a:custGeom>
                  <a:avLst/>
                  <a:gdLst/>
                  <a:ahLst/>
                  <a:cxnLst>
                    <a:cxn ang="0">
                      <a:pos x="16" y="14"/>
                    </a:cxn>
                    <a:cxn ang="0">
                      <a:pos x="26" y="34"/>
                    </a:cxn>
                    <a:cxn ang="0">
                      <a:pos x="36" y="72"/>
                    </a:cxn>
                    <a:cxn ang="0">
                      <a:pos x="36" y="88"/>
                    </a:cxn>
                    <a:cxn ang="0">
                      <a:pos x="38" y="94"/>
                    </a:cxn>
                    <a:cxn ang="0">
                      <a:pos x="44" y="100"/>
                    </a:cxn>
                    <a:cxn ang="0">
                      <a:pos x="38" y="114"/>
                    </a:cxn>
                    <a:cxn ang="0">
                      <a:pos x="34" y="126"/>
                    </a:cxn>
                    <a:cxn ang="0">
                      <a:pos x="38" y="134"/>
                    </a:cxn>
                    <a:cxn ang="0">
                      <a:pos x="54" y="142"/>
                    </a:cxn>
                    <a:cxn ang="0">
                      <a:pos x="68" y="156"/>
                    </a:cxn>
                    <a:cxn ang="0">
                      <a:pos x="74" y="178"/>
                    </a:cxn>
                    <a:cxn ang="0">
                      <a:pos x="88" y="212"/>
                    </a:cxn>
                    <a:cxn ang="0">
                      <a:pos x="102" y="240"/>
                    </a:cxn>
                    <a:cxn ang="0">
                      <a:pos x="112" y="252"/>
                    </a:cxn>
                    <a:cxn ang="0">
                      <a:pos x="112" y="262"/>
                    </a:cxn>
                    <a:cxn ang="0">
                      <a:pos x="100" y="258"/>
                    </a:cxn>
                    <a:cxn ang="0">
                      <a:pos x="82" y="236"/>
                    </a:cxn>
                    <a:cxn ang="0">
                      <a:pos x="68" y="222"/>
                    </a:cxn>
                    <a:cxn ang="0">
                      <a:pos x="58" y="202"/>
                    </a:cxn>
                    <a:cxn ang="0">
                      <a:pos x="50" y="182"/>
                    </a:cxn>
                    <a:cxn ang="0">
                      <a:pos x="28" y="166"/>
                    </a:cxn>
                    <a:cxn ang="0">
                      <a:pos x="16" y="144"/>
                    </a:cxn>
                    <a:cxn ang="0">
                      <a:pos x="8" y="118"/>
                    </a:cxn>
                    <a:cxn ang="0">
                      <a:pos x="8" y="92"/>
                    </a:cxn>
                    <a:cxn ang="0">
                      <a:pos x="0" y="70"/>
                    </a:cxn>
                    <a:cxn ang="0">
                      <a:pos x="0" y="48"/>
                    </a:cxn>
                    <a:cxn ang="0">
                      <a:pos x="4" y="30"/>
                    </a:cxn>
                    <a:cxn ang="0">
                      <a:pos x="2" y="20"/>
                    </a:cxn>
                    <a:cxn ang="0">
                      <a:pos x="0" y="0"/>
                    </a:cxn>
                    <a:cxn ang="0">
                      <a:pos x="8" y="6"/>
                    </a:cxn>
                    <a:cxn ang="0">
                      <a:pos x="10" y="10"/>
                    </a:cxn>
                  </a:cxnLst>
                  <a:rect l="0" t="0" r="r" b="b"/>
                  <a:pathLst>
                    <a:path w="112" h="262">
                      <a:moveTo>
                        <a:pt x="10" y="10"/>
                      </a:moveTo>
                      <a:lnTo>
                        <a:pt x="16" y="14"/>
                      </a:lnTo>
                      <a:lnTo>
                        <a:pt x="20" y="20"/>
                      </a:lnTo>
                      <a:lnTo>
                        <a:pt x="26" y="34"/>
                      </a:lnTo>
                      <a:lnTo>
                        <a:pt x="36" y="64"/>
                      </a:lnTo>
                      <a:lnTo>
                        <a:pt x="36" y="72"/>
                      </a:lnTo>
                      <a:lnTo>
                        <a:pt x="38" y="78"/>
                      </a:lnTo>
                      <a:lnTo>
                        <a:pt x="36" y="88"/>
                      </a:lnTo>
                      <a:lnTo>
                        <a:pt x="36" y="92"/>
                      </a:lnTo>
                      <a:lnTo>
                        <a:pt x="38" y="94"/>
                      </a:lnTo>
                      <a:lnTo>
                        <a:pt x="40" y="98"/>
                      </a:lnTo>
                      <a:lnTo>
                        <a:pt x="44" y="100"/>
                      </a:lnTo>
                      <a:lnTo>
                        <a:pt x="42" y="108"/>
                      </a:lnTo>
                      <a:lnTo>
                        <a:pt x="38" y="114"/>
                      </a:lnTo>
                      <a:lnTo>
                        <a:pt x="36" y="120"/>
                      </a:lnTo>
                      <a:lnTo>
                        <a:pt x="34" y="126"/>
                      </a:lnTo>
                      <a:lnTo>
                        <a:pt x="36" y="130"/>
                      </a:lnTo>
                      <a:lnTo>
                        <a:pt x="38" y="134"/>
                      </a:lnTo>
                      <a:lnTo>
                        <a:pt x="46" y="138"/>
                      </a:lnTo>
                      <a:lnTo>
                        <a:pt x="54" y="142"/>
                      </a:lnTo>
                      <a:lnTo>
                        <a:pt x="60" y="146"/>
                      </a:lnTo>
                      <a:lnTo>
                        <a:pt x="68" y="156"/>
                      </a:lnTo>
                      <a:lnTo>
                        <a:pt x="72" y="166"/>
                      </a:lnTo>
                      <a:lnTo>
                        <a:pt x="74" y="178"/>
                      </a:lnTo>
                      <a:lnTo>
                        <a:pt x="80" y="188"/>
                      </a:lnTo>
                      <a:lnTo>
                        <a:pt x="88" y="212"/>
                      </a:lnTo>
                      <a:lnTo>
                        <a:pt x="96" y="232"/>
                      </a:lnTo>
                      <a:lnTo>
                        <a:pt x="102" y="240"/>
                      </a:lnTo>
                      <a:lnTo>
                        <a:pt x="106" y="246"/>
                      </a:lnTo>
                      <a:lnTo>
                        <a:pt x="112" y="252"/>
                      </a:lnTo>
                      <a:lnTo>
                        <a:pt x="112" y="260"/>
                      </a:lnTo>
                      <a:lnTo>
                        <a:pt x="112" y="262"/>
                      </a:lnTo>
                      <a:lnTo>
                        <a:pt x="108" y="260"/>
                      </a:lnTo>
                      <a:lnTo>
                        <a:pt x="100" y="258"/>
                      </a:lnTo>
                      <a:lnTo>
                        <a:pt x="88" y="242"/>
                      </a:lnTo>
                      <a:lnTo>
                        <a:pt x="82" y="236"/>
                      </a:lnTo>
                      <a:lnTo>
                        <a:pt x="76" y="230"/>
                      </a:lnTo>
                      <a:lnTo>
                        <a:pt x="68" y="222"/>
                      </a:lnTo>
                      <a:lnTo>
                        <a:pt x="62" y="212"/>
                      </a:lnTo>
                      <a:lnTo>
                        <a:pt x="58" y="202"/>
                      </a:lnTo>
                      <a:lnTo>
                        <a:pt x="54" y="190"/>
                      </a:lnTo>
                      <a:lnTo>
                        <a:pt x="50" y="182"/>
                      </a:lnTo>
                      <a:lnTo>
                        <a:pt x="42" y="178"/>
                      </a:lnTo>
                      <a:lnTo>
                        <a:pt x="28" y="166"/>
                      </a:lnTo>
                      <a:lnTo>
                        <a:pt x="22" y="158"/>
                      </a:lnTo>
                      <a:lnTo>
                        <a:pt x="16" y="144"/>
                      </a:lnTo>
                      <a:lnTo>
                        <a:pt x="10" y="130"/>
                      </a:lnTo>
                      <a:lnTo>
                        <a:pt x="8" y="118"/>
                      </a:lnTo>
                      <a:lnTo>
                        <a:pt x="8" y="102"/>
                      </a:lnTo>
                      <a:lnTo>
                        <a:pt x="8" y="92"/>
                      </a:lnTo>
                      <a:lnTo>
                        <a:pt x="4" y="82"/>
                      </a:lnTo>
                      <a:lnTo>
                        <a:pt x="0" y="70"/>
                      </a:lnTo>
                      <a:lnTo>
                        <a:pt x="0" y="56"/>
                      </a:lnTo>
                      <a:lnTo>
                        <a:pt x="0" y="48"/>
                      </a:lnTo>
                      <a:lnTo>
                        <a:pt x="2" y="42"/>
                      </a:lnTo>
                      <a:lnTo>
                        <a:pt x="4" y="30"/>
                      </a:lnTo>
                      <a:lnTo>
                        <a:pt x="2" y="24"/>
                      </a:lnTo>
                      <a:lnTo>
                        <a:pt x="2" y="20"/>
                      </a:lnTo>
                      <a:lnTo>
                        <a:pt x="0" y="10"/>
                      </a:lnTo>
                      <a:lnTo>
                        <a:pt x="0" y="0"/>
                      </a:lnTo>
                      <a:lnTo>
                        <a:pt x="4" y="0"/>
                      </a:lnTo>
                      <a:lnTo>
                        <a:pt x="8" y="6"/>
                      </a:lnTo>
                      <a:lnTo>
                        <a:pt x="8" y="10"/>
                      </a:lnTo>
                      <a:lnTo>
                        <a:pt x="10" y="10"/>
                      </a:lnTo>
                      <a:close/>
                    </a:path>
                  </a:pathLst>
                </a:custGeom>
                <a:solidFill>
                  <a:srgbClr val="7D7D7D"/>
                </a:solidFill>
                <a:ln w="3175" cmpd="sng">
                  <a:solidFill>
                    <a:schemeClr val="bg1"/>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95" name="Lake Nyasa">
                  <a:extLst>
                    <a:ext uri="{FF2B5EF4-FFF2-40B4-BE49-F238E27FC236}">
                      <a16:creationId xmlns:a16="http://schemas.microsoft.com/office/drawing/2014/main" id="{88B0502F-77F3-469C-AF86-7FBC4CB99BC8}"/>
                    </a:ext>
                  </a:extLst>
                </p:cNvPr>
                <p:cNvSpPr>
                  <a:spLocks/>
                </p:cNvSpPr>
                <p:nvPr/>
              </p:nvSpPr>
              <p:spPr bwMode="gray">
                <a:xfrm>
                  <a:off x="6067425" y="5140325"/>
                  <a:ext cx="66675" cy="298450"/>
                </a:xfrm>
                <a:custGeom>
                  <a:avLst/>
                  <a:gdLst/>
                  <a:ahLst/>
                  <a:cxnLst>
                    <a:cxn ang="0">
                      <a:pos x="8" y="36"/>
                    </a:cxn>
                    <a:cxn ang="0">
                      <a:pos x="2" y="18"/>
                    </a:cxn>
                    <a:cxn ang="0">
                      <a:pos x="2" y="0"/>
                    </a:cxn>
                    <a:cxn ang="0">
                      <a:pos x="16" y="10"/>
                    </a:cxn>
                    <a:cxn ang="0">
                      <a:pos x="32" y="42"/>
                    </a:cxn>
                    <a:cxn ang="0">
                      <a:pos x="36" y="78"/>
                    </a:cxn>
                    <a:cxn ang="0">
                      <a:pos x="36" y="92"/>
                    </a:cxn>
                    <a:cxn ang="0">
                      <a:pos x="44" y="102"/>
                    </a:cxn>
                    <a:cxn ang="0">
                      <a:pos x="50" y="112"/>
                    </a:cxn>
                    <a:cxn ang="0">
                      <a:pos x="48" y="124"/>
                    </a:cxn>
                    <a:cxn ang="0">
                      <a:pos x="40" y="138"/>
                    </a:cxn>
                    <a:cxn ang="0">
                      <a:pos x="36" y="152"/>
                    </a:cxn>
                    <a:cxn ang="0">
                      <a:pos x="38" y="174"/>
                    </a:cxn>
                    <a:cxn ang="0">
                      <a:pos x="40" y="212"/>
                    </a:cxn>
                    <a:cxn ang="0">
                      <a:pos x="46" y="226"/>
                    </a:cxn>
                    <a:cxn ang="0">
                      <a:pos x="54" y="238"/>
                    </a:cxn>
                    <a:cxn ang="0">
                      <a:pos x="54" y="248"/>
                    </a:cxn>
                    <a:cxn ang="0">
                      <a:pos x="54" y="252"/>
                    </a:cxn>
                    <a:cxn ang="0">
                      <a:pos x="40" y="246"/>
                    </a:cxn>
                    <a:cxn ang="0">
                      <a:pos x="36" y="256"/>
                    </a:cxn>
                    <a:cxn ang="0">
                      <a:pos x="26" y="252"/>
                    </a:cxn>
                    <a:cxn ang="0">
                      <a:pos x="24" y="242"/>
                    </a:cxn>
                    <a:cxn ang="0">
                      <a:pos x="26" y="230"/>
                    </a:cxn>
                    <a:cxn ang="0">
                      <a:pos x="24" y="224"/>
                    </a:cxn>
                    <a:cxn ang="0">
                      <a:pos x="20" y="218"/>
                    </a:cxn>
                    <a:cxn ang="0">
                      <a:pos x="14" y="198"/>
                    </a:cxn>
                    <a:cxn ang="0">
                      <a:pos x="10" y="168"/>
                    </a:cxn>
                    <a:cxn ang="0">
                      <a:pos x="2" y="158"/>
                    </a:cxn>
                    <a:cxn ang="0">
                      <a:pos x="4" y="150"/>
                    </a:cxn>
                    <a:cxn ang="0">
                      <a:pos x="12" y="130"/>
                    </a:cxn>
                    <a:cxn ang="0">
                      <a:pos x="18" y="48"/>
                    </a:cxn>
                    <a:cxn ang="0">
                      <a:pos x="14" y="42"/>
                    </a:cxn>
                    <a:cxn ang="0">
                      <a:pos x="10" y="38"/>
                    </a:cxn>
                  </a:cxnLst>
                  <a:rect l="0" t="0" r="r" b="b"/>
                  <a:pathLst>
                    <a:path w="56" h="256">
                      <a:moveTo>
                        <a:pt x="8" y="38"/>
                      </a:moveTo>
                      <a:lnTo>
                        <a:pt x="8" y="36"/>
                      </a:lnTo>
                      <a:lnTo>
                        <a:pt x="8" y="32"/>
                      </a:lnTo>
                      <a:lnTo>
                        <a:pt x="2" y="18"/>
                      </a:lnTo>
                      <a:lnTo>
                        <a:pt x="0" y="0"/>
                      </a:lnTo>
                      <a:lnTo>
                        <a:pt x="2" y="0"/>
                      </a:lnTo>
                      <a:lnTo>
                        <a:pt x="4" y="0"/>
                      </a:lnTo>
                      <a:lnTo>
                        <a:pt x="16" y="10"/>
                      </a:lnTo>
                      <a:lnTo>
                        <a:pt x="22" y="18"/>
                      </a:lnTo>
                      <a:lnTo>
                        <a:pt x="32" y="42"/>
                      </a:lnTo>
                      <a:lnTo>
                        <a:pt x="32" y="68"/>
                      </a:lnTo>
                      <a:lnTo>
                        <a:pt x="36" y="78"/>
                      </a:lnTo>
                      <a:lnTo>
                        <a:pt x="36" y="88"/>
                      </a:lnTo>
                      <a:lnTo>
                        <a:pt x="36" y="92"/>
                      </a:lnTo>
                      <a:lnTo>
                        <a:pt x="38" y="96"/>
                      </a:lnTo>
                      <a:lnTo>
                        <a:pt x="44" y="102"/>
                      </a:lnTo>
                      <a:lnTo>
                        <a:pt x="48" y="108"/>
                      </a:lnTo>
                      <a:lnTo>
                        <a:pt x="50" y="112"/>
                      </a:lnTo>
                      <a:lnTo>
                        <a:pt x="50" y="116"/>
                      </a:lnTo>
                      <a:lnTo>
                        <a:pt x="48" y="124"/>
                      </a:lnTo>
                      <a:lnTo>
                        <a:pt x="44" y="132"/>
                      </a:lnTo>
                      <a:lnTo>
                        <a:pt x="40" y="138"/>
                      </a:lnTo>
                      <a:lnTo>
                        <a:pt x="36" y="144"/>
                      </a:lnTo>
                      <a:lnTo>
                        <a:pt x="36" y="152"/>
                      </a:lnTo>
                      <a:lnTo>
                        <a:pt x="36" y="160"/>
                      </a:lnTo>
                      <a:lnTo>
                        <a:pt x="38" y="174"/>
                      </a:lnTo>
                      <a:lnTo>
                        <a:pt x="38" y="204"/>
                      </a:lnTo>
                      <a:lnTo>
                        <a:pt x="40" y="212"/>
                      </a:lnTo>
                      <a:lnTo>
                        <a:pt x="42" y="218"/>
                      </a:lnTo>
                      <a:lnTo>
                        <a:pt x="46" y="226"/>
                      </a:lnTo>
                      <a:lnTo>
                        <a:pt x="52" y="234"/>
                      </a:lnTo>
                      <a:lnTo>
                        <a:pt x="54" y="238"/>
                      </a:lnTo>
                      <a:lnTo>
                        <a:pt x="56" y="244"/>
                      </a:lnTo>
                      <a:lnTo>
                        <a:pt x="54" y="248"/>
                      </a:lnTo>
                      <a:lnTo>
                        <a:pt x="54" y="250"/>
                      </a:lnTo>
                      <a:lnTo>
                        <a:pt x="54" y="252"/>
                      </a:lnTo>
                      <a:lnTo>
                        <a:pt x="56" y="256"/>
                      </a:lnTo>
                      <a:lnTo>
                        <a:pt x="40" y="246"/>
                      </a:lnTo>
                      <a:lnTo>
                        <a:pt x="36" y="252"/>
                      </a:lnTo>
                      <a:lnTo>
                        <a:pt x="36" y="256"/>
                      </a:lnTo>
                      <a:lnTo>
                        <a:pt x="30" y="256"/>
                      </a:lnTo>
                      <a:lnTo>
                        <a:pt x="26" y="252"/>
                      </a:lnTo>
                      <a:lnTo>
                        <a:pt x="24" y="248"/>
                      </a:lnTo>
                      <a:lnTo>
                        <a:pt x="24" y="242"/>
                      </a:lnTo>
                      <a:lnTo>
                        <a:pt x="24" y="236"/>
                      </a:lnTo>
                      <a:lnTo>
                        <a:pt x="26" y="230"/>
                      </a:lnTo>
                      <a:lnTo>
                        <a:pt x="26" y="226"/>
                      </a:lnTo>
                      <a:lnTo>
                        <a:pt x="24" y="224"/>
                      </a:lnTo>
                      <a:lnTo>
                        <a:pt x="22" y="222"/>
                      </a:lnTo>
                      <a:lnTo>
                        <a:pt x="20" y="218"/>
                      </a:lnTo>
                      <a:lnTo>
                        <a:pt x="16" y="208"/>
                      </a:lnTo>
                      <a:lnTo>
                        <a:pt x="14" y="198"/>
                      </a:lnTo>
                      <a:lnTo>
                        <a:pt x="12" y="176"/>
                      </a:lnTo>
                      <a:lnTo>
                        <a:pt x="10" y="168"/>
                      </a:lnTo>
                      <a:lnTo>
                        <a:pt x="6" y="162"/>
                      </a:lnTo>
                      <a:lnTo>
                        <a:pt x="2" y="158"/>
                      </a:lnTo>
                      <a:lnTo>
                        <a:pt x="0" y="150"/>
                      </a:lnTo>
                      <a:lnTo>
                        <a:pt x="4" y="150"/>
                      </a:lnTo>
                      <a:lnTo>
                        <a:pt x="6" y="144"/>
                      </a:lnTo>
                      <a:lnTo>
                        <a:pt x="12" y="130"/>
                      </a:lnTo>
                      <a:lnTo>
                        <a:pt x="18" y="106"/>
                      </a:lnTo>
                      <a:lnTo>
                        <a:pt x="18" y="48"/>
                      </a:lnTo>
                      <a:lnTo>
                        <a:pt x="16" y="46"/>
                      </a:lnTo>
                      <a:lnTo>
                        <a:pt x="14" y="42"/>
                      </a:lnTo>
                      <a:lnTo>
                        <a:pt x="12" y="40"/>
                      </a:lnTo>
                      <a:lnTo>
                        <a:pt x="10" y="38"/>
                      </a:lnTo>
                      <a:lnTo>
                        <a:pt x="8" y="38"/>
                      </a:lnTo>
                      <a:close/>
                    </a:path>
                  </a:pathLst>
                </a:custGeom>
                <a:solidFill>
                  <a:srgbClr val="7D7D7D"/>
                </a:solidFill>
                <a:ln w="3175" cmpd="sng">
                  <a:solidFill>
                    <a:schemeClr val="bg1"/>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grpSp>
        </p:grpSp>
        <p:grpSp>
          <p:nvGrpSpPr>
            <p:cNvPr id="333" name="All Labels">
              <a:extLst>
                <a:ext uri="{FF2B5EF4-FFF2-40B4-BE49-F238E27FC236}">
                  <a16:creationId xmlns:a16="http://schemas.microsoft.com/office/drawing/2014/main" id="{97B4F6EC-6E11-4613-9DC2-91E330794A28}"/>
                </a:ext>
              </a:extLst>
            </p:cNvPr>
            <p:cNvGrpSpPr/>
            <p:nvPr/>
          </p:nvGrpSpPr>
          <p:grpSpPr>
            <a:xfrm>
              <a:off x="2525861" y="2059199"/>
              <a:ext cx="5148149" cy="4890992"/>
              <a:chOff x="2525861" y="2059199"/>
              <a:chExt cx="5148149" cy="4890992"/>
            </a:xfrm>
          </p:grpSpPr>
          <p:grpSp>
            <p:nvGrpSpPr>
              <p:cNvPr id="334" name="Africa City Locators">
                <a:extLst>
                  <a:ext uri="{FF2B5EF4-FFF2-40B4-BE49-F238E27FC236}">
                    <a16:creationId xmlns:a16="http://schemas.microsoft.com/office/drawing/2014/main" id="{A1B9795E-565D-41F3-B9F8-5B98003DAA58}"/>
                  </a:ext>
                </a:extLst>
              </p:cNvPr>
              <p:cNvGrpSpPr/>
              <p:nvPr/>
            </p:nvGrpSpPr>
            <p:grpSpPr bwMode="gray">
              <a:xfrm>
                <a:off x="3251058" y="2202876"/>
                <a:ext cx="3679993" cy="4672748"/>
                <a:chOff x="3292470" y="2263770"/>
                <a:chExt cx="3471924" cy="4408541"/>
              </a:xfrm>
              <a:solidFill>
                <a:srgbClr val="D04A02">
                  <a:lumMod val="20000"/>
                  <a:lumOff val="80000"/>
                </a:srgbClr>
              </a:solidFill>
            </p:grpSpPr>
            <p:sp>
              <p:nvSpPr>
                <p:cNvPr id="545" name="Johannesburg Locator">
                  <a:extLst>
                    <a:ext uri="{FF2B5EF4-FFF2-40B4-BE49-F238E27FC236}">
                      <a16:creationId xmlns:a16="http://schemas.microsoft.com/office/drawing/2014/main" id="{B01D9153-DE7B-4E7D-95AC-BC887A8CEA7D}"/>
                    </a:ext>
                  </a:extLst>
                </p:cNvPr>
                <p:cNvSpPr>
                  <a:spLocks/>
                </p:cNvSpPr>
                <p:nvPr/>
              </p:nvSpPr>
              <p:spPr bwMode="gray">
                <a:xfrm>
                  <a:off x="5661020" y="6164249"/>
                  <a:ext cx="33337" cy="33337"/>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 ang="0">
                      <a:pos x="0" y="14"/>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lnTo>
                        <a:pt x="0" y="14"/>
                      </a:lnTo>
                      <a:close/>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46" name="Mombasa Locator">
                  <a:extLst>
                    <a:ext uri="{FF2B5EF4-FFF2-40B4-BE49-F238E27FC236}">
                      <a16:creationId xmlns:a16="http://schemas.microsoft.com/office/drawing/2014/main" id="{AF1BCC50-AE13-4DEF-9495-6872EA1A21D2}"/>
                    </a:ext>
                  </a:extLst>
                </p:cNvPr>
                <p:cNvSpPr>
                  <a:spLocks/>
                </p:cNvSpPr>
                <p:nvPr/>
              </p:nvSpPr>
              <p:spPr bwMode="gray">
                <a:xfrm>
                  <a:off x="6427781" y="474502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47" name="Kananga Locator">
                  <a:extLst>
                    <a:ext uri="{FF2B5EF4-FFF2-40B4-BE49-F238E27FC236}">
                      <a16:creationId xmlns:a16="http://schemas.microsoft.com/office/drawing/2014/main" id="{F25B75E5-CEC6-4074-B717-05C851831FF4}"/>
                    </a:ext>
                  </a:extLst>
                </p:cNvPr>
                <p:cNvSpPr>
                  <a:spLocks/>
                </p:cNvSpPr>
                <p:nvPr/>
              </p:nvSpPr>
              <p:spPr bwMode="gray">
                <a:xfrm>
                  <a:off x="5343521" y="490377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48" name="Pointe-Noire Locator">
                  <a:extLst>
                    <a:ext uri="{FF2B5EF4-FFF2-40B4-BE49-F238E27FC236}">
                      <a16:creationId xmlns:a16="http://schemas.microsoft.com/office/drawing/2014/main" id="{1D74920C-E769-4B5F-978E-8329818F0D72}"/>
                    </a:ext>
                  </a:extLst>
                </p:cNvPr>
                <p:cNvSpPr>
                  <a:spLocks/>
                </p:cNvSpPr>
                <p:nvPr/>
              </p:nvSpPr>
              <p:spPr bwMode="gray">
                <a:xfrm>
                  <a:off x="4662482" y="4810113"/>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49" name="Malanje Locator">
                  <a:extLst>
                    <a:ext uri="{FF2B5EF4-FFF2-40B4-BE49-F238E27FC236}">
                      <a16:creationId xmlns:a16="http://schemas.microsoft.com/office/drawing/2014/main" id="{675197A0-6C26-43EE-95EB-CFD7CD67D600}"/>
                    </a:ext>
                  </a:extLst>
                </p:cNvPr>
                <p:cNvSpPr>
                  <a:spLocks/>
                </p:cNvSpPr>
                <p:nvPr/>
              </p:nvSpPr>
              <p:spPr bwMode="gray">
                <a:xfrm>
                  <a:off x="4938708" y="5127613"/>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0" name="Namibe Locator">
                  <a:extLst>
                    <a:ext uri="{FF2B5EF4-FFF2-40B4-BE49-F238E27FC236}">
                      <a16:creationId xmlns:a16="http://schemas.microsoft.com/office/drawing/2014/main" id="{7DCC480F-0764-43B4-9D1E-03B62FB2168C}"/>
                    </a:ext>
                  </a:extLst>
                </p:cNvPr>
                <p:cNvSpPr>
                  <a:spLocks/>
                </p:cNvSpPr>
                <p:nvPr/>
              </p:nvSpPr>
              <p:spPr bwMode="gray">
                <a:xfrm>
                  <a:off x="4695820" y="5478450"/>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1" name="Menongue Locator">
                  <a:extLst>
                    <a:ext uri="{FF2B5EF4-FFF2-40B4-BE49-F238E27FC236}">
                      <a16:creationId xmlns:a16="http://schemas.microsoft.com/office/drawing/2014/main" id="{FEF66ECB-AE51-4BBB-9F50-964C14F54DF2}"/>
                    </a:ext>
                  </a:extLst>
                </p:cNvPr>
                <p:cNvSpPr>
                  <a:spLocks/>
                </p:cNvSpPr>
                <p:nvPr/>
              </p:nvSpPr>
              <p:spPr bwMode="gray">
                <a:xfrm>
                  <a:off x="5043483" y="5437175"/>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2" name="Mbeya Locator">
                  <a:extLst>
                    <a:ext uri="{FF2B5EF4-FFF2-40B4-BE49-F238E27FC236}">
                      <a16:creationId xmlns:a16="http://schemas.microsoft.com/office/drawing/2014/main" id="{623F4BD9-01EF-41CA-8664-BFBB8650F852}"/>
                    </a:ext>
                  </a:extLst>
                </p:cNvPr>
                <p:cNvSpPr>
                  <a:spLocks/>
                </p:cNvSpPr>
                <p:nvPr/>
              </p:nvSpPr>
              <p:spPr bwMode="gray">
                <a:xfrm>
                  <a:off x="6021382" y="508157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3" name="Bulawayo Locator">
                  <a:extLst>
                    <a:ext uri="{FF2B5EF4-FFF2-40B4-BE49-F238E27FC236}">
                      <a16:creationId xmlns:a16="http://schemas.microsoft.com/office/drawing/2014/main" id="{868C410E-5B63-4032-8569-1AC45C362AE1}"/>
                    </a:ext>
                  </a:extLst>
                </p:cNvPr>
                <p:cNvSpPr>
                  <a:spLocks/>
                </p:cNvSpPr>
                <p:nvPr/>
              </p:nvSpPr>
              <p:spPr bwMode="gray">
                <a:xfrm>
                  <a:off x="5707057" y="5792774"/>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4" name="Cape Town Locator">
                  <a:extLst>
                    <a:ext uri="{FF2B5EF4-FFF2-40B4-BE49-F238E27FC236}">
                      <a16:creationId xmlns:a16="http://schemas.microsoft.com/office/drawing/2014/main" id="{D723697E-1D90-49AD-90F0-48C9A47A655A}"/>
                    </a:ext>
                  </a:extLst>
                </p:cNvPr>
                <p:cNvSpPr>
                  <a:spLocks/>
                </p:cNvSpPr>
                <p:nvPr/>
              </p:nvSpPr>
              <p:spPr bwMode="gray">
                <a:xfrm>
                  <a:off x="5081583" y="6635735"/>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5" name="Port Elizabeth Locator">
                  <a:extLst>
                    <a:ext uri="{FF2B5EF4-FFF2-40B4-BE49-F238E27FC236}">
                      <a16:creationId xmlns:a16="http://schemas.microsoft.com/office/drawing/2014/main" id="{24E5D50D-A3DD-4BA0-81F1-005E5F6F9E71}"/>
                    </a:ext>
                  </a:extLst>
                </p:cNvPr>
                <p:cNvSpPr>
                  <a:spLocks/>
                </p:cNvSpPr>
                <p:nvPr/>
              </p:nvSpPr>
              <p:spPr bwMode="gray">
                <a:xfrm>
                  <a:off x="5464169" y="6626210"/>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6" name="Durban Locator">
                  <a:extLst>
                    <a:ext uri="{FF2B5EF4-FFF2-40B4-BE49-F238E27FC236}">
                      <a16:creationId xmlns:a16="http://schemas.microsoft.com/office/drawing/2014/main" id="{8B9F71AD-B0FA-4CC4-B002-9AD6CCDF9A64}"/>
                    </a:ext>
                  </a:extLst>
                </p:cNvPr>
                <p:cNvSpPr>
                  <a:spLocks/>
                </p:cNvSpPr>
                <p:nvPr/>
              </p:nvSpPr>
              <p:spPr bwMode="gray">
                <a:xfrm>
                  <a:off x="5819768" y="6345224"/>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7" name="Luderitz Locator">
                  <a:extLst>
                    <a:ext uri="{FF2B5EF4-FFF2-40B4-BE49-F238E27FC236}">
                      <a16:creationId xmlns:a16="http://schemas.microsoft.com/office/drawing/2014/main" id="{33C2009C-3EED-437C-B500-8E26C89C7232}"/>
                    </a:ext>
                  </a:extLst>
                </p:cNvPr>
                <p:cNvSpPr>
                  <a:spLocks/>
                </p:cNvSpPr>
                <p:nvPr/>
              </p:nvSpPr>
              <p:spPr bwMode="gray">
                <a:xfrm>
                  <a:off x="4892670" y="6189649"/>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8" name="Beira Locator">
                  <a:extLst>
                    <a:ext uri="{FF2B5EF4-FFF2-40B4-BE49-F238E27FC236}">
                      <a16:creationId xmlns:a16="http://schemas.microsoft.com/office/drawing/2014/main" id="{27873831-1502-47A5-9D03-49126A0416BD}"/>
                    </a:ext>
                  </a:extLst>
                </p:cNvPr>
                <p:cNvSpPr>
                  <a:spLocks/>
                </p:cNvSpPr>
                <p:nvPr/>
              </p:nvSpPr>
              <p:spPr bwMode="gray">
                <a:xfrm>
                  <a:off x="6091232" y="574038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59" name="Nacala Locator">
                  <a:extLst>
                    <a:ext uri="{FF2B5EF4-FFF2-40B4-BE49-F238E27FC236}">
                      <a16:creationId xmlns:a16="http://schemas.microsoft.com/office/drawing/2014/main" id="{678C677D-6D7A-4041-A358-10740899E8BB}"/>
                    </a:ext>
                  </a:extLst>
                </p:cNvPr>
                <p:cNvSpPr>
                  <a:spLocks/>
                </p:cNvSpPr>
                <p:nvPr/>
              </p:nvSpPr>
              <p:spPr bwMode="gray">
                <a:xfrm>
                  <a:off x="6440483" y="5432413"/>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0" name="Lobito Locator">
                  <a:extLst>
                    <a:ext uri="{FF2B5EF4-FFF2-40B4-BE49-F238E27FC236}">
                      <a16:creationId xmlns:a16="http://schemas.microsoft.com/office/drawing/2014/main" id="{B4C68AD7-0589-4F82-8C37-465CFE6884C9}"/>
                    </a:ext>
                  </a:extLst>
                </p:cNvPr>
                <p:cNvSpPr>
                  <a:spLocks/>
                </p:cNvSpPr>
                <p:nvPr/>
              </p:nvSpPr>
              <p:spPr bwMode="gray">
                <a:xfrm>
                  <a:off x="4789483" y="5300650"/>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1" name="Ndola Locator">
                  <a:extLst>
                    <a:ext uri="{FF2B5EF4-FFF2-40B4-BE49-F238E27FC236}">
                      <a16:creationId xmlns:a16="http://schemas.microsoft.com/office/drawing/2014/main" id="{1E065EEB-BA51-4355-97A6-C1456F80173F}"/>
                    </a:ext>
                  </a:extLst>
                </p:cNvPr>
                <p:cNvSpPr>
                  <a:spLocks/>
                </p:cNvSpPr>
                <p:nvPr/>
              </p:nvSpPr>
              <p:spPr bwMode="gray">
                <a:xfrm>
                  <a:off x="5707057" y="5348276"/>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2" name="Kalemie Locator">
                  <a:extLst>
                    <a:ext uri="{FF2B5EF4-FFF2-40B4-BE49-F238E27FC236}">
                      <a16:creationId xmlns:a16="http://schemas.microsoft.com/office/drawing/2014/main" id="{39451C45-ED6D-4CEF-9807-867DCC0E4BD9}"/>
                    </a:ext>
                  </a:extLst>
                </p:cNvPr>
                <p:cNvSpPr>
                  <a:spLocks/>
                </p:cNvSpPr>
                <p:nvPr/>
              </p:nvSpPr>
              <p:spPr bwMode="gray">
                <a:xfrm>
                  <a:off x="5754682" y="4894252"/>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3" name="Toliara Locator">
                  <a:extLst>
                    <a:ext uri="{FF2B5EF4-FFF2-40B4-BE49-F238E27FC236}">
                      <a16:creationId xmlns:a16="http://schemas.microsoft.com/office/drawing/2014/main" id="{C081A675-A170-431F-A158-5C2C14161E7E}"/>
                    </a:ext>
                  </a:extLst>
                </p:cNvPr>
                <p:cNvSpPr>
                  <a:spLocks/>
                </p:cNvSpPr>
                <p:nvPr/>
              </p:nvSpPr>
              <p:spPr bwMode="gray">
                <a:xfrm>
                  <a:off x="6619868" y="5976925"/>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4" name="Port Sudan Locator">
                  <a:extLst>
                    <a:ext uri="{FF2B5EF4-FFF2-40B4-BE49-F238E27FC236}">
                      <a16:creationId xmlns:a16="http://schemas.microsoft.com/office/drawing/2014/main" id="{B075B666-A474-43E9-A8D7-28D982AC039F}"/>
                    </a:ext>
                  </a:extLst>
                </p:cNvPr>
                <p:cNvSpPr>
                  <a:spLocks/>
                </p:cNvSpPr>
                <p:nvPr/>
              </p:nvSpPr>
              <p:spPr bwMode="gray">
                <a:xfrm>
                  <a:off x="6199182" y="3268655"/>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5" name="Berbera Locator">
                  <a:extLst>
                    <a:ext uri="{FF2B5EF4-FFF2-40B4-BE49-F238E27FC236}">
                      <a16:creationId xmlns:a16="http://schemas.microsoft.com/office/drawing/2014/main" id="{9F976D43-0A7E-49C5-9A68-F049B902E3BF}"/>
                    </a:ext>
                  </a:extLst>
                </p:cNvPr>
                <p:cNvSpPr>
                  <a:spLocks/>
                </p:cNvSpPr>
                <p:nvPr/>
              </p:nvSpPr>
              <p:spPr bwMode="gray">
                <a:xfrm>
                  <a:off x="6727818" y="3825866"/>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6" name="Juba Locator">
                  <a:extLst>
                    <a:ext uri="{FF2B5EF4-FFF2-40B4-BE49-F238E27FC236}">
                      <a16:creationId xmlns:a16="http://schemas.microsoft.com/office/drawing/2014/main" id="{2F529544-D21F-46A1-A03E-391C63229C5D}"/>
                    </a:ext>
                  </a:extLst>
                </p:cNvPr>
                <p:cNvSpPr>
                  <a:spLocks/>
                </p:cNvSpPr>
                <p:nvPr/>
              </p:nvSpPr>
              <p:spPr bwMode="gray">
                <a:xfrm>
                  <a:off x="5903907" y="4210041"/>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7" name="Zinder Locator">
                  <a:extLst>
                    <a:ext uri="{FF2B5EF4-FFF2-40B4-BE49-F238E27FC236}">
                      <a16:creationId xmlns:a16="http://schemas.microsoft.com/office/drawing/2014/main" id="{816769B9-9CA2-4C42-BFDD-5D1F00B5CF57}"/>
                    </a:ext>
                  </a:extLst>
                </p:cNvPr>
                <p:cNvSpPr>
                  <a:spLocks/>
                </p:cNvSpPr>
                <p:nvPr/>
              </p:nvSpPr>
              <p:spPr bwMode="gray">
                <a:xfrm>
                  <a:off x="4498970" y="3638541"/>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8" name="Agadez Locator">
                  <a:extLst>
                    <a:ext uri="{FF2B5EF4-FFF2-40B4-BE49-F238E27FC236}">
                      <a16:creationId xmlns:a16="http://schemas.microsoft.com/office/drawing/2014/main" id="{0826F473-8F18-4A98-97B8-821B64820EE6}"/>
                    </a:ext>
                  </a:extLst>
                </p:cNvPr>
                <p:cNvSpPr>
                  <a:spLocks/>
                </p:cNvSpPr>
                <p:nvPr/>
              </p:nvSpPr>
              <p:spPr bwMode="gray">
                <a:xfrm>
                  <a:off x="4452934" y="3446454"/>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a:solidFill>
                    <a:srgbClr val="D04A02"/>
                  </a:solidFill>
                  <a:prstDash val="solid"/>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69" name="Abuja Locator">
                  <a:extLst>
                    <a:ext uri="{FF2B5EF4-FFF2-40B4-BE49-F238E27FC236}">
                      <a16:creationId xmlns:a16="http://schemas.microsoft.com/office/drawing/2014/main" id="{0879E35E-499F-4F97-A77B-50E9EB3FA456}"/>
                    </a:ext>
                  </a:extLst>
                </p:cNvPr>
                <p:cNvSpPr>
                  <a:spLocks/>
                </p:cNvSpPr>
                <p:nvPr/>
              </p:nvSpPr>
              <p:spPr bwMode="gray">
                <a:xfrm>
                  <a:off x="4387846" y="3933815"/>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0" name="Kano Locator">
                  <a:extLst>
                    <a:ext uri="{FF2B5EF4-FFF2-40B4-BE49-F238E27FC236}">
                      <a16:creationId xmlns:a16="http://schemas.microsoft.com/office/drawing/2014/main" id="{6595A8AE-124B-43F4-9AF9-CD6467A6120F}"/>
                    </a:ext>
                  </a:extLst>
                </p:cNvPr>
                <p:cNvSpPr>
                  <a:spLocks/>
                </p:cNvSpPr>
                <p:nvPr/>
              </p:nvSpPr>
              <p:spPr bwMode="gray">
                <a:xfrm>
                  <a:off x="4462459" y="377506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1" name="Faya-Largeau Locator">
                  <a:extLst>
                    <a:ext uri="{FF2B5EF4-FFF2-40B4-BE49-F238E27FC236}">
                      <a16:creationId xmlns:a16="http://schemas.microsoft.com/office/drawing/2014/main" id="{0813AD11-A50C-42C2-A4B3-49F774FE7727}"/>
                    </a:ext>
                  </a:extLst>
                </p:cNvPr>
                <p:cNvSpPr>
                  <a:spLocks/>
                </p:cNvSpPr>
                <p:nvPr/>
              </p:nvSpPr>
              <p:spPr bwMode="gray">
                <a:xfrm>
                  <a:off x="5099045" y="334326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2" name="Waw Locator">
                  <a:extLst>
                    <a:ext uri="{FF2B5EF4-FFF2-40B4-BE49-F238E27FC236}">
                      <a16:creationId xmlns:a16="http://schemas.microsoft.com/office/drawing/2014/main" id="{59FA91CB-BC6D-478E-B3AE-79A8F4745C19}"/>
                    </a:ext>
                  </a:extLst>
                </p:cNvPr>
                <p:cNvSpPr>
                  <a:spLocks/>
                </p:cNvSpPr>
                <p:nvPr/>
              </p:nvSpPr>
              <p:spPr bwMode="gray">
                <a:xfrm>
                  <a:off x="5675308" y="4032242"/>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3" name="Al Fashir Locator">
                  <a:extLst>
                    <a:ext uri="{FF2B5EF4-FFF2-40B4-BE49-F238E27FC236}">
                      <a16:creationId xmlns:a16="http://schemas.microsoft.com/office/drawing/2014/main" id="{99F736F7-B669-48F2-82A0-12DADED4AA55}"/>
                    </a:ext>
                  </a:extLst>
                </p:cNvPr>
                <p:cNvSpPr>
                  <a:spLocks/>
                </p:cNvSpPr>
                <p:nvPr/>
              </p:nvSpPr>
              <p:spPr bwMode="gray">
                <a:xfrm>
                  <a:off x="5507033" y="3676642"/>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4" name="Kisangani Locator">
                  <a:extLst>
                    <a:ext uri="{FF2B5EF4-FFF2-40B4-BE49-F238E27FC236}">
                      <a16:creationId xmlns:a16="http://schemas.microsoft.com/office/drawing/2014/main" id="{FB2BCF02-5580-4DD2-896C-4BE6154F390F}"/>
                    </a:ext>
                  </a:extLst>
                </p:cNvPr>
                <p:cNvSpPr>
                  <a:spLocks/>
                </p:cNvSpPr>
                <p:nvPr/>
              </p:nvSpPr>
              <p:spPr bwMode="gray">
                <a:xfrm>
                  <a:off x="5529258" y="4495790"/>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5" name="Maiduguri Locator">
                  <a:extLst>
                    <a:ext uri="{FF2B5EF4-FFF2-40B4-BE49-F238E27FC236}">
                      <a16:creationId xmlns:a16="http://schemas.microsoft.com/office/drawing/2014/main" id="{D1C26445-BB28-4443-8E71-D582E6CC4923}"/>
                    </a:ext>
                  </a:extLst>
                </p:cNvPr>
                <p:cNvSpPr>
                  <a:spLocks/>
                </p:cNvSpPr>
                <p:nvPr/>
              </p:nvSpPr>
              <p:spPr bwMode="gray">
                <a:xfrm>
                  <a:off x="4748209" y="3789355"/>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6" name="Alexandria Locator">
                  <a:extLst>
                    <a:ext uri="{FF2B5EF4-FFF2-40B4-BE49-F238E27FC236}">
                      <a16:creationId xmlns:a16="http://schemas.microsoft.com/office/drawing/2014/main" id="{4B83D32A-28E7-4409-BD54-0D8E14740329}"/>
                    </a:ext>
                  </a:extLst>
                </p:cNvPr>
                <p:cNvSpPr>
                  <a:spLocks/>
                </p:cNvSpPr>
                <p:nvPr/>
              </p:nvSpPr>
              <p:spPr bwMode="gray">
                <a:xfrm>
                  <a:off x="5711819" y="2562219"/>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7" name="Aswan Locator">
                  <a:extLst>
                    <a:ext uri="{FF2B5EF4-FFF2-40B4-BE49-F238E27FC236}">
                      <a16:creationId xmlns:a16="http://schemas.microsoft.com/office/drawing/2014/main" id="{5C14EBF2-8BA1-45E2-8F27-AAE51CDE74DD}"/>
                    </a:ext>
                  </a:extLst>
                </p:cNvPr>
                <p:cNvSpPr>
                  <a:spLocks/>
                </p:cNvSpPr>
                <p:nvPr/>
              </p:nvSpPr>
              <p:spPr bwMode="gray">
                <a:xfrm>
                  <a:off x="5918194" y="302576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8" name="Al Jawf Locator">
                  <a:extLst>
                    <a:ext uri="{FF2B5EF4-FFF2-40B4-BE49-F238E27FC236}">
                      <a16:creationId xmlns:a16="http://schemas.microsoft.com/office/drawing/2014/main" id="{1AD4E8BC-1010-4AB0-A654-0723529B528D}"/>
                    </a:ext>
                  </a:extLst>
                </p:cNvPr>
                <p:cNvSpPr>
                  <a:spLocks/>
                </p:cNvSpPr>
                <p:nvPr/>
              </p:nvSpPr>
              <p:spPr bwMode="gray">
                <a:xfrm>
                  <a:off x="5351457" y="3016242"/>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79" name="Laâyoune Locator">
                  <a:extLst>
                    <a:ext uri="{FF2B5EF4-FFF2-40B4-BE49-F238E27FC236}">
                      <a16:creationId xmlns:a16="http://schemas.microsoft.com/office/drawing/2014/main" id="{91D992CB-A6F7-4D27-A9B1-7B75CA727447}"/>
                    </a:ext>
                  </a:extLst>
                </p:cNvPr>
                <p:cNvSpPr>
                  <a:spLocks/>
                </p:cNvSpPr>
                <p:nvPr/>
              </p:nvSpPr>
              <p:spPr bwMode="gray">
                <a:xfrm>
                  <a:off x="3292470" y="2744781"/>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0" name="Tombouctou Locator">
                  <a:extLst>
                    <a:ext uri="{FF2B5EF4-FFF2-40B4-BE49-F238E27FC236}">
                      <a16:creationId xmlns:a16="http://schemas.microsoft.com/office/drawing/2014/main" id="{CE5A85D8-24D3-47CA-A684-449B5C665B2D}"/>
                    </a:ext>
                  </a:extLst>
                </p:cNvPr>
                <p:cNvSpPr>
                  <a:spLocks/>
                </p:cNvSpPr>
                <p:nvPr/>
              </p:nvSpPr>
              <p:spPr bwMode="gray">
                <a:xfrm>
                  <a:off x="3778245" y="3436931"/>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1" name="Casablanca Locator">
                  <a:extLst>
                    <a:ext uri="{FF2B5EF4-FFF2-40B4-BE49-F238E27FC236}">
                      <a16:creationId xmlns:a16="http://schemas.microsoft.com/office/drawing/2014/main" id="{B9679957-B920-40C5-8760-F26146EDFC2D}"/>
                    </a:ext>
                  </a:extLst>
                </p:cNvPr>
                <p:cNvSpPr>
                  <a:spLocks/>
                </p:cNvSpPr>
                <p:nvPr/>
              </p:nvSpPr>
              <p:spPr bwMode="gray">
                <a:xfrm>
                  <a:off x="3638545" y="2370133"/>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2" name="Marrakech Locator">
                  <a:extLst>
                    <a:ext uri="{FF2B5EF4-FFF2-40B4-BE49-F238E27FC236}">
                      <a16:creationId xmlns:a16="http://schemas.microsoft.com/office/drawing/2014/main" id="{11BB70A0-09D1-4C71-92B5-92579D3BA7DA}"/>
                    </a:ext>
                  </a:extLst>
                </p:cNvPr>
                <p:cNvSpPr>
                  <a:spLocks/>
                </p:cNvSpPr>
                <p:nvPr/>
              </p:nvSpPr>
              <p:spPr bwMode="gray">
                <a:xfrm>
                  <a:off x="3609970" y="2492370"/>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3" name="Oran Locator">
                  <a:extLst>
                    <a:ext uri="{FF2B5EF4-FFF2-40B4-BE49-F238E27FC236}">
                      <a16:creationId xmlns:a16="http://schemas.microsoft.com/office/drawing/2014/main" id="{16E9343A-1BF8-4BB0-8185-078389533BFA}"/>
                    </a:ext>
                  </a:extLst>
                </p:cNvPr>
                <p:cNvSpPr>
                  <a:spLocks/>
                </p:cNvSpPr>
                <p:nvPr/>
              </p:nvSpPr>
              <p:spPr bwMode="gray">
                <a:xfrm>
                  <a:off x="4044944" y="2263770"/>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4" name="Tamanrasset Locator">
                  <a:extLst>
                    <a:ext uri="{FF2B5EF4-FFF2-40B4-BE49-F238E27FC236}">
                      <a16:creationId xmlns:a16="http://schemas.microsoft.com/office/drawing/2014/main" id="{7B5FCD83-7623-4A2D-9765-AA6535A28C19}"/>
                    </a:ext>
                  </a:extLst>
                </p:cNvPr>
                <p:cNvSpPr>
                  <a:spLocks/>
                </p:cNvSpPr>
                <p:nvPr/>
              </p:nvSpPr>
              <p:spPr bwMode="gray">
                <a:xfrm>
                  <a:off x="4306882" y="3095617"/>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5" name="Bechar Locator">
                  <a:extLst>
                    <a:ext uri="{FF2B5EF4-FFF2-40B4-BE49-F238E27FC236}">
                      <a16:creationId xmlns:a16="http://schemas.microsoft.com/office/drawing/2014/main" id="{5326854B-470F-4F49-ADE8-B23162ABDB08}"/>
                    </a:ext>
                  </a:extLst>
                </p:cNvPr>
                <p:cNvSpPr>
                  <a:spLocks/>
                </p:cNvSpPr>
                <p:nvPr/>
              </p:nvSpPr>
              <p:spPr bwMode="gray">
                <a:xfrm>
                  <a:off x="3956045" y="2525708"/>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6" name="Nema Locator">
                  <a:extLst>
                    <a:ext uri="{FF2B5EF4-FFF2-40B4-BE49-F238E27FC236}">
                      <a16:creationId xmlns:a16="http://schemas.microsoft.com/office/drawing/2014/main" id="{34E1BAC1-5D7F-4517-8DB0-0100D78EC332}"/>
                    </a:ext>
                  </a:extLst>
                </p:cNvPr>
                <p:cNvSpPr>
                  <a:spLocks/>
                </p:cNvSpPr>
                <p:nvPr/>
              </p:nvSpPr>
              <p:spPr bwMode="gray">
                <a:xfrm>
                  <a:off x="3516307" y="3428993"/>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7" name="Banghazi Locator">
                  <a:extLst>
                    <a:ext uri="{FF2B5EF4-FFF2-40B4-BE49-F238E27FC236}">
                      <a16:creationId xmlns:a16="http://schemas.microsoft.com/office/drawing/2014/main" id="{0E5A6F44-9252-496D-B531-04BE6A3D5E48}"/>
                    </a:ext>
                  </a:extLst>
                </p:cNvPr>
                <p:cNvSpPr>
                  <a:spLocks/>
                </p:cNvSpPr>
                <p:nvPr/>
              </p:nvSpPr>
              <p:spPr bwMode="gray">
                <a:xfrm>
                  <a:off x="5165716" y="2516184"/>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588" name="Constatine Locator">
                  <a:extLst>
                    <a:ext uri="{FF2B5EF4-FFF2-40B4-BE49-F238E27FC236}">
                      <a16:creationId xmlns:a16="http://schemas.microsoft.com/office/drawing/2014/main" id="{AD9FD423-4109-4C75-8D58-C18D08B30242}"/>
                    </a:ext>
                  </a:extLst>
                </p:cNvPr>
                <p:cNvSpPr>
                  <a:spLocks/>
                </p:cNvSpPr>
                <p:nvPr/>
              </p:nvSpPr>
              <p:spPr bwMode="gray">
                <a:xfrm>
                  <a:off x="4457700" y="2263775"/>
                  <a:ext cx="36576" cy="36576"/>
                </a:xfrm>
                <a:custGeom>
                  <a:avLst/>
                  <a:gdLst/>
                  <a:ahLst/>
                  <a:cxnLst>
                    <a:cxn ang="0">
                      <a:pos x="0" y="14"/>
                    </a:cxn>
                    <a:cxn ang="0">
                      <a:pos x="0" y="8"/>
                    </a:cxn>
                    <a:cxn ang="0">
                      <a:pos x="4" y="4"/>
                    </a:cxn>
                    <a:cxn ang="0">
                      <a:pos x="8" y="2"/>
                    </a:cxn>
                    <a:cxn ang="0">
                      <a:pos x="14" y="0"/>
                    </a:cxn>
                    <a:cxn ang="0">
                      <a:pos x="20" y="2"/>
                    </a:cxn>
                    <a:cxn ang="0">
                      <a:pos x="24" y="4"/>
                    </a:cxn>
                    <a:cxn ang="0">
                      <a:pos x="26" y="8"/>
                    </a:cxn>
                    <a:cxn ang="0">
                      <a:pos x="28" y="14"/>
                    </a:cxn>
                    <a:cxn ang="0">
                      <a:pos x="26" y="20"/>
                    </a:cxn>
                    <a:cxn ang="0">
                      <a:pos x="24" y="24"/>
                    </a:cxn>
                    <a:cxn ang="0">
                      <a:pos x="20" y="26"/>
                    </a:cxn>
                    <a:cxn ang="0">
                      <a:pos x="14" y="28"/>
                    </a:cxn>
                    <a:cxn ang="0">
                      <a:pos x="8" y="26"/>
                    </a:cxn>
                    <a:cxn ang="0">
                      <a:pos x="4" y="24"/>
                    </a:cxn>
                    <a:cxn ang="0">
                      <a:pos x="0" y="20"/>
                    </a:cxn>
                    <a:cxn ang="0">
                      <a:pos x="0" y="16"/>
                    </a:cxn>
                  </a:cxnLst>
                  <a:rect l="0" t="0" r="r" b="b"/>
                  <a:pathLst>
                    <a:path w="28" h="28">
                      <a:moveTo>
                        <a:pt x="0" y="14"/>
                      </a:moveTo>
                      <a:lnTo>
                        <a:pt x="0" y="8"/>
                      </a:lnTo>
                      <a:lnTo>
                        <a:pt x="4" y="4"/>
                      </a:lnTo>
                      <a:lnTo>
                        <a:pt x="8" y="2"/>
                      </a:lnTo>
                      <a:lnTo>
                        <a:pt x="14" y="0"/>
                      </a:lnTo>
                      <a:lnTo>
                        <a:pt x="20" y="2"/>
                      </a:lnTo>
                      <a:lnTo>
                        <a:pt x="24" y="4"/>
                      </a:lnTo>
                      <a:lnTo>
                        <a:pt x="26" y="8"/>
                      </a:lnTo>
                      <a:lnTo>
                        <a:pt x="28" y="14"/>
                      </a:lnTo>
                      <a:lnTo>
                        <a:pt x="26" y="20"/>
                      </a:lnTo>
                      <a:lnTo>
                        <a:pt x="24" y="24"/>
                      </a:lnTo>
                      <a:lnTo>
                        <a:pt x="20" y="26"/>
                      </a:lnTo>
                      <a:lnTo>
                        <a:pt x="14" y="28"/>
                      </a:lnTo>
                      <a:lnTo>
                        <a:pt x="8" y="26"/>
                      </a:lnTo>
                      <a:lnTo>
                        <a:pt x="4" y="24"/>
                      </a:lnTo>
                      <a:lnTo>
                        <a:pt x="0" y="20"/>
                      </a:lnTo>
                      <a:lnTo>
                        <a:pt x="0" y="16"/>
                      </a:lnTo>
                    </a:path>
                  </a:pathLst>
                </a:custGeom>
                <a:grpFill/>
                <a:ln w="3175" cap="flat" cmpd="sng">
                  <a:solidFill>
                    <a:srgbClr val="D04A02"/>
                  </a:solidFill>
                  <a:prstDash val="solid"/>
                  <a:round/>
                  <a:headEnd type="none" w="med" len="med"/>
                  <a:tailEnd type="none" w="med" len="med"/>
                </a:ln>
                <a:effectLst/>
              </p:spPr>
              <p:txBody>
                <a:bodyPr/>
                <a:lstStyle/>
                <a:p>
                  <a:pPr defTabSz="742950">
                    <a:buClr>
                      <a:srgbClr val="000000"/>
                    </a:buClr>
                    <a:defRPr/>
                  </a:pPr>
                  <a:endParaRPr lang="en-US" sz="325" kern="0" noProof="1">
                    <a:solidFill>
                      <a:srgbClr val="000000"/>
                    </a:solidFill>
                    <a:latin typeface="Arial"/>
                    <a:cs typeface="Arial"/>
                    <a:sym typeface="Arial"/>
                  </a:endParaRPr>
                </a:p>
              </p:txBody>
            </p:sp>
          </p:grpSp>
          <p:grpSp>
            <p:nvGrpSpPr>
              <p:cNvPr id="335" name="Africa City Labels">
                <a:extLst>
                  <a:ext uri="{FF2B5EF4-FFF2-40B4-BE49-F238E27FC236}">
                    <a16:creationId xmlns:a16="http://schemas.microsoft.com/office/drawing/2014/main" id="{117BC52F-6F67-4C1B-B015-22DC6C91AE3B}"/>
                  </a:ext>
                </a:extLst>
              </p:cNvPr>
              <p:cNvGrpSpPr/>
              <p:nvPr/>
            </p:nvGrpSpPr>
            <p:grpSpPr bwMode="gray">
              <a:xfrm>
                <a:off x="2673873" y="2059199"/>
                <a:ext cx="4635435" cy="4890992"/>
                <a:chOff x="2747924" y="2128239"/>
                <a:chExt cx="4373351" cy="4614496"/>
              </a:xfrm>
            </p:grpSpPr>
            <p:sp>
              <p:nvSpPr>
                <p:cNvPr id="450" name="Libreville Label">
                  <a:extLst>
                    <a:ext uri="{FF2B5EF4-FFF2-40B4-BE49-F238E27FC236}">
                      <a16:creationId xmlns:a16="http://schemas.microsoft.com/office/drawing/2014/main" id="{DF6813E7-9CAE-443A-B02D-ADCD3055944F}"/>
                    </a:ext>
                  </a:extLst>
                </p:cNvPr>
                <p:cNvSpPr>
                  <a:spLocks noChangeArrowheads="1"/>
                </p:cNvSpPr>
                <p:nvPr/>
              </p:nvSpPr>
              <p:spPr bwMode="gray">
                <a:xfrm>
                  <a:off x="4283080" y="4476787"/>
                  <a:ext cx="23020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Libreville</a:t>
                  </a:r>
                </a:p>
              </p:txBody>
            </p:sp>
            <p:sp>
              <p:nvSpPr>
                <p:cNvPr id="451" name="Kananga Label">
                  <a:extLst>
                    <a:ext uri="{FF2B5EF4-FFF2-40B4-BE49-F238E27FC236}">
                      <a16:creationId xmlns:a16="http://schemas.microsoft.com/office/drawing/2014/main" id="{880F6819-34B3-4488-B6C2-173F261E3485}"/>
                    </a:ext>
                  </a:extLst>
                </p:cNvPr>
                <p:cNvSpPr>
                  <a:spLocks noChangeArrowheads="1"/>
                </p:cNvSpPr>
                <p:nvPr/>
              </p:nvSpPr>
              <p:spPr bwMode="gray">
                <a:xfrm>
                  <a:off x="5252242" y="4835568"/>
                  <a:ext cx="22794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ananga</a:t>
                  </a:r>
                </a:p>
              </p:txBody>
            </p:sp>
            <p:sp>
              <p:nvSpPr>
                <p:cNvPr id="452" name="Ndola Label">
                  <a:extLst>
                    <a:ext uri="{FF2B5EF4-FFF2-40B4-BE49-F238E27FC236}">
                      <a16:creationId xmlns:a16="http://schemas.microsoft.com/office/drawing/2014/main" id="{FED90B3F-BF27-4BA4-8E37-BC06ADB5914B}"/>
                    </a:ext>
                  </a:extLst>
                </p:cNvPr>
                <p:cNvSpPr>
                  <a:spLocks noChangeArrowheads="1"/>
                </p:cNvSpPr>
                <p:nvPr/>
              </p:nvSpPr>
              <p:spPr bwMode="gray">
                <a:xfrm>
                  <a:off x="5564985" y="5333253"/>
                  <a:ext cx="151211"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dola</a:t>
                  </a:r>
                </a:p>
              </p:txBody>
            </p:sp>
            <p:sp>
              <p:nvSpPr>
                <p:cNvPr id="453" name="Nacala Label">
                  <a:extLst>
                    <a:ext uri="{FF2B5EF4-FFF2-40B4-BE49-F238E27FC236}">
                      <a16:creationId xmlns:a16="http://schemas.microsoft.com/office/drawing/2014/main" id="{DB6D2642-C8CF-44C2-B1ED-2485BB3F03B3}"/>
                    </a:ext>
                  </a:extLst>
                </p:cNvPr>
                <p:cNvSpPr>
                  <a:spLocks noChangeArrowheads="1"/>
                </p:cNvSpPr>
                <p:nvPr/>
              </p:nvSpPr>
              <p:spPr bwMode="gray">
                <a:xfrm>
                  <a:off x="6272019" y="5418182"/>
                  <a:ext cx="18054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acala</a:t>
                  </a:r>
                </a:p>
              </p:txBody>
            </p:sp>
            <p:sp>
              <p:nvSpPr>
                <p:cNvPr id="454" name="Dar es Salaam Label">
                  <a:extLst>
                    <a:ext uri="{FF2B5EF4-FFF2-40B4-BE49-F238E27FC236}">
                      <a16:creationId xmlns:a16="http://schemas.microsoft.com/office/drawing/2014/main" id="{A28FF565-7924-476F-A388-BAE5291DFD93}"/>
                    </a:ext>
                  </a:extLst>
                </p:cNvPr>
                <p:cNvSpPr>
                  <a:spLocks noChangeArrowheads="1"/>
                </p:cNvSpPr>
                <p:nvPr/>
              </p:nvSpPr>
              <p:spPr bwMode="gray">
                <a:xfrm>
                  <a:off x="6437317" y="4950664"/>
                  <a:ext cx="38366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Dar es Salaam</a:t>
                  </a:r>
                </a:p>
              </p:txBody>
            </p:sp>
            <p:sp>
              <p:nvSpPr>
                <p:cNvPr id="455" name="Zanzibar Label">
                  <a:extLst>
                    <a:ext uri="{FF2B5EF4-FFF2-40B4-BE49-F238E27FC236}">
                      <a16:creationId xmlns:a16="http://schemas.microsoft.com/office/drawing/2014/main" id="{C0BBBFD1-BC45-4F5F-9171-03A8F2905F92}"/>
                    </a:ext>
                  </a:extLst>
                </p:cNvPr>
                <p:cNvSpPr>
                  <a:spLocks noChangeArrowheads="1"/>
                </p:cNvSpPr>
                <p:nvPr/>
              </p:nvSpPr>
              <p:spPr bwMode="gray">
                <a:xfrm>
                  <a:off x="6444460" y="4887956"/>
                  <a:ext cx="22568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Zanzibar</a:t>
                  </a:r>
                </a:p>
              </p:txBody>
            </p:sp>
            <p:sp>
              <p:nvSpPr>
                <p:cNvPr id="456" name="Mombasa Label">
                  <a:extLst>
                    <a:ext uri="{FF2B5EF4-FFF2-40B4-BE49-F238E27FC236}">
                      <a16:creationId xmlns:a16="http://schemas.microsoft.com/office/drawing/2014/main" id="{A634C99A-A8A3-4514-8827-2830A970A8E4}"/>
                    </a:ext>
                  </a:extLst>
                </p:cNvPr>
                <p:cNvSpPr>
                  <a:spLocks noChangeArrowheads="1"/>
                </p:cNvSpPr>
                <p:nvPr/>
              </p:nvSpPr>
              <p:spPr bwMode="gray">
                <a:xfrm>
                  <a:off x="6480179" y="4737141"/>
                  <a:ext cx="25502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Mombasa</a:t>
                  </a:r>
                </a:p>
              </p:txBody>
            </p:sp>
            <p:sp>
              <p:nvSpPr>
                <p:cNvPr id="457" name="Beira Label">
                  <a:extLst>
                    <a:ext uri="{FF2B5EF4-FFF2-40B4-BE49-F238E27FC236}">
                      <a16:creationId xmlns:a16="http://schemas.microsoft.com/office/drawing/2014/main" id="{44993A2F-B599-4BF1-8B29-12267AC4114C}"/>
                    </a:ext>
                  </a:extLst>
                </p:cNvPr>
                <p:cNvSpPr>
                  <a:spLocks noChangeArrowheads="1"/>
                </p:cNvSpPr>
                <p:nvPr/>
              </p:nvSpPr>
              <p:spPr bwMode="gray">
                <a:xfrm>
                  <a:off x="6163475" y="5737274"/>
                  <a:ext cx="13541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Beira</a:t>
                  </a:r>
                </a:p>
              </p:txBody>
            </p:sp>
            <p:sp>
              <p:nvSpPr>
                <p:cNvPr id="458" name="Kalemie Label">
                  <a:extLst>
                    <a:ext uri="{FF2B5EF4-FFF2-40B4-BE49-F238E27FC236}">
                      <a16:creationId xmlns:a16="http://schemas.microsoft.com/office/drawing/2014/main" id="{BD49FAA0-EAD7-48D9-B29B-3A3606B9E4A7}"/>
                    </a:ext>
                  </a:extLst>
                </p:cNvPr>
                <p:cNvSpPr>
                  <a:spLocks noChangeArrowheads="1"/>
                </p:cNvSpPr>
                <p:nvPr/>
              </p:nvSpPr>
              <p:spPr bwMode="gray">
                <a:xfrm>
                  <a:off x="5559429" y="4884780"/>
                  <a:ext cx="20989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alemie</a:t>
                  </a:r>
                </a:p>
              </p:txBody>
            </p:sp>
            <p:sp>
              <p:nvSpPr>
                <p:cNvPr id="459" name="Antananarivo Label">
                  <a:extLst>
                    <a:ext uri="{FF2B5EF4-FFF2-40B4-BE49-F238E27FC236}">
                      <a16:creationId xmlns:a16="http://schemas.microsoft.com/office/drawing/2014/main" id="{64B15CBA-1EDB-4301-BB20-6CB027E03DB2}"/>
                    </a:ext>
                  </a:extLst>
                </p:cNvPr>
                <p:cNvSpPr>
                  <a:spLocks noChangeArrowheads="1"/>
                </p:cNvSpPr>
                <p:nvPr/>
              </p:nvSpPr>
              <p:spPr bwMode="gray">
                <a:xfrm>
                  <a:off x="6665701" y="5652778"/>
                  <a:ext cx="35432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ntananarivo </a:t>
                  </a:r>
                </a:p>
              </p:txBody>
            </p:sp>
            <p:sp>
              <p:nvSpPr>
                <p:cNvPr id="460" name="Maputo Label">
                  <a:extLst>
                    <a:ext uri="{FF2B5EF4-FFF2-40B4-BE49-F238E27FC236}">
                      <a16:creationId xmlns:a16="http://schemas.microsoft.com/office/drawing/2014/main" id="{2A2F139A-9AC0-49F9-88BF-71C2E6C5FEAE}"/>
                    </a:ext>
                  </a:extLst>
                </p:cNvPr>
                <p:cNvSpPr>
                  <a:spLocks noChangeArrowheads="1"/>
                </p:cNvSpPr>
                <p:nvPr/>
              </p:nvSpPr>
              <p:spPr bwMode="gray">
                <a:xfrm>
                  <a:off x="5963449" y="6138122"/>
                  <a:ext cx="19183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Maputo</a:t>
                  </a:r>
                </a:p>
              </p:txBody>
            </p:sp>
            <p:sp>
              <p:nvSpPr>
                <p:cNvPr id="461" name="Lusaka Label">
                  <a:extLst>
                    <a:ext uri="{FF2B5EF4-FFF2-40B4-BE49-F238E27FC236}">
                      <a16:creationId xmlns:a16="http://schemas.microsoft.com/office/drawing/2014/main" id="{21B39350-B510-48BA-990D-8195E260B2F0}"/>
                    </a:ext>
                  </a:extLst>
                </p:cNvPr>
                <p:cNvSpPr>
                  <a:spLocks noChangeArrowheads="1"/>
                </p:cNvSpPr>
                <p:nvPr/>
              </p:nvSpPr>
              <p:spPr bwMode="gray">
                <a:xfrm>
                  <a:off x="5608642" y="5424535"/>
                  <a:ext cx="18506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Lusaka</a:t>
                  </a:r>
                </a:p>
              </p:txBody>
            </p:sp>
            <p:sp>
              <p:nvSpPr>
                <p:cNvPr id="462" name="Bulawayo Label">
                  <a:extLst>
                    <a:ext uri="{FF2B5EF4-FFF2-40B4-BE49-F238E27FC236}">
                      <a16:creationId xmlns:a16="http://schemas.microsoft.com/office/drawing/2014/main" id="{780AAC1C-E624-4627-80C0-71C705A23F34}"/>
                    </a:ext>
                  </a:extLst>
                </p:cNvPr>
                <p:cNvSpPr>
                  <a:spLocks noChangeArrowheads="1"/>
                </p:cNvSpPr>
                <p:nvPr/>
              </p:nvSpPr>
              <p:spPr bwMode="gray">
                <a:xfrm>
                  <a:off x="5616579" y="5730130"/>
                  <a:ext cx="25051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ulawayo</a:t>
                  </a:r>
                </a:p>
              </p:txBody>
            </p:sp>
            <p:sp>
              <p:nvSpPr>
                <p:cNvPr id="463" name="Harare Label">
                  <a:extLst>
                    <a:ext uri="{FF2B5EF4-FFF2-40B4-BE49-F238E27FC236}">
                      <a16:creationId xmlns:a16="http://schemas.microsoft.com/office/drawing/2014/main" id="{1AC4CAC5-CC6E-41DB-9E2C-AF80932B99D5}"/>
                    </a:ext>
                  </a:extLst>
                </p:cNvPr>
                <p:cNvSpPr>
                  <a:spLocks noChangeArrowheads="1"/>
                </p:cNvSpPr>
                <p:nvPr/>
              </p:nvSpPr>
              <p:spPr bwMode="gray">
                <a:xfrm>
                  <a:off x="5788024" y="5572176"/>
                  <a:ext cx="17829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Harare</a:t>
                  </a:r>
                </a:p>
              </p:txBody>
            </p:sp>
            <p:sp>
              <p:nvSpPr>
                <p:cNvPr id="464" name="Gaborone Label">
                  <a:extLst>
                    <a:ext uri="{FF2B5EF4-FFF2-40B4-BE49-F238E27FC236}">
                      <a16:creationId xmlns:a16="http://schemas.microsoft.com/office/drawing/2014/main" id="{1F8113D2-6083-4C32-AD1E-1554F004DE57}"/>
                    </a:ext>
                  </a:extLst>
                </p:cNvPr>
                <p:cNvSpPr>
                  <a:spLocks noChangeArrowheads="1"/>
                </p:cNvSpPr>
                <p:nvPr/>
              </p:nvSpPr>
              <p:spPr bwMode="gray">
                <a:xfrm>
                  <a:off x="5377660" y="5986513"/>
                  <a:ext cx="25502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Gaborone</a:t>
                  </a:r>
                </a:p>
              </p:txBody>
            </p:sp>
            <p:sp>
              <p:nvSpPr>
                <p:cNvPr id="465" name="Johannesburg Label">
                  <a:extLst>
                    <a:ext uri="{FF2B5EF4-FFF2-40B4-BE49-F238E27FC236}">
                      <a16:creationId xmlns:a16="http://schemas.microsoft.com/office/drawing/2014/main" id="{EAE24A9C-8E2A-42E9-83D0-7D0F5F07176C}"/>
                    </a:ext>
                  </a:extLst>
                </p:cNvPr>
                <p:cNvSpPr>
                  <a:spLocks noChangeArrowheads="1"/>
                </p:cNvSpPr>
                <p:nvPr/>
              </p:nvSpPr>
              <p:spPr bwMode="gray">
                <a:xfrm>
                  <a:off x="5330672" y="6158580"/>
                  <a:ext cx="36335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Johannesburg</a:t>
                  </a:r>
                </a:p>
              </p:txBody>
            </p:sp>
            <p:sp>
              <p:nvSpPr>
                <p:cNvPr id="466" name="Durban Label">
                  <a:extLst>
                    <a:ext uri="{FF2B5EF4-FFF2-40B4-BE49-F238E27FC236}">
                      <a16:creationId xmlns:a16="http://schemas.microsoft.com/office/drawing/2014/main" id="{153EEF44-A7D5-47A8-AD45-E2A9423C5358}"/>
                    </a:ext>
                  </a:extLst>
                </p:cNvPr>
                <p:cNvSpPr>
                  <a:spLocks noChangeArrowheads="1"/>
                </p:cNvSpPr>
                <p:nvPr/>
              </p:nvSpPr>
              <p:spPr bwMode="gray">
                <a:xfrm>
                  <a:off x="5885658" y="6335770"/>
                  <a:ext cx="18957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Durban</a:t>
                  </a:r>
                </a:p>
              </p:txBody>
            </p:sp>
            <p:sp>
              <p:nvSpPr>
                <p:cNvPr id="467" name="Port Elizabeth Label">
                  <a:extLst>
                    <a:ext uri="{FF2B5EF4-FFF2-40B4-BE49-F238E27FC236}">
                      <a16:creationId xmlns:a16="http://schemas.microsoft.com/office/drawing/2014/main" id="{4FBC4444-D45B-4CB4-BD0C-DA00644E28EB}"/>
                    </a:ext>
                  </a:extLst>
                </p:cNvPr>
                <p:cNvSpPr>
                  <a:spLocks noChangeArrowheads="1"/>
                </p:cNvSpPr>
                <p:nvPr/>
              </p:nvSpPr>
              <p:spPr bwMode="gray">
                <a:xfrm>
                  <a:off x="5321679" y="6672320"/>
                  <a:ext cx="35884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Port Elizabeth</a:t>
                  </a:r>
                </a:p>
              </p:txBody>
            </p:sp>
            <p:sp>
              <p:nvSpPr>
                <p:cNvPr id="468" name="Maseru Label">
                  <a:extLst>
                    <a:ext uri="{FF2B5EF4-FFF2-40B4-BE49-F238E27FC236}">
                      <a16:creationId xmlns:a16="http://schemas.microsoft.com/office/drawing/2014/main" id="{7071EF40-33BD-466B-9E94-6FB3F422996B}"/>
                    </a:ext>
                  </a:extLst>
                </p:cNvPr>
                <p:cNvSpPr>
                  <a:spLocks noChangeArrowheads="1"/>
                </p:cNvSpPr>
                <p:nvPr/>
              </p:nvSpPr>
              <p:spPr bwMode="gray">
                <a:xfrm>
                  <a:off x="5453065" y="6296872"/>
                  <a:ext cx="19409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aseru</a:t>
                  </a:r>
                </a:p>
              </p:txBody>
            </p:sp>
            <p:sp>
              <p:nvSpPr>
                <p:cNvPr id="469" name="Mbabane Label">
                  <a:extLst>
                    <a:ext uri="{FF2B5EF4-FFF2-40B4-BE49-F238E27FC236}">
                      <a16:creationId xmlns:a16="http://schemas.microsoft.com/office/drawing/2014/main" id="{0F066076-32A7-481C-A493-79FA292E1437}"/>
                    </a:ext>
                  </a:extLst>
                </p:cNvPr>
                <p:cNvSpPr>
                  <a:spLocks noChangeArrowheads="1"/>
                </p:cNvSpPr>
                <p:nvPr/>
              </p:nvSpPr>
              <p:spPr bwMode="gray">
                <a:xfrm>
                  <a:off x="5625313" y="6241307"/>
                  <a:ext cx="23922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babane</a:t>
                  </a:r>
                </a:p>
              </p:txBody>
            </p:sp>
            <p:sp>
              <p:nvSpPr>
                <p:cNvPr id="470" name="Cape Town Label">
                  <a:extLst>
                    <a:ext uri="{FF2B5EF4-FFF2-40B4-BE49-F238E27FC236}">
                      <a16:creationId xmlns:a16="http://schemas.microsoft.com/office/drawing/2014/main" id="{19699D12-F8FB-4577-B745-E8650B23F0DA}"/>
                    </a:ext>
                  </a:extLst>
                </p:cNvPr>
                <p:cNvSpPr>
                  <a:spLocks noChangeArrowheads="1"/>
                </p:cNvSpPr>
                <p:nvPr/>
              </p:nvSpPr>
              <p:spPr bwMode="gray">
                <a:xfrm>
                  <a:off x="4773616" y="6631044"/>
                  <a:ext cx="31144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Cape Town </a:t>
                  </a:r>
                </a:p>
              </p:txBody>
            </p:sp>
            <p:sp>
              <p:nvSpPr>
                <p:cNvPr id="471" name="Luderitz Label">
                  <a:extLst>
                    <a:ext uri="{FF2B5EF4-FFF2-40B4-BE49-F238E27FC236}">
                      <a16:creationId xmlns:a16="http://schemas.microsoft.com/office/drawing/2014/main" id="{625F7A63-1C27-45D6-A91B-29852E8E694B}"/>
                    </a:ext>
                  </a:extLst>
                </p:cNvPr>
                <p:cNvSpPr>
                  <a:spLocks noChangeArrowheads="1"/>
                </p:cNvSpPr>
                <p:nvPr/>
              </p:nvSpPr>
              <p:spPr bwMode="gray">
                <a:xfrm>
                  <a:off x="4683127" y="6166699"/>
                  <a:ext cx="20537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Luderitz</a:t>
                  </a:r>
                </a:p>
              </p:txBody>
            </p:sp>
            <p:sp>
              <p:nvSpPr>
                <p:cNvPr id="472" name="Walvis Bay Label">
                  <a:extLst>
                    <a:ext uri="{FF2B5EF4-FFF2-40B4-BE49-F238E27FC236}">
                      <a16:creationId xmlns:a16="http://schemas.microsoft.com/office/drawing/2014/main" id="{C0F9E3AE-2278-4517-B375-485FF182DBD2}"/>
                    </a:ext>
                  </a:extLst>
                </p:cNvPr>
                <p:cNvSpPr>
                  <a:spLocks noChangeArrowheads="1"/>
                </p:cNvSpPr>
                <p:nvPr/>
              </p:nvSpPr>
              <p:spPr bwMode="gray">
                <a:xfrm>
                  <a:off x="4576763" y="5940474"/>
                  <a:ext cx="28887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Walvis Bay</a:t>
                  </a:r>
                </a:p>
              </p:txBody>
            </p:sp>
            <p:sp>
              <p:nvSpPr>
                <p:cNvPr id="473" name="Windhoek Label">
                  <a:extLst>
                    <a:ext uri="{FF2B5EF4-FFF2-40B4-BE49-F238E27FC236}">
                      <a16:creationId xmlns:a16="http://schemas.microsoft.com/office/drawing/2014/main" id="{5D583449-23F2-402F-AB67-C444D3E9793E}"/>
                    </a:ext>
                  </a:extLst>
                </p:cNvPr>
                <p:cNvSpPr>
                  <a:spLocks noChangeArrowheads="1"/>
                </p:cNvSpPr>
                <p:nvPr/>
              </p:nvSpPr>
              <p:spPr bwMode="gray">
                <a:xfrm>
                  <a:off x="4886329" y="5876975"/>
                  <a:ext cx="25728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Windhoek</a:t>
                  </a:r>
                </a:p>
              </p:txBody>
            </p:sp>
            <p:sp>
              <p:nvSpPr>
                <p:cNvPr id="474" name="Namibe Label">
                  <a:extLst>
                    <a:ext uri="{FF2B5EF4-FFF2-40B4-BE49-F238E27FC236}">
                      <a16:creationId xmlns:a16="http://schemas.microsoft.com/office/drawing/2014/main" id="{082E1949-5CD3-4907-858A-8166595D41F0}"/>
                    </a:ext>
                  </a:extLst>
                </p:cNvPr>
                <p:cNvSpPr>
                  <a:spLocks noChangeArrowheads="1"/>
                </p:cNvSpPr>
                <p:nvPr/>
              </p:nvSpPr>
              <p:spPr bwMode="gray">
                <a:xfrm>
                  <a:off x="4741868" y="5468193"/>
                  <a:ext cx="20086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amibe</a:t>
                  </a:r>
                </a:p>
              </p:txBody>
            </p:sp>
            <p:sp>
              <p:nvSpPr>
                <p:cNvPr id="475" name="Menongue Label">
                  <a:extLst>
                    <a:ext uri="{FF2B5EF4-FFF2-40B4-BE49-F238E27FC236}">
                      <a16:creationId xmlns:a16="http://schemas.microsoft.com/office/drawing/2014/main" id="{33CEA939-4B73-4C35-B759-D736725CE2F3}"/>
                    </a:ext>
                  </a:extLst>
                </p:cNvPr>
                <p:cNvSpPr>
                  <a:spLocks noChangeArrowheads="1"/>
                </p:cNvSpPr>
                <p:nvPr/>
              </p:nvSpPr>
              <p:spPr bwMode="gray">
                <a:xfrm>
                  <a:off x="4940303" y="5371465"/>
                  <a:ext cx="27082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enongue</a:t>
                  </a:r>
                </a:p>
              </p:txBody>
            </p:sp>
            <p:sp>
              <p:nvSpPr>
                <p:cNvPr id="476" name="Lobito Label">
                  <a:extLst>
                    <a:ext uri="{FF2B5EF4-FFF2-40B4-BE49-F238E27FC236}">
                      <a16:creationId xmlns:a16="http://schemas.microsoft.com/office/drawing/2014/main" id="{E94F8D78-EEA1-4F9B-A75E-6F2DBE9F6E2B}"/>
                    </a:ext>
                  </a:extLst>
                </p:cNvPr>
                <p:cNvSpPr>
                  <a:spLocks noChangeArrowheads="1"/>
                </p:cNvSpPr>
                <p:nvPr/>
              </p:nvSpPr>
              <p:spPr bwMode="gray">
                <a:xfrm>
                  <a:off x="4837118" y="5288008"/>
                  <a:ext cx="15572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Lobito</a:t>
                  </a:r>
                </a:p>
              </p:txBody>
            </p:sp>
            <p:sp>
              <p:nvSpPr>
                <p:cNvPr id="477" name="Malanje Label">
                  <a:extLst>
                    <a:ext uri="{FF2B5EF4-FFF2-40B4-BE49-F238E27FC236}">
                      <a16:creationId xmlns:a16="http://schemas.microsoft.com/office/drawing/2014/main" id="{BE6820A6-3E39-415C-9CB6-A44DF1DC92BC}"/>
                    </a:ext>
                  </a:extLst>
                </p:cNvPr>
                <p:cNvSpPr>
                  <a:spLocks noChangeArrowheads="1"/>
                </p:cNvSpPr>
                <p:nvPr/>
              </p:nvSpPr>
              <p:spPr bwMode="gray">
                <a:xfrm>
                  <a:off x="4985548" y="5111001"/>
                  <a:ext cx="20311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alanje</a:t>
                  </a:r>
                </a:p>
              </p:txBody>
            </p:sp>
            <p:sp>
              <p:nvSpPr>
                <p:cNvPr id="478" name="Lilongwe Label">
                  <a:extLst>
                    <a:ext uri="{FF2B5EF4-FFF2-40B4-BE49-F238E27FC236}">
                      <a16:creationId xmlns:a16="http://schemas.microsoft.com/office/drawing/2014/main" id="{0E2D08C9-718C-45BF-9F78-EB11D990E481}"/>
                    </a:ext>
                  </a:extLst>
                </p:cNvPr>
                <p:cNvSpPr>
                  <a:spLocks noChangeArrowheads="1"/>
                </p:cNvSpPr>
                <p:nvPr/>
              </p:nvSpPr>
              <p:spPr bwMode="gray">
                <a:xfrm>
                  <a:off x="5794855" y="5369084"/>
                  <a:ext cx="22794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Lilongwe</a:t>
                  </a:r>
                </a:p>
              </p:txBody>
            </p:sp>
            <p:sp>
              <p:nvSpPr>
                <p:cNvPr id="479" name="Mbeya Label">
                  <a:extLst>
                    <a:ext uri="{FF2B5EF4-FFF2-40B4-BE49-F238E27FC236}">
                      <a16:creationId xmlns:a16="http://schemas.microsoft.com/office/drawing/2014/main" id="{19F91774-5ABD-4302-9E97-0610A19D420A}"/>
                    </a:ext>
                  </a:extLst>
                </p:cNvPr>
                <p:cNvSpPr>
                  <a:spLocks noChangeArrowheads="1"/>
                </p:cNvSpPr>
                <p:nvPr/>
              </p:nvSpPr>
              <p:spPr bwMode="gray">
                <a:xfrm>
                  <a:off x="6071397" y="5058612"/>
                  <a:ext cx="17378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beya</a:t>
                  </a:r>
                </a:p>
              </p:txBody>
            </p:sp>
            <p:sp>
              <p:nvSpPr>
                <p:cNvPr id="480" name="Lake Tanganyika Label">
                  <a:extLst>
                    <a:ext uri="{FF2B5EF4-FFF2-40B4-BE49-F238E27FC236}">
                      <a16:creationId xmlns:a16="http://schemas.microsoft.com/office/drawing/2014/main" id="{8E6888AB-B770-4D7E-AD56-005B4E70A536}"/>
                    </a:ext>
                  </a:extLst>
                </p:cNvPr>
                <p:cNvSpPr>
                  <a:spLocks noChangeArrowheads="1"/>
                </p:cNvSpPr>
                <p:nvPr/>
              </p:nvSpPr>
              <p:spPr bwMode="gray">
                <a:xfrm>
                  <a:off x="5843591" y="4848446"/>
                  <a:ext cx="43783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i="1" kern="0" noProof="1">
                      <a:solidFill>
                        <a:srgbClr val="FFFFFF"/>
                      </a:solidFill>
                      <a:latin typeface="Arial"/>
                      <a:cs typeface="Arial"/>
                      <a:sym typeface="Arial"/>
                    </a:rPr>
                    <a:t>Lake Tanganyika</a:t>
                  </a:r>
                  <a:endParaRPr lang="en-US" sz="325" kern="0" noProof="1">
                    <a:solidFill>
                      <a:srgbClr val="FFFFFF"/>
                    </a:solidFill>
                    <a:latin typeface="Arial"/>
                    <a:cs typeface="Arial"/>
                    <a:sym typeface="Arial"/>
                  </a:endParaRPr>
                </a:p>
              </p:txBody>
            </p:sp>
            <p:sp>
              <p:nvSpPr>
                <p:cNvPr id="481" name="Luanda Label">
                  <a:extLst>
                    <a:ext uri="{FF2B5EF4-FFF2-40B4-BE49-F238E27FC236}">
                      <a16:creationId xmlns:a16="http://schemas.microsoft.com/office/drawing/2014/main" id="{5603EDEC-A016-47E1-BAA3-120BEAF3E2DB}"/>
                    </a:ext>
                  </a:extLst>
                </p:cNvPr>
                <p:cNvSpPr>
                  <a:spLocks noChangeArrowheads="1"/>
                </p:cNvSpPr>
                <p:nvPr/>
              </p:nvSpPr>
              <p:spPr bwMode="gray">
                <a:xfrm>
                  <a:off x="4797428" y="5046705"/>
                  <a:ext cx="18957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Luanda</a:t>
                  </a:r>
                </a:p>
              </p:txBody>
            </p:sp>
            <p:sp>
              <p:nvSpPr>
                <p:cNvPr id="482" name="Kinshasa Label">
                  <a:extLst>
                    <a:ext uri="{FF2B5EF4-FFF2-40B4-BE49-F238E27FC236}">
                      <a16:creationId xmlns:a16="http://schemas.microsoft.com/office/drawing/2014/main" id="{857D413D-D1A0-4AB0-9124-B1BE61F0B36A}"/>
                    </a:ext>
                  </a:extLst>
                </p:cNvPr>
                <p:cNvSpPr>
                  <a:spLocks noChangeArrowheads="1"/>
                </p:cNvSpPr>
                <p:nvPr/>
              </p:nvSpPr>
              <p:spPr bwMode="gray">
                <a:xfrm>
                  <a:off x="4941097" y="4818899"/>
                  <a:ext cx="23697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inshasa</a:t>
                  </a:r>
                </a:p>
              </p:txBody>
            </p:sp>
            <p:sp>
              <p:nvSpPr>
                <p:cNvPr id="483" name="Brazzaville Label">
                  <a:extLst>
                    <a:ext uri="{FF2B5EF4-FFF2-40B4-BE49-F238E27FC236}">
                      <a16:creationId xmlns:a16="http://schemas.microsoft.com/office/drawing/2014/main" id="{A0D61643-8D3F-4157-B671-C3C22CC137A9}"/>
                    </a:ext>
                  </a:extLst>
                </p:cNvPr>
                <p:cNvSpPr>
                  <a:spLocks noChangeArrowheads="1"/>
                </p:cNvSpPr>
                <p:nvPr/>
              </p:nvSpPr>
              <p:spPr bwMode="gray">
                <a:xfrm>
                  <a:off x="4687892" y="4713328"/>
                  <a:ext cx="28210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razzaville</a:t>
                  </a:r>
                </a:p>
              </p:txBody>
            </p:sp>
            <p:sp>
              <p:nvSpPr>
                <p:cNvPr id="484" name="Pointe-Noire Label">
                  <a:extLst>
                    <a:ext uri="{FF2B5EF4-FFF2-40B4-BE49-F238E27FC236}">
                      <a16:creationId xmlns:a16="http://schemas.microsoft.com/office/drawing/2014/main" id="{52CB9EF4-95C2-492B-88B7-36496300AF85}"/>
                    </a:ext>
                  </a:extLst>
                </p:cNvPr>
                <p:cNvSpPr>
                  <a:spLocks noChangeArrowheads="1"/>
                </p:cNvSpPr>
                <p:nvPr/>
              </p:nvSpPr>
              <p:spPr bwMode="gray">
                <a:xfrm>
                  <a:off x="4353722" y="4814136"/>
                  <a:ext cx="32273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Pointe-Noire</a:t>
                  </a:r>
                </a:p>
              </p:txBody>
            </p:sp>
            <p:sp>
              <p:nvSpPr>
                <p:cNvPr id="485" name="Toliara Label">
                  <a:extLst>
                    <a:ext uri="{FF2B5EF4-FFF2-40B4-BE49-F238E27FC236}">
                      <a16:creationId xmlns:a16="http://schemas.microsoft.com/office/drawing/2014/main" id="{30B145BC-A45D-4BE5-9F20-1BB33726A13D}"/>
                    </a:ext>
                  </a:extLst>
                </p:cNvPr>
                <p:cNvSpPr>
                  <a:spLocks noChangeArrowheads="1"/>
                </p:cNvSpPr>
                <p:nvPr/>
              </p:nvSpPr>
              <p:spPr bwMode="gray">
                <a:xfrm>
                  <a:off x="6581787" y="5918252"/>
                  <a:ext cx="17829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Toliara</a:t>
                  </a:r>
                </a:p>
              </p:txBody>
            </p:sp>
            <p:sp>
              <p:nvSpPr>
                <p:cNvPr id="486" name="Pretoria Label">
                  <a:extLst>
                    <a:ext uri="{FF2B5EF4-FFF2-40B4-BE49-F238E27FC236}">
                      <a16:creationId xmlns:a16="http://schemas.microsoft.com/office/drawing/2014/main" id="{467261FF-4581-4C47-935B-731B9984E6A9}"/>
                    </a:ext>
                  </a:extLst>
                </p:cNvPr>
                <p:cNvSpPr>
                  <a:spLocks noChangeArrowheads="1"/>
                </p:cNvSpPr>
                <p:nvPr/>
              </p:nvSpPr>
              <p:spPr bwMode="gray">
                <a:xfrm>
                  <a:off x="5590389" y="6045252"/>
                  <a:ext cx="20311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Pretoria</a:t>
                  </a:r>
                </a:p>
              </p:txBody>
            </p:sp>
            <p:sp>
              <p:nvSpPr>
                <p:cNvPr id="487" name="Agadez Label">
                  <a:extLst>
                    <a:ext uri="{FF2B5EF4-FFF2-40B4-BE49-F238E27FC236}">
                      <a16:creationId xmlns:a16="http://schemas.microsoft.com/office/drawing/2014/main" id="{6D844F12-0728-46F6-A5C9-C5EAE588507F}"/>
                    </a:ext>
                  </a:extLst>
                </p:cNvPr>
                <p:cNvSpPr>
                  <a:spLocks noChangeArrowheads="1"/>
                </p:cNvSpPr>
                <p:nvPr/>
              </p:nvSpPr>
              <p:spPr bwMode="gray">
                <a:xfrm>
                  <a:off x="4383091" y="3376639"/>
                  <a:ext cx="19409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gadez</a:t>
                  </a:r>
                </a:p>
              </p:txBody>
            </p:sp>
            <p:sp>
              <p:nvSpPr>
                <p:cNvPr id="488" name="Zinder Label">
                  <a:extLst>
                    <a:ext uri="{FF2B5EF4-FFF2-40B4-BE49-F238E27FC236}">
                      <a16:creationId xmlns:a16="http://schemas.microsoft.com/office/drawing/2014/main" id="{4180C013-8EFA-49AA-BC96-53E7D3FA5D3E}"/>
                    </a:ext>
                  </a:extLst>
                </p:cNvPr>
                <p:cNvSpPr>
                  <a:spLocks noChangeArrowheads="1"/>
                </p:cNvSpPr>
                <p:nvPr/>
              </p:nvSpPr>
              <p:spPr bwMode="gray">
                <a:xfrm>
                  <a:off x="4447379" y="3566353"/>
                  <a:ext cx="16475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Zinder</a:t>
                  </a:r>
                </a:p>
              </p:txBody>
            </p:sp>
            <p:sp>
              <p:nvSpPr>
                <p:cNvPr id="489" name="Faya-Largeau Label">
                  <a:extLst>
                    <a:ext uri="{FF2B5EF4-FFF2-40B4-BE49-F238E27FC236}">
                      <a16:creationId xmlns:a16="http://schemas.microsoft.com/office/drawing/2014/main" id="{9CDF93AE-3356-43DE-8756-EC2BEE4F19BF}"/>
                    </a:ext>
                  </a:extLst>
                </p:cNvPr>
                <p:cNvSpPr>
                  <a:spLocks noChangeArrowheads="1"/>
                </p:cNvSpPr>
                <p:nvPr/>
              </p:nvSpPr>
              <p:spPr bwMode="gray">
                <a:xfrm>
                  <a:off x="4956975" y="3273454"/>
                  <a:ext cx="35884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Faya-Largeau</a:t>
                  </a:r>
                </a:p>
              </p:txBody>
            </p:sp>
            <p:sp>
              <p:nvSpPr>
                <p:cNvPr id="490" name="N' Djamena Label">
                  <a:extLst>
                    <a:ext uri="{FF2B5EF4-FFF2-40B4-BE49-F238E27FC236}">
                      <a16:creationId xmlns:a16="http://schemas.microsoft.com/office/drawing/2014/main" id="{BDAC68E4-E175-430A-A3CE-E481EE67B080}"/>
                    </a:ext>
                  </a:extLst>
                </p:cNvPr>
                <p:cNvSpPr>
                  <a:spLocks noChangeArrowheads="1"/>
                </p:cNvSpPr>
                <p:nvPr/>
              </p:nvSpPr>
              <p:spPr bwMode="gray">
                <a:xfrm>
                  <a:off x="4908553" y="3694144"/>
                  <a:ext cx="30242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 Djamena</a:t>
                  </a:r>
                </a:p>
              </p:txBody>
            </p:sp>
            <p:sp>
              <p:nvSpPr>
                <p:cNvPr id="491" name="Maiduguri Label">
                  <a:extLst>
                    <a:ext uri="{FF2B5EF4-FFF2-40B4-BE49-F238E27FC236}">
                      <a16:creationId xmlns:a16="http://schemas.microsoft.com/office/drawing/2014/main" id="{CEAFEB75-AF31-4A16-B91F-6603B52982E0}"/>
                    </a:ext>
                  </a:extLst>
                </p:cNvPr>
                <p:cNvSpPr>
                  <a:spLocks noChangeArrowheads="1"/>
                </p:cNvSpPr>
                <p:nvPr/>
              </p:nvSpPr>
              <p:spPr bwMode="gray">
                <a:xfrm>
                  <a:off x="4576763" y="3725896"/>
                  <a:ext cx="25502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aiduguri</a:t>
                  </a:r>
                </a:p>
              </p:txBody>
            </p:sp>
            <p:sp>
              <p:nvSpPr>
                <p:cNvPr id="492" name="Kano Label">
                  <a:extLst>
                    <a:ext uri="{FF2B5EF4-FFF2-40B4-BE49-F238E27FC236}">
                      <a16:creationId xmlns:a16="http://schemas.microsoft.com/office/drawing/2014/main" id="{D1C9134D-C62C-4CE1-AAAB-120678D75BEF}"/>
                    </a:ext>
                  </a:extLst>
                </p:cNvPr>
                <p:cNvSpPr>
                  <a:spLocks noChangeArrowheads="1"/>
                </p:cNvSpPr>
                <p:nvPr/>
              </p:nvSpPr>
              <p:spPr bwMode="gray">
                <a:xfrm>
                  <a:off x="4328322" y="3760817"/>
                  <a:ext cx="13315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ano</a:t>
                  </a:r>
                </a:p>
              </p:txBody>
            </p:sp>
            <p:sp>
              <p:nvSpPr>
                <p:cNvPr id="493" name="Abuja Label">
                  <a:extLst>
                    <a:ext uri="{FF2B5EF4-FFF2-40B4-BE49-F238E27FC236}">
                      <a16:creationId xmlns:a16="http://schemas.microsoft.com/office/drawing/2014/main" id="{B263C826-57BC-47CA-8062-20C9D66A4371}"/>
                    </a:ext>
                  </a:extLst>
                </p:cNvPr>
                <p:cNvSpPr>
                  <a:spLocks noChangeArrowheads="1"/>
                </p:cNvSpPr>
                <p:nvPr/>
              </p:nvSpPr>
              <p:spPr bwMode="gray">
                <a:xfrm>
                  <a:off x="4332291" y="3865597"/>
                  <a:ext cx="14669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buja</a:t>
                  </a:r>
                </a:p>
              </p:txBody>
            </p:sp>
            <p:sp>
              <p:nvSpPr>
                <p:cNvPr id="494" name="Khartoum Label">
                  <a:extLst>
                    <a:ext uri="{FF2B5EF4-FFF2-40B4-BE49-F238E27FC236}">
                      <a16:creationId xmlns:a16="http://schemas.microsoft.com/office/drawing/2014/main" id="{BBF5770A-41CB-418E-B0DB-E8D11725459A}"/>
                    </a:ext>
                  </a:extLst>
                </p:cNvPr>
                <p:cNvSpPr>
                  <a:spLocks noChangeArrowheads="1"/>
                </p:cNvSpPr>
                <p:nvPr/>
              </p:nvSpPr>
              <p:spPr bwMode="gray">
                <a:xfrm>
                  <a:off x="5849941" y="3446491"/>
                  <a:ext cx="25051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hartoum</a:t>
                  </a:r>
                </a:p>
              </p:txBody>
            </p:sp>
            <p:sp>
              <p:nvSpPr>
                <p:cNvPr id="495" name="Al Fashir Label">
                  <a:extLst>
                    <a:ext uri="{FF2B5EF4-FFF2-40B4-BE49-F238E27FC236}">
                      <a16:creationId xmlns:a16="http://schemas.microsoft.com/office/drawing/2014/main" id="{D3ACC97D-579C-418C-9A24-0D8609AD14D0}"/>
                    </a:ext>
                  </a:extLst>
                </p:cNvPr>
                <p:cNvSpPr>
                  <a:spLocks noChangeArrowheads="1"/>
                </p:cNvSpPr>
                <p:nvPr/>
              </p:nvSpPr>
              <p:spPr bwMode="gray">
                <a:xfrm>
                  <a:off x="5428461" y="3604449"/>
                  <a:ext cx="23020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l Fashir</a:t>
                  </a:r>
                </a:p>
              </p:txBody>
            </p:sp>
            <p:sp>
              <p:nvSpPr>
                <p:cNvPr id="496" name="Juba Label">
                  <a:extLst>
                    <a:ext uri="{FF2B5EF4-FFF2-40B4-BE49-F238E27FC236}">
                      <a16:creationId xmlns:a16="http://schemas.microsoft.com/office/drawing/2014/main" id="{BEAE61FB-B6E2-4525-ABDB-20D55490D739}"/>
                    </a:ext>
                  </a:extLst>
                </p:cNvPr>
                <p:cNvSpPr>
                  <a:spLocks noChangeArrowheads="1"/>
                </p:cNvSpPr>
                <p:nvPr/>
              </p:nvSpPr>
              <p:spPr bwMode="gray">
                <a:xfrm>
                  <a:off x="5865816" y="4141824"/>
                  <a:ext cx="12412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Juba</a:t>
                  </a:r>
                </a:p>
              </p:txBody>
            </p:sp>
            <p:sp>
              <p:nvSpPr>
                <p:cNvPr id="497" name="Waw Label">
                  <a:extLst>
                    <a:ext uri="{FF2B5EF4-FFF2-40B4-BE49-F238E27FC236}">
                      <a16:creationId xmlns:a16="http://schemas.microsoft.com/office/drawing/2014/main" id="{DC2F16E0-B480-47BE-BFB3-53D030A5D259}"/>
                    </a:ext>
                  </a:extLst>
                </p:cNvPr>
                <p:cNvSpPr>
                  <a:spLocks noChangeArrowheads="1"/>
                </p:cNvSpPr>
                <p:nvPr/>
              </p:nvSpPr>
              <p:spPr bwMode="gray">
                <a:xfrm>
                  <a:off x="5635630" y="3967195"/>
                  <a:ext cx="13089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Waw</a:t>
                  </a:r>
                </a:p>
              </p:txBody>
            </p:sp>
            <p:sp>
              <p:nvSpPr>
                <p:cNvPr id="498" name="Asmara Label">
                  <a:extLst>
                    <a:ext uri="{FF2B5EF4-FFF2-40B4-BE49-F238E27FC236}">
                      <a16:creationId xmlns:a16="http://schemas.microsoft.com/office/drawing/2014/main" id="{4DD3302B-4B80-412C-BEF8-DEA2007500A6}"/>
                    </a:ext>
                  </a:extLst>
                </p:cNvPr>
                <p:cNvSpPr>
                  <a:spLocks noChangeArrowheads="1"/>
                </p:cNvSpPr>
                <p:nvPr/>
              </p:nvSpPr>
              <p:spPr bwMode="gray">
                <a:xfrm>
                  <a:off x="6441944" y="3496063"/>
                  <a:ext cx="20086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Asmara</a:t>
                  </a:r>
                </a:p>
              </p:txBody>
            </p:sp>
            <p:sp>
              <p:nvSpPr>
                <p:cNvPr id="499" name="Addis Aaba Label">
                  <a:extLst>
                    <a:ext uri="{FF2B5EF4-FFF2-40B4-BE49-F238E27FC236}">
                      <a16:creationId xmlns:a16="http://schemas.microsoft.com/office/drawing/2014/main" id="{13E2A437-C6BE-4C26-8557-2FFD8481DBF0}"/>
                    </a:ext>
                  </a:extLst>
                </p:cNvPr>
                <p:cNvSpPr>
                  <a:spLocks noChangeArrowheads="1"/>
                </p:cNvSpPr>
                <p:nvPr/>
              </p:nvSpPr>
              <p:spPr bwMode="gray">
                <a:xfrm>
                  <a:off x="6151812" y="3891353"/>
                  <a:ext cx="164752" cy="140829"/>
                </a:xfrm>
                <a:prstGeom prst="rect">
                  <a:avLst/>
                </a:prstGeom>
                <a:noFill/>
                <a:ln w="9525">
                  <a:noFill/>
                  <a:miter lim="800000"/>
                  <a:headEnd/>
                  <a:tailEnd/>
                </a:ln>
              </p:spPr>
              <p:txBody>
                <a:bodyPr wrap="none" lIns="0" tIns="0" rIns="0" bIns="0">
                  <a:spAutoFit/>
                </a:bodyPr>
                <a:lstStyle/>
                <a:p>
                  <a:pPr algn="ctr" defTabSz="742950" eaLnBrk="0" hangingPunct="0">
                    <a:buClr>
                      <a:srgbClr val="000000"/>
                    </a:buClr>
                    <a:defRPr/>
                  </a:pPr>
                  <a:r>
                    <a:rPr lang="en-US" sz="325" kern="0" noProof="1">
                      <a:solidFill>
                        <a:srgbClr val="FFFFFF"/>
                      </a:solidFill>
                      <a:latin typeface="Arial"/>
                      <a:cs typeface="Arial"/>
                      <a:sym typeface="Arial"/>
                    </a:rPr>
                    <a:t>Addis</a:t>
                  </a:r>
                </a:p>
                <a:p>
                  <a:pPr algn="ctr" defTabSz="742950" eaLnBrk="0" hangingPunct="0">
                    <a:buClr>
                      <a:srgbClr val="000000"/>
                    </a:buClr>
                    <a:defRPr/>
                  </a:pPr>
                  <a:r>
                    <a:rPr lang="en-US" sz="325" kern="0" noProof="1">
                      <a:solidFill>
                        <a:srgbClr val="FFFFFF"/>
                      </a:solidFill>
                      <a:latin typeface="Arial"/>
                      <a:cs typeface="Arial"/>
                      <a:sym typeface="Arial"/>
                    </a:rPr>
                    <a:t>Ababa</a:t>
                  </a:r>
                </a:p>
              </p:txBody>
            </p:sp>
            <p:sp>
              <p:nvSpPr>
                <p:cNvPr id="500" name="Port Sudan Label">
                  <a:extLst>
                    <a:ext uri="{FF2B5EF4-FFF2-40B4-BE49-F238E27FC236}">
                      <a16:creationId xmlns:a16="http://schemas.microsoft.com/office/drawing/2014/main" id="{0F813733-D182-478C-A25A-5EBCDB8918E4}"/>
                    </a:ext>
                  </a:extLst>
                </p:cNvPr>
                <p:cNvSpPr>
                  <a:spLocks noChangeArrowheads="1"/>
                </p:cNvSpPr>
                <p:nvPr/>
              </p:nvSpPr>
              <p:spPr bwMode="gray">
                <a:xfrm flipH="1">
                  <a:off x="5909885" y="3256733"/>
                  <a:ext cx="271463" cy="140829"/>
                </a:xfrm>
                <a:prstGeom prst="rect">
                  <a:avLst/>
                </a:prstGeom>
                <a:noFill/>
                <a:ln w="9525">
                  <a:noFill/>
                  <a:miter lim="800000"/>
                  <a:headEnd/>
                  <a:tailEnd/>
                </a:ln>
              </p:spPr>
              <p:txBody>
                <a:bodyPr wrap="squar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Port Sudan</a:t>
                  </a:r>
                </a:p>
              </p:txBody>
            </p:sp>
            <p:sp>
              <p:nvSpPr>
                <p:cNvPr id="501" name="Malabo Label">
                  <a:extLst>
                    <a:ext uri="{FF2B5EF4-FFF2-40B4-BE49-F238E27FC236}">
                      <a16:creationId xmlns:a16="http://schemas.microsoft.com/office/drawing/2014/main" id="{9F7183F4-CF4E-4624-AA52-8D701159D0C9}"/>
                    </a:ext>
                  </a:extLst>
                </p:cNvPr>
                <p:cNvSpPr>
                  <a:spLocks noChangeArrowheads="1"/>
                </p:cNvSpPr>
                <p:nvPr/>
              </p:nvSpPr>
              <p:spPr bwMode="gray">
                <a:xfrm>
                  <a:off x="4238628" y="4337087"/>
                  <a:ext cx="18957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Malabo</a:t>
                  </a:r>
                </a:p>
              </p:txBody>
            </p:sp>
            <p:sp>
              <p:nvSpPr>
                <p:cNvPr id="502" name="Yaounde Label">
                  <a:extLst>
                    <a:ext uri="{FF2B5EF4-FFF2-40B4-BE49-F238E27FC236}">
                      <a16:creationId xmlns:a16="http://schemas.microsoft.com/office/drawing/2014/main" id="{E54B11AF-1590-43E7-93D9-7958BF5B5976}"/>
                    </a:ext>
                  </a:extLst>
                </p:cNvPr>
                <p:cNvSpPr>
                  <a:spLocks noChangeArrowheads="1"/>
                </p:cNvSpPr>
                <p:nvPr/>
              </p:nvSpPr>
              <p:spPr bwMode="gray">
                <a:xfrm>
                  <a:off x="4593428" y="4225169"/>
                  <a:ext cx="22794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Yaounde</a:t>
                  </a:r>
                </a:p>
              </p:txBody>
            </p:sp>
            <p:sp>
              <p:nvSpPr>
                <p:cNvPr id="503" name="Bangui Label">
                  <a:extLst>
                    <a:ext uri="{FF2B5EF4-FFF2-40B4-BE49-F238E27FC236}">
                      <a16:creationId xmlns:a16="http://schemas.microsoft.com/office/drawing/2014/main" id="{CA348A4B-139D-4868-8F5C-7DF84C5E6406}"/>
                    </a:ext>
                  </a:extLst>
                </p:cNvPr>
                <p:cNvSpPr>
                  <a:spLocks noChangeArrowheads="1"/>
                </p:cNvSpPr>
                <p:nvPr/>
              </p:nvSpPr>
              <p:spPr bwMode="gray">
                <a:xfrm>
                  <a:off x="5011739" y="4158490"/>
                  <a:ext cx="17829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angui</a:t>
                  </a:r>
                </a:p>
              </p:txBody>
            </p:sp>
            <p:sp>
              <p:nvSpPr>
                <p:cNvPr id="504" name="Djibouti Label">
                  <a:extLst>
                    <a:ext uri="{FF2B5EF4-FFF2-40B4-BE49-F238E27FC236}">
                      <a16:creationId xmlns:a16="http://schemas.microsoft.com/office/drawing/2014/main" id="{F6C77886-5150-47E3-8352-A357A1F5987C}"/>
                    </a:ext>
                  </a:extLst>
                </p:cNvPr>
                <p:cNvSpPr>
                  <a:spLocks noChangeArrowheads="1"/>
                </p:cNvSpPr>
                <p:nvPr/>
              </p:nvSpPr>
              <p:spPr bwMode="gray">
                <a:xfrm>
                  <a:off x="6653217" y="3730657"/>
                  <a:ext cx="19409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Djibouti</a:t>
                  </a:r>
                </a:p>
              </p:txBody>
            </p:sp>
            <p:sp>
              <p:nvSpPr>
                <p:cNvPr id="505" name="Berbera Label">
                  <a:extLst>
                    <a:ext uri="{FF2B5EF4-FFF2-40B4-BE49-F238E27FC236}">
                      <a16:creationId xmlns:a16="http://schemas.microsoft.com/office/drawing/2014/main" id="{79D5F14F-9D7C-4CF3-8E23-F480024DD5FE}"/>
                    </a:ext>
                  </a:extLst>
                </p:cNvPr>
                <p:cNvSpPr>
                  <a:spLocks noChangeArrowheads="1"/>
                </p:cNvSpPr>
                <p:nvPr/>
              </p:nvSpPr>
              <p:spPr bwMode="gray">
                <a:xfrm>
                  <a:off x="6769107" y="3833844"/>
                  <a:ext cx="20537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erbera</a:t>
                  </a:r>
                </a:p>
              </p:txBody>
            </p:sp>
            <p:sp>
              <p:nvSpPr>
                <p:cNvPr id="506" name="Mogadishu Label">
                  <a:extLst>
                    <a:ext uri="{FF2B5EF4-FFF2-40B4-BE49-F238E27FC236}">
                      <a16:creationId xmlns:a16="http://schemas.microsoft.com/office/drawing/2014/main" id="{F1D46909-078B-4A35-BD6F-876BDA34F93A}"/>
                    </a:ext>
                  </a:extLst>
                </p:cNvPr>
                <p:cNvSpPr>
                  <a:spLocks noChangeArrowheads="1"/>
                </p:cNvSpPr>
                <p:nvPr/>
              </p:nvSpPr>
              <p:spPr bwMode="gray">
                <a:xfrm>
                  <a:off x="6839166" y="4356496"/>
                  <a:ext cx="28210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Mogadishu</a:t>
                  </a:r>
                </a:p>
              </p:txBody>
            </p:sp>
            <p:sp>
              <p:nvSpPr>
                <p:cNvPr id="507" name="Kisangai Label">
                  <a:extLst>
                    <a:ext uri="{FF2B5EF4-FFF2-40B4-BE49-F238E27FC236}">
                      <a16:creationId xmlns:a16="http://schemas.microsoft.com/office/drawing/2014/main" id="{4B82B180-7151-4362-9895-5B1A323483E4}"/>
                    </a:ext>
                  </a:extLst>
                </p:cNvPr>
                <p:cNvSpPr>
                  <a:spLocks noChangeArrowheads="1"/>
                </p:cNvSpPr>
                <p:nvPr/>
              </p:nvSpPr>
              <p:spPr bwMode="gray">
                <a:xfrm>
                  <a:off x="5434019" y="4428367"/>
                  <a:ext cx="25276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isangani</a:t>
                  </a:r>
                </a:p>
              </p:txBody>
            </p:sp>
            <p:sp>
              <p:nvSpPr>
                <p:cNvPr id="508" name="Bujumbura Label">
                  <a:extLst>
                    <a:ext uri="{FF2B5EF4-FFF2-40B4-BE49-F238E27FC236}">
                      <a16:creationId xmlns:a16="http://schemas.microsoft.com/office/drawing/2014/main" id="{B59EAE72-6148-49D2-9851-638063FFB47F}"/>
                    </a:ext>
                  </a:extLst>
                </p:cNvPr>
                <p:cNvSpPr>
                  <a:spLocks noChangeArrowheads="1"/>
                </p:cNvSpPr>
                <p:nvPr/>
              </p:nvSpPr>
              <p:spPr bwMode="gray">
                <a:xfrm>
                  <a:off x="5511804" y="4756983"/>
                  <a:ext cx="279851"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ujumbura</a:t>
                  </a:r>
                </a:p>
              </p:txBody>
            </p:sp>
            <p:sp>
              <p:nvSpPr>
                <p:cNvPr id="509" name="Nairobi Label">
                  <a:extLst>
                    <a:ext uri="{FF2B5EF4-FFF2-40B4-BE49-F238E27FC236}">
                      <a16:creationId xmlns:a16="http://schemas.microsoft.com/office/drawing/2014/main" id="{48D96EE5-C663-46CC-B558-6643C448FF57}"/>
                    </a:ext>
                  </a:extLst>
                </p:cNvPr>
                <p:cNvSpPr>
                  <a:spLocks noChangeArrowheads="1"/>
                </p:cNvSpPr>
                <p:nvPr/>
              </p:nvSpPr>
              <p:spPr bwMode="gray">
                <a:xfrm>
                  <a:off x="6165890" y="4527588"/>
                  <a:ext cx="18506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airobi</a:t>
                  </a:r>
                </a:p>
              </p:txBody>
            </p:sp>
            <p:sp>
              <p:nvSpPr>
                <p:cNvPr id="510" name="Kampala Label">
                  <a:extLst>
                    <a:ext uri="{FF2B5EF4-FFF2-40B4-BE49-F238E27FC236}">
                      <a16:creationId xmlns:a16="http://schemas.microsoft.com/office/drawing/2014/main" id="{3256BBBF-B422-4A7D-8972-1456617156DF}"/>
                    </a:ext>
                  </a:extLst>
                </p:cNvPr>
                <p:cNvSpPr>
                  <a:spLocks noChangeArrowheads="1"/>
                </p:cNvSpPr>
                <p:nvPr/>
              </p:nvSpPr>
              <p:spPr bwMode="gray">
                <a:xfrm>
                  <a:off x="5869789" y="4425192"/>
                  <a:ext cx="204789" cy="140829"/>
                </a:xfrm>
                <a:prstGeom prst="rect">
                  <a:avLst/>
                </a:prstGeom>
                <a:noFill/>
                <a:ln w="9525">
                  <a:noFill/>
                  <a:miter lim="800000"/>
                  <a:headEnd/>
                  <a:tailEnd/>
                </a:ln>
              </p:spPr>
              <p:txBody>
                <a:bodyPr wrap="squar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ampala</a:t>
                  </a:r>
                </a:p>
              </p:txBody>
            </p:sp>
            <p:sp>
              <p:nvSpPr>
                <p:cNvPr id="511" name="Kigali Label">
                  <a:extLst>
                    <a:ext uri="{FF2B5EF4-FFF2-40B4-BE49-F238E27FC236}">
                      <a16:creationId xmlns:a16="http://schemas.microsoft.com/office/drawing/2014/main" id="{3C240FDD-D1F9-4B19-987B-619D35327570}"/>
                    </a:ext>
                  </a:extLst>
                </p:cNvPr>
                <p:cNvSpPr>
                  <a:spLocks noChangeArrowheads="1"/>
                </p:cNvSpPr>
                <p:nvPr/>
              </p:nvSpPr>
              <p:spPr bwMode="gray">
                <a:xfrm>
                  <a:off x="5649916" y="4603789"/>
                  <a:ext cx="14218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igali</a:t>
                  </a:r>
                </a:p>
              </p:txBody>
            </p:sp>
            <p:sp>
              <p:nvSpPr>
                <p:cNvPr id="512" name="Bechar Label">
                  <a:extLst>
                    <a:ext uri="{FF2B5EF4-FFF2-40B4-BE49-F238E27FC236}">
                      <a16:creationId xmlns:a16="http://schemas.microsoft.com/office/drawing/2014/main" id="{97054522-E651-4080-8AB5-DECFDFE2A374}"/>
                    </a:ext>
                  </a:extLst>
                </p:cNvPr>
                <p:cNvSpPr>
                  <a:spLocks noChangeArrowheads="1"/>
                </p:cNvSpPr>
                <p:nvPr/>
              </p:nvSpPr>
              <p:spPr bwMode="gray">
                <a:xfrm>
                  <a:off x="3883027" y="2571772"/>
                  <a:ext cx="18280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echar</a:t>
                  </a:r>
                </a:p>
              </p:txBody>
            </p:sp>
            <p:sp>
              <p:nvSpPr>
                <p:cNvPr id="513" name="Tripoli Label">
                  <a:extLst>
                    <a:ext uri="{FF2B5EF4-FFF2-40B4-BE49-F238E27FC236}">
                      <a16:creationId xmlns:a16="http://schemas.microsoft.com/office/drawing/2014/main" id="{C4963468-C1E1-4560-A0CB-9834438379CD}"/>
                    </a:ext>
                  </a:extLst>
                </p:cNvPr>
                <p:cNvSpPr>
                  <a:spLocks noChangeArrowheads="1"/>
                </p:cNvSpPr>
                <p:nvPr/>
              </p:nvSpPr>
              <p:spPr bwMode="gray">
                <a:xfrm>
                  <a:off x="4706941" y="2388850"/>
                  <a:ext cx="16023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Tripoli</a:t>
                  </a:r>
                </a:p>
              </p:txBody>
            </p:sp>
            <p:sp>
              <p:nvSpPr>
                <p:cNvPr id="514" name="Al Jawt Label">
                  <a:extLst>
                    <a:ext uri="{FF2B5EF4-FFF2-40B4-BE49-F238E27FC236}">
                      <a16:creationId xmlns:a16="http://schemas.microsoft.com/office/drawing/2014/main" id="{E5BA1534-7CD5-460D-AE00-251157B78B9E}"/>
                    </a:ext>
                  </a:extLst>
                </p:cNvPr>
                <p:cNvSpPr>
                  <a:spLocks noChangeArrowheads="1"/>
                </p:cNvSpPr>
                <p:nvPr/>
              </p:nvSpPr>
              <p:spPr bwMode="gray">
                <a:xfrm>
                  <a:off x="5297488" y="2953571"/>
                  <a:ext cx="212725" cy="70415"/>
                </a:xfrm>
                <a:prstGeom prst="rect">
                  <a:avLst/>
                </a:prstGeom>
                <a:noFill/>
                <a:ln w="9525">
                  <a:noFill/>
                  <a:miter lim="800000"/>
                  <a:headEnd/>
                  <a:tailEnd/>
                </a:ln>
              </p:spPr>
              <p:txBody>
                <a:bodyPr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l Jawf</a:t>
                  </a:r>
                </a:p>
              </p:txBody>
            </p:sp>
            <p:sp>
              <p:nvSpPr>
                <p:cNvPr id="515" name="Oran Label">
                  <a:extLst>
                    <a:ext uri="{FF2B5EF4-FFF2-40B4-BE49-F238E27FC236}">
                      <a16:creationId xmlns:a16="http://schemas.microsoft.com/office/drawing/2014/main" id="{9DA115D7-897A-416F-901E-8FE9075FD816}"/>
                    </a:ext>
                  </a:extLst>
                </p:cNvPr>
                <p:cNvSpPr>
                  <a:spLocks noChangeArrowheads="1"/>
                </p:cNvSpPr>
                <p:nvPr/>
              </p:nvSpPr>
              <p:spPr bwMode="gray">
                <a:xfrm>
                  <a:off x="4004504" y="2186006"/>
                  <a:ext cx="12864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Oran</a:t>
                  </a:r>
                </a:p>
              </p:txBody>
            </p:sp>
            <p:sp>
              <p:nvSpPr>
                <p:cNvPr id="516" name="Algeirs Label">
                  <a:extLst>
                    <a:ext uri="{FF2B5EF4-FFF2-40B4-BE49-F238E27FC236}">
                      <a16:creationId xmlns:a16="http://schemas.microsoft.com/office/drawing/2014/main" id="{8CF150F7-8DD2-48CA-8D98-69E13CBEDC2D}"/>
                    </a:ext>
                  </a:extLst>
                </p:cNvPr>
                <p:cNvSpPr>
                  <a:spLocks noChangeArrowheads="1"/>
                </p:cNvSpPr>
                <p:nvPr/>
              </p:nvSpPr>
              <p:spPr bwMode="gray">
                <a:xfrm>
                  <a:off x="4181478" y="2128240"/>
                  <a:ext cx="17829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Algiers</a:t>
                  </a:r>
                </a:p>
              </p:txBody>
            </p:sp>
            <p:sp>
              <p:nvSpPr>
                <p:cNvPr id="517" name="Tunis Label">
                  <a:extLst>
                    <a:ext uri="{FF2B5EF4-FFF2-40B4-BE49-F238E27FC236}">
                      <a16:creationId xmlns:a16="http://schemas.microsoft.com/office/drawing/2014/main" id="{5B157726-0A4D-4B03-AF98-F7FC8962C635}"/>
                    </a:ext>
                  </a:extLst>
                </p:cNvPr>
                <p:cNvSpPr>
                  <a:spLocks noChangeArrowheads="1"/>
                </p:cNvSpPr>
                <p:nvPr/>
              </p:nvSpPr>
              <p:spPr bwMode="gray">
                <a:xfrm>
                  <a:off x="4568397" y="2128239"/>
                  <a:ext cx="14218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Tunis</a:t>
                  </a:r>
                </a:p>
              </p:txBody>
            </p:sp>
            <p:sp>
              <p:nvSpPr>
                <p:cNvPr id="518" name="Cairo Label">
                  <a:extLst>
                    <a:ext uri="{FF2B5EF4-FFF2-40B4-BE49-F238E27FC236}">
                      <a16:creationId xmlns:a16="http://schemas.microsoft.com/office/drawing/2014/main" id="{63761961-14B7-465B-9278-00AE984A29F6}"/>
                    </a:ext>
                  </a:extLst>
                </p:cNvPr>
                <p:cNvSpPr>
                  <a:spLocks noChangeArrowheads="1"/>
                </p:cNvSpPr>
                <p:nvPr/>
              </p:nvSpPr>
              <p:spPr bwMode="gray">
                <a:xfrm>
                  <a:off x="5733262" y="2641622"/>
                  <a:ext cx="13992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Cairo</a:t>
                  </a:r>
                </a:p>
              </p:txBody>
            </p:sp>
            <p:sp>
              <p:nvSpPr>
                <p:cNvPr id="519" name="Aswan Label">
                  <a:extLst>
                    <a:ext uri="{FF2B5EF4-FFF2-40B4-BE49-F238E27FC236}">
                      <a16:creationId xmlns:a16="http://schemas.microsoft.com/office/drawing/2014/main" id="{C5E6BE9C-8DAF-4C83-8C54-0EFFE443F59E}"/>
                    </a:ext>
                  </a:extLst>
                </p:cNvPr>
                <p:cNvSpPr>
                  <a:spLocks noChangeArrowheads="1"/>
                </p:cNvSpPr>
                <p:nvPr/>
              </p:nvSpPr>
              <p:spPr bwMode="gray">
                <a:xfrm>
                  <a:off x="5854706" y="2960711"/>
                  <a:ext cx="17378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swan</a:t>
                  </a:r>
                </a:p>
              </p:txBody>
            </p:sp>
            <p:sp>
              <p:nvSpPr>
                <p:cNvPr id="520" name="Constantine Label">
                  <a:extLst>
                    <a:ext uri="{FF2B5EF4-FFF2-40B4-BE49-F238E27FC236}">
                      <a16:creationId xmlns:a16="http://schemas.microsoft.com/office/drawing/2014/main" id="{D6B7BBB3-B087-409F-9485-0A39D8F23A2A}"/>
                    </a:ext>
                  </a:extLst>
                </p:cNvPr>
                <p:cNvSpPr>
                  <a:spLocks noChangeArrowheads="1"/>
                </p:cNvSpPr>
                <p:nvPr/>
              </p:nvSpPr>
              <p:spPr bwMode="gray">
                <a:xfrm>
                  <a:off x="4216401" y="2289194"/>
                  <a:ext cx="30693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Constantine</a:t>
                  </a:r>
                </a:p>
              </p:txBody>
            </p:sp>
            <p:sp>
              <p:nvSpPr>
                <p:cNvPr id="521" name="Rabat Label">
                  <a:extLst>
                    <a:ext uri="{FF2B5EF4-FFF2-40B4-BE49-F238E27FC236}">
                      <a16:creationId xmlns:a16="http://schemas.microsoft.com/office/drawing/2014/main" id="{2257B8AA-5730-46CD-9D4F-DDC4EBEB8791}"/>
                    </a:ext>
                  </a:extLst>
                </p:cNvPr>
                <p:cNvSpPr>
                  <a:spLocks noChangeArrowheads="1"/>
                </p:cNvSpPr>
                <p:nvPr/>
              </p:nvSpPr>
              <p:spPr bwMode="gray">
                <a:xfrm>
                  <a:off x="3765552" y="2322529"/>
                  <a:ext cx="15346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Rabat</a:t>
                  </a:r>
                </a:p>
              </p:txBody>
            </p:sp>
            <p:sp>
              <p:nvSpPr>
                <p:cNvPr id="522" name="Marrakech Label">
                  <a:extLst>
                    <a:ext uri="{FF2B5EF4-FFF2-40B4-BE49-F238E27FC236}">
                      <a16:creationId xmlns:a16="http://schemas.microsoft.com/office/drawing/2014/main" id="{554AA55F-2395-430F-9AB0-3A9494B1F5F1}"/>
                    </a:ext>
                  </a:extLst>
                </p:cNvPr>
                <p:cNvSpPr>
                  <a:spLocks noChangeArrowheads="1"/>
                </p:cNvSpPr>
                <p:nvPr/>
              </p:nvSpPr>
              <p:spPr bwMode="gray">
                <a:xfrm>
                  <a:off x="3528226" y="2528907"/>
                  <a:ext cx="27533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arrakech</a:t>
                  </a:r>
                </a:p>
              </p:txBody>
            </p:sp>
            <p:sp>
              <p:nvSpPr>
                <p:cNvPr id="523" name="Casablanca Label">
                  <a:extLst>
                    <a:ext uri="{FF2B5EF4-FFF2-40B4-BE49-F238E27FC236}">
                      <a16:creationId xmlns:a16="http://schemas.microsoft.com/office/drawing/2014/main" id="{B9F501CA-17D5-45BF-9284-EF869D33C3A8}"/>
                    </a:ext>
                  </a:extLst>
                </p:cNvPr>
                <p:cNvSpPr>
                  <a:spLocks noChangeArrowheads="1"/>
                </p:cNvSpPr>
                <p:nvPr/>
              </p:nvSpPr>
              <p:spPr bwMode="gray">
                <a:xfrm>
                  <a:off x="3314702" y="2327294"/>
                  <a:ext cx="30467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Casablanca</a:t>
                  </a:r>
                </a:p>
              </p:txBody>
            </p:sp>
            <p:sp>
              <p:nvSpPr>
                <p:cNvPr id="524" name="El Aaiun Label">
                  <a:extLst>
                    <a:ext uri="{FF2B5EF4-FFF2-40B4-BE49-F238E27FC236}">
                      <a16:creationId xmlns:a16="http://schemas.microsoft.com/office/drawing/2014/main" id="{608BFCEE-CB6C-480D-BC61-2FB7339A0205}"/>
                    </a:ext>
                  </a:extLst>
                </p:cNvPr>
                <p:cNvSpPr>
                  <a:spLocks noChangeArrowheads="1"/>
                </p:cNvSpPr>
                <p:nvPr/>
              </p:nvSpPr>
              <p:spPr bwMode="gray">
                <a:xfrm>
                  <a:off x="3266769" y="2771619"/>
                  <a:ext cx="25051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Laâyoune</a:t>
                  </a:r>
                </a:p>
              </p:txBody>
            </p:sp>
            <p:sp>
              <p:nvSpPr>
                <p:cNvPr id="525" name="Lombouctou Label">
                  <a:extLst>
                    <a:ext uri="{FF2B5EF4-FFF2-40B4-BE49-F238E27FC236}">
                      <a16:creationId xmlns:a16="http://schemas.microsoft.com/office/drawing/2014/main" id="{F8EF2CD8-820B-43FB-B12D-CDE6D159D51A}"/>
                    </a:ext>
                  </a:extLst>
                </p:cNvPr>
                <p:cNvSpPr>
                  <a:spLocks noChangeArrowheads="1"/>
                </p:cNvSpPr>
                <p:nvPr/>
              </p:nvSpPr>
              <p:spPr bwMode="gray">
                <a:xfrm>
                  <a:off x="3655517" y="3368702"/>
                  <a:ext cx="32047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Tombouctou</a:t>
                  </a:r>
                </a:p>
              </p:txBody>
            </p:sp>
            <p:sp>
              <p:nvSpPr>
                <p:cNvPr id="526" name="Nema Label">
                  <a:extLst>
                    <a:ext uri="{FF2B5EF4-FFF2-40B4-BE49-F238E27FC236}">
                      <a16:creationId xmlns:a16="http://schemas.microsoft.com/office/drawing/2014/main" id="{6F1E6262-1DA6-444A-B411-9D16EBE8E470}"/>
                    </a:ext>
                  </a:extLst>
                </p:cNvPr>
                <p:cNvSpPr>
                  <a:spLocks noChangeArrowheads="1"/>
                </p:cNvSpPr>
                <p:nvPr/>
              </p:nvSpPr>
              <p:spPr bwMode="gray">
                <a:xfrm>
                  <a:off x="3359154" y="3413154"/>
                  <a:ext cx="15572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ema</a:t>
                  </a:r>
                </a:p>
              </p:txBody>
            </p:sp>
            <p:sp>
              <p:nvSpPr>
                <p:cNvPr id="527" name="Nouakchott Label">
                  <a:extLst>
                    <a:ext uri="{FF2B5EF4-FFF2-40B4-BE49-F238E27FC236}">
                      <a16:creationId xmlns:a16="http://schemas.microsoft.com/office/drawing/2014/main" id="{3F0DA473-C043-498D-987A-C8C054F94375}"/>
                    </a:ext>
                  </a:extLst>
                </p:cNvPr>
                <p:cNvSpPr>
                  <a:spLocks noChangeArrowheads="1"/>
                </p:cNvSpPr>
                <p:nvPr/>
              </p:nvSpPr>
              <p:spPr bwMode="gray">
                <a:xfrm>
                  <a:off x="3078958" y="3287512"/>
                  <a:ext cx="29113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ouakchott</a:t>
                  </a:r>
                </a:p>
              </p:txBody>
            </p:sp>
            <p:sp>
              <p:nvSpPr>
                <p:cNvPr id="528" name="Tamanrasset Label">
                  <a:extLst>
                    <a:ext uri="{FF2B5EF4-FFF2-40B4-BE49-F238E27FC236}">
                      <a16:creationId xmlns:a16="http://schemas.microsoft.com/office/drawing/2014/main" id="{B1CC3F77-BFE5-4A80-B319-CF5895901C3E}"/>
                    </a:ext>
                  </a:extLst>
                </p:cNvPr>
                <p:cNvSpPr>
                  <a:spLocks noChangeArrowheads="1"/>
                </p:cNvSpPr>
                <p:nvPr/>
              </p:nvSpPr>
              <p:spPr bwMode="gray">
                <a:xfrm>
                  <a:off x="4178303" y="3021036"/>
                  <a:ext cx="33852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Tamanrasset</a:t>
                  </a:r>
                </a:p>
              </p:txBody>
            </p:sp>
            <p:sp>
              <p:nvSpPr>
                <p:cNvPr id="529" name="Niamey Label">
                  <a:extLst>
                    <a:ext uri="{FF2B5EF4-FFF2-40B4-BE49-F238E27FC236}">
                      <a16:creationId xmlns:a16="http://schemas.microsoft.com/office/drawing/2014/main" id="{AB30CCE7-B9C1-44E2-B7D3-2FF96F57F170}"/>
                    </a:ext>
                  </a:extLst>
                </p:cNvPr>
                <p:cNvSpPr>
                  <a:spLocks noChangeArrowheads="1"/>
                </p:cNvSpPr>
                <p:nvPr/>
              </p:nvSpPr>
              <p:spPr bwMode="gray">
                <a:xfrm>
                  <a:off x="3992575" y="3583811"/>
                  <a:ext cx="19860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iamey</a:t>
                  </a:r>
                </a:p>
              </p:txBody>
            </p:sp>
            <p:sp>
              <p:nvSpPr>
                <p:cNvPr id="530" name="Bamako Label">
                  <a:extLst>
                    <a:ext uri="{FF2B5EF4-FFF2-40B4-BE49-F238E27FC236}">
                      <a16:creationId xmlns:a16="http://schemas.microsoft.com/office/drawing/2014/main" id="{1CC20E5A-6560-44CD-BD48-4F38081B2BB6}"/>
                    </a:ext>
                  </a:extLst>
                </p:cNvPr>
                <p:cNvSpPr>
                  <a:spLocks noChangeArrowheads="1"/>
                </p:cNvSpPr>
                <p:nvPr/>
              </p:nvSpPr>
              <p:spPr bwMode="gray">
                <a:xfrm>
                  <a:off x="3372644" y="3602066"/>
                  <a:ext cx="212145" cy="70415"/>
                </a:xfrm>
                <a:prstGeom prst="rect">
                  <a:avLst/>
                </a:prstGeom>
                <a:solidFill>
                  <a:schemeClr val="bg2"/>
                </a:solid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amako</a:t>
                  </a:r>
                </a:p>
              </p:txBody>
            </p:sp>
            <p:sp>
              <p:nvSpPr>
                <p:cNvPr id="531" name="Alexandria label">
                  <a:extLst>
                    <a:ext uri="{FF2B5EF4-FFF2-40B4-BE49-F238E27FC236}">
                      <a16:creationId xmlns:a16="http://schemas.microsoft.com/office/drawing/2014/main" id="{67ED5821-B0A9-4A13-BEFC-20C00CA7E5FF}"/>
                    </a:ext>
                  </a:extLst>
                </p:cNvPr>
                <p:cNvSpPr>
                  <a:spLocks noChangeArrowheads="1"/>
                </p:cNvSpPr>
                <p:nvPr/>
              </p:nvSpPr>
              <p:spPr bwMode="gray">
                <a:xfrm>
                  <a:off x="5470528" y="2593996"/>
                  <a:ext cx="27308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lexandria</a:t>
                  </a:r>
                </a:p>
              </p:txBody>
            </p:sp>
            <p:sp>
              <p:nvSpPr>
                <p:cNvPr id="532" name="Banghaz Label">
                  <a:extLst>
                    <a:ext uri="{FF2B5EF4-FFF2-40B4-BE49-F238E27FC236}">
                      <a16:creationId xmlns:a16="http://schemas.microsoft.com/office/drawing/2014/main" id="{FDB3D115-D78F-4959-836F-32BA4845044A}"/>
                    </a:ext>
                  </a:extLst>
                </p:cNvPr>
                <p:cNvSpPr>
                  <a:spLocks noChangeArrowheads="1"/>
                </p:cNvSpPr>
                <p:nvPr/>
              </p:nvSpPr>
              <p:spPr bwMode="gray">
                <a:xfrm>
                  <a:off x="5197479" y="2543194"/>
                  <a:ext cx="23922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anghazi</a:t>
                  </a:r>
                </a:p>
              </p:txBody>
            </p:sp>
            <p:sp>
              <p:nvSpPr>
                <p:cNvPr id="533" name="Abidjan Label">
                  <a:extLst>
                    <a:ext uri="{FF2B5EF4-FFF2-40B4-BE49-F238E27FC236}">
                      <a16:creationId xmlns:a16="http://schemas.microsoft.com/office/drawing/2014/main" id="{CC5546DD-29B1-4443-8A14-DDD134BEA9F1}"/>
                    </a:ext>
                  </a:extLst>
                </p:cNvPr>
                <p:cNvSpPr>
                  <a:spLocks noChangeArrowheads="1"/>
                </p:cNvSpPr>
                <p:nvPr/>
              </p:nvSpPr>
              <p:spPr bwMode="gray">
                <a:xfrm>
                  <a:off x="3587752" y="4211671"/>
                  <a:ext cx="19183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Abidjan</a:t>
                  </a:r>
                </a:p>
              </p:txBody>
            </p:sp>
            <p:sp>
              <p:nvSpPr>
                <p:cNvPr id="534" name="Accra label">
                  <a:extLst>
                    <a:ext uri="{FF2B5EF4-FFF2-40B4-BE49-F238E27FC236}">
                      <a16:creationId xmlns:a16="http://schemas.microsoft.com/office/drawing/2014/main" id="{76148D1F-622B-4BDB-9A3E-D48CD1ADD679}"/>
                    </a:ext>
                  </a:extLst>
                </p:cNvPr>
                <p:cNvSpPr>
                  <a:spLocks noChangeArrowheads="1"/>
                </p:cNvSpPr>
                <p:nvPr/>
              </p:nvSpPr>
              <p:spPr bwMode="gray">
                <a:xfrm>
                  <a:off x="3834283" y="4081493"/>
                  <a:ext cx="14895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ccra</a:t>
                  </a:r>
                </a:p>
              </p:txBody>
            </p:sp>
            <p:sp>
              <p:nvSpPr>
                <p:cNvPr id="535" name="Loma Label">
                  <a:extLst>
                    <a:ext uri="{FF2B5EF4-FFF2-40B4-BE49-F238E27FC236}">
                      <a16:creationId xmlns:a16="http://schemas.microsoft.com/office/drawing/2014/main" id="{5F759608-46A7-4793-A9E4-CA109D330DEA}"/>
                    </a:ext>
                  </a:extLst>
                </p:cNvPr>
                <p:cNvSpPr>
                  <a:spLocks noChangeArrowheads="1"/>
                </p:cNvSpPr>
                <p:nvPr/>
              </p:nvSpPr>
              <p:spPr bwMode="gray">
                <a:xfrm>
                  <a:off x="3938756" y="4163610"/>
                  <a:ext cx="14443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Loma</a:t>
                  </a:r>
                </a:p>
              </p:txBody>
            </p:sp>
            <p:sp>
              <p:nvSpPr>
                <p:cNvPr id="536" name="Porto-Novo Label">
                  <a:extLst>
                    <a:ext uri="{FF2B5EF4-FFF2-40B4-BE49-F238E27FC236}">
                      <a16:creationId xmlns:a16="http://schemas.microsoft.com/office/drawing/2014/main" id="{8D08EA91-E36D-4106-A964-CD2271408E7F}"/>
                    </a:ext>
                  </a:extLst>
                </p:cNvPr>
                <p:cNvSpPr>
                  <a:spLocks noChangeArrowheads="1"/>
                </p:cNvSpPr>
                <p:nvPr/>
              </p:nvSpPr>
              <p:spPr bwMode="gray">
                <a:xfrm>
                  <a:off x="3961611" y="4232309"/>
                  <a:ext cx="29339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Porto-Novo</a:t>
                  </a:r>
                </a:p>
              </p:txBody>
            </p:sp>
            <p:sp>
              <p:nvSpPr>
                <p:cNvPr id="537" name="Ouagadougou Label">
                  <a:extLst>
                    <a:ext uri="{FF2B5EF4-FFF2-40B4-BE49-F238E27FC236}">
                      <a16:creationId xmlns:a16="http://schemas.microsoft.com/office/drawing/2014/main" id="{E45D2F19-FE99-46F7-8776-81603F86C0F2}"/>
                    </a:ext>
                  </a:extLst>
                </p:cNvPr>
                <p:cNvSpPr>
                  <a:spLocks noChangeArrowheads="1"/>
                </p:cNvSpPr>
                <p:nvPr/>
              </p:nvSpPr>
              <p:spPr bwMode="gray">
                <a:xfrm>
                  <a:off x="3713281" y="3633324"/>
                  <a:ext cx="36109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Ouagadougou</a:t>
                  </a:r>
                </a:p>
              </p:txBody>
            </p:sp>
            <p:sp>
              <p:nvSpPr>
                <p:cNvPr id="538" name="Lagos Label">
                  <a:extLst>
                    <a:ext uri="{FF2B5EF4-FFF2-40B4-BE49-F238E27FC236}">
                      <a16:creationId xmlns:a16="http://schemas.microsoft.com/office/drawing/2014/main" id="{B616EB14-9694-44A5-90B3-1A2CD1BFAA96}"/>
                    </a:ext>
                  </a:extLst>
                </p:cNvPr>
                <p:cNvSpPr>
                  <a:spLocks noChangeArrowheads="1"/>
                </p:cNvSpPr>
                <p:nvPr/>
              </p:nvSpPr>
              <p:spPr bwMode="gray">
                <a:xfrm>
                  <a:off x="4102102" y="4163251"/>
                  <a:ext cx="15572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Lagos</a:t>
                  </a:r>
                </a:p>
              </p:txBody>
            </p:sp>
            <p:sp>
              <p:nvSpPr>
                <p:cNvPr id="539" name="Dakar Label">
                  <a:extLst>
                    <a:ext uri="{FF2B5EF4-FFF2-40B4-BE49-F238E27FC236}">
                      <a16:creationId xmlns:a16="http://schemas.microsoft.com/office/drawing/2014/main" id="{727F48A6-A715-4191-B683-DFD49A03CFCD}"/>
                    </a:ext>
                  </a:extLst>
                </p:cNvPr>
                <p:cNvSpPr>
                  <a:spLocks noChangeArrowheads="1"/>
                </p:cNvSpPr>
                <p:nvPr/>
              </p:nvSpPr>
              <p:spPr bwMode="gray">
                <a:xfrm>
                  <a:off x="2752736" y="3498260"/>
                  <a:ext cx="15572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Dakar</a:t>
                  </a:r>
                </a:p>
              </p:txBody>
            </p:sp>
            <p:sp>
              <p:nvSpPr>
                <p:cNvPr id="540" name="Monrovia Label">
                  <a:extLst>
                    <a:ext uri="{FF2B5EF4-FFF2-40B4-BE49-F238E27FC236}">
                      <a16:creationId xmlns:a16="http://schemas.microsoft.com/office/drawing/2014/main" id="{BB957C31-15D1-49D8-B099-A4BD3BD86AE1}"/>
                    </a:ext>
                  </a:extLst>
                </p:cNvPr>
                <p:cNvSpPr>
                  <a:spLocks noChangeArrowheads="1"/>
                </p:cNvSpPr>
                <p:nvPr/>
              </p:nvSpPr>
              <p:spPr bwMode="gray">
                <a:xfrm>
                  <a:off x="3026126" y="4065618"/>
                  <a:ext cx="23922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Monrovia</a:t>
                  </a:r>
                </a:p>
              </p:txBody>
            </p:sp>
            <p:sp>
              <p:nvSpPr>
                <p:cNvPr id="541" name="Freetown Label">
                  <a:extLst>
                    <a:ext uri="{FF2B5EF4-FFF2-40B4-BE49-F238E27FC236}">
                      <a16:creationId xmlns:a16="http://schemas.microsoft.com/office/drawing/2014/main" id="{DEC6D4D4-A9FE-4FA3-9CCC-ECBAA9240C12}"/>
                    </a:ext>
                  </a:extLst>
                </p:cNvPr>
                <p:cNvSpPr>
                  <a:spLocks noChangeArrowheads="1"/>
                </p:cNvSpPr>
                <p:nvPr/>
              </p:nvSpPr>
              <p:spPr bwMode="gray">
                <a:xfrm>
                  <a:off x="2908768" y="3914801"/>
                  <a:ext cx="25728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Freetown </a:t>
                  </a:r>
                </a:p>
              </p:txBody>
            </p:sp>
            <p:sp>
              <p:nvSpPr>
                <p:cNvPr id="542" name="Banjul Label">
                  <a:extLst>
                    <a:ext uri="{FF2B5EF4-FFF2-40B4-BE49-F238E27FC236}">
                      <a16:creationId xmlns:a16="http://schemas.microsoft.com/office/drawing/2014/main" id="{A725FECD-BA66-4522-A567-7167034D4248}"/>
                    </a:ext>
                  </a:extLst>
                </p:cNvPr>
                <p:cNvSpPr>
                  <a:spLocks noChangeArrowheads="1"/>
                </p:cNvSpPr>
                <p:nvPr/>
              </p:nvSpPr>
              <p:spPr bwMode="gray">
                <a:xfrm>
                  <a:off x="2747924" y="3570312"/>
                  <a:ext cx="16023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Banjul</a:t>
                  </a:r>
                </a:p>
              </p:txBody>
            </p:sp>
            <p:sp>
              <p:nvSpPr>
                <p:cNvPr id="543" name="Conakry Label">
                  <a:extLst>
                    <a:ext uri="{FF2B5EF4-FFF2-40B4-BE49-F238E27FC236}">
                      <a16:creationId xmlns:a16="http://schemas.microsoft.com/office/drawing/2014/main" id="{E13EA708-A0C8-4CCB-8180-218A67492788}"/>
                    </a:ext>
                  </a:extLst>
                </p:cNvPr>
                <p:cNvSpPr>
                  <a:spLocks noChangeArrowheads="1"/>
                </p:cNvSpPr>
                <p:nvPr/>
              </p:nvSpPr>
              <p:spPr bwMode="gray">
                <a:xfrm>
                  <a:off x="2871338" y="3843356"/>
                  <a:ext cx="21665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Conakry</a:t>
                  </a:r>
                </a:p>
              </p:txBody>
            </p:sp>
            <p:sp>
              <p:nvSpPr>
                <p:cNvPr id="544" name="Bissau Label">
                  <a:extLst>
                    <a:ext uri="{FF2B5EF4-FFF2-40B4-BE49-F238E27FC236}">
                      <a16:creationId xmlns:a16="http://schemas.microsoft.com/office/drawing/2014/main" id="{D8E98BBB-8CB4-463A-87D6-4CED69C68729}"/>
                    </a:ext>
                  </a:extLst>
                </p:cNvPr>
                <p:cNvSpPr>
                  <a:spLocks noChangeArrowheads="1"/>
                </p:cNvSpPr>
                <p:nvPr/>
              </p:nvSpPr>
              <p:spPr bwMode="gray">
                <a:xfrm>
                  <a:off x="2785269" y="3703637"/>
                  <a:ext cx="17378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Bissau</a:t>
                  </a:r>
                </a:p>
              </p:txBody>
            </p:sp>
          </p:grpSp>
          <p:grpSp>
            <p:nvGrpSpPr>
              <p:cNvPr id="336" name="Country Labels">
                <a:extLst>
                  <a:ext uri="{FF2B5EF4-FFF2-40B4-BE49-F238E27FC236}">
                    <a16:creationId xmlns:a16="http://schemas.microsoft.com/office/drawing/2014/main" id="{F9D2BF89-3229-47A9-9CDE-50A063B96BAC}"/>
                  </a:ext>
                </a:extLst>
              </p:cNvPr>
              <p:cNvGrpSpPr/>
              <p:nvPr/>
            </p:nvGrpSpPr>
            <p:grpSpPr bwMode="gray">
              <a:xfrm>
                <a:off x="2525861" y="2212972"/>
                <a:ext cx="5148149" cy="4663232"/>
                <a:chOff x="2608278" y="2273316"/>
                <a:chExt cx="4857073" cy="4399602"/>
              </a:xfrm>
            </p:grpSpPr>
            <p:sp>
              <p:nvSpPr>
                <p:cNvPr id="400" name="TANZANIA Label">
                  <a:extLst>
                    <a:ext uri="{FF2B5EF4-FFF2-40B4-BE49-F238E27FC236}">
                      <a16:creationId xmlns:a16="http://schemas.microsoft.com/office/drawing/2014/main" id="{589764D6-E7B3-4137-9933-7AB1C82F114C}"/>
                    </a:ext>
                  </a:extLst>
                </p:cNvPr>
                <p:cNvSpPr>
                  <a:spLocks noChangeArrowheads="1"/>
                </p:cNvSpPr>
                <p:nvPr/>
              </p:nvSpPr>
              <p:spPr bwMode="gray">
                <a:xfrm>
                  <a:off x="5937248" y="4953035"/>
                  <a:ext cx="28887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TANZANIA</a:t>
                  </a:r>
                </a:p>
              </p:txBody>
            </p:sp>
            <p:sp>
              <p:nvSpPr>
                <p:cNvPr id="401" name="BURUNDI Label">
                  <a:extLst>
                    <a:ext uri="{FF2B5EF4-FFF2-40B4-BE49-F238E27FC236}">
                      <a16:creationId xmlns:a16="http://schemas.microsoft.com/office/drawing/2014/main" id="{151B7F21-2C23-4FBF-913D-EE9721D408D9}"/>
                    </a:ext>
                  </a:extLst>
                </p:cNvPr>
                <p:cNvSpPr>
                  <a:spLocks noChangeArrowheads="1"/>
                </p:cNvSpPr>
                <p:nvPr/>
              </p:nvSpPr>
              <p:spPr bwMode="gray">
                <a:xfrm>
                  <a:off x="5512725" y="4688097"/>
                  <a:ext cx="26856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URUNDI</a:t>
                  </a:r>
                </a:p>
              </p:txBody>
            </p:sp>
            <p:sp>
              <p:nvSpPr>
                <p:cNvPr id="402" name="EQUATORIAL GUINEA Label">
                  <a:extLst>
                    <a:ext uri="{FF2B5EF4-FFF2-40B4-BE49-F238E27FC236}">
                      <a16:creationId xmlns:a16="http://schemas.microsoft.com/office/drawing/2014/main" id="{B12B7046-7B2D-4CD6-9548-7F9B15A2ECC6}"/>
                    </a:ext>
                  </a:extLst>
                </p:cNvPr>
                <p:cNvSpPr>
                  <a:spLocks noChangeArrowheads="1"/>
                </p:cNvSpPr>
                <p:nvPr/>
              </p:nvSpPr>
              <p:spPr bwMode="gray">
                <a:xfrm>
                  <a:off x="3941754" y="4400757"/>
                  <a:ext cx="61386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EQUATORIAL GUINEA</a:t>
                  </a:r>
                </a:p>
              </p:txBody>
            </p:sp>
            <p:sp>
              <p:nvSpPr>
                <p:cNvPr id="403" name="ANGOLA Label">
                  <a:extLst>
                    <a:ext uri="{FF2B5EF4-FFF2-40B4-BE49-F238E27FC236}">
                      <a16:creationId xmlns:a16="http://schemas.microsoft.com/office/drawing/2014/main" id="{1D5B5777-1F63-43FE-908D-ADFFA095C26E}"/>
                    </a:ext>
                  </a:extLst>
                </p:cNvPr>
                <p:cNvSpPr>
                  <a:spLocks noChangeArrowheads="1"/>
                </p:cNvSpPr>
                <p:nvPr/>
              </p:nvSpPr>
              <p:spPr bwMode="gray">
                <a:xfrm>
                  <a:off x="4462461" y="4892709"/>
                  <a:ext cx="24148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ANGOLA</a:t>
                  </a:r>
                </a:p>
              </p:txBody>
            </p:sp>
            <p:sp>
              <p:nvSpPr>
                <p:cNvPr id="404" name="REPUBLIC OF THE CONGO Label">
                  <a:extLst>
                    <a:ext uri="{FF2B5EF4-FFF2-40B4-BE49-F238E27FC236}">
                      <a16:creationId xmlns:a16="http://schemas.microsoft.com/office/drawing/2014/main" id="{03E2F049-D806-4857-A0F8-A5A42045582E}"/>
                    </a:ext>
                  </a:extLst>
                </p:cNvPr>
                <p:cNvSpPr>
                  <a:spLocks noChangeArrowheads="1"/>
                </p:cNvSpPr>
                <p:nvPr/>
              </p:nvSpPr>
              <p:spPr bwMode="gray">
                <a:xfrm>
                  <a:off x="4802667" y="4433917"/>
                  <a:ext cx="291137" cy="211244"/>
                </a:xfrm>
                <a:prstGeom prst="rect">
                  <a:avLst/>
                </a:prstGeom>
                <a:noFill/>
                <a:ln w="9525">
                  <a:noFill/>
                  <a:miter lim="800000"/>
                  <a:headEnd/>
                  <a:tailEnd/>
                </a:ln>
              </p:spPr>
              <p:txBody>
                <a:bodyPr wrap="none" lIns="0" tIns="0" rIns="0" bIns="0">
                  <a:spAutoFit/>
                </a:bodyPr>
                <a:lstStyle/>
                <a:p>
                  <a:pPr algn="ctr" defTabSz="742950" eaLnBrk="0" hangingPunct="0">
                    <a:buClr>
                      <a:srgbClr val="000000"/>
                    </a:buClr>
                    <a:defRPr/>
                  </a:pPr>
                  <a:r>
                    <a:rPr lang="en-US" sz="325" kern="0" noProof="1">
                      <a:solidFill>
                        <a:srgbClr val="FFFFFF"/>
                      </a:solidFill>
                      <a:latin typeface="Arial"/>
                      <a:cs typeface="Arial"/>
                      <a:sym typeface="Arial"/>
                    </a:rPr>
                    <a:t>REPUBLIC</a:t>
                  </a:r>
                </a:p>
                <a:p>
                  <a:pPr algn="ctr" defTabSz="742950" eaLnBrk="0" hangingPunct="0">
                    <a:buClr>
                      <a:srgbClr val="000000"/>
                    </a:buClr>
                    <a:defRPr/>
                  </a:pPr>
                  <a:r>
                    <a:rPr lang="en-US" sz="325" kern="0" noProof="1">
                      <a:solidFill>
                        <a:srgbClr val="FFFFFF"/>
                      </a:solidFill>
                      <a:latin typeface="Arial"/>
                      <a:cs typeface="Arial"/>
                      <a:sym typeface="Arial"/>
                    </a:rPr>
                    <a:t>OF THE</a:t>
                  </a:r>
                </a:p>
                <a:p>
                  <a:pPr algn="ctr" defTabSz="742950" eaLnBrk="0" hangingPunct="0">
                    <a:buClr>
                      <a:srgbClr val="000000"/>
                    </a:buClr>
                    <a:defRPr/>
                  </a:pPr>
                  <a:r>
                    <a:rPr lang="en-US" sz="325" kern="0" noProof="1">
                      <a:solidFill>
                        <a:srgbClr val="FFFFFF"/>
                      </a:solidFill>
                      <a:latin typeface="Arial"/>
                      <a:cs typeface="Arial"/>
                      <a:sym typeface="Arial"/>
                    </a:rPr>
                    <a:t>CONGO</a:t>
                  </a:r>
                </a:p>
              </p:txBody>
            </p:sp>
            <p:sp>
              <p:nvSpPr>
                <p:cNvPr id="405" name="MALAWI Label">
                  <a:extLst>
                    <a:ext uri="{FF2B5EF4-FFF2-40B4-BE49-F238E27FC236}">
                      <a16:creationId xmlns:a16="http://schemas.microsoft.com/office/drawing/2014/main" id="{E74EAA6D-DD36-40E5-8620-F11BB14DA69F}"/>
                    </a:ext>
                  </a:extLst>
                </p:cNvPr>
                <p:cNvSpPr>
                  <a:spLocks noChangeArrowheads="1"/>
                </p:cNvSpPr>
                <p:nvPr/>
              </p:nvSpPr>
              <p:spPr bwMode="gray">
                <a:xfrm>
                  <a:off x="5745160" y="5157825"/>
                  <a:ext cx="23020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ALAWI</a:t>
                  </a:r>
                </a:p>
              </p:txBody>
            </p:sp>
            <p:sp>
              <p:nvSpPr>
                <p:cNvPr id="406" name="ZAMBIA Label">
                  <a:extLst>
                    <a:ext uri="{FF2B5EF4-FFF2-40B4-BE49-F238E27FC236}">
                      <a16:creationId xmlns:a16="http://schemas.microsoft.com/office/drawing/2014/main" id="{E6D68DEB-469E-4880-9AEE-00E7623A94D5}"/>
                    </a:ext>
                  </a:extLst>
                </p:cNvPr>
                <p:cNvSpPr>
                  <a:spLocks noChangeArrowheads="1"/>
                </p:cNvSpPr>
                <p:nvPr/>
              </p:nvSpPr>
              <p:spPr bwMode="gray">
                <a:xfrm>
                  <a:off x="5365387" y="5495220"/>
                  <a:ext cx="21665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ZAMBIA</a:t>
                  </a:r>
                </a:p>
              </p:txBody>
            </p:sp>
            <p:sp>
              <p:nvSpPr>
                <p:cNvPr id="407" name="MOZAMBIQUE Label">
                  <a:extLst>
                    <a:ext uri="{FF2B5EF4-FFF2-40B4-BE49-F238E27FC236}">
                      <a16:creationId xmlns:a16="http://schemas.microsoft.com/office/drawing/2014/main" id="{5A9E608F-69CD-4A46-9AAC-4F42FD736067}"/>
                    </a:ext>
                  </a:extLst>
                </p:cNvPr>
                <p:cNvSpPr>
                  <a:spLocks noChangeArrowheads="1"/>
                </p:cNvSpPr>
                <p:nvPr/>
              </p:nvSpPr>
              <p:spPr bwMode="gray">
                <a:xfrm>
                  <a:off x="5983909" y="5545776"/>
                  <a:ext cx="39946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OZAMBIQUE</a:t>
                  </a:r>
                </a:p>
              </p:txBody>
            </p:sp>
            <p:sp>
              <p:nvSpPr>
                <p:cNvPr id="408" name="MADAGASCAR Label">
                  <a:extLst>
                    <a:ext uri="{FF2B5EF4-FFF2-40B4-BE49-F238E27FC236}">
                      <a16:creationId xmlns:a16="http://schemas.microsoft.com/office/drawing/2014/main" id="{934B4A4E-E165-488E-9F26-2FC8379C7955}"/>
                    </a:ext>
                  </a:extLst>
                </p:cNvPr>
                <p:cNvSpPr>
                  <a:spLocks noChangeArrowheads="1"/>
                </p:cNvSpPr>
                <p:nvPr/>
              </p:nvSpPr>
              <p:spPr bwMode="gray">
                <a:xfrm>
                  <a:off x="7050087" y="5591215"/>
                  <a:ext cx="41526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MADAGASCAR</a:t>
                  </a:r>
                </a:p>
              </p:txBody>
            </p:sp>
            <p:sp>
              <p:nvSpPr>
                <p:cNvPr id="409" name="ZIMBABWE Label">
                  <a:extLst>
                    <a:ext uri="{FF2B5EF4-FFF2-40B4-BE49-F238E27FC236}">
                      <a16:creationId xmlns:a16="http://schemas.microsoft.com/office/drawing/2014/main" id="{88498720-1A7F-4AD4-9E8A-9313FC2742EF}"/>
                    </a:ext>
                  </a:extLst>
                </p:cNvPr>
                <p:cNvSpPr>
                  <a:spLocks noChangeArrowheads="1"/>
                </p:cNvSpPr>
                <p:nvPr/>
              </p:nvSpPr>
              <p:spPr bwMode="gray">
                <a:xfrm>
                  <a:off x="5607839" y="5670592"/>
                  <a:ext cx="31144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ZIMBABWE</a:t>
                  </a:r>
                </a:p>
              </p:txBody>
            </p:sp>
            <p:sp>
              <p:nvSpPr>
                <p:cNvPr id="410" name="BOTSWANA Label">
                  <a:extLst>
                    <a:ext uri="{FF2B5EF4-FFF2-40B4-BE49-F238E27FC236}">
                      <a16:creationId xmlns:a16="http://schemas.microsoft.com/office/drawing/2014/main" id="{EABEBB26-650D-4DE3-90A4-36FB48E3A9E7}"/>
                    </a:ext>
                  </a:extLst>
                </p:cNvPr>
                <p:cNvSpPr>
                  <a:spLocks noChangeArrowheads="1"/>
                </p:cNvSpPr>
                <p:nvPr/>
              </p:nvSpPr>
              <p:spPr bwMode="gray">
                <a:xfrm>
                  <a:off x="5272087" y="5870615"/>
                  <a:ext cx="33401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OTSWANA</a:t>
                  </a:r>
                </a:p>
              </p:txBody>
            </p:sp>
            <p:sp>
              <p:nvSpPr>
                <p:cNvPr id="411" name="SWAZILAND Label">
                  <a:extLst>
                    <a:ext uri="{FF2B5EF4-FFF2-40B4-BE49-F238E27FC236}">
                      <a16:creationId xmlns:a16="http://schemas.microsoft.com/office/drawing/2014/main" id="{0EEF1337-F6A2-49D2-BD0A-EC79C548938D}"/>
                    </a:ext>
                  </a:extLst>
                </p:cNvPr>
                <p:cNvSpPr>
                  <a:spLocks noChangeArrowheads="1"/>
                </p:cNvSpPr>
                <p:nvPr/>
              </p:nvSpPr>
              <p:spPr bwMode="gray">
                <a:xfrm>
                  <a:off x="5942010" y="6253204"/>
                  <a:ext cx="34078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SWAZILAND</a:t>
                  </a:r>
                </a:p>
              </p:txBody>
            </p:sp>
            <p:sp>
              <p:nvSpPr>
                <p:cNvPr id="412" name="LESOTHO Label">
                  <a:extLst>
                    <a:ext uri="{FF2B5EF4-FFF2-40B4-BE49-F238E27FC236}">
                      <a16:creationId xmlns:a16="http://schemas.microsoft.com/office/drawing/2014/main" id="{DB26FA77-BE53-4E2F-9813-CE722F8ABC7A}"/>
                    </a:ext>
                  </a:extLst>
                </p:cNvPr>
                <p:cNvSpPr>
                  <a:spLocks noChangeArrowheads="1"/>
                </p:cNvSpPr>
                <p:nvPr/>
              </p:nvSpPr>
              <p:spPr bwMode="gray">
                <a:xfrm>
                  <a:off x="5249861" y="6364331"/>
                  <a:ext cx="27759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LESOTHO</a:t>
                  </a:r>
                </a:p>
              </p:txBody>
            </p:sp>
            <p:sp>
              <p:nvSpPr>
                <p:cNvPr id="413" name="SOUTH AFRICA Label">
                  <a:extLst>
                    <a:ext uri="{FF2B5EF4-FFF2-40B4-BE49-F238E27FC236}">
                      <a16:creationId xmlns:a16="http://schemas.microsoft.com/office/drawing/2014/main" id="{225E55D3-D91E-4EC8-832E-DF5415600436}"/>
                    </a:ext>
                  </a:extLst>
                </p:cNvPr>
                <p:cNvSpPr>
                  <a:spLocks noChangeArrowheads="1"/>
                </p:cNvSpPr>
                <p:nvPr/>
              </p:nvSpPr>
              <p:spPr bwMode="gray">
                <a:xfrm>
                  <a:off x="5161712" y="6456258"/>
                  <a:ext cx="214403" cy="216660"/>
                </a:xfrm>
                <a:prstGeom prst="rect">
                  <a:avLst/>
                </a:prstGeom>
                <a:noFill/>
                <a:ln w="9525">
                  <a:noFill/>
                  <a:miter lim="800000"/>
                  <a:headEnd/>
                  <a:tailEnd/>
                </a:ln>
              </p:spPr>
              <p:txBody>
                <a:bodyPr wrap="none" lIns="0" tIns="0" rIns="0" bIns="0">
                  <a:spAutoFit/>
                </a:bodyPr>
                <a:lstStyle/>
                <a:p>
                  <a:pPr algn="ctr" defTabSz="742950" eaLnBrk="0" hangingPunct="0">
                    <a:lnSpc>
                      <a:spcPts val="569"/>
                    </a:lnSpc>
                    <a:buClr>
                      <a:srgbClr val="000000"/>
                    </a:buClr>
                    <a:defRPr/>
                  </a:pPr>
                  <a:r>
                    <a:rPr lang="en-US" sz="325" kern="0" noProof="1">
                      <a:solidFill>
                        <a:srgbClr val="FFFFFF"/>
                      </a:solidFill>
                      <a:latin typeface="Arial"/>
                      <a:cs typeface="Arial"/>
                      <a:sym typeface="Arial"/>
                    </a:rPr>
                    <a:t>SOUTH</a:t>
                  </a:r>
                </a:p>
                <a:p>
                  <a:pPr algn="ctr" defTabSz="742950" eaLnBrk="0" hangingPunct="0">
                    <a:lnSpc>
                      <a:spcPts val="569"/>
                    </a:lnSpc>
                    <a:buClr>
                      <a:srgbClr val="000000"/>
                    </a:buClr>
                    <a:defRPr/>
                  </a:pPr>
                  <a:r>
                    <a:rPr lang="en-US" sz="325" kern="0" noProof="1">
                      <a:solidFill>
                        <a:srgbClr val="FFFFFF"/>
                      </a:solidFill>
                      <a:latin typeface="Arial"/>
                      <a:cs typeface="Arial"/>
                      <a:sym typeface="Arial"/>
                    </a:rPr>
                    <a:t>AFRICA</a:t>
                  </a:r>
                </a:p>
              </p:txBody>
            </p:sp>
            <p:sp>
              <p:nvSpPr>
                <p:cNvPr id="414" name="NAMIBIA Label">
                  <a:extLst>
                    <a:ext uri="{FF2B5EF4-FFF2-40B4-BE49-F238E27FC236}">
                      <a16:creationId xmlns:a16="http://schemas.microsoft.com/office/drawing/2014/main" id="{91769DC7-09FF-4E6C-864C-384FA68DC49B}"/>
                    </a:ext>
                  </a:extLst>
                </p:cNvPr>
                <p:cNvSpPr>
                  <a:spLocks noChangeArrowheads="1"/>
                </p:cNvSpPr>
                <p:nvPr/>
              </p:nvSpPr>
              <p:spPr bwMode="gray">
                <a:xfrm>
                  <a:off x="4849810" y="5726152"/>
                  <a:ext cx="23922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AMIBIA</a:t>
                  </a:r>
                </a:p>
              </p:txBody>
            </p:sp>
            <p:sp>
              <p:nvSpPr>
                <p:cNvPr id="415" name="ANGOLA Label">
                  <a:extLst>
                    <a:ext uri="{FF2B5EF4-FFF2-40B4-BE49-F238E27FC236}">
                      <a16:creationId xmlns:a16="http://schemas.microsoft.com/office/drawing/2014/main" id="{53C02175-BFE2-4F37-B611-40244F3B3681}"/>
                    </a:ext>
                  </a:extLst>
                </p:cNvPr>
                <p:cNvSpPr>
                  <a:spLocks noChangeArrowheads="1"/>
                </p:cNvSpPr>
                <p:nvPr/>
              </p:nvSpPr>
              <p:spPr bwMode="gray">
                <a:xfrm>
                  <a:off x="4931923" y="5196910"/>
                  <a:ext cx="24148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NGOLA</a:t>
                  </a:r>
                </a:p>
              </p:txBody>
            </p:sp>
            <p:sp>
              <p:nvSpPr>
                <p:cNvPr id="416" name="NIGER Label">
                  <a:extLst>
                    <a:ext uri="{FF2B5EF4-FFF2-40B4-BE49-F238E27FC236}">
                      <a16:creationId xmlns:a16="http://schemas.microsoft.com/office/drawing/2014/main" id="{14C1B370-7183-4B6C-B478-13C8AAB3D108}"/>
                    </a:ext>
                  </a:extLst>
                </p:cNvPr>
                <p:cNvSpPr>
                  <a:spLocks noChangeArrowheads="1"/>
                </p:cNvSpPr>
                <p:nvPr/>
              </p:nvSpPr>
              <p:spPr bwMode="gray">
                <a:xfrm>
                  <a:off x="4481513" y="3294089"/>
                  <a:ext cx="18506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IGER</a:t>
                  </a:r>
                </a:p>
              </p:txBody>
            </p:sp>
            <p:sp>
              <p:nvSpPr>
                <p:cNvPr id="417" name="CHAD Label">
                  <a:extLst>
                    <a:ext uri="{FF2B5EF4-FFF2-40B4-BE49-F238E27FC236}">
                      <a16:creationId xmlns:a16="http://schemas.microsoft.com/office/drawing/2014/main" id="{29D5792D-8732-49F2-9652-46D740C0B3C9}"/>
                    </a:ext>
                  </a:extLst>
                </p:cNvPr>
                <p:cNvSpPr>
                  <a:spLocks noChangeArrowheads="1"/>
                </p:cNvSpPr>
                <p:nvPr/>
              </p:nvSpPr>
              <p:spPr bwMode="gray">
                <a:xfrm>
                  <a:off x="5024436" y="3446488"/>
                  <a:ext cx="16700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CHAD</a:t>
                  </a:r>
                </a:p>
              </p:txBody>
            </p:sp>
            <p:sp>
              <p:nvSpPr>
                <p:cNvPr id="418" name="SUDAN Label">
                  <a:extLst>
                    <a:ext uri="{FF2B5EF4-FFF2-40B4-BE49-F238E27FC236}">
                      <a16:creationId xmlns:a16="http://schemas.microsoft.com/office/drawing/2014/main" id="{438F8E77-FEFC-4AAE-819B-01BFAA3E129D}"/>
                    </a:ext>
                  </a:extLst>
                </p:cNvPr>
                <p:cNvSpPr>
                  <a:spLocks noChangeArrowheads="1"/>
                </p:cNvSpPr>
                <p:nvPr/>
              </p:nvSpPr>
              <p:spPr bwMode="gray">
                <a:xfrm>
                  <a:off x="5595936" y="3765576"/>
                  <a:ext cx="20537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SUDAN</a:t>
                  </a:r>
                </a:p>
              </p:txBody>
            </p:sp>
            <p:sp>
              <p:nvSpPr>
                <p:cNvPr id="419" name="ETHIOPIA Label">
                  <a:extLst>
                    <a:ext uri="{FF2B5EF4-FFF2-40B4-BE49-F238E27FC236}">
                      <a16:creationId xmlns:a16="http://schemas.microsoft.com/office/drawing/2014/main" id="{7C00D930-057B-457A-91C8-4D2805BDEF97}"/>
                    </a:ext>
                  </a:extLst>
                </p:cNvPr>
                <p:cNvSpPr>
                  <a:spLocks noChangeArrowheads="1"/>
                </p:cNvSpPr>
                <p:nvPr/>
              </p:nvSpPr>
              <p:spPr bwMode="gray">
                <a:xfrm>
                  <a:off x="6294436" y="4041803"/>
                  <a:ext cx="27082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ETHIOPIA</a:t>
                  </a:r>
                </a:p>
              </p:txBody>
            </p:sp>
            <p:sp>
              <p:nvSpPr>
                <p:cNvPr id="420" name="DJIBOUTI Label">
                  <a:extLst>
                    <a:ext uri="{FF2B5EF4-FFF2-40B4-BE49-F238E27FC236}">
                      <a16:creationId xmlns:a16="http://schemas.microsoft.com/office/drawing/2014/main" id="{173B1F1A-FA3F-4E89-9C5D-88DE675D9BAE}"/>
                    </a:ext>
                  </a:extLst>
                </p:cNvPr>
                <p:cNvSpPr>
                  <a:spLocks noChangeArrowheads="1"/>
                </p:cNvSpPr>
                <p:nvPr/>
              </p:nvSpPr>
              <p:spPr bwMode="gray">
                <a:xfrm>
                  <a:off x="6648447" y="3640159"/>
                  <a:ext cx="26631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DJIBOUTI</a:t>
                  </a:r>
                </a:p>
              </p:txBody>
            </p:sp>
            <p:sp>
              <p:nvSpPr>
                <p:cNvPr id="421" name="ERITREA Label">
                  <a:extLst>
                    <a:ext uri="{FF2B5EF4-FFF2-40B4-BE49-F238E27FC236}">
                      <a16:creationId xmlns:a16="http://schemas.microsoft.com/office/drawing/2014/main" id="{0551CB0B-5670-4F21-9BDE-B85B01DCC2BE}"/>
                    </a:ext>
                  </a:extLst>
                </p:cNvPr>
                <p:cNvSpPr>
                  <a:spLocks noChangeArrowheads="1"/>
                </p:cNvSpPr>
                <p:nvPr/>
              </p:nvSpPr>
              <p:spPr bwMode="gray">
                <a:xfrm>
                  <a:off x="6362699" y="3381396"/>
                  <a:ext cx="25276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ERITREA</a:t>
                  </a:r>
                </a:p>
              </p:txBody>
            </p:sp>
            <p:sp>
              <p:nvSpPr>
                <p:cNvPr id="422" name="UGANDA Label">
                  <a:extLst>
                    <a:ext uri="{FF2B5EF4-FFF2-40B4-BE49-F238E27FC236}">
                      <a16:creationId xmlns:a16="http://schemas.microsoft.com/office/drawing/2014/main" id="{6412ACE9-8DB7-4634-8D08-DC672781CB48}"/>
                    </a:ext>
                  </a:extLst>
                </p:cNvPr>
                <p:cNvSpPr>
                  <a:spLocks noChangeArrowheads="1"/>
                </p:cNvSpPr>
                <p:nvPr/>
              </p:nvSpPr>
              <p:spPr bwMode="gray">
                <a:xfrm>
                  <a:off x="5894385" y="4330728"/>
                  <a:ext cx="25051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UGANDA</a:t>
                  </a:r>
                </a:p>
              </p:txBody>
            </p:sp>
            <p:sp>
              <p:nvSpPr>
                <p:cNvPr id="423" name="SOMALIA Label">
                  <a:extLst>
                    <a:ext uri="{FF2B5EF4-FFF2-40B4-BE49-F238E27FC236}">
                      <a16:creationId xmlns:a16="http://schemas.microsoft.com/office/drawing/2014/main" id="{0A95E766-4B96-4989-A0FB-91B2FE9261C8}"/>
                    </a:ext>
                  </a:extLst>
                </p:cNvPr>
                <p:cNvSpPr>
                  <a:spLocks noChangeArrowheads="1"/>
                </p:cNvSpPr>
                <p:nvPr/>
              </p:nvSpPr>
              <p:spPr bwMode="gray">
                <a:xfrm>
                  <a:off x="7070925" y="4052657"/>
                  <a:ext cx="25728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SOMALIA</a:t>
                  </a:r>
                </a:p>
              </p:txBody>
            </p:sp>
            <p:sp>
              <p:nvSpPr>
                <p:cNvPr id="424" name="KENYA Label">
                  <a:extLst>
                    <a:ext uri="{FF2B5EF4-FFF2-40B4-BE49-F238E27FC236}">
                      <a16:creationId xmlns:a16="http://schemas.microsoft.com/office/drawing/2014/main" id="{9BB7FD5C-3204-4D03-A5B4-73346F6B8D00}"/>
                    </a:ext>
                  </a:extLst>
                </p:cNvPr>
                <p:cNvSpPr>
                  <a:spLocks noChangeArrowheads="1"/>
                </p:cNvSpPr>
                <p:nvPr/>
              </p:nvSpPr>
              <p:spPr bwMode="gray">
                <a:xfrm>
                  <a:off x="6184898" y="4397405"/>
                  <a:ext cx="19634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KENYA</a:t>
                  </a:r>
                </a:p>
              </p:txBody>
            </p:sp>
            <p:sp>
              <p:nvSpPr>
                <p:cNvPr id="425" name="DEMOCRATIC REPUBLIC OF THE CONGO (ZAIRE) Label">
                  <a:extLst>
                    <a:ext uri="{FF2B5EF4-FFF2-40B4-BE49-F238E27FC236}">
                      <a16:creationId xmlns:a16="http://schemas.microsoft.com/office/drawing/2014/main" id="{04A1E999-4DCF-458D-9C2D-75F3CAC42911}"/>
                    </a:ext>
                  </a:extLst>
                </p:cNvPr>
                <p:cNvSpPr>
                  <a:spLocks noChangeArrowheads="1"/>
                </p:cNvSpPr>
                <p:nvPr/>
              </p:nvSpPr>
              <p:spPr bwMode="gray">
                <a:xfrm>
                  <a:off x="5026552" y="4537106"/>
                  <a:ext cx="451374" cy="281659"/>
                </a:xfrm>
                <a:prstGeom prst="rect">
                  <a:avLst/>
                </a:prstGeom>
                <a:noFill/>
                <a:ln w="9525">
                  <a:noFill/>
                  <a:miter lim="800000"/>
                  <a:headEnd/>
                  <a:tailEnd/>
                </a:ln>
              </p:spPr>
              <p:txBody>
                <a:bodyPr wrap="none" lIns="0" tIns="0" rIns="0" bIns="0">
                  <a:spAutoFit/>
                </a:bodyPr>
                <a:lstStyle/>
                <a:p>
                  <a:pPr algn="ctr" defTabSz="742950" eaLnBrk="0" hangingPunct="0">
                    <a:buClr>
                      <a:srgbClr val="000000"/>
                    </a:buClr>
                    <a:defRPr/>
                  </a:pPr>
                  <a:r>
                    <a:rPr lang="en-US" sz="325" kern="0" noProof="1">
                      <a:solidFill>
                        <a:srgbClr val="FFFFFF"/>
                      </a:solidFill>
                      <a:latin typeface="Arial"/>
                      <a:cs typeface="Arial"/>
                      <a:sym typeface="Arial"/>
                    </a:rPr>
                    <a:t>DEMOCRATIC</a:t>
                  </a:r>
                </a:p>
                <a:p>
                  <a:pPr algn="ctr" defTabSz="742950" eaLnBrk="0" hangingPunct="0">
                    <a:buClr>
                      <a:srgbClr val="000000"/>
                    </a:buClr>
                    <a:defRPr/>
                  </a:pPr>
                  <a:r>
                    <a:rPr lang="en-US" sz="325" kern="0" noProof="1">
                      <a:solidFill>
                        <a:srgbClr val="FFFFFF"/>
                      </a:solidFill>
                      <a:latin typeface="Arial"/>
                      <a:cs typeface="Arial"/>
                      <a:sym typeface="Arial"/>
                    </a:rPr>
                    <a:t>REPUBLIC</a:t>
                  </a:r>
                </a:p>
                <a:p>
                  <a:pPr algn="ctr" defTabSz="742950" eaLnBrk="0" hangingPunct="0">
                    <a:buClr>
                      <a:srgbClr val="000000"/>
                    </a:buClr>
                    <a:defRPr/>
                  </a:pPr>
                  <a:r>
                    <a:rPr lang="en-US" sz="325" kern="0" noProof="1">
                      <a:solidFill>
                        <a:srgbClr val="FFFFFF"/>
                      </a:solidFill>
                      <a:latin typeface="Arial"/>
                      <a:cs typeface="Arial"/>
                      <a:sym typeface="Arial"/>
                    </a:rPr>
                    <a:t>OF THE CONGO</a:t>
                  </a:r>
                </a:p>
                <a:p>
                  <a:pPr algn="ctr" defTabSz="742950" eaLnBrk="0" hangingPunct="0">
                    <a:buClr>
                      <a:srgbClr val="000000"/>
                    </a:buClr>
                    <a:defRPr/>
                  </a:pPr>
                  <a:r>
                    <a:rPr lang="en-US" sz="325" kern="0" noProof="1">
                      <a:solidFill>
                        <a:srgbClr val="FFFFFF"/>
                      </a:solidFill>
                      <a:latin typeface="Arial"/>
                      <a:cs typeface="Arial"/>
                      <a:sym typeface="Arial"/>
                    </a:rPr>
                    <a:t>(ZAIRE)</a:t>
                  </a:r>
                </a:p>
              </p:txBody>
            </p:sp>
            <p:sp>
              <p:nvSpPr>
                <p:cNvPr id="426" name="CENTRAL AFRICAN REPUBLIC Label">
                  <a:extLst>
                    <a:ext uri="{FF2B5EF4-FFF2-40B4-BE49-F238E27FC236}">
                      <a16:creationId xmlns:a16="http://schemas.microsoft.com/office/drawing/2014/main" id="{2F176FE2-CBB2-431C-8545-FED0074B24EA}"/>
                    </a:ext>
                  </a:extLst>
                </p:cNvPr>
                <p:cNvSpPr>
                  <a:spLocks noChangeArrowheads="1"/>
                </p:cNvSpPr>
                <p:nvPr/>
              </p:nvSpPr>
              <p:spPr bwMode="gray">
                <a:xfrm>
                  <a:off x="5155530" y="4005034"/>
                  <a:ext cx="291137" cy="211244"/>
                </a:xfrm>
                <a:prstGeom prst="rect">
                  <a:avLst/>
                </a:prstGeom>
                <a:noFill/>
                <a:ln w="9525">
                  <a:noFill/>
                  <a:miter lim="800000"/>
                  <a:headEnd/>
                  <a:tailEnd/>
                </a:ln>
              </p:spPr>
              <p:txBody>
                <a:bodyPr wrap="none" lIns="0" tIns="0" rIns="0" bIns="0">
                  <a:spAutoFit/>
                </a:bodyPr>
                <a:lstStyle/>
                <a:p>
                  <a:pPr algn="ctr" defTabSz="742950" eaLnBrk="0" hangingPunct="0">
                    <a:buClr>
                      <a:srgbClr val="000000"/>
                    </a:buClr>
                    <a:defRPr/>
                  </a:pPr>
                  <a:r>
                    <a:rPr lang="en-US" sz="325" kern="0" noProof="1">
                      <a:solidFill>
                        <a:srgbClr val="FFFFFF"/>
                      </a:solidFill>
                      <a:latin typeface="Arial"/>
                      <a:cs typeface="Arial"/>
                      <a:sym typeface="Arial"/>
                    </a:rPr>
                    <a:t>CENTRAL</a:t>
                  </a:r>
                </a:p>
                <a:p>
                  <a:pPr algn="ctr" defTabSz="742950" eaLnBrk="0" hangingPunct="0">
                    <a:buClr>
                      <a:srgbClr val="000000"/>
                    </a:buClr>
                    <a:defRPr/>
                  </a:pPr>
                  <a:r>
                    <a:rPr lang="en-US" sz="325" kern="0" noProof="1">
                      <a:solidFill>
                        <a:srgbClr val="FFFFFF"/>
                      </a:solidFill>
                      <a:latin typeface="Arial"/>
                      <a:cs typeface="Arial"/>
                      <a:sym typeface="Arial"/>
                    </a:rPr>
                    <a:t>AFRICAN</a:t>
                  </a:r>
                </a:p>
                <a:p>
                  <a:pPr algn="ctr" defTabSz="742950" eaLnBrk="0" hangingPunct="0">
                    <a:buClr>
                      <a:srgbClr val="000000"/>
                    </a:buClr>
                    <a:defRPr/>
                  </a:pPr>
                  <a:r>
                    <a:rPr lang="en-US" sz="325" kern="0" noProof="1">
                      <a:solidFill>
                        <a:srgbClr val="FFFFFF"/>
                      </a:solidFill>
                      <a:latin typeface="Arial"/>
                      <a:cs typeface="Arial"/>
                      <a:sym typeface="Arial"/>
                    </a:rPr>
                    <a:t>REPUBLIC</a:t>
                  </a:r>
                </a:p>
              </p:txBody>
            </p:sp>
            <p:sp>
              <p:nvSpPr>
                <p:cNvPr id="427" name="RWANDA Label">
                  <a:extLst>
                    <a:ext uri="{FF2B5EF4-FFF2-40B4-BE49-F238E27FC236}">
                      <a16:creationId xmlns:a16="http://schemas.microsoft.com/office/drawing/2014/main" id="{A7A63857-5E71-4880-8908-AD74A660AD03}"/>
                    </a:ext>
                  </a:extLst>
                </p:cNvPr>
                <p:cNvSpPr>
                  <a:spLocks noChangeArrowheads="1"/>
                </p:cNvSpPr>
                <p:nvPr/>
              </p:nvSpPr>
              <p:spPr bwMode="gray">
                <a:xfrm>
                  <a:off x="5559422" y="4548220"/>
                  <a:ext cx="261796"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RWANDA</a:t>
                  </a:r>
                </a:p>
              </p:txBody>
            </p:sp>
            <p:sp>
              <p:nvSpPr>
                <p:cNvPr id="428" name="GABON Label">
                  <a:extLst>
                    <a:ext uri="{FF2B5EF4-FFF2-40B4-BE49-F238E27FC236}">
                      <a16:creationId xmlns:a16="http://schemas.microsoft.com/office/drawing/2014/main" id="{2BB7946B-5A40-4FB6-ACC4-4C6A85E5E4A0}"/>
                    </a:ext>
                  </a:extLst>
                </p:cNvPr>
                <p:cNvSpPr>
                  <a:spLocks noChangeArrowheads="1"/>
                </p:cNvSpPr>
                <p:nvPr/>
              </p:nvSpPr>
              <p:spPr bwMode="gray">
                <a:xfrm>
                  <a:off x="4560887" y="4579967"/>
                  <a:ext cx="20989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GABON</a:t>
                  </a:r>
                </a:p>
              </p:txBody>
            </p:sp>
            <p:sp>
              <p:nvSpPr>
                <p:cNvPr id="429" name="NIGERIA Label">
                  <a:extLst>
                    <a:ext uri="{FF2B5EF4-FFF2-40B4-BE49-F238E27FC236}">
                      <a16:creationId xmlns:a16="http://schemas.microsoft.com/office/drawing/2014/main" id="{7C5D4EEA-6DB2-48C5-9639-7DC20BD18A10}"/>
                    </a:ext>
                  </a:extLst>
                </p:cNvPr>
                <p:cNvSpPr>
                  <a:spLocks noChangeArrowheads="1"/>
                </p:cNvSpPr>
                <p:nvPr/>
              </p:nvSpPr>
              <p:spPr bwMode="gray">
                <a:xfrm>
                  <a:off x="4169372" y="3987942"/>
                  <a:ext cx="239227"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NIGERIA</a:t>
                  </a:r>
                </a:p>
              </p:txBody>
            </p:sp>
            <p:sp>
              <p:nvSpPr>
                <p:cNvPr id="430" name="CAMAROON Label">
                  <a:extLst>
                    <a:ext uri="{FF2B5EF4-FFF2-40B4-BE49-F238E27FC236}">
                      <a16:creationId xmlns:a16="http://schemas.microsoft.com/office/drawing/2014/main" id="{0C32FC6E-E092-41C5-B957-7C42722162AE}"/>
                    </a:ext>
                  </a:extLst>
                </p:cNvPr>
                <p:cNvSpPr>
                  <a:spLocks noChangeArrowheads="1"/>
                </p:cNvSpPr>
                <p:nvPr/>
              </p:nvSpPr>
              <p:spPr bwMode="gray">
                <a:xfrm>
                  <a:off x="4505324" y="4157692"/>
                  <a:ext cx="345301"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CAMEROON</a:t>
                  </a:r>
                </a:p>
              </p:txBody>
            </p:sp>
            <p:sp>
              <p:nvSpPr>
                <p:cNvPr id="431" name="TUNISIA Label">
                  <a:extLst>
                    <a:ext uri="{FF2B5EF4-FFF2-40B4-BE49-F238E27FC236}">
                      <a16:creationId xmlns:a16="http://schemas.microsoft.com/office/drawing/2014/main" id="{40D43AB8-2CF5-4BA5-9D01-040EFF6934FE}"/>
                    </a:ext>
                  </a:extLst>
                </p:cNvPr>
                <p:cNvSpPr>
                  <a:spLocks noChangeArrowheads="1"/>
                </p:cNvSpPr>
                <p:nvPr/>
              </p:nvSpPr>
              <p:spPr bwMode="gray">
                <a:xfrm>
                  <a:off x="4686299" y="2273316"/>
                  <a:ext cx="230200"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TUNISIA</a:t>
                  </a:r>
                </a:p>
              </p:txBody>
            </p:sp>
            <p:sp>
              <p:nvSpPr>
                <p:cNvPr id="432" name="MOROCCO Label">
                  <a:extLst>
                    <a:ext uri="{FF2B5EF4-FFF2-40B4-BE49-F238E27FC236}">
                      <a16:creationId xmlns:a16="http://schemas.microsoft.com/office/drawing/2014/main" id="{8A730E17-4FDB-4919-954A-903BFCFE80C0}"/>
                    </a:ext>
                  </a:extLst>
                </p:cNvPr>
                <p:cNvSpPr>
                  <a:spLocks noChangeArrowheads="1"/>
                </p:cNvSpPr>
                <p:nvPr/>
              </p:nvSpPr>
              <p:spPr bwMode="gray">
                <a:xfrm>
                  <a:off x="3587748" y="2405081"/>
                  <a:ext cx="31370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OROCCO</a:t>
                  </a:r>
                </a:p>
              </p:txBody>
            </p:sp>
            <p:sp>
              <p:nvSpPr>
                <p:cNvPr id="433" name="WESTERN SAHARA Label">
                  <a:extLst>
                    <a:ext uri="{FF2B5EF4-FFF2-40B4-BE49-F238E27FC236}">
                      <a16:creationId xmlns:a16="http://schemas.microsoft.com/office/drawing/2014/main" id="{ED38D6DD-47F2-4B77-AC85-D022FF8B2E57}"/>
                    </a:ext>
                  </a:extLst>
                </p:cNvPr>
                <p:cNvSpPr>
                  <a:spLocks noChangeArrowheads="1"/>
                </p:cNvSpPr>
                <p:nvPr/>
              </p:nvSpPr>
              <p:spPr bwMode="gray">
                <a:xfrm>
                  <a:off x="3035751" y="2951652"/>
                  <a:ext cx="54841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chemeClr val="bg1"/>
                      </a:solidFill>
                      <a:latin typeface="Arial"/>
                      <a:cs typeface="Arial"/>
                      <a:sym typeface="Arial"/>
                    </a:rPr>
                    <a:t>WESTERN SAHARA</a:t>
                  </a:r>
                </a:p>
              </p:txBody>
            </p:sp>
            <p:sp>
              <p:nvSpPr>
                <p:cNvPr id="434" name="ALGERIA Label">
                  <a:extLst>
                    <a:ext uri="{FF2B5EF4-FFF2-40B4-BE49-F238E27FC236}">
                      <a16:creationId xmlns:a16="http://schemas.microsoft.com/office/drawing/2014/main" id="{5AFCCBC4-20F6-4074-ADB9-039028E5261D}"/>
                    </a:ext>
                  </a:extLst>
                </p:cNvPr>
                <p:cNvSpPr>
                  <a:spLocks noChangeArrowheads="1"/>
                </p:cNvSpPr>
                <p:nvPr/>
              </p:nvSpPr>
              <p:spPr bwMode="gray">
                <a:xfrm>
                  <a:off x="3981450" y="2703530"/>
                  <a:ext cx="25051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ALGERIA</a:t>
                  </a:r>
                </a:p>
              </p:txBody>
            </p:sp>
            <p:sp>
              <p:nvSpPr>
                <p:cNvPr id="435" name="MALI Label">
                  <a:extLst>
                    <a:ext uri="{FF2B5EF4-FFF2-40B4-BE49-F238E27FC236}">
                      <a16:creationId xmlns:a16="http://schemas.microsoft.com/office/drawing/2014/main" id="{D3BBB366-DFBC-4B7E-98C3-FB02800A2FBF}"/>
                    </a:ext>
                  </a:extLst>
                </p:cNvPr>
                <p:cNvSpPr>
                  <a:spLocks noChangeArrowheads="1"/>
                </p:cNvSpPr>
                <p:nvPr/>
              </p:nvSpPr>
              <p:spPr bwMode="gray">
                <a:xfrm>
                  <a:off x="3733799" y="3209948"/>
                  <a:ext cx="13541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ALI</a:t>
                  </a:r>
                </a:p>
              </p:txBody>
            </p:sp>
            <p:sp>
              <p:nvSpPr>
                <p:cNvPr id="436" name="LIBYA Label">
                  <a:extLst>
                    <a:ext uri="{FF2B5EF4-FFF2-40B4-BE49-F238E27FC236}">
                      <a16:creationId xmlns:a16="http://schemas.microsoft.com/office/drawing/2014/main" id="{99515DBB-1B7D-4255-86E8-556671EF9685}"/>
                    </a:ext>
                  </a:extLst>
                </p:cNvPr>
                <p:cNvSpPr>
                  <a:spLocks noChangeArrowheads="1"/>
                </p:cNvSpPr>
                <p:nvPr/>
              </p:nvSpPr>
              <p:spPr bwMode="gray">
                <a:xfrm>
                  <a:off x="4810125" y="2752745"/>
                  <a:ext cx="16249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LIBYA</a:t>
                  </a:r>
                </a:p>
              </p:txBody>
            </p:sp>
            <p:sp>
              <p:nvSpPr>
                <p:cNvPr id="437" name="EGYPT Label">
                  <a:extLst>
                    <a:ext uri="{FF2B5EF4-FFF2-40B4-BE49-F238E27FC236}">
                      <a16:creationId xmlns:a16="http://schemas.microsoft.com/office/drawing/2014/main" id="{F485BD91-0C55-461D-B1E3-B626AEB3B8B6}"/>
                    </a:ext>
                  </a:extLst>
                </p:cNvPr>
                <p:cNvSpPr>
                  <a:spLocks noChangeArrowheads="1"/>
                </p:cNvSpPr>
                <p:nvPr/>
              </p:nvSpPr>
              <p:spPr bwMode="gray">
                <a:xfrm>
                  <a:off x="5581649" y="2830532"/>
                  <a:ext cx="19634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EGYPT</a:t>
                  </a:r>
                </a:p>
              </p:txBody>
            </p:sp>
            <p:sp>
              <p:nvSpPr>
                <p:cNvPr id="438" name="BENIN Label">
                  <a:extLst>
                    <a:ext uri="{FF2B5EF4-FFF2-40B4-BE49-F238E27FC236}">
                      <a16:creationId xmlns:a16="http://schemas.microsoft.com/office/drawing/2014/main" id="{0F00797E-A441-4649-8738-B67D2A022C17}"/>
                    </a:ext>
                  </a:extLst>
                </p:cNvPr>
                <p:cNvSpPr>
                  <a:spLocks noChangeArrowheads="1"/>
                </p:cNvSpPr>
                <p:nvPr/>
              </p:nvSpPr>
              <p:spPr bwMode="gray">
                <a:xfrm>
                  <a:off x="4010026" y="3833840"/>
                  <a:ext cx="178293"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ENIN</a:t>
                  </a:r>
                </a:p>
              </p:txBody>
            </p:sp>
            <p:sp>
              <p:nvSpPr>
                <p:cNvPr id="439" name="TOGO Label">
                  <a:extLst>
                    <a:ext uri="{FF2B5EF4-FFF2-40B4-BE49-F238E27FC236}">
                      <a16:creationId xmlns:a16="http://schemas.microsoft.com/office/drawing/2014/main" id="{E8738D91-93B5-496B-98FB-F269B0814455}"/>
                    </a:ext>
                  </a:extLst>
                </p:cNvPr>
                <p:cNvSpPr>
                  <a:spLocks noChangeArrowheads="1"/>
                </p:cNvSpPr>
                <p:nvPr/>
              </p:nvSpPr>
              <p:spPr bwMode="gray">
                <a:xfrm>
                  <a:off x="3957636" y="3937027"/>
                  <a:ext cx="171521"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TOGO</a:t>
                  </a:r>
                </a:p>
              </p:txBody>
            </p:sp>
            <p:sp>
              <p:nvSpPr>
                <p:cNvPr id="440" name="CÔTE D’IVOIRE Label">
                  <a:extLst>
                    <a:ext uri="{FF2B5EF4-FFF2-40B4-BE49-F238E27FC236}">
                      <a16:creationId xmlns:a16="http://schemas.microsoft.com/office/drawing/2014/main" id="{7680F9C5-04C6-4E4A-B5F5-D6BCFC88B31E}"/>
                    </a:ext>
                  </a:extLst>
                </p:cNvPr>
                <p:cNvSpPr>
                  <a:spLocks noChangeArrowheads="1"/>
                </p:cNvSpPr>
                <p:nvPr/>
              </p:nvSpPr>
              <p:spPr bwMode="gray">
                <a:xfrm>
                  <a:off x="3466647" y="3929089"/>
                  <a:ext cx="252768" cy="140829"/>
                </a:xfrm>
                <a:prstGeom prst="rect">
                  <a:avLst/>
                </a:prstGeom>
                <a:noFill/>
                <a:ln w="9525">
                  <a:noFill/>
                  <a:miter lim="800000"/>
                  <a:headEnd/>
                  <a:tailEnd/>
                </a:ln>
              </p:spPr>
              <p:txBody>
                <a:bodyPr wrap="none" lIns="0" tIns="0" rIns="0" bIns="0">
                  <a:spAutoFit/>
                </a:bodyPr>
                <a:lstStyle/>
                <a:p>
                  <a:pPr algn="ctr" defTabSz="742950" eaLnBrk="0" hangingPunct="0">
                    <a:buClr>
                      <a:srgbClr val="000000"/>
                    </a:buClr>
                    <a:defRPr/>
                  </a:pPr>
                  <a:r>
                    <a:rPr lang="en-US" sz="325" kern="0" noProof="1">
                      <a:solidFill>
                        <a:srgbClr val="FFFFFF"/>
                      </a:solidFill>
                      <a:latin typeface="Arial"/>
                      <a:cs typeface="Arial"/>
                      <a:sym typeface="Arial"/>
                    </a:rPr>
                    <a:t>CÔTE</a:t>
                  </a:r>
                </a:p>
                <a:p>
                  <a:pPr algn="ctr" defTabSz="742950" eaLnBrk="0" hangingPunct="0">
                    <a:buClr>
                      <a:srgbClr val="000000"/>
                    </a:buClr>
                    <a:defRPr/>
                  </a:pPr>
                  <a:r>
                    <a:rPr lang="en-US" sz="325" kern="0" noProof="1">
                      <a:solidFill>
                        <a:srgbClr val="FFFFFF"/>
                      </a:solidFill>
                      <a:latin typeface="Arial"/>
                      <a:cs typeface="Arial"/>
                      <a:sym typeface="Arial"/>
                    </a:rPr>
                    <a:t>D’IVOIRE</a:t>
                  </a:r>
                </a:p>
              </p:txBody>
            </p:sp>
            <p:sp>
              <p:nvSpPr>
                <p:cNvPr id="441" name="BURKINA FASO Label">
                  <a:extLst>
                    <a:ext uri="{FF2B5EF4-FFF2-40B4-BE49-F238E27FC236}">
                      <a16:creationId xmlns:a16="http://schemas.microsoft.com/office/drawing/2014/main" id="{882F9DE6-CAAD-46E5-B8EB-5DBA129CE429}"/>
                    </a:ext>
                  </a:extLst>
                </p:cNvPr>
                <p:cNvSpPr>
                  <a:spLocks noChangeArrowheads="1"/>
                </p:cNvSpPr>
                <p:nvPr/>
              </p:nvSpPr>
              <p:spPr bwMode="gray">
                <a:xfrm>
                  <a:off x="3655513" y="3749702"/>
                  <a:ext cx="433319"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BURKINA FASO</a:t>
                  </a:r>
                </a:p>
              </p:txBody>
            </p:sp>
            <p:sp>
              <p:nvSpPr>
                <p:cNvPr id="442" name="GUINEA Label">
                  <a:extLst>
                    <a:ext uri="{FF2B5EF4-FFF2-40B4-BE49-F238E27FC236}">
                      <a16:creationId xmlns:a16="http://schemas.microsoft.com/office/drawing/2014/main" id="{6A898140-883B-45C9-A5ED-CA3D38DA95E9}"/>
                    </a:ext>
                  </a:extLst>
                </p:cNvPr>
                <p:cNvSpPr>
                  <a:spLocks noChangeArrowheads="1"/>
                </p:cNvSpPr>
                <p:nvPr/>
              </p:nvSpPr>
              <p:spPr bwMode="gray">
                <a:xfrm>
                  <a:off x="3162300" y="3778275"/>
                  <a:ext cx="223431" cy="70415"/>
                </a:xfrm>
                <a:prstGeom prst="rect">
                  <a:avLst/>
                </a:prstGeom>
                <a:solidFill>
                  <a:schemeClr val="bg2"/>
                </a:solid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GUINEA</a:t>
                  </a:r>
                </a:p>
              </p:txBody>
            </p:sp>
            <p:sp>
              <p:nvSpPr>
                <p:cNvPr id="443" name="SENEGAL Label">
                  <a:extLst>
                    <a:ext uri="{FF2B5EF4-FFF2-40B4-BE49-F238E27FC236}">
                      <a16:creationId xmlns:a16="http://schemas.microsoft.com/office/drawing/2014/main" id="{3DB1F94B-293C-4D00-9115-71FE2EE5B83E}"/>
                    </a:ext>
                  </a:extLst>
                </p:cNvPr>
                <p:cNvSpPr>
                  <a:spLocks noChangeArrowheads="1"/>
                </p:cNvSpPr>
                <p:nvPr/>
              </p:nvSpPr>
              <p:spPr bwMode="gray">
                <a:xfrm>
                  <a:off x="2960688" y="3530624"/>
                  <a:ext cx="27308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SENEGAL</a:t>
                  </a:r>
                </a:p>
              </p:txBody>
            </p:sp>
            <p:sp>
              <p:nvSpPr>
                <p:cNvPr id="444" name="GHANA Label">
                  <a:extLst>
                    <a:ext uri="{FF2B5EF4-FFF2-40B4-BE49-F238E27FC236}">
                      <a16:creationId xmlns:a16="http://schemas.microsoft.com/office/drawing/2014/main" id="{E93459E1-DA42-4B6A-BFB5-7868CC41C097}"/>
                    </a:ext>
                  </a:extLst>
                </p:cNvPr>
                <p:cNvSpPr>
                  <a:spLocks noChangeArrowheads="1"/>
                </p:cNvSpPr>
                <p:nvPr/>
              </p:nvSpPr>
              <p:spPr bwMode="gray">
                <a:xfrm>
                  <a:off x="3770311" y="4030690"/>
                  <a:ext cx="207631"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GHANA</a:t>
                  </a:r>
                </a:p>
              </p:txBody>
            </p:sp>
            <p:sp>
              <p:nvSpPr>
                <p:cNvPr id="445" name="LIBERIA Label">
                  <a:extLst>
                    <a:ext uri="{FF2B5EF4-FFF2-40B4-BE49-F238E27FC236}">
                      <a16:creationId xmlns:a16="http://schemas.microsoft.com/office/drawing/2014/main" id="{64A601F3-5A62-41EE-A44B-2779936DF60C}"/>
                    </a:ext>
                  </a:extLst>
                </p:cNvPr>
                <p:cNvSpPr>
                  <a:spLocks noChangeArrowheads="1"/>
                </p:cNvSpPr>
                <p:nvPr/>
              </p:nvSpPr>
              <p:spPr bwMode="gray">
                <a:xfrm>
                  <a:off x="3103356" y="4144991"/>
                  <a:ext cx="22117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LIBERIA</a:t>
                  </a:r>
                </a:p>
              </p:txBody>
            </p:sp>
            <p:sp>
              <p:nvSpPr>
                <p:cNvPr id="446" name="MAURITANIA Label">
                  <a:extLst>
                    <a:ext uri="{FF2B5EF4-FFF2-40B4-BE49-F238E27FC236}">
                      <a16:creationId xmlns:a16="http://schemas.microsoft.com/office/drawing/2014/main" id="{55FEAF84-CA9C-45B3-9743-D06E375C2F56}"/>
                    </a:ext>
                  </a:extLst>
                </p:cNvPr>
                <p:cNvSpPr>
                  <a:spLocks noChangeArrowheads="1"/>
                </p:cNvSpPr>
                <p:nvPr/>
              </p:nvSpPr>
              <p:spPr bwMode="gray">
                <a:xfrm>
                  <a:off x="3046418" y="3167878"/>
                  <a:ext cx="361098"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FFFFFF"/>
                      </a:solidFill>
                      <a:latin typeface="Arial"/>
                      <a:cs typeface="Arial"/>
                      <a:sym typeface="Arial"/>
                    </a:rPr>
                    <a:t>MAURITANIA</a:t>
                  </a:r>
                </a:p>
              </p:txBody>
            </p:sp>
            <p:sp>
              <p:nvSpPr>
                <p:cNvPr id="447" name="SIERRA LEONE Label">
                  <a:extLst>
                    <a:ext uri="{FF2B5EF4-FFF2-40B4-BE49-F238E27FC236}">
                      <a16:creationId xmlns:a16="http://schemas.microsoft.com/office/drawing/2014/main" id="{71942E9C-E424-4176-971F-662F76EA499C}"/>
                    </a:ext>
                  </a:extLst>
                </p:cNvPr>
                <p:cNvSpPr>
                  <a:spLocks noChangeArrowheads="1"/>
                </p:cNvSpPr>
                <p:nvPr/>
              </p:nvSpPr>
              <p:spPr bwMode="gray">
                <a:xfrm>
                  <a:off x="2751687" y="3999991"/>
                  <a:ext cx="428805"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SIERRA LEONE</a:t>
                  </a:r>
                </a:p>
              </p:txBody>
            </p:sp>
            <p:sp>
              <p:nvSpPr>
                <p:cNvPr id="448" name="THE GAMBIA Label">
                  <a:extLst>
                    <a:ext uri="{FF2B5EF4-FFF2-40B4-BE49-F238E27FC236}">
                      <a16:creationId xmlns:a16="http://schemas.microsoft.com/office/drawing/2014/main" id="{CC33BA96-AFBA-460F-BB87-8020D2CCE2E4}"/>
                    </a:ext>
                  </a:extLst>
                </p:cNvPr>
                <p:cNvSpPr>
                  <a:spLocks noChangeArrowheads="1"/>
                </p:cNvSpPr>
                <p:nvPr/>
              </p:nvSpPr>
              <p:spPr bwMode="gray">
                <a:xfrm>
                  <a:off x="2608278" y="3626669"/>
                  <a:ext cx="358842"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THE GAMBIA</a:t>
                  </a:r>
                </a:p>
              </p:txBody>
            </p:sp>
            <p:sp>
              <p:nvSpPr>
                <p:cNvPr id="449" name="GUINEA BISSAU Label">
                  <a:extLst>
                    <a:ext uri="{FF2B5EF4-FFF2-40B4-BE49-F238E27FC236}">
                      <a16:creationId xmlns:a16="http://schemas.microsoft.com/office/drawing/2014/main" id="{F91BCB0C-E283-49F5-A753-AF9B91D4F9B1}"/>
                    </a:ext>
                  </a:extLst>
                </p:cNvPr>
                <p:cNvSpPr>
                  <a:spLocks noChangeArrowheads="1"/>
                </p:cNvSpPr>
                <p:nvPr/>
              </p:nvSpPr>
              <p:spPr bwMode="gray">
                <a:xfrm>
                  <a:off x="2623039" y="3765115"/>
                  <a:ext cx="451374" cy="70415"/>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kern="0" noProof="1">
                      <a:solidFill>
                        <a:srgbClr val="000000"/>
                      </a:solidFill>
                      <a:latin typeface="Arial"/>
                      <a:cs typeface="Arial"/>
                      <a:sym typeface="Arial"/>
                    </a:rPr>
                    <a:t>GUINEA BISSAU</a:t>
                  </a:r>
                </a:p>
              </p:txBody>
            </p:sp>
          </p:grpSp>
          <p:grpSp>
            <p:nvGrpSpPr>
              <p:cNvPr id="337" name="Guider Lines">
                <a:extLst>
                  <a:ext uri="{FF2B5EF4-FFF2-40B4-BE49-F238E27FC236}">
                    <a16:creationId xmlns:a16="http://schemas.microsoft.com/office/drawing/2014/main" id="{4AF2A3F8-85AB-4C6E-9403-831981296471}"/>
                  </a:ext>
                </a:extLst>
              </p:cNvPr>
              <p:cNvGrpSpPr/>
              <p:nvPr/>
            </p:nvGrpSpPr>
            <p:grpSpPr bwMode="gray">
              <a:xfrm>
                <a:off x="4058715" y="4126180"/>
                <a:ext cx="2110037" cy="2328718"/>
                <a:chOff x="4054508" y="4078327"/>
                <a:chExt cx="1990756" cy="2197048"/>
              </a:xfrm>
            </p:grpSpPr>
            <p:sp>
              <p:nvSpPr>
                <p:cNvPr id="395" name="Line 80">
                  <a:extLst>
                    <a:ext uri="{FF2B5EF4-FFF2-40B4-BE49-F238E27FC236}">
                      <a16:creationId xmlns:a16="http://schemas.microsoft.com/office/drawing/2014/main" id="{65051D46-DD53-4E3F-BC27-9AB1C48EB8F0}"/>
                    </a:ext>
                  </a:extLst>
                </p:cNvPr>
                <p:cNvSpPr>
                  <a:spLocks noChangeShapeType="1"/>
                </p:cNvSpPr>
                <p:nvPr/>
              </p:nvSpPr>
              <p:spPr bwMode="gray">
                <a:xfrm>
                  <a:off x="4481560" y="4429116"/>
                  <a:ext cx="84138" cy="4762"/>
                </a:xfrm>
                <a:prstGeom prst="line">
                  <a:avLst/>
                </a:prstGeom>
                <a:noFill/>
                <a:ln w="6350">
                  <a:solidFill>
                    <a:srgbClr val="FFB600"/>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396" name="Line 81">
                  <a:extLst>
                    <a:ext uri="{FF2B5EF4-FFF2-40B4-BE49-F238E27FC236}">
                      <a16:creationId xmlns:a16="http://schemas.microsoft.com/office/drawing/2014/main" id="{879F10D7-6C0F-4B31-8A29-258FE69EE471}"/>
                    </a:ext>
                  </a:extLst>
                </p:cNvPr>
                <p:cNvSpPr>
                  <a:spLocks noChangeShapeType="1"/>
                </p:cNvSpPr>
                <p:nvPr/>
              </p:nvSpPr>
              <p:spPr bwMode="gray">
                <a:xfrm>
                  <a:off x="5967476" y="5221278"/>
                  <a:ext cx="77788" cy="42862"/>
                </a:xfrm>
                <a:prstGeom prst="line">
                  <a:avLst/>
                </a:prstGeom>
                <a:noFill/>
                <a:ln w="6350">
                  <a:solidFill>
                    <a:srgbClr val="FFB600"/>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397" name="Line 82">
                  <a:extLst>
                    <a:ext uri="{FF2B5EF4-FFF2-40B4-BE49-F238E27FC236}">
                      <a16:creationId xmlns:a16="http://schemas.microsoft.com/office/drawing/2014/main" id="{7F52A6C1-AC07-42A5-AE89-62BF6AA88364}"/>
                    </a:ext>
                  </a:extLst>
                </p:cNvPr>
                <p:cNvSpPr>
                  <a:spLocks noChangeShapeType="1"/>
                </p:cNvSpPr>
                <p:nvPr/>
              </p:nvSpPr>
              <p:spPr bwMode="gray">
                <a:xfrm flipH="1" flipV="1">
                  <a:off x="5867461" y="6227750"/>
                  <a:ext cx="65088" cy="47625"/>
                </a:xfrm>
                <a:prstGeom prst="line">
                  <a:avLst/>
                </a:prstGeom>
                <a:noFill/>
                <a:ln w="6350">
                  <a:solidFill>
                    <a:srgbClr val="FFB600"/>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sp>
              <p:nvSpPr>
                <p:cNvPr id="398" name="Line 175">
                  <a:extLst>
                    <a:ext uri="{FF2B5EF4-FFF2-40B4-BE49-F238E27FC236}">
                      <a16:creationId xmlns:a16="http://schemas.microsoft.com/office/drawing/2014/main" id="{92F571FE-5246-4DC1-A753-15E69589BE4F}"/>
                    </a:ext>
                  </a:extLst>
                </p:cNvPr>
                <p:cNvSpPr>
                  <a:spLocks noChangeShapeType="1"/>
                </p:cNvSpPr>
                <p:nvPr/>
              </p:nvSpPr>
              <p:spPr bwMode="gray">
                <a:xfrm flipV="1">
                  <a:off x="4452989" y="4327521"/>
                  <a:ext cx="14287" cy="65087"/>
                </a:xfrm>
                <a:prstGeom prst="line">
                  <a:avLst/>
                </a:prstGeom>
                <a:noFill/>
                <a:ln w="6350">
                  <a:solidFill>
                    <a:srgbClr val="FFB600"/>
                  </a:solidFill>
                  <a:round/>
                  <a:headEnd/>
                  <a:tailEnd/>
                </a:ln>
              </p:spPr>
              <p:txBody>
                <a:bodyPr/>
                <a:lstStyle/>
                <a:p>
                  <a:pPr defTabSz="742950">
                    <a:buClr>
                      <a:srgbClr val="000000"/>
                    </a:buClr>
                    <a:defRPr/>
                  </a:pPr>
                  <a:endParaRPr lang="en-US" sz="325" kern="0" noProof="1">
                    <a:solidFill>
                      <a:srgbClr val="000000"/>
                    </a:solidFill>
                    <a:latin typeface="Arial"/>
                    <a:cs typeface="Arial"/>
                    <a:sym typeface="Arial"/>
                  </a:endParaRPr>
                </a:p>
              </p:txBody>
            </p:sp>
            <p:cxnSp>
              <p:nvCxnSpPr>
                <p:cNvPr id="399" name="Straight Connector 425">
                  <a:extLst>
                    <a:ext uri="{FF2B5EF4-FFF2-40B4-BE49-F238E27FC236}">
                      <a16:creationId xmlns:a16="http://schemas.microsoft.com/office/drawing/2014/main" id="{5EDF2C2E-ACC7-42DC-B79B-1781345ED1B3}"/>
                    </a:ext>
                  </a:extLst>
                </p:cNvPr>
                <p:cNvCxnSpPr>
                  <a:endCxn id="536" idx="0"/>
                </p:cNvCxnSpPr>
                <p:nvPr/>
              </p:nvCxnSpPr>
              <p:spPr bwMode="gray">
                <a:xfrm>
                  <a:off x="4054508" y="4078327"/>
                  <a:ext cx="85674" cy="153938"/>
                </a:xfrm>
                <a:prstGeom prst="line">
                  <a:avLst/>
                </a:prstGeom>
                <a:noFill/>
                <a:ln w="9525" cap="flat" cmpd="sng" algn="ctr">
                  <a:solidFill>
                    <a:srgbClr val="FFB600"/>
                  </a:solidFill>
                  <a:prstDash val="solid"/>
                </a:ln>
                <a:effectLst/>
              </p:spPr>
            </p:cxnSp>
          </p:grpSp>
          <p:grpSp>
            <p:nvGrpSpPr>
              <p:cNvPr id="338" name="Africa City Capital City Locators">
                <a:extLst>
                  <a:ext uri="{FF2B5EF4-FFF2-40B4-BE49-F238E27FC236}">
                    <a16:creationId xmlns:a16="http://schemas.microsoft.com/office/drawing/2014/main" id="{6CB98A05-9AD4-48B3-9980-EE32D8D9F715}"/>
                  </a:ext>
                </a:extLst>
              </p:cNvPr>
              <p:cNvGrpSpPr/>
              <p:nvPr/>
            </p:nvGrpSpPr>
            <p:grpSpPr bwMode="gray">
              <a:xfrm>
                <a:off x="2848916" y="2134225"/>
                <a:ext cx="4197219" cy="4439805"/>
                <a:chOff x="2913063" y="2198995"/>
                <a:chExt cx="3959903" cy="4188760"/>
              </a:xfrm>
              <a:solidFill>
                <a:srgbClr val="D04A02">
                  <a:lumMod val="20000"/>
                  <a:lumOff val="80000"/>
                </a:srgbClr>
              </a:solidFill>
            </p:grpSpPr>
            <p:sp>
              <p:nvSpPr>
                <p:cNvPr id="347" name="Antananarivo Locator">
                  <a:extLst>
                    <a:ext uri="{FF2B5EF4-FFF2-40B4-BE49-F238E27FC236}">
                      <a16:creationId xmlns:a16="http://schemas.microsoft.com/office/drawing/2014/main" id="{B5854168-19F9-44BE-B390-C2527E01B9B8}"/>
                    </a:ext>
                  </a:extLst>
                </p:cNvPr>
                <p:cNvSpPr>
                  <a:spLocks/>
                </p:cNvSpPr>
                <p:nvPr/>
              </p:nvSpPr>
              <p:spPr bwMode="gray">
                <a:xfrm>
                  <a:off x="6827246" y="5716720"/>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48" name="Lilongwe Locator">
                  <a:extLst>
                    <a:ext uri="{FF2B5EF4-FFF2-40B4-BE49-F238E27FC236}">
                      <a16:creationId xmlns:a16="http://schemas.microsoft.com/office/drawing/2014/main" id="{2B8F5C7F-38FC-4F93-949B-3E40C42EC6C9}"/>
                    </a:ext>
                  </a:extLst>
                </p:cNvPr>
                <p:cNvSpPr>
                  <a:spLocks/>
                </p:cNvSpPr>
                <p:nvPr/>
              </p:nvSpPr>
              <p:spPr bwMode="gray">
                <a:xfrm>
                  <a:off x="6019314" y="537159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49" name="Harare Locator">
                  <a:extLst>
                    <a:ext uri="{FF2B5EF4-FFF2-40B4-BE49-F238E27FC236}">
                      <a16:creationId xmlns:a16="http://schemas.microsoft.com/office/drawing/2014/main" id="{EE4A8274-1350-44F6-AC7C-22A70FA21070}"/>
                    </a:ext>
                  </a:extLst>
                </p:cNvPr>
                <p:cNvSpPr>
                  <a:spLocks/>
                </p:cNvSpPr>
                <p:nvPr/>
              </p:nvSpPr>
              <p:spPr bwMode="gray">
                <a:xfrm>
                  <a:off x="5842943" y="5628143"/>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0" name="Lusaka Locator">
                  <a:extLst>
                    <a:ext uri="{FF2B5EF4-FFF2-40B4-BE49-F238E27FC236}">
                      <a16:creationId xmlns:a16="http://schemas.microsoft.com/office/drawing/2014/main" id="{2A652C0A-48B1-49B9-B8DF-7FAE0C53B87D}"/>
                    </a:ext>
                  </a:extLst>
                </p:cNvPr>
                <p:cNvSpPr>
                  <a:spLocks/>
                </p:cNvSpPr>
                <p:nvPr/>
              </p:nvSpPr>
              <p:spPr bwMode="gray">
                <a:xfrm>
                  <a:off x="5669900" y="5487487"/>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1" name="Gaborone Locator">
                  <a:extLst>
                    <a:ext uri="{FF2B5EF4-FFF2-40B4-BE49-F238E27FC236}">
                      <a16:creationId xmlns:a16="http://schemas.microsoft.com/office/drawing/2014/main" id="{F13F26BE-4D8C-4FD2-AA86-348053B7C783}"/>
                    </a:ext>
                  </a:extLst>
                </p:cNvPr>
                <p:cNvSpPr>
                  <a:spLocks/>
                </p:cNvSpPr>
                <p:nvPr/>
              </p:nvSpPr>
              <p:spPr bwMode="gray">
                <a:xfrm>
                  <a:off x="5512100" y="6045173"/>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2" name="Pretoria Locator">
                  <a:extLst>
                    <a:ext uri="{FF2B5EF4-FFF2-40B4-BE49-F238E27FC236}">
                      <a16:creationId xmlns:a16="http://schemas.microsoft.com/office/drawing/2014/main" id="{C361AFE2-CB24-4BE9-A4D8-8B3421695792}"/>
                    </a:ext>
                  </a:extLst>
                </p:cNvPr>
                <p:cNvSpPr>
                  <a:spLocks/>
                </p:cNvSpPr>
                <p:nvPr/>
              </p:nvSpPr>
              <p:spPr bwMode="gray">
                <a:xfrm>
                  <a:off x="5655454" y="6105498"/>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3" name="Maputo Locator">
                  <a:extLst>
                    <a:ext uri="{FF2B5EF4-FFF2-40B4-BE49-F238E27FC236}">
                      <a16:creationId xmlns:a16="http://schemas.microsoft.com/office/drawing/2014/main" id="{23174C43-08E4-4F33-A630-C06937DC1E0C}"/>
                    </a:ext>
                  </a:extLst>
                </p:cNvPr>
                <p:cNvSpPr>
                  <a:spLocks/>
                </p:cNvSpPr>
                <p:nvPr/>
              </p:nvSpPr>
              <p:spPr bwMode="gray">
                <a:xfrm>
                  <a:off x="5888662" y="6147879"/>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4" name="Mbabane Locator">
                  <a:extLst>
                    <a:ext uri="{FF2B5EF4-FFF2-40B4-BE49-F238E27FC236}">
                      <a16:creationId xmlns:a16="http://schemas.microsoft.com/office/drawing/2014/main" id="{9D5C7928-80AD-4D6E-BAD3-265F3F0FD050}"/>
                    </a:ext>
                  </a:extLst>
                </p:cNvPr>
                <p:cNvSpPr>
                  <a:spLocks/>
                </p:cNvSpPr>
                <p:nvPr/>
              </p:nvSpPr>
              <p:spPr bwMode="gray">
                <a:xfrm>
                  <a:off x="5814521" y="618185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5" name="Maseru Locator">
                  <a:extLst>
                    <a:ext uri="{FF2B5EF4-FFF2-40B4-BE49-F238E27FC236}">
                      <a16:creationId xmlns:a16="http://schemas.microsoft.com/office/drawing/2014/main" id="{C66812DC-FA33-49AE-9C8D-A928CA30888F}"/>
                    </a:ext>
                  </a:extLst>
                </p:cNvPr>
                <p:cNvSpPr>
                  <a:spLocks/>
                </p:cNvSpPr>
                <p:nvPr/>
              </p:nvSpPr>
              <p:spPr bwMode="gray">
                <a:xfrm>
                  <a:off x="5611012" y="634203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6" name="Windhoek Locator">
                  <a:extLst>
                    <a:ext uri="{FF2B5EF4-FFF2-40B4-BE49-F238E27FC236}">
                      <a16:creationId xmlns:a16="http://schemas.microsoft.com/office/drawing/2014/main" id="{83D1BAF8-0229-487C-8663-10AD9CBB15E7}"/>
                    </a:ext>
                  </a:extLst>
                </p:cNvPr>
                <p:cNvSpPr>
                  <a:spLocks/>
                </p:cNvSpPr>
                <p:nvPr/>
              </p:nvSpPr>
              <p:spPr bwMode="gray">
                <a:xfrm>
                  <a:off x="4981726" y="5934053"/>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7" name="Luanda Locator">
                  <a:extLst>
                    <a:ext uri="{FF2B5EF4-FFF2-40B4-BE49-F238E27FC236}">
                      <a16:creationId xmlns:a16="http://schemas.microsoft.com/office/drawing/2014/main" id="{2CBDEB6C-9797-4839-AF1F-897E1582EA76}"/>
                    </a:ext>
                  </a:extLst>
                </p:cNvPr>
                <p:cNvSpPr>
                  <a:spLocks/>
                </p:cNvSpPr>
                <p:nvPr/>
              </p:nvSpPr>
              <p:spPr bwMode="gray">
                <a:xfrm>
                  <a:off x="4758885" y="5058071"/>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8" name="Kinshasa Locator">
                  <a:extLst>
                    <a:ext uri="{FF2B5EF4-FFF2-40B4-BE49-F238E27FC236}">
                      <a16:creationId xmlns:a16="http://schemas.microsoft.com/office/drawing/2014/main" id="{00012667-DA39-407D-A3A0-050AC8004F89}"/>
                    </a:ext>
                  </a:extLst>
                </p:cNvPr>
                <p:cNvSpPr>
                  <a:spLocks/>
                </p:cNvSpPr>
                <p:nvPr/>
              </p:nvSpPr>
              <p:spPr bwMode="gray">
                <a:xfrm>
                  <a:off x="4883301" y="4825627"/>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59" name="Brazzaville Locator">
                  <a:extLst>
                    <a:ext uri="{FF2B5EF4-FFF2-40B4-BE49-F238E27FC236}">
                      <a16:creationId xmlns:a16="http://schemas.microsoft.com/office/drawing/2014/main" id="{1ABF7A84-F747-4F89-9555-351A00600C57}"/>
                    </a:ext>
                  </a:extLst>
                </p:cNvPr>
                <p:cNvSpPr>
                  <a:spLocks/>
                </p:cNvSpPr>
                <p:nvPr/>
              </p:nvSpPr>
              <p:spPr bwMode="gray">
                <a:xfrm>
                  <a:off x="4859484" y="4767240"/>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0" name="Libreville Locator">
                  <a:extLst>
                    <a:ext uri="{FF2B5EF4-FFF2-40B4-BE49-F238E27FC236}">
                      <a16:creationId xmlns:a16="http://schemas.microsoft.com/office/drawing/2014/main" id="{CC2A9D85-2DEB-47AC-AF92-83CFAF422A3B}"/>
                    </a:ext>
                  </a:extLst>
                </p:cNvPr>
                <p:cNvSpPr>
                  <a:spLocks/>
                </p:cNvSpPr>
                <p:nvPr/>
              </p:nvSpPr>
              <p:spPr bwMode="gray">
                <a:xfrm>
                  <a:off x="4503730" y="4487213"/>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1" name="Yaounde Locator">
                  <a:extLst>
                    <a:ext uri="{FF2B5EF4-FFF2-40B4-BE49-F238E27FC236}">
                      <a16:creationId xmlns:a16="http://schemas.microsoft.com/office/drawing/2014/main" id="{F343B78F-39EF-43E4-85CA-17ED546C9E76}"/>
                    </a:ext>
                  </a:extLst>
                </p:cNvPr>
                <p:cNvSpPr>
                  <a:spLocks/>
                </p:cNvSpPr>
                <p:nvPr/>
              </p:nvSpPr>
              <p:spPr bwMode="gray">
                <a:xfrm>
                  <a:off x="4674454" y="4282266"/>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2" name="Banqui Locator">
                  <a:extLst>
                    <a:ext uri="{FF2B5EF4-FFF2-40B4-BE49-F238E27FC236}">
                      <a16:creationId xmlns:a16="http://schemas.microsoft.com/office/drawing/2014/main" id="{82644F40-BA22-4F24-89AF-A3066A274BD3}"/>
                    </a:ext>
                  </a:extLst>
                </p:cNvPr>
                <p:cNvSpPr>
                  <a:spLocks/>
                </p:cNvSpPr>
                <p:nvPr/>
              </p:nvSpPr>
              <p:spPr bwMode="gray">
                <a:xfrm>
                  <a:off x="5071573" y="4227494"/>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solidFill>
                  <a:schemeClr val="bg2"/>
                </a:solid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3" name="Malabo Locator">
                  <a:extLst>
                    <a:ext uri="{FF2B5EF4-FFF2-40B4-BE49-F238E27FC236}">
                      <a16:creationId xmlns:a16="http://schemas.microsoft.com/office/drawing/2014/main" id="{9B8D8F9F-93FF-4B57-9508-B8247739062F}"/>
                    </a:ext>
                  </a:extLst>
                </p:cNvPr>
                <p:cNvSpPr>
                  <a:spLocks/>
                </p:cNvSpPr>
                <p:nvPr/>
              </p:nvSpPr>
              <p:spPr bwMode="gray">
                <a:xfrm>
                  <a:off x="4447688" y="4262736"/>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4" name="Lagos Locator">
                  <a:extLst>
                    <a:ext uri="{FF2B5EF4-FFF2-40B4-BE49-F238E27FC236}">
                      <a16:creationId xmlns:a16="http://schemas.microsoft.com/office/drawing/2014/main" id="{4B94C62B-AE3A-4D54-BCBF-A6020A9942DB}"/>
                    </a:ext>
                  </a:extLst>
                </p:cNvPr>
                <p:cNvSpPr>
                  <a:spLocks/>
                </p:cNvSpPr>
                <p:nvPr/>
              </p:nvSpPr>
              <p:spPr bwMode="gray">
                <a:xfrm>
                  <a:off x="4121460" y="408223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5" name="Porto-Novo Locator">
                  <a:extLst>
                    <a:ext uri="{FF2B5EF4-FFF2-40B4-BE49-F238E27FC236}">
                      <a16:creationId xmlns:a16="http://schemas.microsoft.com/office/drawing/2014/main" id="{B510209E-4B42-4279-9606-5BF3452AAB3C}"/>
                    </a:ext>
                  </a:extLst>
                </p:cNvPr>
                <p:cNvSpPr>
                  <a:spLocks/>
                </p:cNvSpPr>
                <p:nvPr/>
              </p:nvSpPr>
              <p:spPr bwMode="gray">
                <a:xfrm>
                  <a:off x="4043355" y="4077631"/>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6" name="Loma Locator">
                  <a:extLst>
                    <a:ext uri="{FF2B5EF4-FFF2-40B4-BE49-F238E27FC236}">
                      <a16:creationId xmlns:a16="http://schemas.microsoft.com/office/drawing/2014/main" id="{7142A33E-886A-48C8-9918-64E2CC8557F4}"/>
                    </a:ext>
                  </a:extLst>
                </p:cNvPr>
                <p:cNvSpPr>
                  <a:spLocks/>
                </p:cNvSpPr>
                <p:nvPr/>
              </p:nvSpPr>
              <p:spPr bwMode="gray">
                <a:xfrm>
                  <a:off x="3989381" y="4097851"/>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7" name="Accra Locator">
                  <a:extLst>
                    <a:ext uri="{FF2B5EF4-FFF2-40B4-BE49-F238E27FC236}">
                      <a16:creationId xmlns:a16="http://schemas.microsoft.com/office/drawing/2014/main" id="{BA151076-D70B-47A8-8390-932E639D7E66}"/>
                    </a:ext>
                  </a:extLst>
                </p:cNvPr>
                <p:cNvSpPr>
                  <a:spLocks/>
                </p:cNvSpPr>
                <p:nvPr/>
              </p:nvSpPr>
              <p:spPr bwMode="gray">
                <a:xfrm>
                  <a:off x="3879208" y="4146854"/>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8" name="Abidjan Locator">
                  <a:extLst>
                    <a:ext uri="{FF2B5EF4-FFF2-40B4-BE49-F238E27FC236}">
                      <a16:creationId xmlns:a16="http://schemas.microsoft.com/office/drawing/2014/main" id="{4E5A218C-06C9-40D1-A815-C40875480C85}"/>
                    </a:ext>
                  </a:extLst>
                </p:cNvPr>
                <p:cNvSpPr>
                  <a:spLocks/>
                </p:cNvSpPr>
                <p:nvPr/>
              </p:nvSpPr>
              <p:spPr bwMode="gray">
                <a:xfrm>
                  <a:off x="3657910" y="4143670"/>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69" name="Monrovia Locator">
                  <a:extLst>
                    <a:ext uri="{FF2B5EF4-FFF2-40B4-BE49-F238E27FC236}">
                      <a16:creationId xmlns:a16="http://schemas.microsoft.com/office/drawing/2014/main" id="{DF49EFAB-0584-4FE5-9559-5D22FB20CFBE}"/>
                    </a:ext>
                  </a:extLst>
                </p:cNvPr>
                <p:cNvSpPr>
                  <a:spLocks/>
                </p:cNvSpPr>
                <p:nvPr/>
              </p:nvSpPr>
              <p:spPr bwMode="gray">
                <a:xfrm>
                  <a:off x="3253100" y="4066369"/>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0" name="Freetown Locator">
                  <a:extLst>
                    <a:ext uri="{FF2B5EF4-FFF2-40B4-BE49-F238E27FC236}">
                      <a16:creationId xmlns:a16="http://schemas.microsoft.com/office/drawing/2014/main" id="{C0D50841-1464-47E3-A0ED-BA689E94BA56}"/>
                    </a:ext>
                  </a:extLst>
                </p:cNvPr>
                <p:cNvSpPr>
                  <a:spLocks/>
                </p:cNvSpPr>
                <p:nvPr/>
              </p:nvSpPr>
              <p:spPr bwMode="gray">
                <a:xfrm>
                  <a:off x="3126580" y="3924599"/>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1" name="Conakry Locator">
                  <a:extLst>
                    <a:ext uri="{FF2B5EF4-FFF2-40B4-BE49-F238E27FC236}">
                      <a16:creationId xmlns:a16="http://schemas.microsoft.com/office/drawing/2014/main" id="{D57B368B-E926-4AFA-9132-48CEDE398C5D}"/>
                    </a:ext>
                  </a:extLst>
                </p:cNvPr>
                <p:cNvSpPr>
                  <a:spLocks/>
                </p:cNvSpPr>
                <p:nvPr/>
              </p:nvSpPr>
              <p:spPr bwMode="gray">
                <a:xfrm>
                  <a:off x="3101343" y="385039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2" name="Bissau Locator">
                  <a:extLst>
                    <a:ext uri="{FF2B5EF4-FFF2-40B4-BE49-F238E27FC236}">
                      <a16:creationId xmlns:a16="http://schemas.microsoft.com/office/drawing/2014/main" id="{280C60D3-A400-4443-9937-93EA37AC7FF5}"/>
                    </a:ext>
                  </a:extLst>
                </p:cNvPr>
                <p:cNvSpPr>
                  <a:spLocks/>
                </p:cNvSpPr>
                <p:nvPr/>
              </p:nvSpPr>
              <p:spPr bwMode="gray">
                <a:xfrm>
                  <a:off x="2969741" y="3690920"/>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3" name="Banjul Locator">
                  <a:extLst>
                    <a:ext uri="{FF2B5EF4-FFF2-40B4-BE49-F238E27FC236}">
                      <a16:creationId xmlns:a16="http://schemas.microsoft.com/office/drawing/2014/main" id="{A56862F7-06CD-4462-9EA1-046209DDB10A}"/>
                    </a:ext>
                  </a:extLst>
                </p:cNvPr>
                <p:cNvSpPr>
                  <a:spLocks/>
                </p:cNvSpPr>
                <p:nvPr/>
              </p:nvSpPr>
              <p:spPr bwMode="gray">
                <a:xfrm>
                  <a:off x="2943382" y="3592139"/>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4" name="Dakar Locator">
                  <a:extLst>
                    <a:ext uri="{FF2B5EF4-FFF2-40B4-BE49-F238E27FC236}">
                      <a16:creationId xmlns:a16="http://schemas.microsoft.com/office/drawing/2014/main" id="{83286212-CB05-4D63-8C2F-BAC268FA59D2}"/>
                    </a:ext>
                  </a:extLst>
                </p:cNvPr>
                <p:cNvSpPr>
                  <a:spLocks/>
                </p:cNvSpPr>
                <p:nvPr/>
              </p:nvSpPr>
              <p:spPr bwMode="gray">
                <a:xfrm>
                  <a:off x="2913063" y="3503914"/>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5" name="Nouakchott Locator">
                  <a:extLst>
                    <a:ext uri="{FF2B5EF4-FFF2-40B4-BE49-F238E27FC236}">
                      <a16:creationId xmlns:a16="http://schemas.microsoft.com/office/drawing/2014/main" id="{B4FAFDF2-0CF0-4920-95F5-A2FCEC0883FC}"/>
                    </a:ext>
                  </a:extLst>
                </p:cNvPr>
                <p:cNvSpPr>
                  <a:spLocks/>
                </p:cNvSpPr>
                <p:nvPr/>
              </p:nvSpPr>
              <p:spPr bwMode="gray">
                <a:xfrm>
                  <a:off x="3020692" y="3294048"/>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6" name="Bamako Locator">
                  <a:extLst>
                    <a:ext uri="{FF2B5EF4-FFF2-40B4-BE49-F238E27FC236}">
                      <a16:creationId xmlns:a16="http://schemas.microsoft.com/office/drawing/2014/main" id="{D33A8A43-DB84-43F8-B900-689E1BF24F57}"/>
                    </a:ext>
                  </a:extLst>
                </p:cNvPr>
                <p:cNvSpPr>
                  <a:spLocks/>
                </p:cNvSpPr>
                <p:nvPr/>
              </p:nvSpPr>
              <p:spPr bwMode="gray">
                <a:xfrm>
                  <a:off x="3443594" y="3664093"/>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7" name="Ouagadougou Locator">
                  <a:extLst>
                    <a:ext uri="{FF2B5EF4-FFF2-40B4-BE49-F238E27FC236}">
                      <a16:creationId xmlns:a16="http://schemas.microsoft.com/office/drawing/2014/main" id="{7599C878-3DE7-409D-BE19-635D77E0EC59}"/>
                    </a:ext>
                  </a:extLst>
                </p:cNvPr>
                <p:cNvSpPr>
                  <a:spLocks/>
                </p:cNvSpPr>
                <p:nvPr/>
              </p:nvSpPr>
              <p:spPr bwMode="gray">
                <a:xfrm>
                  <a:off x="3825385" y="370060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8" name="Niamey Locator">
                  <a:extLst>
                    <a:ext uri="{FF2B5EF4-FFF2-40B4-BE49-F238E27FC236}">
                      <a16:creationId xmlns:a16="http://schemas.microsoft.com/office/drawing/2014/main" id="{2DD168C1-73F9-4472-BD77-910B279DB7B4}"/>
                    </a:ext>
                  </a:extLst>
                </p:cNvPr>
                <p:cNvSpPr>
                  <a:spLocks/>
                </p:cNvSpPr>
                <p:nvPr/>
              </p:nvSpPr>
              <p:spPr bwMode="gray">
                <a:xfrm>
                  <a:off x="4052773" y="3642028"/>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79" name="N' Djamena Locator">
                  <a:extLst>
                    <a:ext uri="{FF2B5EF4-FFF2-40B4-BE49-F238E27FC236}">
                      <a16:creationId xmlns:a16="http://schemas.microsoft.com/office/drawing/2014/main" id="{C7EBEF83-A30A-4436-88CC-8B021BE7DEC6}"/>
                    </a:ext>
                  </a:extLst>
                </p:cNvPr>
                <p:cNvSpPr>
                  <a:spLocks/>
                </p:cNvSpPr>
                <p:nvPr/>
              </p:nvSpPr>
              <p:spPr bwMode="gray">
                <a:xfrm>
                  <a:off x="4845094" y="3698061"/>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0" name="Rabat Locator">
                  <a:extLst>
                    <a:ext uri="{FF2B5EF4-FFF2-40B4-BE49-F238E27FC236}">
                      <a16:creationId xmlns:a16="http://schemas.microsoft.com/office/drawing/2014/main" id="{784040FE-E5DB-4FF0-8508-12A1012152BC}"/>
                    </a:ext>
                  </a:extLst>
                </p:cNvPr>
                <p:cNvSpPr>
                  <a:spLocks/>
                </p:cNvSpPr>
                <p:nvPr/>
              </p:nvSpPr>
              <p:spPr bwMode="gray">
                <a:xfrm>
                  <a:off x="3702043" y="2329804"/>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1" name="Algiers Locator">
                  <a:extLst>
                    <a:ext uri="{FF2B5EF4-FFF2-40B4-BE49-F238E27FC236}">
                      <a16:creationId xmlns:a16="http://schemas.microsoft.com/office/drawing/2014/main" id="{D32A776E-7B8C-4BC9-8801-85401D726000}"/>
                    </a:ext>
                  </a:extLst>
                </p:cNvPr>
                <p:cNvSpPr>
                  <a:spLocks/>
                </p:cNvSpPr>
                <p:nvPr/>
              </p:nvSpPr>
              <p:spPr bwMode="gray">
                <a:xfrm>
                  <a:off x="4229411" y="2216139"/>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2" name="Tunis Locator">
                  <a:extLst>
                    <a:ext uri="{FF2B5EF4-FFF2-40B4-BE49-F238E27FC236}">
                      <a16:creationId xmlns:a16="http://schemas.microsoft.com/office/drawing/2014/main" id="{3B8B7616-12DF-4FD0-A431-70AC3E0874A4}"/>
                    </a:ext>
                  </a:extLst>
                </p:cNvPr>
                <p:cNvSpPr>
                  <a:spLocks/>
                </p:cNvSpPr>
                <p:nvPr/>
              </p:nvSpPr>
              <p:spPr bwMode="gray">
                <a:xfrm>
                  <a:off x="4604061" y="219899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3" name="Tripoli Locator">
                  <a:extLst>
                    <a:ext uri="{FF2B5EF4-FFF2-40B4-BE49-F238E27FC236}">
                      <a16:creationId xmlns:a16="http://schemas.microsoft.com/office/drawing/2014/main" id="{FA5B0120-BABE-4484-BBEB-C09ED8DEC5EC}"/>
                    </a:ext>
                  </a:extLst>
                </p:cNvPr>
                <p:cNvSpPr>
                  <a:spLocks/>
                </p:cNvSpPr>
                <p:nvPr/>
              </p:nvSpPr>
              <p:spPr bwMode="gray">
                <a:xfrm>
                  <a:off x="4753283" y="2474903"/>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4" name="Cairo Locator">
                  <a:extLst>
                    <a:ext uri="{FF2B5EF4-FFF2-40B4-BE49-F238E27FC236}">
                      <a16:creationId xmlns:a16="http://schemas.microsoft.com/office/drawing/2014/main" id="{A3D7F9D3-1261-4697-962B-6B701527B165}"/>
                    </a:ext>
                  </a:extLst>
                </p:cNvPr>
                <p:cNvSpPr>
                  <a:spLocks/>
                </p:cNvSpPr>
                <p:nvPr/>
              </p:nvSpPr>
              <p:spPr bwMode="gray">
                <a:xfrm>
                  <a:off x="5774679" y="2594282"/>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5" name="Khartoum Locator">
                  <a:extLst>
                    <a:ext uri="{FF2B5EF4-FFF2-40B4-BE49-F238E27FC236}">
                      <a16:creationId xmlns:a16="http://schemas.microsoft.com/office/drawing/2014/main" id="{A038AE73-65A4-4528-8DC3-E89B32826A99}"/>
                    </a:ext>
                  </a:extLst>
                </p:cNvPr>
                <p:cNvSpPr>
                  <a:spLocks/>
                </p:cNvSpPr>
                <p:nvPr/>
              </p:nvSpPr>
              <p:spPr bwMode="gray">
                <a:xfrm>
                  <a:off x="5934380" y="3518481"/>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6" name="Asmara Locator">
                  <a:extLst>
                    <a:ext uri="{FF2B5EF4-FFF2-40B4-BE49-F238E27FC236}">
                      <a16:creationId xmlns:a16="http://schemas.microsoft.com/office/drawing/2014/main" id="{B3625A68-E1C2-4794-9757-318EFBE46099}"/>
                    </a:ext>
                  </a:extLst>
                </p:cNvPr>
                <p:cNvSpPr>
                  <a:spLocks/>
                </p:cNvSpPr>
                <p:nvPr/>
              </p:nvSpPr>
              <p:spPr bwMode="gray">
                <a:xfrm>
                  <a:off x="6311707" y="3522646"/>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7" name="Djibouti Locator">
                  <a:extLst>
                    <a:ext uri="{FF2B5EF4-FFF2-40B4-BE49-F238E27FC236}">
                      <a16:creationId xmlns:a16="http://schemas.microsoft.com/office/drawing/2014/main" id="{B67D6F71-FD27-4ECB-B5D1-A5BE550A7D15}"/>
                    </a:ext>
                  </a:extLst>
                </p:cNvPr>
                <p:cNvSpPr>
                  <a:spLocks/>
                </p:cNvSpPr>
                <p:nvPr/>
              </p:nvSpPr>
              <p:spPr bwMode="gray">
                <a:xfrm>
                  <a:off x="6559346" y="3741712"/>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8" name="Addis Ababa Locator">
                  <a:extLst>
                    <a:ext uri="{FF2B5EF4-FFF2-40B4-BE49-F238E27FC236}">
                      <a16:creationId xmlns:a16="http://schemas.microsoft.com/office/drawing/2014/main" id="{AF3AAE48-3502-4250-91C1-C5A7E0EB1FED}"/>
                    </a:ext>
                  </a:extLst>
                </p:cNvPr>
                <p:cNvSpPr>
                  <a:spLocks/>
                </p:cNvSpPr>
                <p:nvPr/>
              </p:nvSpPr>
              <p:spPr bwMode="gray">
                <a:xfrm>
                  <a:off x="6315386" y="3929362"/>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89" name="Kampala Locator">
                  <a:extLst>
                    <a:ext uri="{FF2B5EF4-FFF2-40B4-BE49-F238E27FC236}">
                      <a16:creationId xmlns:a16="http://schemas.microsoft.com/office/drawing/2014/main" id="{AA936437-21D6-41EA-8F3F-ECEF1F27B766}"/>
                    </a:ext>
                  </a:extLst>
                </p:cNvPr>
                <p:cNvSpPr>
                  <a:spLocks/>
                </p:cNvSpPr>
                <p:nvPr/>
              </p:nvSpPr>
              <p:spPr bwMode="gray">
                <a:xfrm>
                  <a:off x="5947071" y="449133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90" name="Nairobi Locator">
                  <a:extLst>
                    <a:ext uri="{FF2B5EF4-FFF2-40B4-BE49-F238E27FC236}">
                      <a16:creationId xmlns:a16="http://schemas.microsoft.com/office/drawing/2014/main" id="{5E5ECFCA-65D8-4E84-9263-5B5E146161FE}"/>
                    </a:ext>
                  </a:extLst>
                </p:cNvPr>
                <p:cNvSpPr>
                  <a:spLocks/>
                </p:cNvSpPr>
                <p:nvPr/>
              </p:nvSpPr>
              <p:spPr bwMode="gray">
                <a:xfrm>
                  <a:off x="6227905" y="4592777"/>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91" name="Mogadishu Locator">
                  <a:extLst>
                    <a:ext uri="{FF2B5EF4-FFF2-40B4-BE49-F238E27FC236}">
                      <a16:creationId xmlns:a16="http://schemas.microsoft.com/office/drawing/2014/main" id="{56520942-F7DC-4D7E-8D83-D991FEB8C7A0}"/>
                    </a:ext>
                  </a:extLst>
                </p:cNvPr>
                <p:cNvSpPr>
                  <a:spLocks/>
                </p:cNvSpPr>
                <p:nvPr/>
              </p:nvSpPr>
              <p:spPr bwMode="gray">
                <a:xfrm>
                  <a:off x="6743046" y="4358820"/>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92" name="Kigali Locator">
                  <a:extLst>
                    <a:ext uri="{FF2B5EF4-FFF2-40B4-BE49-F238E27FC236}">
                      <a16:creationId xmlns:a16="http://schemas.microsoft.com/office/drawing/2014/main" id="{0588FB99-7860-41F5-BFF1-0F933A392160}"/>
                    </a:ext>
                  </a:extLst>
                </p:cNvPr>
                <p:cNvSpPr>
                  <a:spLocks/>
                </p:cNvSpPr>
                <p:nvPr/>
              </p:nvSpPr>
              <p:spPr bwMode="gray">
                <a:xfrm>
                  <a:off x="5794520" y="4620481"/>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solidFill>
                  <a:schemeClr val="bg2"/>
                </a:solid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93" name="Bujumbura Locator">
                  <a:extLst>
                    <a:ext uri="{FF2B5EF4-FFF2-40B4-BE49-F238E27FC236}">
                      <a16:creationId xmlns:a16="http://schemas.microsoft.com/office/drawing/2014/main" id="{8A9FF385-CD41-407A-9C7C-905DF44B155F}"/>
                    </a:ext>
                  </a:extLst>
                </p:cNvPr>
                <p:cNvSpPr>
                  <a:spLocks/>
                </p:cNvSpPr>
                <p:nvPr/>
              </p:nvSpPr>
              <p:spPr bwMode="gray">
                <a:xfrm>
                  <a:off x="5775320" y="4718835"/>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sp>
              <p:nvSpPr>
                <p:cNvPr id="394" name="Dar es Salaam Locator">
                  <a:extLst>
                    <a:ext uri="{FF2B5EF4-FFF2-40B4-BE49-F238E27FC236}">
                      <a16:creationId xmlns:a16="http://schemas.microsoft.com/office/drawing/2014/main" id="{A1C0AFB1-8CFE-4D24-B69B-2C6AFEBCFE1E}"/>
                    </a:ext>
                  </a:extLst>
                </p:cNvPr>
                <p:cNvSpPr>
                  <a:spLocks/>
                </p:cNvSpPr>
                <p:nvPr/>
              </p:nvSpPr>
              <p:spPr bwMode="gray">
                <a:xfrm>
                  <a:off x="6379569" y="4953000"/>
                  <a:ext cx="45720" cy="45720"/>
                </a:xfrm>
                <a:custGeom>
                  <a:avLst/>
                  <a:gdLst/>
                  <a:ahLst/>
                  <a:cxnLst>
                    <a:cxn ang="0">
                      <a:pos x="18" y="0"/>
                    </a:cxn>
                    <a:cxn ang="0">
                      <a:pos x="24" y="14"/>
                    </a:cxn>
                    <a:cxn ang="0">
                      <a:pos x="38" y="14"/>
                    </a:cxn>
                    <a:cxn ang="0">
                      <a:pos x="26" y="22"/>
                    </a:cxn>
                    <a:cxn ang="0">
                      <a:pos x="30" y="36"/>
                    </a:cxn>
                    <a:cxn ang="0">
                      <a:pos x="18" y="28"/>
                    </a:cxn>
                    <a:cxn ang="0">
                      <a:pos x="6" y="36"/>
                    </a:cxn>
                    <a:cxn ang="0">
                      <a:pos x="12" y="22"/>
                    </a:cxn>
                    <a:cxn ang="0">
                      <a:pos x="0" y="14"/>
                    </a:cxn>
                    <a:cxn ang="0">
                      <a:pos x="14" y="14"/>
                    </a:cxn>
                    <a:cxn ang="0">
                      <a:pos x="18" y="0"/>
                    </a:cxn>
                  </a:cxnLst>
                  <a:rect l="0" t="0" r="r" b="b"/>
                  <a:pathLst>
                    <a:path w="38" h="36">
                      <a:moveTo>
                        <a:pt x="18" y="0"/>
                      </a:moveTo>
                      <a:lnTo>
                        <a:pt x="24" y="14"/>
                      </a:lnTo>
                      <a:lnTo>
                        <a:pt x="38" y="14"/>
                      </a:lnTo>
                      <a:lnTo>
                        <a:pt x="26" y="22"/>
                      </a:lnTo>
                      <a:lnTo>
                        <a:pt x="30" y="36"/>
                      </a:lnTo>
                      <a:lnTo>
                        <a:pt x="18" y="28"/>
                      </a:lnTo>
                      <a:lnTo>
                        <a:pt x="6" y="36"/>
                      </a:lnTo>
                      <a:lnTo>
                        <a:pt x="12" y="22"/>
                      </a:lnTo>
                      <a:lnTo>
                        <a:pt x="0" y="14"/>
                      </a:lnTo>
                      <a:lnTo>
                        <a:pt x="14" y="14"/>
                      </a:lnTo>
                      <a:lnTo>
                        <a:pt x="18" y="0"/>
                      </a:lnTo>
                      <a:close/>
                    </a:path>
                  </a:pathLst>
                </a:custGeom>
                <a:grpFill/>
                <a:ln w="3175">
                  <a:solidFill>
                    <a:srgbClr val="D04A02"/>
                  </a:solidFill>
                  <a:prstDash val="solid"/>
                  <a:round/>
                  <a:headEnd/>
                  <a:tailEnd/>
                </a:ln>
              </p:spPr>
              <p:txBody>
                <a:bodyPr/>
                <a:lstStyle/>
                <a:p>
                  <a:pPr defTabSz="742950">
                    <a:buClr>
                      <a:srgbClr val="000000"/>
                    </a:buClr>
                    <a:defRPr/>
                  </a:pPr>
                  <a:r>
                    <a:rPr lang="en-US" sz="325" kern="0" noProof="1">
                      <a:solidFill>
                        <a:srgbClr val="000000"/>
                      </a:solidFill>
                      <a:latin typeface="Arial"/>
                      <a:cs typeface="Arial"/>
                      <a:sym typeface="Arial"/>
                    </a:rPr>
                    <a:t>  </a:t>
                  </a:r>
                </a:p>
              </p:txBody>
            </p:sp>
          </p:grpSp>
          <p:grpSp>
            <p:nvGrpSpPr>
              <p:cNvPr id="339" name="Bodies of Water">
                <a:extLst>
                  <a:ext uri="{FF2B5EF4-FFF2-40B4-BE49-F238E27FC236}">
                    <a16:creationId xmlns:a16="http://schemas.microsoft.com/office/drawing/2014/main" id="{B5770A0A-F853-483A-9377-C7DD03A88A36}"/>
                  </a:ext>
                </a:extLst>
              </p:cNvPr>
              <p:cNvGrpSpPr/>
              <p:nvPr/>
            </p:nvGrpSpPr>
            <p:grpSpPr bwMode="gray">
              <a:xfrm>
                <a:off x="3286886" y="2080529"/>
                <a:ext cx="3966007" cy="4794149"/>
                <a:chOff x="3326276" y="2148345"/>
                <a:chExt cx="3741770" cy="4523088"/>
              </a:xfrm>
            </p:grpSpPr>
            <p:sp>
              <p:nvSpPr>
                <p:cNvPr id="340" name="Lake Nyasa Label">
                  <a:extLst>
                    <a:ext uri="{FF2B5EF4-FFF2-40B4-BE49-F238E27FC236}">
                      <a16:creationId xmlns:a16="http://schemas.microsoft.com/office/drawing/2014/main" id="{72755D1E-D60B-4242-BF10-E45CC79BA65A}"/>
                    </a:ext>
                  </a:extLst>
                </p:cNvPr>
                <p:cNvSpPr>
                  <a:spLocks noChangeArrowheads="1"/>
                </p:cNvSpPr>
                <p:nvPr/>
              </p:nvSpPr>
              <p:spPr bwMode="gray">
                <a:xfrm>
                  <a:off x="6108787" y="5127625"/>
                  <a:ext cx="164752" cy="140828"/>
                </a:xfrm>
                <a:prstGeom prst="rect">
                  <a:avLst/>
                </a:prstGeom>
                <a:noFill/>
                <a:ln w="9525">
                  <a:noFill/>
                  <a:miter lim="800000"/>
                  <a:headEnd/>
                  <a:tailEnd/>
                </a:ln>
              </p:spPr>
              <p:txBody>
                <a:bodyPr wrap="none" lIns="0" tIns="0" rIns="0" bIns="0">
                  <a:spAutoFit/>
                </a:bodyPr>
                <a:lstStyle/>
                <a:p>
                  <a:pPr algn="ctr" defTabSz="742950" eaLnBrk="0" hangingPunct="0">
                    <a:buClr>
                      <a:srgbClr val="000000"/>
                    </a:buClr>
                    <a:defRPr/>
                  </a:pPr>
                  <a:r>
                    <a:rPr lang="en-US" sz="325" kern="0" noProof="1">
                      <a:solidFill>
                        <a:srgbClr val="FFFFFF"/>
                      </a:solidFill>
                      <a:latin typeface="Arial"/>
                      <a:cs typeface="Arial"/>
                      <a:sym typeface="Arial"/>
                    </a:rPr>
                    <a:t>Lake</a:t>
                  </a:r>
                </a:p>
                <a:p>
                  <a:pPr algn="ctr" defTabSz="742950" eaLnBrk="0" hangingPunct="0">
                    <a:buClr>
                      <a:srgbClr val="000000"/>
                    </a:buClr>
                    <a:defRPr/>
                  </a:pPr>
                  <a:r>
                    <a:rPr lang="en-US" sz="325" kern="0" noProof="1">
                      <a:solidFill>
                        <a:srgbClr val="FFFFFF"/>
                      </a:solidFill>
                      <a:latin typeface="Arial"/>
                      <a:cs typeface="Arial"/>
                      <a:sym typeface="Arial"/>
                    </a:rPr>
                    <a:t>Nyasa</a:t>
                  </a:r>
                </a:p>
              </p:txBody>
            </p:sp>
            <p:sp>
              <p:nvSpPr>
                <p:cNvPr id="341" name="Lake Victoria Label">
                  <a:extLst>
                    <a:ext uri="{FF2B5EF4-FFF2-40B4-BE49-F238E27FC236}">
                      <a16:creationId xmlns:a16="http://schemas.microsoft.com/office/drawing/2014/main" id="{ED58291F-9573-4927-9727-14992AA96C9A}"/>
                    </a:ext>
                  </a:extLst>
                </p:cNvPr>
                <p:cNvSpPr>
                  <a:spLocks noChangeArrowheads="1"/>
                </p:cNvSpPr>
                <p:nvPr/>
              </p:nvSpPr>
              <p:spPr bwMode="gray">
                <a:xfrm>
                  <a:off x="6075327" y="4633833"/>
                  <a:ext cx="194090" cy="140828"/>
                </a:xfrm>
                <a:prstGeom prst="rect">
                  <a:avLst/>
                </a:prstGeom>
                <a:noFill/>
                <a:ln w="9525">
                  <a:noFill/>
                  <a:miter lim="800000"/>
                  <a:headEnd/>
                  <a:tailEnd/>
                </a:ln>
              </p:spPr>
              <p:txBody>
                <a:bodyPr wrap="none" lIns="0" tIns="0" rIns="0" bIns="0">
                  <a:spAutoFit/>
                </a:bodyPr>
                <a:lstStyle/>
                <a:p>
                  <a:pPr defTabSz="742950" eaLnBrk="0" hangingPunct="0">
                    <a:buClr>
                      <a:srgbClr val="000000"/>
                    </a:buClr>
                    <a:defRPr/>
                  </a:pPr>
                  <a:r>
                    <a:rPr lang="en-US" sz="325" i="1" kern="0" noProof="1">
                      <a:solidFill>
                        <a:srgbClr val="FFFFFF"/>
                      </a:solidFill>
                      <a:latin typeface="Arial"/>
                      <a:cs typeface="Arial"/>
                      <a:sym typeface="Arial"/>
                    </a:rPr>
                    <a:t>Lake</a:t>
                  </a:r>
                </a:p>
                <a:p>
                  <a:pPr defTabSz="742950" eaLnBrk="0" hangingPunct="0">
                    <a:buClr>
                      <a:srgbClr val="000000"/>
                    </a:buClr>
                    <a:defRPr/>
                  </a:pPr>
                  <a:r>
                    <a:rPr lang="en-US" sz="325" i="1" kern="0" noProof="1">
                      <a:solidFill>
                        <a:srgbClr val="FFFFFF"/>
                      </a:solidFill>
                      <a:latin typeface="Arial"/>
                      <a:cs typeface="Arial"/>
                      <a:sym typeface="Arial"/>
                    </a:rPr>
                    <a:t>Victoria</a:t>
                  </a:r>
                  <a:endParaRPr lang="en-US" sz="325" kern="0" noProof="1">
                    <a:solidFill>
                      <a:srgbClr val="FFFFFF"/>
                    </a:solidFill>
                    <a:latin typeface="Arial"/>
                    <a:cs typeface="Arial"/>
                    <a:sym typeface="Arial"/>
                  </a:endParaRPr>
                </a:p>
              </p:txBody>
            </p:sp>
            <p:sp>
              <p:nvSpPr>
                <p:cNvPr id="342" name="Mediterranean Sea">
                  <a:extLst>
                    <a:ext uri="{FF2B5EF4-FFF2-40B4-BE49-F238E27FC236}">
                      <a16:creationId xmlns:a16="http://schemas.microsoft.com/office/drawing/2014/main" id="{AA6050DF-9785-4DC2-B34C-C2F28F4A73FF}"/>
                    </a:ext>
                  </a:extLst>
                </p:cNvPr>
                <p:cNvSpPr>
                  <a:spLocks noChangeArrowheads="1"/>
                </p:cNvSpPr>
                <p:nvPr/>
              </p:nvSpPr>
              <p:spPr bwMode="gray">
                <a:xfrm>
                  <a:off x="5417680" y="2148345"/>
                  <a:ext cx="372384" cy="216659"/>
                </a:xfrm>
                <a:prstGeom prst="rect">
                  <a:avLst/>
                </a:prstGeom>
                <a:noFill/>
                <a:ln w="9525">
                  <a:noFill/>
                  <a:miter lim="800000"/>
                  <a:headEnd/>
                  <a:tailEnd/>
                </a:ln>
              </p:spPr>
              <p:txBody>
                <a:bodyPr wrap="none" lIns="0" tIns="0" rIns="0" bIns="0">
                  <a:spAutoFit/>
                </a:bodyPr>
                <a:lstStyle/>
                <a:p>
                  <a:pPr algn="ctr" defTabSz="742950" eaLnBrk="0" hangingPunct="0">
                    <a:lnSpc>
                      <a:spcPts val="569"/>
                    </a:lnSpc>
                    <a:buClr>
                      <a:srgbClr val="000000"/>
                    </a:buClr>
                    <a:defRPr/>
                  </a:pPr>
                  <a:r>
                    <a:rPr lang="en-US" sz="325" i="1" kern="0" noProof="1">
                      <a:solidFill>
                        <a:srgbClr val="000000"/>
                      </a:solidFill>
                      <a:latin typeface="Arial"/>
                      <a:cs typeface="Arial"/>
                      <a:sym typeface="Arial"/>
                    </a:rPr>
                    <a:t>Mediterranean</a:t>
                  </a:r>
                </a:p>
                <a:p>
                  <a:pPr algn="ctr" defTabSz="742950" eaLnBrk="0" hangingPunct="0">
                    <a:lnSpc>
                      <a:spcPts val="569"/>
                    </a:lnSpc>
                    <a:buClr>
                      <a:srgbClr val="000000"/>
                    </a:buClr>
                    <a:defRPr/>
                  </a:pPr>
                  <a:r>
                    <a:rPr lang="en-US" sz="325" i="1" kern="0" noProof="1">
                      <a:solidFill>
                        <a:srgbClr val="000000"/>
                      </a:solidFill>
                      <a:latin typeface="Arial"/>
                      <a:cs typeface="Arial"/>
                      <a:sym typeface="Arial"/>
                    </a:rPr>
                    <a:t>Sea</a:t>
                  </a:r>
                  <a:endParaRPr lang="en-US" sz="325" kern="0" noProof="1">
                    <a:solidFill>
                      <a:srgbClr val="000000"/>
                    </a:solidFill>
                    <a:latin typeface="Arial"/>
                    <a:cs typeface="Arial"/>
                    <a:sym typeface="Arial"/>
                  </a:endParaRPr>
                </a:p>
              </p:txBody>
            </p:sp>
            <p:sp>
              <p:nvSpPr>
                <p:cNvPr id="343" name="Red Sea">
                  <a:extLst>
                    <a:ext uri="{FF2B5EF4-FFF2-40B4-BE49-F238E27FC236}">
                      <a16:creationId xmlns:a16="http://schemas.microsoft.com/office/drawing/2014/main" id="{0FB61062-F1AE-490D-BFA3-AE9955FBA6CE}"/>
                    </a:ext>
                  </a:extLst>
                </p:cNvPr>
                <p:cNvSpPr>
                  <a:spLocks noChangeArrowheads="1"/>
                </p:cNvSpPr>
                <p:nvPr/>
              </p:nvSpPr>
              <p:spPr bwMode="gray">
                <a:xfrm>
                  <a:off x="6307099" y="3066905"/>
                  <a:ext cx="117358" cy="216659"/>
                </a:xfrm>
                <a:prstGeom prst="rect">
                  <a:avLst/>
                </a:prstGeom>
                <a:noFill/>
                <a:ln w="9525">
                  <a:noFill/>
                  <a:miter lim="800000"/>
                  <a:headEnd/>
                  <a:tailEnd/>
                </a:ln>
              </p:spPr>
              <p:txBody>
                <a:bodyPr wrap="none" lIns="0" tIns="0" rIns="0" bIns="0">
                  <a:spAutoFit/>
                </a:bodyPr>
                <a:lstStyle/>
                <a:p>
                  <a:pPr algn="ctr" defTabSz="742950" eaLnBrk="0" hangingPunct="0">
                    <a:lnSpc>
                      <a:spcPts val="569"/>
                    </a:lnSpc>
                    <a:buClr>
                      <a:srgbClr val="000000"/>
                    </a:buClr>
                    <a:defRPr/>
                  </a:pPr>
                  <a:r>
                    <a:rPr lang="en-US" sz="325" i="1" kern="0" noProof="1">
                      <a:solidFill>
                        <a:srgbClr val="000000"/>
                      </a:solidFill>
                      <a:latin typeface="Arial"/>
                      <a:cs typeface="Arial"/>
                      <a:sym typeface="Arial"/>
                    </a:rPr>
                    <a:t>Red</a:t>
                  </a:r>
                </a:p>
                <a:p>
                  <a:pPr algn="ctr" defTabSz="742950" eaLnBrk="0" hangingPunct="0">
                    <a:lnSpc>
                      <a:spcPts val="569"/>
                    </a:lnSpc>
                    <a:buClr>
                      <a:srgbClr val="000000"/>
                    </a:buClr>
                    <a:defRPr/>
                  </a:pPr>
                  <a:r>
                    <a:rPr lang="en-US" sz="325" i="1" kern="0" noProof="1">
                      <a:solidFill>
                        <a:srgbClr val="000000"/>
                      </a:solidFill>
                      <a:latin typeface="Arial"/>
                      <a:cs typeface="Arial"/>
                      <a:sym typeface="Arial"/>
                    </a:rPr>
                    <a:t>Sea </a:t>
                  </a:r>
                </a:p>
              </p:txBody>
            </p:sp>
            <p:sp>
              <p:nvSpPr>
                <p:cNvPr id="344" name="Indian Ocean">
                  <a:extLst>
                    <a:ext uri="{FF2B5EF4-FFF2-40B4-BE49-F238E27FC236}">
                      <a16:creationId xmlns:a16="http://schemas.microsoft.com/office/drawing/2014/main" id="{9E2F2EAA-5B2C-46E8-B3E6-E5D62444DBAD}"/>
                    </a:ext>
                  </a:extLst>
                </p:cNvPr>
                <p:cNvSpPr>
                  <a:spLocks noChangeArrowheads="1"/>
                </p:cNvSpPr>
                <p:nvPr/>
              </p:nvSpPr>
              <p:spPr bwMode="gray">
                <a:xfrm>
                  <a:off x="6898780" y="4598987"/>
                  <a:ext cx="169266" cy="216659"/>
                </a:xfrm>
                <a:prstGeom prst="rect">
                  <a:avLst/>
                </a:prstGeom>
                <a:noFill/>
                <a:ln w="9525">
                  <a:noFill/>
                  <a:miter lim="800000"/>
                  <a:headEnd/>
                  <a:tailEnd/>
                </a:ln>
              </p:spPr>
              <p:txBody>
                <a:bodyPr wrap="none" lIns="0" tIns="0" rIns="0" bIns="0">
                  <a:spAutoFit/>
                </a:bodyPr>
                <a:lstStyle/>
                <a:p>
                  <a:pPr algn="ctr" defTabSz="742950" eaLnBrk="0" hangingPunct="0">
                    <a:lnSpc>
                      <a:spcPts val="569"/>
                    </a:lnSpc>
                    <a:buClr>
                      <a:srgbClr val="000000"/>
                    </a:buClr>
                    <a:defRPr/>
                  </a:pPr>
                  <a:r>
                    <a:rPr lang="en-US" sz="325" i="1" kern="0" noProof="1">
                      <a:solidFill>
                        <a:srgbClr val="000000"/>
                      </a:solidFill>
                      <a:latin typeface="Arial"/>
                      <a:cs typeface="Arial"/>
                      <a:sym typeface="Arial"/>
                    </a:rPr>
                    <a:t>Indian</a:t>
                  </a:r>
                  <a:br>
                    <a:rPr lang="en-US" sz="325" i="1" kern="0" noProof="1">
                      <a:solidFill>
                        <a:srgbClr val="000000"/>
                      </a:solidFill>
                      <a:latin typeface="Arial"/>
                      <a:cs typeface="Arial"/>
                      <a:sym typeface="Arial"/>
                    </a:rPr>
                  </a:br>
                  <a:r>
                    <a:rPr lang="en-US" sz="325" i="1" kern="0" noProof="1">
                      <a:solidFill>
                        <a:srgbClr val="000000"/>
                      </a:solidFill>
                      <a:latin typeface="Arial"/>
                      <a:cs typeface="Arial"/>
                      <a:sym typeface="Arial"/>
                    </a:rPr>
                    <a:t>Ocean</a:t>
                  </a:r>
                </a:p>
              </p:txBody>
            </p:sp>
            <p:sp>
              <p:nvSpPr>
                <p:cNvPr id="345" name="Indian Ocean">
                  <a:extLst>
                    <a:ext uri="{FF2B5EF4-FFF2-40B4-BE49-F238E27FC236}">
                      <a16:creationId xmlns:a16="http://schemas.microsoft.com/office/drawing/2014/main" id="{18A90600-D4C7-438F-89A1-E3A682D9F749}"/>
                    </a:ext>
                  </a:extLst>
                </p:cNvPr>
                <p:cNvSpPr>
                  <a:spLocks noChangeArrowheads="1"/>
                </p:cNvSpPr>
                <p:nvPr/>
              </p:nvSpPr>
              <p:spPr bwMode="gray">
                <a:xfrm>
                  <a:off x="6460629" y="6454774"/>
                  <a:ext cx="169266" cy="216659"/>
                </a:xfrm>
                <a:prstGeom prst="rect">
                  <a:avLst/>
                </a:prstGeom>
                <a:noFill/>
                <a:ln w="9525">
                  <a:noFill/>
                  <a:miter lim="800000"/>
                  <a:headEnd/>
                  <a:tailEnd/>
                </a:ln>
              </p:spPr>
              <p:txBody>
                <a:bodyPr wrap="none" lIns="0" tIns="0" rIns="0" bIns="0">
                  <a:spAutoFit/>
                </a:bodyPr>
                <a:lstStyle/>
                <a:p>
                  <a:pPr algn="ctr" defTabSz="742950" eaLnBrk="0" hangingPunct="0">
                    <a:lnSpc>
                      <a:spcPts val="569"/>
                    </a:lnSpc>
                    <a:buClr>
                      <a:srgbClr val="000000"/>
                    </a:buClr>
                    <a:defRPr/>
                  </a:pPr>
                  <a:r>
                    <a:rPr lang="en-US" sz="325" i="1" kern="0" noProof="1">
                      <a:solidFill>
                        <a:srgbClr val="000000"/>
                      </a:solidFill>
                      <a:latin typeface="Arial"/>
                      <a:cs typeface="Arial"/>
                      <a:sym typeface="Arial"/>
                    </a:rPr>
                    <a:t>Indian</a:t>
                  </a:r>
                  <a:br>
                    <a:rPr lang="en-US" sz="325" i="1" kern="0" noProof="1">
                      <a:solidFill>
                        <a:srgbClr val="000000"/>
                      </a:solidFill>
                      <a:latin typeface="Arial"/>
                      <a:cs typeface="Arial"/>
                      <a:sym typeface="Arial"/>
                    </a:rPr>
                  </a:br>
                  <a:r>
                    <a:rPr lang="en-US" sz="325" i="1" kern="0" noProof="1">
                      <a:solidFill>
                        <a:srgbClr val="000000"/>
                      </a:solidFill>
                      <a:latin typeface="Arial"/>
                      <a:cs typeface="Arial"/>
                      <a:sym typeface="Arial"/>
                    </a:rPr>
                    <a:t>Ocean</a:t>
                  </a:r>
                </a:p>
              </p:txBody>
            </p:sp>
            <p:sp>
              <p:nvSpPr>
                <p:cNvPr id="346" name="Atlantic Ocean">
                  <a:extLst>
                    <a:ext uri="{FF2B5EF4-FFF2-40B4-BE49-F238E27FC236}">
                      <a16:creationId xmlns:a16="http://schemas.microsoft.com/office/drawing/2014/main" id="{A30ACB02-27C6-431D-8CF8-D03C886458B5}"/>
                    </a:ext>
                  </a:extLst>
                </p:cNvPr>
                <p:cNvSpPr>
                  <a:spLocks noChangeArrowheads="1"/>
                </p:cNvSpPr>
                <p:nvPr/>
              </p:nvSpPr>
              <p:spPr bwMode="gray">
                <a:xfrm>
                  <a:off x="3326276" y="4892674"/>
                  <a:ext cx="189576" cy="216659"/>
                </a:xfrm>
                <a:prstGeom prst="rect">
                  <a:avLst/>
                </a:prstGeom>
                <a:noFill/>
                <a:ln w="9525">
                  <a:noFill/>
                  <a:miter lim="800000"/>
                  <a:headEnd/>
                  <a:tailEnd/>
                </a:ln>
              </p:spPr>
              <p:txBody>
                <a:bodyPr wrap="none" lIns="0" tIns="0" rIns="0" bIns="0">
                  <a:spAutoFit/>
                </a:bodyPr>
                <a:lstStyle/>
                <a:p>
                  <a:pPr algn="ctr" defTabSz="742950" eaLnBrk="0" hangingPunct="0">
                    <a:lnSpc>
                      <a:spcPts val="569"/>
                    </a:lnSpc>
                    <a:buClr>
                      <a:srgbClr val="000000"/>
                    </a:buClr>
                    <a:defRPr/>
                  </a:pPr>
                  <a:r>
                    <a:rPr lang="en-US" sz="325" i="1" kern="0" noProof="1">
                      <a:solidFill>
                        <a:srgbClr val="000000"/>
                      </a:solidFill>
                      <a:latin typeface="Arial"/>
                      <a:cs typeface="Arial"/>
                      <a:sym typeface="Arial"/>
                    </a:rPr>
                    <a:t>Atlantic</a:t>
                  </a:r>
                  <a:br>
                    <a:rPr lang="en-US" sz="325" i="1" kern="0" noProof="1">
                      <a:solidFill>
                        <a:srgbClr val="000000"/>
                      </a:solidFill>
                      <a:latin typeface="Arial"/>
                      <a:cs typeface="Arial"/>
                      <a:sym typeface="Arial"/>
                    </a:rPr>
                  </a:br>
                  <a:r>
                    <a:rPr lang="en-US" sz="325" i="1" kern="0" noProof="1">
                      <a:solidFill>
                        <a:srgbClr val="000000"/>
                      </a:solidFill>
                      <a:latin typeface="Arial"/>
                      <a:cs typeface="Arial"/>
                      <a:sym typeface="Arial"/>
                    </a:rPr>
                    <a:t>Ocean</a:t>
                  </a:r>
                </a:p>
              </p:txBody>
            </p:sp>
          </p:grpSp>
        </p:grpSp>
      </p:grpSp>
      <p:sp>
        <p:nvSpPr>
          <p:cNvPr id="656" name="TextBox 655"/>
          <p:cNvSpPr txBox="1"/>
          <p:nvPr/>
        </p:nvSpPr>
        <p:spPr>
          <a:xfrm>
            <a:off x="6619342" y="2396586"/>
            <a:ext cx="489585" cy="433553"/>
          </a:xfrm>
          <a:prstGeom prst="rect">
            <a:avLst/>
          </a:prstGeom>
          <a:noFill/>
        </p:spPr>
        <p:txBody>
          <a:bodyPr wrap="none" lIns="144000" tIns="108000" rIns="144000" bIns="108000" rtlCol="0">
            <a:spAutoFit/>
          </a:bodyPr>
          <a:lstStyle/>
          <a:p>
            <a:pPr algn="l">
              <a:buSzPct val="110000"/>
            </a:pPr>
            <a:r>
              <a:rPr lang="en-US" sz="1400" b="1" dirty="0"/>
              <a:t>54</a:t>
            </a:r>
          </a:p>
        </p:txBody>
      </p:sp>
      <p:sp>
        <p:nvSpPr>
          <p:cNvPr id="657" name="TextBox 656"/>
          <p:cNvSpPr txBox="1"/>
          <p:nvPr/>
        </p:nvSpPr>
        <p:spPr>
          <a:xfrm>
            <a:off x="6619342" y="1397069"/>
            <a:ext cx="738051" cy="433553"/>
          </a:xfrm>
          <a:prstGeom prst="rect">
            <a:avLst/>
          </a:prstGeom>
          <a:noFill/>
        </p:spPr>
        <p:txBody>
          <a:bodyPr wrap="none" lIns="144000" tIns="108000" rIns="144000" bIns="108000" rtlCol="0">
            <a:spAutoFit/>
          </a:bodyPr>
          <a:lstStyle/>
          <a:p>
            <a:pPr algn="l">
              <a:buSzPct val="110000"/>
            </a:pPr>
            <a:r>
              <a:rPr lang="en-US" sz="1400" b="1" dirty="0"/>
              <a:t>161.1</a:t>
            </a:r>
          </a:p>
        </p:txBody>
      </p:sp>
      <p:sp>
        <p:nvSpPr>
          <p:cNvPr id="658" name="TextBox 657"/>
          <p:cNvSpPr txBox="1"/>
          <p:nvPr/>
        </p:nvSpPr>
        <p:spPr>
          <a:xfrm>
            <a:off x="8133734" y="1397744"/>
            <a:ext cx="891939" cy="433553"/>
          </a:xfrm>
          <a:prstGeom prst="rect">
            <a:avLst/>
          </a:prstGeom>
          <a:noFill/>
        </p:spPr>
        <p:txBody>
          <a:bodyPr wrap="none" lIns="144000" tIns="108000" rIns="144000" bIns="108000" rtlCol="0">
            <a:spAutoFit/>
          </a:bodyPr>
          <a:lstStyle/>
          <a:p>
            <a:pPr algn="l">
              <a:buSzPct val="110000"/>
            </a:pPr>
            <a:r>
              <a:rPr lang="en-US" sz="1400" b="1" dirty="0"/>
              <a:t>&gt; 7,600</a:t>
            </a:r>
          </a:p>
        </p:txBody>
      </p:sp>
      <p:sp>
        <p:nvSpPr>
          <p:cNvPr id="659" name="TextBox 658"/>
          <p:cNvSpPr txBox="1"/>
          <p:nvPr/>
        </p:nvSpPr>
        <p:spPr>
          <a:xfrm>
            <a:off x="6619341" y="2677820"/>
            <a:ext cx="1550896" cy="525886"/>
          </a:xfrm>
          <a:prstGeom prst="rect">
            <a:avLst/>
          </a:prstGeom>
          <a:noFill/>
        </p:spPr>
        <p:txBody>
          <a:bodyPr wrap="square" lIns="144000" tIns="108000" rIns="144000" bIns="108000" rtlCol="0">
            <a:spAutoFit/>
          </a:bodyPr>
          <a:lstStyle/>
          <a:p>
            <a:pPr algn="l">
              <a:buSzPct val="110000"/>
            </a:pPr>
            <a:r>
              <a:rPr lang="en-US" sz="1000" dirty="0"/>
              <a:t>financing committed in </a:t>
            </a:r>
            <a:r>
              <a:rPr lang="en-US" sz="1000" b="1" dirty="0"/>
              <a:t>15</a:t>
            </a:r>
            <a:r>
              <a:rPr lang="en-US" sz="1000" dirty="0"/>
              <a:t> African countries</a:t>
            </a:r>
          </a:p>
        </p:txBody>
      </p:sp>
      <p:sp>
        <p:nvSpPr>
          <p:cNvPr id="660" name="TextBox 659"/>
          <p:cNvSpPr txBox="1"/>
          <p:nvPr/>
        </p:nvSpPr>
        <p:spPr>
          <a:xfrm>
            <a:off x="6619342" y="1678303"/>
            <a:ext cx="1480982" cy="525886"/>
          </a:xfrm>
          <a:prstGeom prst="rect">
            <a:avLst/>
          </a:prstGeom>
          <a:noFill/>
        </p:spPr>
        <p:txBody>
          <a:bodyPr wrap="square" lIns="144000" tIns="108000" rIns="144000" bIns="108000" rtlCol="0">
            <a:spAutoFit/>
          </a:bodyPr>
          <a:lstStyle/>
          <a:p>
            <a:pPr algn="l">
              <a:buSzPct val="110000"/>
            </a:pPr>
            <a:r>
              <a:rPr lang="en-US" sz="1000" dirty="0"/>
              <a:t>Mio. EUR loan volume granted</a:t>
            </a:r>
          </a:p>
        </p:txBody>
      </p:sp>
      <p:sp>
        <p:nvSpPr>
          <p:cNvPr id="661" name="TextBox 660"/>
          <p:cNvSpPr txBox="1"/>
          <p:nvPr/>
        </p:nvSpPr>
        <p:spPr>
          <a:xfrm>
            <a:off x="8133734" y="1678978"/>
            <a:ext cx="1276078" cy="371998"/>
          </a:xfrm>
          <a:prstGeom prst="rect">
            <a:avLst/>
          </a:prstGeom>
          <a:noFill/>
        </p:spPr>
        <p:txBody>
          <a:bodyPr wrap="square" lIns="144000" tIns="108000" rIns="144000" bIns="108000" rtlCol="0">
            <a:spAutoFit/>
          </a:bodyPr>
          <a:lstStyle/>
          <a:p>
            <a:pPr algn="l">
              <a:buSzPct val="110000"/>
            </a:pPr>
            <a:r>
              <a:rPr lang="en-US" sz="1000" dirty="0"/>
              <a:t>Jobs created</a:t>
            </a:r>
          </a:p>
        </p:txBody>
      </p:sp>
      <p:pic>
        <p:nvPicPr>
          <p:cNvPr id="663" name="Picture 6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00199" y="1402292"/>
            <a:ext cx="360000" cy="360000"/>
          </a:xfrm>
          <a:prstGeom prst="rect">
            <a:avLst/>
          </a:prstGeom>
        </p:spPr>
      </p:pic>
      <p:pic>
        <p:nvPicPr>
          <p:cNvPr id="664" name="Picture 6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21229" y="2400472"/>
            <a:ext cx="360000" cy="360000"/>
          </a:xfrm>
          <a:prstGeom prst="rect">
            <a:avLst/>
          </a:prstGeom>
        </p:spPr>
      </p:pic>
      <p:pic>
        <p:nvPicPr>
          <p:cNvPr id="665" name="Picture 6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21229" y="1418236"/>
            <a:ext cx="360000" cy="360000"/>
          </a:xfrm>
          <a:prstGeom prst="rect">
            <a:avLst/>
          </a:prstGeom>
        </p:spPr>
      </p:pic>
      <p:pic>
        <p:nvPicPr>
          <p:cNvPr id="2" name="Picture 1"/>
          <p:cNvPicPr>
            <a:picLocks noChangeAspect="1"/>
          </p:cNvPicPr>
          <p:nvPr/>
        </p:nvPicPr>
        <p:blipFill rotWithShape="1">
          <a:blip r:embed="rId8" cstate="hqprint">
            <a:extLst>
              <a:ext uri="{28A0092B-C50C-407E-A947-70E740481C1C}">
                <a14:useLocalDpi xmlns:a14="http://schemas.microsoft.com/office/drawing/2010/main" val="0"/>
              </a:ext>
            </a:extLst>
          </a:blip>
          <a:srcRect l="3375" r="1152"/>
          <a:stretch/>
        </p:blipFill>
        <p:spPr>
          <a:xfrm>
            <a:off x="4969154" y="2492895"/>
            <a:ext cx="1224136" cy="720000"/>
          </a:xfrm>
          <a:prstGeom prst="rect">
            <a:avLst/>
          </a:prstGeom>
        </p:spPr>
      </p:pic>
      <p:pic>
        <p:nvPicPr>
          <p:cNvPr id="8" name="Picture 7"/>
          <p:cNvPicPr>
            <a:picLocks noChangeAspect="1"/>
          </p:cNvPicPr>
          <p:nvPr/>
        </p:nvPicPr>
        <p:blipFill rotWithShape="1">
          <a:blip r:embed="rId9" cstate="hqprint">
            <a:extLst>
              <a:ext uri="{28A0092B-C50C-407E-A947-70E740481C1C}">
                <a14:useLocalDpi xmlns:a14="http://schemas.microsoft.com/office/drawing/2010/main" val="0"/>
              </a:ext>
            </a:extLst>
          </a:blip>
          <a:srcRect t="6519" b="36807"/>
          <a:stretch/>
        </p:blipFill>
        <p:spPr>
          <a:xfrm>
            <a:off x="655819" y="4365104"/>
            <a:ext cx="1227600" cy="720080"/>
          </a:xfrm>
          <a:prstGeom prst="rect">
            <a:avLst/>
          </a:prstGeom>
        </p:spPr>
      </p:pic>
      <p:cxnSp>
        <p:nvCxnSpPr>
          <p:cNvPr id="10" name="Elbow Connector 9"/>
          <p:cNvCxnSpPr>
            <a:stCxn id="546" idx="10"/>
            <a:endCxn id="2" idx="1"/>
          </p:cNvCxnSpPr>
          <p:nvPr/>
        </p:nvCxnSpPr>
        <p:spPr>
          <a:xfrm flipV="1">
            <a:off x="4174111" y="2852895"/>
            <a:ext cx="795043" cy="1434474"/>
          </a:xfrm>
          <a:prstGeom prst="bentConnector3">
            <a:avLst>
              <a:gd name="adj1" fmla="val 67470"/>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366" idx="4"/>
            <a:endCxn id="8" idx="3"/>
          </p:cNvCxnSpPr>
          <p:nvPr/>
        </p:nvCxnSpPr>
        <p:spPr>
          <a:xfrm flipH="1">
            <a:off x="1883419" y="3827711"/>
            <a:ext cx="558755" cy="897433"/>
          </a:xfrm>
          <a:prstGeom prst="bentConnector3">
            <a:avLst>
              <a:gd name="adj1" fmla="val -46719"/>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413" idx="3"/>
            <a:endCxn id="9" idx="1"/>
          </p:cNvCxnSpPr>
          <p:nvPr/>
        </p:nvCxnSpPr>
        <p:spPr>
          <a:xfrm flipV="1">
            <a:off x="3427108" y="4744196"/>
            <a:ext cx="1538582" cy="835505"/>
          </a:xfrm>
          <a:prstGeom prst="bentConnector3">
            <a:avLst>
              <a:gd name="adj1" fmla="val 85358"/>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52" name="Elbow Connector 651"/>
          <p:cNvCxnSpPr>
            <a:stCxn id="517" idx="3"/>
            <a:endCxn id="15" idx="3"/>
          </p:cNvCxnSpPr>
          <p:nvPr/>
        </p:nvCxnSpPr>
        <p:spPr>
          <a:xfrm flipV="1">
            <a:off x="2954391" y="2204869"/>
            <a:ext cx="452169" cy="248815"/>
          </a:xfrm>
          <a:prstGeom prst="bentConnector4">
            <a:avLst>
              <a:gd name="adj1" fmla="val 10187"/>
              <a:gd name="adj2" fmla="val 8125"/>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29" name="TextBox 328"/>
          <p:cNvSpPr txBox="1"/>
          <p:nvPr/>
        </p:nvSpPr>
        <p:spPr>
          <a:xfrm>
            <a:off x="4002478" y="1363918"/>
            <a:ext cx="1788398" cy="949079"/>
          </a:xfrm>
          <a:prstGeom prst="rect">
            <a:avLst/>
          </a:prstGeom>
          <a:noFill/>
        </p:spPr>
        <p:txBody>
          <a:bodyPr wrap="square" lIns="144000" tIns="108000" rIns="144000" bIns="108000" rtlCol="0">
            <a:spAutoFit/>
          </a:bodyPr>
          <a:lstStyle/>
          <a:p>
            <a:pPr algn="l">
              <a:buSzPct val="110000"/>
            </a:pPr>
            <a:r>
              <a:rPr lang="en-US" sz="800" b="1" dirty="0" err="1"/>
              <a:t>Steiff</a:t>
            </a:r>
            <a:r>
              <a:rPr lang="en-US" sz="800" dirty="0"/>
              <a:t>, Tunisia</a:t>
            </a:r>
          </a:p>
          <a:p>
            <a:pPr marL="158334" indent="-158334">
              <a:spcBef>
                <a:spcPts val="300"/>
              </a:spcBef>
              <a:buSzPct val="90000"/>
              <a:buFont typeface="Arial" panose="020B0604020202020204" pitchFamily="34" charset="0"/>
              <a:buChar char="›"/>
            </a:pPr>
            <a:r>
              <a:rPr lang="en-US" sz="800" dirty="0"/>
              <a:t>Soft toy production</a:t>
            </a:r>
          </a:p>
          <a:p>
            <a:pPr marL="158334" indent="-158334">
              <a:spcBef>
                <a:spcPts val="300"/>
              </a:spcBef>
              <a:buSzPct val="90000"/>
              <a:buFont typeface="Arial" panose="020B0604020202020204" pitchFamily="34" charset="0"/>
              <a:buChar char="›"/>
            </a:pPr>
            <a:r>
              <a:rPr lang="en-US" sz="800" dirty="0"/>
              <a:t>Securing more than 800 jobs</a:t>
            </a:r>
          </a:p>
          <a:p>
            <a:pPr marL="158334" indent="-158334">
              <a:spcBef>
                <a:spcPts val="300"/>
              </a:spcBef>
              <a:buSzPct val="90000"/>
              <a:buFont typeface="Arial" panose="020B0604020202020204" pitchFamily="34" charset="0"/>
              <a:buChar char="›"/>
            </a:pPr>
            <a:r>
              <a:rPr lang="en-US" sz="800" dirty="0"/>
              <a:t>Technological development and knowledge transfer</a:t>
            </a:r>
          </a:p>
        </p:txBody>
      </p:sp>
      <p:sp>
        <p:nvSpPr>
          <p:cNvPr id="653" name="TextBox 652"/>
          <p:cNvSpPr txBox="1"/>
          <p:nvPr/>
        </p:nvSpPr>
        <p:spPr>
          <a:xfrm>
            <a:off x="4808985" y="3158508"/>
            <a:ext cx="1699852" cy="1233772"/>
          </a:xfrm>
          <a:prstGeom prst="rect">
            <a:avLst/>
          </a:prstGeom>
          <a:noFill/>
        </p:spPr>
        <p:txBody>
          <a:bodyPr wrap="square" lIns="144000" tIns="108000" rIns="144000" bIns="108000" rtlCol="0">
            <a:spAutoFit/>
          </a:bodyPr>
          <a:lstStyle/>
          <a:p>
            <a:pPr algn="l">
              <a:buSzPct val="110000"/>
            </a:pPr>
            <a:r>
              <a:rPr lang="en-US" sz="800" b="1" dirty="0" err="1"/>
              <a:t>Limbua</a:t>
            </a:r>
            <a:r>
              <a:rPr lang="en-US" sz="800" dirty="0"/>
              <a:t>, Kenya</a:t>
            </a:r>
          </a:p>
          <a:p>
            <a:pPr marL="158334" indent="-158334">
              <a:spcBef>
                <a:spcPts val="300"/>
              </a:spcBef>
              <a:buSzPct val="90000"/>
              <a:buFont typeface="Arial" panose="020B0604020202020204" pitchFamily="34" charset="0"/>
              <a:buChar char="›"/>
            </a:pPr>
            <a:r>
              <a:rPr lang="en-US" sz="800" dirty="0"/>
              <a:t>Sustainable, organic fruit and nut production</a:t>
            </a:r>
          </a:p>
          <a:p>
            <a:pPr marL="158334" indent="-158334">
              <a:spcBef>
                <a:spcPts val="300"/>
              </a:spcBef>
              <a:buSzPct val="90000"/>
              <a:buFont typeface="Arial" panose="020B0604020202020204" pitchFamily="34" charset="0"/>
              <a:buChar char="›"/>
            </a:pPr>
            <a:r>
              <a:rPr lang="en-US" sz="800" dirty="0"/>
              <a:t>170 new jobs</a:t>
            </a:r>
          </a:p>
          <a:p>
            <a:pPr marL="158334" indent="-158334">
              <a:spcBef>
                <a:spcPts val="300"/>
              </a:spcBef>
              <a:buSzPct val="90000"/>
              <a:buFont typeface="Arial" panose="020B0604020202020204" pitchFamily="34" charset="0"/>
              <a:buChar char="›"/>
            </a:pPr>
            <a:r>
              <a:rPr lang="en-US" sz="800" dirty="0"/>
              <a:t>Certified employer</a:t>
            </a:r>
          </a:p>
          <a:p>
            <a:pPr marL="158334" indent="-158334">
              <a:spcBef>
                <a:spcPts val="300"/>
              </a:spcBef>
              <a:buSzPct val="90000"/>
              <a:buFont typeface="Arial" panose="020B0604020202020204" pitchFamily="34" charset="0"/>
              <a:buChar char="›"/>
            </a:pPr>
            <a:r>
              <a:rPr lang="en-US" sz="800" dirty="0"/>
              <a:t>Training for local smallholders</a:t>
            </a:r>
          </a:p>
        </p:txBody>
      </p:sp>
      <p:sp>
        <p:nvSpPr>
          <p:cNvPr id="654" name="TextBox 653"/>
          <p:cNvSpPr txBox="1"/>
          <p:nvPr/>
        </p:nvSpPr>
        <p:spPr>
          <a:xfrm>
            <a:off x="536111" y="5085184"/>
            <a:ext cx="2414565" cy="825968"/>
          </a:xfrm>
          <a:prstGeom prst="rect">
            <a:avLst/>
          </a:prstGeom>
          <a:noFill/>
        </p:spPr>
        <p:txBody>
          <a:bodyPr wrap="square" lIns="144000" tIns="108000" rIns="144000" bIns="108000" rtlCol="0">
            <a:spAutoFit/>
          </a:bodyPr>
          <a:lstStyle/>
          <a:p>
            <a:pPr algn="l">
              <a:buSzPct val="110000"/>
            </a:pPr>
            <a:r>
              <a:rPr lang="en-US" sz="800" b="1" dirty="0"/>
              <a:t>Das Labor.</a:t>
            </a:r>
            <a:r>
              <a:rPr lang="en-US" sz="800" dirty="0"/>
              <a:t>, Togo &amp; Benin</a:t>
            </a:r>
          </a:p>
          <a:p>
            <a:pPr marL="158334" indent="-158334">
              <a:spcBef>
                <a:spcPts val="300"/>
              </a:spcBef>
              <a:buSzPct val="90000"/>
              <a:buFont typeface="Arial" panose="020B0604020202020204" pitchFamily="34" charset="0"/>
              <a:buChar char="›"/>
            </a:pPr>
            <a:r>
              <a:rPr lang="en-US" sz="800" dirty="0"/>
              <a:t>Medical diagnostics services</a:t>
            </a:r>
          </a:p>
          <a:p>
            <a:pPr marL="158334" indent="-158334">
              <a:spcBef>
                <a:spcPts val="300"/>
              </a:spcBef>
              <a:buSzPct val="90000"/>
              <a:buFont typeface="Arial" panose="020B0604020202020204" pitchFamily="34" charset="0"/>
              <a:buChar char="›"/>
            </a:pPr>
            <a:r>
              <a:rPr lang="en-US" sz="800" dirty="0"/>
              <a:t>60 new jobs</a:t>
            </a:r>
          </a:p>
          <a:p>
            <a:pPr marL="158334" indent="-158334">
              <a:spcBef>
                <a:spcPts val="300"/>
              </a:spcBef>
              <a:buSzPct val="90000"/>
              <a:buFont typeface="Arial" panose="020B0604020202020204" pitchFamily="34" charset="0"/>
              <a:buChar char="›"/>
            </a:pPr>
            <a:r>
              <a:rPr lang="en-US" sz="800" dirty="0"/>
              <a:t>Know-how Transfer</a:t>
            </a:r>
          </a:p>
        </p:txBody>
      </p:sp>
      <mc:AlternateContent xmlns:mc="http://schemas.openxmlformats.org/markup-compatibility/2006" xmlns:a14="http://schemas.microsoft.com/office/drawing/2010/main">
        <mc:Choice Requires="a14">
          <p:sp>
            <p:nvSpPr>
              <p:cNvPr id="655" name="TextBox 654"/>
              <p:cNvSpPr txBox="1"/>
              <p:nvPr/>
            </p:nvSpPr>
            <p:spPr>
              <a:xfrm>
                <a:off x="4808984" y="5038999"/>
                <a:ext cx="1801339" cy="1195300"/>
              </a:xfrm>
              <a:prstGeom prst="rect">
                <a:avLst/>
              </a:prstGeom>
              <a:noFill/>
            </p:spPr>
            <p:txBody>
              <a:bodyPr wrap="square" lIns="144000" tIns="108000" rIns="144000" bIns="108000" rtlCol="0">
                <a:spAutoFit/>
              </a:bodyPr>
              <a:lstStyle/>
              <a:p>
                <a:pPr algn="l">
                  <a:buSzPct val="110000"/>
                </a:pPr>
                <a:r>
                  <a:rPr lang="en-US" sz="800" b="1" dirty="0"/>
                  <a:t>GRW /</a:t>
                </a:r>
                <a:br>
                  <a:rPr lang="en-US" sz="800" b="1" dirty="0"/>
                </a:br>
                <a:r>
                  <a:rPr lang="en-US" sz="800" b="1" dirty="0"/>
                  <a:t>Schmitz </a:t>
                </a:r>
                <a:r>
                  <a:rPr lang="en-US" sz="800" b="1" dirty="0" err="1"/>
                  <a:t>Cargobull</a:t>
                </a:r>
                <a:r>
                  <a:rPr lang="en-US" sz="800" dirty="0"/>
                  <a:t>, South Africa</a:t>
                </a:r>
              </a:p>
              <a:p>
                <a:pPr marL="158334" indent="-158334">
                  <a:spcBef>
                    <a:spcPts val="300"/>
                  </a:spcBef>
                  <a:buSzPct val="90000"/>
                  <a:buFont typeface="Arial" panose="020B0604020202020204" pitchFamily="34" charset="0"/>
                  <a:buChar char="›"/>
                </a:pPr>
                <a:r>
                  <a:rPr lang="en-US" sz="800" dirty="0"/>
                  <a:t>Trailer production (trucks)</a:t>
                </a:r>
              </a:p>
              <a:p>
                <a:pPr marL="158334" indent="-158334">
                  <a:spcBef>
                    <a:spcPts val="300"/>
                  </a:spcBef>
                  <a:buSzPct val="90000"/>
                  <a:buFont typeface="Arial" panose="020B0604020202020204" pitchFamily="34" charset="0"/>
                  <a:buChar char="›"/>
                </a:pPr>
                <a:r>
                  <a:rPr lang="en-US" sz="800" dirty="0"/>
                  <a:t>60 new jobs</a:t>
                </a:r>
              </a:p>
              <a:p>
                <a:pPr marL="158334" indent="-158334">
                  <a:spcBef>
                    <a:spcPts val="300"/>
                  </a:spcBef>
                  <a:buSzPct val="90000"/>
                  <a:buFont typeface="Arial" panose="020B0604020202020204" pitchFamily="34" charset="0"/>
                  <a:buChar char="›"/>
                </a:pPr>
                <a14:m>
                  <m:oMath xmlns:m="http://schemas.openxmlformats.org/officeDocument/2006/math">
                    <m:sSub>
                      <m:sSubPr>
                        <m:ctrlPr>
                          <a:rPr lang="en-US" sz="800" i="1">
                            <a:latin typeface="Cambria Math" panose="02040503050406030204" pitchFamily="18" charset="0"/>
                          </a:rPr>
                        </m:ctrlPr>
                      </m:sSubPr>
                      <m:e>
                        <m:r>
                          <m:rPr>
                            <m:sty m:val="p"/>
                          </m:rPr>
                          <a:rPr lang="en-US" sz="800">
                            <a:latin typeface="Cambria Math" panose="02040503050406030204" pitchFamily="18" charset="0"/>
                          </a:rPr>
                          <m:t>CO</m:t>
                        </m:r>
                      </m:e>
                      <m:sub>
                        <m:r>
                          <a:rPr lang="en-US" sz="800">
                            <a:latin typeface="Cambria Math" panose="02040503050406030204" pitchFamily="18" charset="0"/>
                          </a:rPr>
                          <m:t>2</m:t>
                        </m:r>
                      </m:sub>
                    </m:sSub>
                  </m:oMath>
                </a14:m>
                <a:r>
                  <a:rPr lang="en-US" sz="800" dirty="0"/>
                  <a:t>-Footprint reduction due to installation of solar power system</a:t>
                </a:r>
              </a:p>
            </p:txBody>
          </p:sp>
        </mc:Choice>
        <mc:Fallback xmlns="">
          <p:sp>
            <p:nvSpPr>
              <p:cNvPr id="655" name="TextBox 654"/>
              <p:cNvSpPr txBox="1">
                <a:spLocks noRot="1" noChangeAspect="1" noMove="1" noResize="1" noEditPoints="1" noAdjustHandles="1" noChangeArrowheads="1" noChangeShapeType="1" noTextEdit="1"/>
              </p:cNvSpPr>
              <p:nvPr/>
            </p:nvSpPr>
            <p:spPr>
              <a:xfrm>
                <a:off x="4808984" y="5038999"/>
                <a:ext cx="1801339" cy="1195300"/>
              </a:xfrm>
              <a:prstGeom prst="rect">
                <a:avLst/>
              </a:prstGeom>
              <a:blipFill>
                <a:blip r:embed="rId10"/>
                <a:stretch>
                  <a:fillRect/>
                </a:stretch>
              </a:blipFill>
            </p:spPr>
            <p:txBody>
              <a:bodyPr/>
              <a:lstStyle/>
              <a:p>
                <a:r>
                  <a:rPr lang="de-DE">
                    <a:noFill/>
                  </a:rPr>
                  <a:t> </a:t>
                </a:r>
              </a:p>
            </p:txBody>
          </p:sp>
        </mc:Fallback>
      </mc:AlternateContent>
      <p:cxnSp>
        <p:nvCxnSpPr>
          <p:cNvPr id="675" name="Straight Connector 674"/>
          <p:cNvCxnSpPr/>
          <p:nvPr/>
        </p:nvCxnSpPr>
        <p:spPr>
          <a:xfrm>
            <a:off x="6502318" y="1700808"/>
            <a:ext cx="34858" cy="3965128"/>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682" name="TextBox 681"/>
          <p:cNvSpPr txBox="1"/>
          <p:nvPr/>
        </p:nvSpPr>
        <p:spPr>
          <a:xfrm>
            <a:off x="8135873" y="2345250"/>
            <a:ext cx="891939" cy="433553"/>
          </a:xfrm>
          <a:prstGeom prst="rect">
            <a:avLst/>
          </a:prstGeom>
          <a:noFill/>
        </p:spPr>
        <p:txBody>
          <a:bodyPr wrap="none" lIns="144000" tIns="108000" rIns="144000" bIns="108000" rtlCol="0">
            <a:spAutoFit/>
          </a:bodyPr>
          <a:lstStyle/>
          <a:p>
            <a:pPr algn="l">
              <a:buSzPct val="110000"/>
            </a:pPr>
            <a:r>
              <a:rPr lang="en-US" sz="1400" b="1" dirty="0"/>
              <a:t>&gt; 9,100</a:t>
            </a:r>
          </a:p>
        </p:txBody>
      </p:sp>
      <p:sp>
        <p:nvSpPr>
          <p:cNvPr id="683" name="TextBox 682"/>
          <p:cNvSpPr txBox="1"/>
          <p:nvPr/>
        </p:nvSpPr>
        <p:spPr>
          <a:xfrm>
            <a:off x="8135873" y="2626484"/>
            <a:ext cx="1273939" cy="679774"/>
          </a:xfrm>
          <a:prstGeom prst="rect">
            <a:avLst/>
          </a:prstGeom>
          <a:noFill/>
        </p:spPr>
        <p:txBody>
          <a:bodyPr wrap="square" lIns="144000" tIns="108000" rIns="144000" bIns="108000" rtlCol="0">
            <a:spAutoFit/>
          </a:bodyPr>
          <a:lstStyle/>
          <a:p>
            <a:pPr algn="l">
              <a:buSzPct val="110000"/>
            </a:pPr>
            <a:r>
              <a:rPr lang="en-US" sz="1000" dirty="0"/>
              <a:t>Jobs secured during COVID-19 pandemic</a:t>
            </a:r>
          </a:p>
        </p:txBody>
      </p:sp>
      <p:pic>
        <p:nvPicPr>
          <p:cNvPr id="685" name="Picture 68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905796" y="2376501"/>
            <a:ext cx="360000" cy="360000"/>
          </a:xfrm>
          <a:prstGeom prst="rect">
            <a:avLst/>
          </a:prstGeom>
        </p:spPr>
      </p:pic>
      <p:pic>
        <p:nvPicPr>
          <p:cNvPr id="7" name="Picture 6"/>
          <p:cNvPicPr>
            <a:picLocks noChangeAspect="1"/>
          </p:cNvPicPr>
          <p:nvPr/>
        </p:nvPicPr>
        <p:blipFill rotWithShape="1">
          <a:blip r:embed="rId12" cstate="hqprint">
            <a:extLst>
              <a:ext uri="{28A0092B-C50C-407E-A947-70E740481C1C}">
                <a14:useLocalDpi xmlns:a14="http://schemas.microsoft.com/office/drawing/2010/main" val="0"/>
              </a:ext>
            </a:extLst>
          </a:blip>
          <a:srcRect r="33946"/>
          <a:stretch/>
        </p:blipFill>
        <p:spPr>
          <a:xfrm>
            <a:off x="655819" y="2420888"/>
            <a:ext cx="833357" cy="842074"/>
          </a:xfrm>
          <a:prstGeom prst="rect">
            <a:avLst/>
          </a:prstGeom>
        </p:spPr>
      </p:pic>
      <p:sp>
        <p:nvSpPr>
          <p:cNvPr id="666" name="TextBox 665"/>
          <p:cNvSpPr txBox="1"/>
          <p:nvPr/>
        </p:nvSpPr>
        <p:spPr>
          <a:xfrm>
            <a:off x="536111" y="1363918"/>
            <a:ext cx="2094390" cy="1195300"/>
          </a:xfrm>
          <a:prstGeom prst="rect">
            <a:avLst/>
          </a:prstGeom>
          <a:noFill/>
        </p:spPr>
        <p:txBody>
          <a:bodyPr wrap="square" lIns="144000" tIns="108000" rIns="144000" bIns="108000" rtlCol="0">
            <a:spAutoFit/>
          </a:bodyPr>
          <a:lstStyle/>
          <a:p>
            <a:pPr algn="l">
              <a:buSzPct val="110000"/>
            </a:pPr>
            <a:r>
              <a:rPr lang="en-US" sz="800" b="1" dirty="0" err="1"/>
              <a:t>Klingele</a:t>
            </a:r>
            <a:r>
              <a:rPr lang="en-US" sz="800" b="1" dirty="0"/>
              <a:t>, </a:t>
            </a:r>
            <a:r>
              <a:rPr lang="en-US" sz="800" dirty="0"/>
              <a:t>Senegal</a:t>
            </a:r>
          </a:p>
          <a:p>
            <a:pPr marL="158334" indent="-158334">
              <a:spcBef>
                <a:spcPts val="300"/>
              </a:spcBef>
              <a:buSzPct val="90000"/>
              <a:buFont typeface="Arial" panose="020B0604020202020204" pitchFamily="34" charset="0"/>
              <a:buChar char="›"/>
            </a:pPr>
            <a:r>
              <a:rPr lang="en-US" sz="800" dirty="0"/>
              <a:t>Sustainable packaging for African agriculture &amp; fishing industry</a:t>
            </a:r>
          </a:p>
          <a:p>
            <a:pPr marL="158334" indent="-158334">
              <a:spcBef>
                <a:spcPts val="300"/>
              </a:spcBef>
              <a:buSzPct val="90000"/>
              <a:buFont typeface="Arial" panose="020B0604020202020204" pitchFamily="34" charset="0"/>
              <a:buChar char="›"/>
            </a:pPr>
            <a:r>
              <a:rPr lang="en-US" sz="800" dirty="0"/>
              <a:t>35 new jobs</a:t>
            </a:r>
          </a:p>
          <a:p>
            <a:pPr marL="158334" indent="-158334">
              <a:spcBef>
                <a:spcPts val="300"/>
              </a:spcBef>
              <a:buSzPct val="90000"/>
              <a:buFont typeface="Arial" panose="020B0604020202020204" pitchFamily="34" charset="0"/>
              <a:buChar char="›"/>
            </a:pPr>
            <a:r>
              <a:rPr lang="en-US" sz="800" dirty="0"/>
              <a:t>Innovative processing technology transfer</a:t>
            </a:r>
          </a:p>
          <a:p>
            <a:pPr marL="285750" indent="-285750">
              <a:buSzPct val="110000"/>
              <a:buFont typeface="Arial" panose="020B0604020202020204" pitchFamily="34" charset="0"/>
              <a:buChar char="•"/>
            </a:pPr>
            <a:endParaRPr lang="en-US" sz="800" dirty="0"/>
          </a:p>
        </p:txBody>
      </p:sp>
      <p:cxnSp>
        <p:nvCxnSpPr>
          <p:cNvPr id="668" name="Elbow Connector 667"/>
          <p:cNvCxnSpPr>
            <a:stCxn id="374" idx="4"/>
            <a:endCxn id="7" idx="3"/>
          </p:cNvCxnSpPr>
          <p:nvPr/>
        </p:nvCxnSpPr>
        <p:spPr>
          <a:xfrm flipH="1" flipV="1">
            <a:off x="1489176" y="2841925"/>
            <a:ext cx="188512" cy="563924"/>
          </a:xfrm>
          <a:prstGeom prst="bentConnector3">
            <a:avLst>
              <a:gd name="adj1" fmla="val -138476"/>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13" cstate="hqprint">
            <a:extLst>
              <a:ext uri="{28A0092B-C50C-407E-A947-70E740481C1C}">
                <a14:useLocalDpi xmlns:a14="http://schemas.microsoft.com/office/drawing/2010/main" val="0"/>
              </a:ext>
            </a:extLst>
          </a:blip>
          <a:srcRect t="15643" b="6148"/>
          <a:stretch/>
        </p:blipFill>
        <p:spPr>
          <a:xfrm>
            <a:off x="4965690" y="4384156"/>
            <a:ext cx="1227600" cy="720080"/>
          </a:xfrm>
          <a:prstGeom prst="rect">
            <a:avLst/>
          </a:prstGeom>
        </p:spPr>
      </p:pic>
      <p:pic>
        <p:nvPicPr>
          <p:cNvPr id="15" name="Picture 14"/>
          <p:cNvPicPr>
            <a:picLocks noChangeAspect="1"/>
          </p:cNvPicPr>
          <p:nvPr/>
        </p:nvPicPr>
        <p:blipFill rotWithShape="1">
          <a:blip r:embed="rId14" cstate="hqprint">
            <a:extLst>
              <a:ext uri="{28A0092B-C50C-407E-A947-70E740481C1C}">
                <a14:useLocalDpi xmlns:a14="http://schemas.microsoft.com/office/drawing/2010/main" val="0"/>
              </a:ext>
            </a:extLst>
          </a:blip>
          <a:srcRect l="18375" t="-1800" r="36664" b="-400"/>
          <a:stretch/>
        </p:blipFill>
        <p:spPr>
          <a:xfrm rot="5400000">
            <a:off x="3046519" y="1231028"/>
            <a:ext cx="720082" cy="1227600"/>
          </a:xfrm>
          <a:prstGeom prst="rect">
            <a:avLst/>
          </a:prstGeom>
        </p:spPr>
      </p:pic>
      <p:sp>
        <p:nvSpPr>
          <p:cNvPr id="5" name="Rectangle 4"/>
          <p:cNvSpPr/>
          <p:nvPr/>
        </p:nvSpPr>
        <p:spPr>
          <a:xfrm>
            <a:off x="7208313" y="4045511"/>
            <a:ext cx="352368" cy="114655"/>
          </a:xfrm>
          <a:prstGeom prst="rect">
            <a:avLst/>
          </a:prstGeom>
          <a:solidFill>
            <a:srgbClr val="F1F7FB"/>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
        <p:nvSpPr>
          <p:cNvPr id="18" name="Oval 17"/>
          <p:cNvSpPr/>
          <p:nvPr/>
        </p:nvSpPr>
        <p:spPr>
          <a:xfrm>
            <a:off x="2378133" y="5859062"/>
            <a:ext cx="116754" cy="1035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
        <p:nvSpPr>
          <p:cNvPr id="667" name="Oval 666"/>
          <p:cNvSpPr/>
          <p:nvPr/>
        </p:nvSpPr>
        <p:spPr>
          <a:xfrm>
            <a:off x="2378133" y="6011462"/>
            <a:ext cx="116754" cy="10355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
        <p:nvSpPr>
          <p:cNvPr id="669" name="TextBox 668"/>
          <p:cNvSpPr txBox="1"/>
          <p:nvPr/>
        </p:nvSpPr>
        <p:spPr>
          <a:xfrm>
            <a:off x="2466427" y="5744780"/>
            <a:ext cx="2414565" cy="341220"/>
          </a:xfrm>
          <a:prstGeom prst="rect">
            <a:avLst/>
          </a:prstGeom>
          <a:noFill/>
        </p:spPr>
        <p:txBody>
          <a:bodyPr wrap="square" lIns="144000" tIns="108000" rIns="144000" bIns="108000" rtlCol="0">
            <a:spAutoFit/>
          </a:bodyPr>
          <a:lstStyle/>
          <a:p>
            <a:pPr algn="l">
              <a:buSzPct val="110000"/>
            </a:pPr>
            <a:r>
              <a:rPr lang="en-US" sz="800" dirty="0"/>
              <a:t>Countries with committed AC financings</a:t>
            </a:r>
          </a:p>
        </p:txBody>
      </p:sp>
      <p:sp>
        <p:nvSpPr>
          <p:cNvPr id="670" name="TextBox 669"/>
          <p:cNvSpPr txBox="1"/>
          <p:nvPr/>
        </p:nvSpPr>
        <p:spPr>
          <a:xfrm>
            <a:off x="2466427" y="5895071"/>
            <a:ext cx="2414565" cy="341220"/>
          </a:xfrm>
          <a:prstGeom prst="rect">
            <a:avLst/>
          </a:prstGeom>
          <a:noFill/>
        </p:spPr>
        <p:txBody>
          <a:bodyPr wrap="square" lIns="144000" tIns="108000" rIns="144000" bIns="108000" rtlCol="0">
            <a:spAutoFit/>
          </a:bodyPr>
          <a:lstStyle/>
          <a:p>
            <a:pPr algn="l">
              <a:buSzPct val="110000"/>
            </a:pPr>
            <a:r>
              <a:rPr lang="en-US" sz="800" dirty="0"/>
              <a:t>Countries without committed AC financings</a:t>
            </a:r>
          </a:p>
        </p:txBody>
      </p:sp>
    </p:spTree>
    <p:extLst>
      <p:ext uri="{BB962C8B-B14F-4D97-AF65-F5344CB8AC3E}">
        <p14:creationId xmlns:p14="http://schemas.microsoft.com/office/powerpoint/2010/main" val="8136223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97491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2"/>
          <p:cNvSpPr>
            <a:spLocks noGrp="1"/>
          </p:cNvSpPr>
          <p:nvPr>
            <p:ph type="body" sz="quarter" idx="14"/>
          </p:nvPr>
        </p:nvSpPr>
        <p:spPr/>
        <p:txBody>
          <a:bodyPr/>
          <a:lstStyle/>
          <a:p>
            <a:r>
              <a:rPr lang="de-DE" dirty="0" err="1"/>
              <a:t>What</a:t>
            </a:r>
            <a:r>
              <a:rPr lang="de-DE" dirty="0"/>
              <a:t> </a:t>
            </a:r>
            <a:r>
              <a:rPr lang="de-DE" dirty="0" err="1"/>
              <a:t>information</a:t>
            </a:r>
            <a:r>
              <a:rPr lang="de-DE" dirty="0"/>
              <a:t> </a:t>
            </a:r>
            <a:r>
              <a:rPr lang="de-DE" dirty="0" err="1"/>
              <a:t>is</a:t>
            </a:r>
            <a:r>
              <a:rPr lang="de-DE" dirty="0"/>
              <a:t> </a:t>
            </a:r>
            <a:r>
              <a:rPr lang="de-DE" dirty="0" err="1"/>
              <a:t>needed</a:t>
            </a:r>
            <a:r>
              <a:rPr lang="de-DE" dirty="0"/>
              <a:t>?</a:t>
            </a:r>
          </a:p>
        </p:txBody>
      </p:sp>
      <p:sp>
        <p:nvSpPr>
          <p:cNvPr id="5" name="Titel 4"/>
          <p:cNvSpPr>
            <a:spLocks noGrp="1"/>
          </p:cNvSpPr>
          <p:nvPr>
            <p:ph type="title"/>
          </p:nvPr>
        </p:nvSpPr>
        <p:spPr/>
        <p:txBody>
          <a:bodyPr vert="horz"/>
          <a:lstStyle/>
          <a:p>
            <a:r>
              <a:rPr lang="en-US" dirty="0">
                <a:solidFill>
                  <a:schemeClr val="bg2"/>
                </a:solidFill>
              </a:rPr>
              <a:t>Connect4Impact</a:t>
            </a:r>
            <a:endParaRPr lang="de-DE" dirty="0"/>
          </a:p>
        </p:txBody>
      </p:sp>
      <p:sp>
        <p:nvSpPr>
          <p:cNvPr id="6" name="Text Placeholder 1"/>
          <p:cNvSpPr>
            <a:spLocks noGrp="1"/>
          </p:cNvSpPr>
          <p:nvPr>
            <p:ph type="body" sz="quarter" idx="13"/>
          </p:nvPr>
        </p:nvSpPr>
        <p:spPr>
          <a:xfrm>
            <a:off x="457200" y="2083476"/>
            <a:ext cx="2340000" cy="371203"/>
          </a:xfrm>
        </p:spPr>
        <p:txBody>
          <a:bodyPr anchor="t"/>
          <a:lstStyle/>
          <a:p>
            <a:pPr algn="just" defTabSz="557011">
              <a:buSzTx/>
            </a:pPr>
            <a:r>
              <a:rPr lang="en-GB" sz="1200" dirty="0">
                <a:solidFill>
                  <a:srgbClr val="000000"/>
                </a:solidFill>
              </a:rPr>
              <a:t>A description of your company</a:t>
            </a:r>
          </a:p>
        </p:txBody>
      </p:sp>
      <p:sp>
        <p:nvSpPr>
          <p:cNvPr id="11" name="Text Placeholder 1"/>
          <p:cNvSpPr>
            <a:spLocks noGrp="1"/>
          </p:cNvSpPr>
          <p:nvPr>
            <p:ph type="body" sz="quarter" idx="13"/>
          </p:nvPr>
        </p:nvSpPr>
        <p:spPr>
          <a:xfrm>
            <a:off x="457201" y="1411201"/>
            <a:ext cx="535359" cy="433623"/>
          </a:xfrm>
        </p:spPr>
        <p:txBody>
          <a:bodyPr anchor="t"/>
          <a:lstStyle/>
          <a:p>
            <a:pPr marL="0" indent="0" algn="just">
              <a:buNone/>
            </a:pPr>
            <a:r>
              <a:rPr lang="en-GB" sz="3200" b="1" dirty="0">
                <a:solidFill>
                  <a:schemeClr val="accent1"/>
                </a:solidFill>
              </a:rPr>
              <a:t>1</a:t>
            </a:r>
          </a:p>
        </p:txBody>
      </p:sp>
      <p:cxnSp>
        <p:nvCxnSpPr>
          <p:cNvPr id="14" name="Gerader Verbinder 13"/>
          <p:cNvCxnSpPr/>
          <p:nvPr/>
        </p:nvCxnSpPr>
        <p:spPr>
          <a:xfrm>
            <a:off x="457200" y="1923064"/>
            <a:ext cx="1260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5" name="Text Placeholder 1"/>
          <p:cNvSpPr>
            <a:spLocks noGrp="1"/>
          </p:cNvSpPr>
          <p:nvPr>
            <p:ph type="body" sz="quarter" idx="13"/>
          </p:nvPr>
        </p:nvSpPr>
        <p:spPr>
          <a:xfrm>
            <a:off x="3799151" y="1411201"/>
            <a:ext cx="535359" cy="433623"/>
          </a:xfrm>
        </p:spPr>
        <p:txBody>
          <a:bodyPr anchor="t"/>
          <a:lstStyle/>
          <a:p>
            <a:pPr marL="0" indent="0" algn="just">
              <a:buNone/>
            </a:pPr>
            <a:r>
              <a:rPr lang="en-GB" sz="3200" b="1" dirty="0">
                <a:solidFill>
                  <a:srgbClr val="519DC2"/>
                </a:solidFill>
              </a:rPr>
              <a:t>2</a:t>
            </a:r>
          </a:p>
        </p:txBody>
      </p:sp>
      <p:cxnSp>
        <p:nvCxnSpPr>
          <p:cNvPr id="16" name="Gerader Verbinder 15"/>
          <p:cNvCxnSpPr/>
          <p:nvPr/>
        </p:nvCxnSpPr>
        <p:spPr>
          <a:xfrm>
            <a:off x="3799151" y="1923064"/>
            <a:ext cx="1260000" cy="0"/>
          </a:xfrm>
          <a:prstGeom prst="line">
            <a:avLst/>
          </a:prstGeom>
          <a:ln w="38100">
            <a:solidFill>
              <a:srgbClr val="519DC2"/>
            </a:solidFill>
          </a:ln>
        </p:spPr>
        <p:style>
          <a:lnRef idx="1">
            <a:schemeClr val="accent1"/>
          </a:lnRef>
          <a:fillRef idx="0">
            <a:schemeClr val="accent1"/>
          </a:fillRef>
          <a:effectRef idx="0">
            <a:schemeClr val="accent1"/>
          </a:effectRef>
          <a:fontRef idx="minor">
            <a:schemeClr val="tx1"/>
          </a:fontRef>
        </p:style>
      </p:cxnSp>
      <p:sp>
        <p:nvSpPr>
          <p:cNvPr id="17" name="Text Placeholder 1"/>
          <p:cNvSpPr>
            <a:spLocks noGrp="1"/>
          </p:cNvSpPr>
          <p:nvPr>
            <p:ph type="body" sz="quarter" idx="13"/>
          </p:nvPr>
        </p:nvSpPr>
        <p:spPr>
          <a:xfrm>
            <a:off x="7141102" y="1411201"/>
            <a:ext cx="535359" cy="433623"/>
          </a:xfrm>
        </p:spPr>
        <p:txBody>
          <a:bodyPr anchor="t"/>
          <a:lstStyle/>
          <a:p>
            <a:pPr marL="0" indent="0" algn="just">
              <a:buNone/>
            </a:pPr>
            <a:r>
              <a:rPr lang="en-GB" sz="3200" b="1" dirty="0">
                <a:solidFill>
                  <a:schemeClr val="accent1">
                    <a:lumMod val="40000"/>
                    <a:lumOff val="60000"/>
                  </a:schemeClr>
                </a:solidFill>
              </a:rPr>
              <a:t>3</a:t>
            </a:r>
          </a:p>
        </p:txBody>
      </p:sp>
      <p:cxnSp>
        <p:nvCxnSpPr>
          <p:cNvPr id="18" name="Gerader Verbinder 17"/>
          <p:cNvCxnSpPr/>
          <p:nvPr/>
        </p:nvCxnSpPr>
        <p:spPr>
          <a:xfrm>
            <a:off x="7141101" y="1923064"/>
            <a:ext cx="1260000" cy="0"/>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1"/>
          <p:cNvSpPr>
            <a:spLocks noGrp="1"/>
          </p:cNvSpPr>
          <p:nvPr>
            <p:ph type="body" sz="quarter" idx="13"/>
          </p:nvPr>
        </p:nvSpPr>
        <p:spPr>
          <a:xfrm>
            <a:off x="457201" y="3565209"/>
            <a:ext cx="535359" cy="433623"/>
          </a:xfrm>
        </p:spPr>
        <p:txBody>
          <a:bodyPr anchor="t"/>
          <a:lstStyle/>
          <a:p>
            <a:pPr marL="0" indent="0" algn="just">
              <a:buNone/>
            </a:pPr>
            <a:r>
              <a:rPr lang="en-GB" sz="3200" b="1" dirty="0">
                <a:solidFill>
                  <a:schemeClr val="accent2"/>
                </a:solidFill>
              </a:rPr>
              <a:t>4</a:t>
            </a:r>
          </a:p>
        </p:txBody>
      </p:sp>
      <p:cxnSp>
        <p:nvCxnSpPr>
          <p:cNvPr id="31" name="Gerader Verbinder 30"/>
          <p:cNvCxnSpPr/>
          <p:nvPr/>
        </p:nvCxnSpPr>
        <p:spPr>
          <a:xfrm>
            <a:off x="457200" y="4077072"/>
            <a:ext cx="1260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 Placeholder 1"/>
          <p:cNvSpPr>
            <a:spLocks noGrp="1"/>
          </p:cNvSpPr>
          <p:nvPr>
            <p:ph type="body" sz="quarter" idx="13"/>
          </p:nvPr>
        </p:nvSpPr>
        <p:spPr>
          <a:xfrm>
            <a:off x="3799151" y="3565209"/>
            <a:ext cx="535359" cy="433623"/>
          </a:xfrm>
        </p:spPr>
        <p:txBody>
          <a:bodyPr anchor="t"/>
          <a:lstStyle/>
          <a:p>
            <a:pPr marL="0" indent="0" algn="just">
              <a:buNone/>
            </a:pPr>
            <a:r>
              <a:rPr lang="en-GB" sz="3200" b="1" dirty="0">
                <a:solidFill>
                  <a:schemeClr val="accent2">
                    <a:lumMod val="60000"/>
                    <a:lumOff val="40000"/>
                  </a:schemeClr>
                </a:solidFill>
              </a:rPr>
              <a:t>5</a:t>
            </a:r>
          </a:p>
        </p:txBody>
      </p:sp>
      <p:cxnSp>
        <p:nvCxnSpPr>
          <p:cNvPr id="33" name="Gerader Verbinder 32"/>
          <p:cNvCxnSpPr/>
          <p:nvPr/>
        </p:nvCxnSpPr>
        <p:spPr>
          <a:xfrm>
            <a:off x="3799150" y="4077072"/>
            <a:ext cx="1260000"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Text Placeholder 1"/>
          <p:cNvSpPr>
            <a:spLocks noGrp="1"/>
          </p:cNvSpPr>
          <p:nvPr>
            <p:ph type="body" sz="quarter" idx="13"/>
          </p:nvPr>
        </p:nvSpPr>
        <p:spPr>
          <a:xfrm>
            <a:off x="7141101" y="3565209"/>
            <a:ext cx="535359" cy="433623"/>
          </a:xfrm>
        </p:spPr>
        <p:txBody>
          <a:bodyPr anchor="t"/>
          <a:lstStyle/>
          <a:p>
            <a:pPr marL="0" indent="0" algn="just">
              <a:buNone/>
            </a:pPr>
            <a:r>
              <a:rPr lang="en-GB" sz="3200" b="1" dirty="0">
                <a:solidFill>
                  <a:schemeClr val="accent2">
                    <a:lumMod val="40000"/>
                    <a:lumOff val="60000"/>
                  </a:schemeClr>
                </a:solidFill>
              </a:rPr>
              <a:t>6</a:t>
            </a:r>
          </a:p>
        </p:txBody>
      </p:sp>
      <p:cxnSp>
        <p:nvCxnSpPr>
          <p:cNvPr id="35" name="Gerader Verbinder 34"/>
          <p:cNvCxnSpPr/>
          <p:nvPr/>
        </p:nvCxnSpPr>
        <p:spPr>
          <a:xfrm>
            <a:off x="7141100" y="4077072"/>
            <a:ext cx="1260000" cy="0"/>
          </a:xfrm>
          <a:prstGeom prst="line">
            <a:avLst/>
          </a:prstGeom>
          <a:ln w="381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2" name="Text Placeholder 1"/>
          <p:cNvSpPr>
            <a:spLocks noGrp="1"/>
          </p:cNvSpPr>
          <p:nvPr>
            <p:ph type="body" sz="quarter" idx="13"/>
          </p:nvPr>
        </p:nvSpPr>
        <p:spPr>
          <a:xfrm>
            <a:off x="3799151" y="2083476"/>
            <a:ext cx="2340000" cy="789660"/>
          </a:xfrm>
        </p:spPr>
        <p:txBody>
          <a:bodyPr anchor="t"/>
          <a:lstStyle/>
          <a:p>
            <a:pPr algn="just" defTabSz="557011">
              <a:buSzTx/>
            </a:pPr>
            <a:r>
              <a:rPr lang="en-GB" sz="1200" dirty="0">
                <a:solidFill>
                  <a:srgbClr val="000000"/>
                </a:solidFill>
              </a:rPr>
              <a:t>The last two audited annual financial statements of the European group and the local subsidiary</a:t>
            </a:r>
          </a:p>
        </p:txBody>
      </p:sp>
      <p:sp>
        <p:nvSpPr>
          <p:cNvPr id="43" name="Text Placeholder 1"/>
          <p:cNvSpPr>
            <a:spLocks noGrp="1"/>
          </p:cNvSpPr>
          <p:nvPr>
            <p:ph type="body" sz="quarter" idx="13"/>
          </p:nvPr>
        </p:nvSpPr>
        <p:spPr>
          <a:xfrm>
            <a:off x="7141102" y="2083476"/>
            <a:ext cx="2340000" cy="865502"/>
          </a:xfrm>
        </p:spPr>
        <p:txBody>
          <a:bodyPr anchor="t"/>
          <a:lstStyle/>
          <a:p>
            <a:pPr algn="just" defTabSz="557011">
              <a:buSzTx/>
            </a:pPr>
            <a:r>
              <a:rPr lang="en-GB" sz="1200" dirty="0">
                <a:solidFill>
                  <a:srgbClr val="000000"/>
                </a:solidFill>
              </a:rPr>
              <a:t>A qualitative and quantitative business plan that shows sustainable development over the coming years</a:t>
            </a:r>
          </a:p>
        </p:txBody>
      </p:sp>
      <p:sp>
        <p:nvSpPr>
          <p:cNvPr id="44" name="Text Placeholder 1"/>
          <p:cNvSpPr>
            <a:spLocks noGrp="1"/>
          </p:cNvSpPr>
          <p:nvPr>
            <p:ph type="body" sz="quarter" idx="13"/>
          </p:nvPr>
        </p:nvSpPr>
        <p:spPr>
          <a:xfrm>
            <a:off x="457200" y="4269807"/>
            <a:ext cx="2340000" cy="777680"/>
          </a:xfrm>
        </p:spPr>
        <p:txBody>
          <a:bodyPr anchor="t"/>
          <a:lstStyle/>
          <a:p>
            <a:pPr algn="just" defTabSz="557011">
              <a:buSzTx/>
            </a:pPr>
            <a:r>
              <a:rPr lang="en-GB" sz="1200" dirty="0">
                <a:solidFill>
                  <a:srgbClr val="000000"/>
                </a:solidFill>
              </a:rPr>
              <a:t>An organisational chart showing the corporate structures of the company and of the group</a:t>
            </a:r>
          </a:p>
        </p:txBody>
      </p:sp>
      <p:sp>
        <p:nvSpPr>
          <p:cNvPr id="45" name="Text Placeholder 1"/>
          <p:cNvSpPr>
            <a:spLocks noGrp="1"/>
          </p:cNvSpPr>
          <p:nvPr>
            <p:ph type="body" sz="quarter" idx="13"/>
          </p:nvPr>
        </p:nvSpPr>
        <p:spPr>
          <a:xfrm>
            <a:off x="3799151" y="4269807"/>
            <a:ext cx="2340000" cy="847134"/>
          </a:xfrm>
        </p:spPr>
        <p:txBody>
          <a:bodyPr anchor="t"/>
          <a:lstStyle/>
          <a:p>
            <a:pPr algn="just" defTabSz="557011">
              <a:buSzTx/>
            </a:pPr>
            <a:r>
              <a:rPr lang="en-GB" sz="1200" dirty="0">
                <a:solidFill>
                  <a:schemeClr val="tx1"/>
                </a:solidFill>
              </a:rPr>
              <a:t>Evidence of a strong economic link to the EU, e.g. registered office of the group of companies</a:t>
            </a:r>
          </a:p>
        </p:txBody>
      </p:sp>
      <p:sp>
        <p:nvSpPr>
          <p:cNvPr id="46" name="Text Placeholder 1"/>
          <p:cNvSpPr>
            <a:spLocks noGrp="1"/>
          </p:cNvSpPr>
          <p:nvPr>
            <p:ph type="body" sz="quarter" idx="13"/>
          </p:nvPr>
        </p:nvSpPr>
        <p:spPr>
          <a:xfrm>
            <a:off x="7141102" y="4269807"/>
            <a:ext cx="2340000" cy="745386"/>
          </a:xfrm>
        </p:spPr>
        <p:txBody>
          <a:bodyPr anchor="t"/>
          <a:lstStyle/>
          <a:p>
            <a:pPr algn="just" defTabSz="557011">
              <a:buSzTx/>
            </a:pPr>
            <a:r>
              <a:rPr lang="en-GB" sz="1200" dirty="0">
                <a:solidFill>
                  <a:srgbClr val="000000"/>
                </a:solidFill>
              </a:rPr>
              <a:t>A description of the developmental impact of the investment, in particular the planned jobs</a:t>
            </a:r>
          </a:p>
        </p:txBody>
      </p:sp>
      <p:sp>
        <p:nvSpPr>
          <p:cNvPr id="47" name="Freeform 101"/>
          <p:cNvSpPr>
            <a:spLocks noEditPoints="1"/>
          </p:cNvSpPr>
          <p:nvPr/>
        </p:nvSpPr>
        <p:spPr bwMode="auto">
          <a:xfrm>
            <a:off x="4746643" y="3636483"/>
            <a:ext cx="206357" cy="310635"/>
          </a:xfrm>
          <a:custGeom>
            <a:avLst/>
            <a:gdLst>
              <a:gd name="T0" fmla="*/ 565 w 565"/>
              <a:gd name="T1" fmla="*/ 268 h 848"/>
              <a:gd name="T2" fmla="*/ 551 w 565"/>
              <a:gd name="T3" fmla="*/ 199 h 848"/>
              <a:gd name="T4" fmla="*/ 516 w 565"/>
              <a:gd name="T5" fmla="*/ 125 h 848"/>
              <a:gd name="T6" fmla="*/ 461 w 565"/>
              <a:gd name="T7" fmla="*/ 65 h 848"/>
              <a:gd name="T8" fmla="*/ 391 w 565"/>
              <a:gd name="T9" fmla="*/ 22 h 848"/>
              <a:gd name="T10" fmla="*/ 311 w 565"/>
              <a:gd name="T11" fmla="*/ 2 h 848"/>
              <a:gd name="T12" fmla="*/ 282 w 565"/>
              <a:gd name="T13" fmla="*/ 0 h 848"/>
              <a:gd name="T14" fmla="*/ 226 w 565"/>
              <a:gd name="T15" fmla="*/ 6 h 848"/>
              <a:gd name="T16" fmla="*/ 147 w 565"/>
              <a:gd name="T17" fmla="*/ 34 h 848"/>
              <a:gd name="T18" fmla="*/ 83 w 565"/>
              <a:gd name="T19" fmla="*/ 83 h 848"/>
              <a:gd name="T20" fmla="*/ 33 w 565"/>
              <a:gd name="T21" fmla="*/ 148 h 848"/>
              <a:gd name="T22" fmla="*/ 6 w 565"/>
              <a:gd name="T23" fmla="*/ 226 h 848"/>
              <a:gd name="T24" fmla="*/ 0 w 565"/>
              <a:gd name="T25" fmla="*/ 283 h 848"/>
              <a:gd name="T26" fmla="*/ 2 w 565"/>
              <a:gd name="T27" fmla="*/ 321 h 848"/>
              <a:gd name="T28" fmla="*/ 15 w 565"/>
              <a:gd name="T29" fmla="*/ 374 h 848"/>
              <a:gd name="T30" fmla="*/ 38 w 565"/>
              <a:gd name="T31" fmla="*/ 423 h 848"/>
              <a:gd name="T32" fmla="*/ 526 w 565"/>
              <a:gd name="T33" fmla="*/ 423 h 848"/>
              <a:gd name="T34" fmla="*/ 534 w 565"/>
              <a:gd name="T35" fmla="*/ 408 h 848"/>
              <a:gd name="T36" fmla="*/ 555 w 565"/>
              <a:gd name="T37" fmla="*/ 357 h 848"/>
              <a:gd name="T38" fmla="*/ 563 w 565"/>
              <a:gd name="T39" fmla="*/ 302 h 848"/>
              <a:gd name="T40" fmla="*/ 282 w 565"/>
              <a:gd name="T41" fmla="*/ 428 h 848"/>
              <a:gd name="T42" fmla="*/ 253 w 565"/>
              <a:gd name="T43" fmla="*/ 426 h 848"/>
              <a:gd name="T44" fmla="*/ 212 w 565"/>
              <a:gd name="T45" fmla="*/ 411 h 848"/>
              <a:gd name="T46" fmla="*/ 179 w 565"/>
              <a:gd name="T47" fmla="*/ 386 h 848"/>
              <a:gd name="T48" fmla="*/ 154 w 565"/>
              <a:gd name="T49" fmla="*/ 353 h 848"/>
              <a:gd name="T50" fmla="*/ 139 w 565"/>
              <a:gd name="T51" fmla="*/ 312 h 848"/>
              <a:gd name="T52" fmla="*/ 137 w 565"/>
              <a:gd name="T53" fmla="*/ 283 h 848"/>
              <a:gd name="T54" fmla="*/ 143 w 565"/>
              <a:gd name="T55" fmla="*/ 240 h 848"/>
              <a:gd name="T56" fmla="*/ 162 w 565"/>
              <a:gd name="T57" fmla="*/ 201 h 848"/>
              <a:gd name="T58" fmla="*/ 190 w 565"/>
              <a:gd name="T59" fmla="*/ 170 h 848"/>
              <a:gd name="T60" fmla="*/ 226 w 565"/>
              <a:gd name="T61" fmla="*/ 148 h 848"/>
              <a:gd name="T62" fmla="*/ 268 w 565"/>
              <a:gd name="T63" fmla="*/ 137 h 848"/>
              <a:gd name="T64" fmla="*/ 297 w 565"/>
              <a:gd name="T65" fmla="*/ 137 h 848"/>
              <a:gd name="T66" fmla="*/ 339 w 565"/>
              <a:gd name="T67" fmla="*/ 148 h 848"/>
              <a:gd name="T68" fmla="*/ 375 w 565"/>
              <a:gd name="T69" fmla="*/ 170 h 848"/>
              <a:gd name="T70" fmla="*/ 402 w 565"/>
              <a:gd name="T71" fmla="*/ 201 h 848"/>
              <a:gd name="T72" fmla="*/ 422 w 565"/>
              <a:gd name="T73" fmla="*/ 240 h 848"/>
              <a:gd name="T74" fmla="*/ 428 w 565"/>
              <a:gd name="T75" fmla="*/ 283 h 848"/>
              <a:gd name="T76" fmla="*/ 425 w 565"/>
              <a:gd name="T77" fmla="*/ 312 h 848"/>
              <a:gd name="T78" fmla="*/ 411 w 565"/>
              <a:gd name="T79" fmla="*/ 353 h 848"/>
              <a:gd name="T80" fmla="*/ 385 w 565"/>
              <a:gd name="T81" fmla="*/ 386 h 848"/>
              <a:gd name="T82" fmla="*/ 352 w 565"/>
              <a:gd name="T83" fmla="*/ 411 h 848"/>
              <a:gd name="T84" fmla="*/ 311 w 565"/>
              <a:gd name="T85" fmla="*/ 426 h 848"/>
              <a:gd name="T86" fmla="*/ 282 w 565"/>
              <a:gd name="T87" fmla="*/ 42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5" h="848">
                <a:moveTo>
                  <a:pt x="565" y="283"/>
                </a:moveTo>
                <a:lnTo>
                  <a:pt x="565" y="283"/>
                </a:lnTo>
                <a:lnTo>
                  <a:pt x="565" y="268"/>
                </a:lnTo>
                <a:lnTo>
                  <a:pt x="563" y="254"/>
                </a:lnTo>
                <a:lnTo>
                  <a:pt x="559" y="226"/>
                </a:lnTo>
                <a:lnTo>
                  <a:pt x="551" y="199"/>
                </a:lnTo>
                <a:lnTo>
                  <a:pt x="543" y="173"/>
                </a:lnTo>
                <a:lnTo>
                  <a:pt x="531" y="148"/>
                </a:lnTo>
                <a:lnTo>
                  <a:pt x="516" y="125"/>
                </a:lnTo>
                <a:lnTo>
                  <a:pt x="500" y="104"/>
                </a:lnTo>
                <a:lnTo>
                  <a:pt x="482" y="83"/>
                </a:lnTo>
                <a:lnTo>
                  <a:pt x="461" y="65"/>
                </a:lnTo>
                <a:lnTo>
                  <a:pt x="440" y="48"/>
                </a:lnTo>
                <a:lnTo>
                  <a:pt x="417" y="34"/>
                </a:lnTo>
                <a:lnTo>
                  <a:pt x="391" y="22"/>
                </a:lnTo>
                <a:lnTo>
                  <a:pt x="366" y="14"/>
                </a:lnTo>
                <a:lnTo>
                  <a:pt x="339" y="6"/>
                </a:lnTo>
                <a:lnTo>
                  <a:pt x="311" y="2"/>
                </a:lnTo>
                <a:lnTo>
                  <a:pt x="297" y="0"/>
                </a:lnTo>
                <a:lnTo>
                  <a:pt x="282" y="0"/>
                </a:lnTo>
                <a:lnTo>
                  <a:pt x="282" y="0"/>
                </a:lnTo>
                <a:lnTo>
                  <a:pt x="268" y="0"/>
                </a:lnTo>
                <a:lnTo>
                  <a:pt x="253" y="2"/>
                </a:lnTo>
                <a:lnTo>
                  <a:pt x="226" y="6"/>
                </a:lnTo>
                <a:lnTo>
                  <a:pt x="198" y="14"/>
                </a:lnTo>
                <a:lnTo>
                  <a:pt x="173" y="22"/>
                </a:lnTo>
                <a:lnTo>
                  <a:pt x="147" y="34"/>
                </a:lnTo>
                <a:lnTo>
                  <a:pt x="125" y="48"/>
                </a:lnTo>
                <a:lnTo>
                  <a:pt x="103" y="65"/>
                </a:lnTo>
                <a:lnTo>
                  <a:pt x="83" y="83"/>
                </a:lnTo>
                <a:lnTo>
                  <a:pt x="65" y="104"/>
                </a:lnTo>
                <a:lnTo>
                  <a:pt x="48" y="125"/>
                </a:lnTo>
                <a:lnTo>
                  <a:pt x="33" y="148"/>
                </a:lnTo>
                <a:lnTo>
                  <a:pt x="21" y="173"/>
                </a:lnTo>
                <a:lnTo>
                  <a:pt x="13" y="199"/>
                </a:lnTo>
                <a:lnTo>
                  <a:pt x="6" y="226"/>
                </a:lnTo>
                <a:lnTo>
                  <a:pt x="1" y="254"/>
                </a:lnTo>
                <a:lnTo>
                  <a:pt x="0" y="268"/>
                </a:lnTo>
                <a:lnTo>
                  <a:pt x="0" y="283"/>
                </a:lnTo>
                <a:lnTo>
                  <a:pt x="0" y="283"/>
                </a:lnTo>
                <a:lnTo>
                  <a:pt x="1" y="302"/>
                </a:lnTo>
                <a:lnTo>
                  <a:pt x="2" y="321"/>
                </a:lnTo>
                <a:lnTo>
                  <a:pt x="6" y="339"/>
                </a:lnTo>
                <a:lnTo>
                  <a:pt x="9" y="357"/>
                </a:lnTo>
                <a:lnTo>
                  <a:pt x="15" y="374"/>
                </a:lnTo>
                <a:lnTo>
                  <a:pt x="21" y="391"/>
                </a:lnTo>
                <a:lnTo>
                  <a:pt x="30" y="408"/>
                </a:lnTo>
                <a:lnTo>
                  <a:pt x="38" y="423"/>
                </a:lnTo>
                <a:lnTo>
                  <a:pt x="38" y="423"/>
                </a:lnTo>
                <a:lnTo>
                  <a:pt x="282" y="848"/>
                </a:lnTo>
                <a:lnTo>
                  <a:pt x="526" y="423"/>
                </a:lnTo>
                <a:lnTo>
                  <a:pt x="526" y="423"/>
                </a:lnTo>
                <a:lnTo>
                  <a:pt x="526" y="423"/>
                </a:lnTo>
                <a:lnTo>
                  <a:pt x="534" y="408"/>
                </a:lnTo>
                <a:lnTo>
                  <a:pt x="543" y="391"/>
                </a:lnTo>
                <a:lnTo>
                  <a:pt x="549" y="374"/>
                </a:lnTo>
                <a:lnTo>
                  <a:pt x="555" y="357"/>
                </a:lnTo>
                <a:lnTo>
                  <a:pt x="559" y="339"/>
                </a:lnTo>
                <a:lnTo>
                  <a:pt x="562" y="321"/>
                </a:lnTo>
                <a:lnTo>
                  <a:pt x="563" y="302"/>
                </a:lnTo>
                <a:lnTo>
                  <a:pt x="565" y="283"/>
                </a:lnTo>
                <a:lnTo>
                  <a:pt x="565" y="283"/>
                </a:lnTo>
                <a:close/>
                <a:moveTo>
                  <a:pt x="282" y="428"/>
                </a:moveTo>
                <a:lnTo>
                  <a:pt x="282" y="428"/>
                </a:lnTo>
                <a:lnTo>
                  <a:pt x="268" y="428"/>
                </a:lnTo>
                <a:lnTo>
                  <a:pt x="253" y="426"/>
                </a:lnTo>
                <a:lnTo>
                  <a:pt x="239" y="422"/>
                </a:lnTo>
                <a:lnTo>
                  <a:pt x="226" y="417"/>
                </a:lnTo>
                <a:lnTo>
                  <a:pt x="212" y="411"/>
                </a:lnTo>
                <a:lnTo>
                  <a:pt x="200" y="403"/>
                </a:lnTo>
                <a:lnTo>
                  <a:pt x="190" y="396"/>
                </a:lnTo>
                <a:lnTo>
                  <a:pt x="179" y="386"/>
                </a:lnTo>
                <a:lnTo>
                  <a:pt x="169" y="375"/>
                </a:lnTo>
                <a:lnTo>
                  <a:pt x="162" y="365"/>
                </a:lnTo>
                <a:lnTo>
                  <a:pt x="154" y="353"/>
                </a:lnTo>
                <a:lnTo>
                  <a:pt x="147" y="339"/>
                </a:lnTo>
                <a:lnTo>
                  <a:pt x="143" y="326"/>
                </a:lnTo>
                <a:lnTo>
                  <a:pt x="139" y="312"/>
                </a:lnTo>
                <a:lnTo>
                  <a:pt x="137" y="297"/>
                </a:lnTo>
                <a:lnTo>
                  <a:pt x="137" y="283"/>
                </a:lnTo>
                <a:lnTo>
                  <a:pt x="137" y="283"/>
                </a:lnTo>
                <a:lnTo>
                  <a:pt x="137" y="268"/>
                </a:lnTo>
                <a:lnTo>
                  <a:pt x="139" y="254"/>
                </a:lnTo>
                <a:lnTo>
                  <a:pt x="143" y="240"/>
                </a:lnTo>
                <a:lnTo>
                  <a:pt x="147" y="226"/>
                </a:lnTo>
                <a:lnTo>
                  <a:pt x="154" y="213"/>
                </a:lnTo>
                <a:lnTo>
                  <a:pt x="162" y="201"/>
                </a:lnTo>
                <a:lnTo>
                  <a:pt x="169" y="190"/>
                </a:lnTo>
                <a:lnTo>
                  <a:pt x="179" y="179"/>
                </a:lnTo>
                <a:lnTo>
                  <a:pt x="190" y="170"/>
                </a:lnTo>
                <a:lnTo>
                  <a:pt x="200" y="163"/>
                </a:lnTo>
                <a:lnTo>
                  <a:pt x="212" y="154"/>
                </a:lnTo>
                <a:lnTo>
                  <a:pt x="226" y="148"/>
                </a:lnTo>
                <a:lnTo>
                  <a:pt x="239" y="143"/>
                </a:lnTo>
                <a:lnTo>
                  <a:pt x="253" y="140"/>
                </a:lnTo>
                <a:lnTo>
                  <a:pt x="268" y="137"/>
                </a:lnTo>
                <a:lnTo>
                  <a:pt x="282" y="137"/>
                </a:lnTo>
                <a:lnTo>
                  <a:pt x="282" y="137"/>
                </a:lnTo>
                <a:lnTo>
                  <a:pt x="297" y="137"/>
                </a:lnTo>
                <a:lnTo>
                  <a:pt x="311" y="140"/>
                </a:lnTo>
                <a:lnTo>
                  <a:pt x="325" y="143"/>
                </a:lnTo>
                <a:lnTo>
                  <a:pt x="339" y="148"/>
                </a:lnTo>
                <a:lnTo>
                  <a:pt x="352" y="154"/>
                </a:lnTo>
                <a:lnTo>
                  <a:pt x="364" y="163"/>
                </a:lnTo>
                <a:lnTo>
                  <a:pt x="375" y="170"/>
                </a:lnTo>
                <a:lnTo>
                  <a:pt x="385" y="179"/>
                </a:lnTo>
                <a:lnTo>
                  <a:pt x="394" y="190"/>
                </a:lnTo>
                <a:lnTo>
                  <a:pt x="402" y="201"/>
                </a:lnTo>
                <a:lnTo>
                  <a:pt x="411" y="213"/>
                </a:lnTo>
                <a:lnTo>
                  <a:pt x="417" y="226"/>
                </a:lnTo>
                <a:lnTo>
                  <a:pt x="422" y="240"/>
                </a:lnTo>
                <a:lnTo>
                  <a:pt x="425" y="254"/>
                </a:lnTo>
                <a:lnTo>
                  <a:pt x="428" y="268"/>
                </a:lnTo>
                <a:lnTo>
                  <a:pt x="428" y="283"/>
                </a:lnTo>
                <a:lnTo>
                  <a:pt x="428" y="283"/>
                </a:lnTo>
                <a:lnTo>
                  <a:pt x="428" y="297"/>
                </a:lnTo>
                <a:lnTo>
                  <a:pt x="425" y="312"/>
                </a:lnTo>
                <a:lnTo>
                  <a:pt x="422" y="326"/>
                </a:lnTo>
                <a:lnTo>
                  <a:pt x="417" y="339"/>
                </a:lnTo>
                <a:lnTo>
                  <a:pt x="411" y="353"/>
                </a:lnTo>
                <a:lnTo>
                  <a:pt x="402" y="365"/>
                </a:lnTo>
                <a:lnTo>
                  <a:pt x="394" y="375"/>
                </a:lnTo>
                <a:lnTo>
                  <a:pt x="385" y="386"/>
                </a:lnTo>
                <a:lnTo>
                  <a:pt x="375" y="396"/>
                </a:lnTo>
                <a:lnTo>
                  <a:pt x="364" y="403"/>
                </a:lnTo>
                <a:lnTo>
                  <a:pt x="352" y="411"/>
                </a:lnTo>
                <a:lnTo>
                  <a:pt x="339" y="417"/>
                </a:lnTo>
                <a:lnTo>
                  <a:pt x="325" y="422"/>
                </a:lnTo>
                <a:lnTo>
                  <a:pt x="311" y="426"/>
                </a:lnTo>
                <a:lnTo>
                  <a:pt x="297" y="428"/>
                </a:lnTo>
                <a:lnTo>
                  <a:pt x="282" y="428"/>
                </a:lnTo>
                <a:lnTo>
                  <a:pt x="282" y="428"/>
                </a:lnTo>
                <a:close/>
              </a:path>
            </a:pathLst>
          </a:custGeom>
          <a:solidFill>
            <a:schemeClr val="accent2">
              <a:lumMod val="60000"/>
              <a:lumOff val="40000"/>
            </a:schemeClr>
          </a:solidFill>
          <a:ln>
            <a:noFill/>
          </a:ln>
        </p:spPr>
        <p:txBody>
          <a:bodyPr vert="horz" wrap="square" lIns="72208" tIns="36104" rIns="72208" bIns="3610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78" b="0" i="0" u="none" strike="noStrike" kern="0" cap="none" spc="0" normalizeH="0" baseline="0" dirty="0">
              <a:ln>
                <a:noFill/>
              </a:ln>
              <a:solidFill>
                <a:srgbClr val="FFFFFF"/>
              </a:solidFill>
              <a:effectLst/>
              <a:uLnTx/>
              <a:uFillTx/>
            </a:endParaRPr>
          </a:p>
        </p:txBody>
      </p:sp>
      <p:pic>
        <p:nvPicPr>
          <p:cNvPr id="48"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8341" y="1504356"/>
            <a:ext cx="360000" cy="360000"/>
          </a:xfrm>
          <a:prstGeom prst="rect">
            <a:avLst/>
          </a:prstGeom>
        </p:spPr>
      </p:pic>
      <p:grpSp>
        <p:nvGrpSpPr>
          <p:cNvPr id="49" name="Group 2"/>
          <p:cNvGrpSpPr/>
          <p:nvPr/>
        </p:nvGrpSpPr>
        <p:grpSpPr>
          <a:xfrm>
            <a:off x="8001026" y="1494576"/>
            <a:ext cx="336350" cy="328316"/>
            <a:chOff x="1413556" y="1372334"/>
            <a:chExt cx="405690" cy="396000"/>
          </a:xfrm>
          <a:solidFill>
            <a:schemeClr val="accent1">
              <a:lumMod val="40000"/>
              <a:lumOff val="60000"/>
            </a:schemeClr>
          </a:solidFill>
        </p:grpSpPr>
        <p:grpSp>
          <p:nvGrpSpPr>
            <p:cNvPr id="50" name="Gruppierung 52"/>
            <p:cNvGrpSpPr/>
            <p:nvPr/>
          </p:nvGrpSpPr>
          <p:grpSpPr>
            <a:xfrm>
              <a:off x="1413556" y="1372334"/>
              <a:ext cx="405690" cy="396000"/>
              <a:chOff x="5589864" y="3935416"/>
              <a:chExt cx="334367" cy="356832"/>
            </a:xfrm>
            <a:grpFill/>
          </p:grpSpPr>
          <p:sp>
            <p:nvSpPr>
              <p:cNvPr id="52" name="Rechteck 54"/>
              <p:cNvSpPr/>
              <p:nvPr/>
            </p:nvSpPr>
            <p:spPr>
              <a:xfrm>
                <a:off x="5589864" y="4086031"/>
                <a:ext cx="97888" cy="20621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prstTxWarp prst="textNoShape">
                  <a:avLst/>
                </a:prstTxWarp>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eaLnBrk="0" hangingPunct="0">
                  <a:lnSpc>
                    <a:spcPct val="150000"/>
                  </a:lnSpc>
                  <a:spcBef>
                    <a:spcPts val="600"/>
                  </a:spcBef>
                  <a:buSzPct val="90000"/>
                </a:pPr>
                <a:endParaRPr lang="en-GB" sz="900" kern="1200" dirty="0">
                  <a:solidFill>
                    <a:schemeClr val="bg1"/>
                  </a:solidFill>
                  <a:ea typeface="ＭＳ Ｐゴシック" pitchFamily="-107" charset="-128"/>
                  <a:cs typeface="ＭＳ Ｐゴシック" pitchFamily="-107" charset="-128"/>
                </a:endParaRPr>
              </a:p>
            </p:txBody>
          </p:sp>
          <p:sp>
            <p:nvSpPr>
              <p:cNvPr id="53" name="Rechteck 55"/>
              <p:cNvSpPr/>
              <p:nvPr/>
            </p:nvSpPr>
            <p:spPr>
              <a:xfrm>
                <a:off x="5707518" y="4025158"/>
                <a:ext cx="97888" cy="26709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prstTxWarp prst="textNoShape">
                  <a:avLst/>
                </a:prstTxWarp>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eaLnBrk="0" hangingPunct="0">
                  <a:lnSpc>
                    <a:spcPct val="150000"/>
                  </a:lnSpc>
                  <a:spcBef>
                    <a:spcPts val="600"/>
                  </a:spcBef>
                  <a:buSzPct val="90000"/>
                </a:pPr>
                <a:endParaRPr lang="en-GB" sz="900" kern="1200" dirty="0">
                  <a:solidFill>
                    <a:schemeClr val="bg1"/>
                  </a:solidFill>
                  <a:ea typeface="ＭＳ Ｐゴシック" pitchFamily="-107" charset="-128"/>
                  <a:cs typeface="ＭＳ Ｐゴシック" pitchFamily="-107" charset="-128"/>
                </a:endParaRPr>
              </a:p>
            </p:txBody>
          </p:sp>
          <p:sp>
            <p:nvSpPr>
              <p:cNvPr id="54" name="Rechteck 56"/>
              <p:cNvSpPr/>
              <p:nvPr/>
            </p:nvSpPr>
            <p:spPr>
              <a:xfrm>
                <a:off x="5826343" y="3935416"/>
                <a:ext cx="97888" cy="356832"/>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prstTxWarp prst="textNoShape">
                  <a:avLst/>
                </a:prstTxWarp>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eaLnBrk="0" hangingPunct="0">
                  <a:lnSpc>
                    <a:spcPct val="150000"/>
                  </a:lnSpc>
                  <a:spcBef>
                    <a:spcPts val="600"/>
                  </a:spcBef>
                  <a:buSzPct val="90000"/>
                </a:pPr>
                <a:endParaRPr lang="en-GB" sz="900" kern="1200" dirty="0">
                  <a:solidFill>
                    <a:schemeClr val="bg1"/>
                  </a:solidFill>
                  <a:ea typeface="ＭＳ Ｐゴシック" pitchFamily="-107" charset="-128"/>
                  <a:cs typeface="ＭＳ Ｐゴシック" pitchFamily="-107" charset="-128"/>
                </a:endParaRPr>
              </a:p>
            </p:txBody>
          </p:sp>
        </p:grpSp>
        <p:cxnSp>
          <p:nvCxnSpPr>
            <p:cNvPr id="51" name="Gerade Verbindung mit Pfeil 53"/>
            <p:cNvCxnSpPr/>
            <p:nvPr/>
          </p:nvCxnSpPr>
          <p:spPr>
            <a:xfrm flipV="1">
              <a:off x="1446223" y="1510269"/>
              <a:ext cx="346306" cy="197999"/>
            </a:xfrm>
            <a:prstGeom prst="straightConnector1">
              <a:avLst/>
            </a:prstGeom>
            <a:grpFill/>
            <a:ln w="4762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56" name="Picture 1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20340" y="1469107"/>
            <a:ext cx="360000" cy="360000"/>
          </a:xfrm>
          <a:prstGeom prst="rect">
            <a:avLst/>
          </a:prstGeom>
        </p:spPr>
      </p:pic>
      <p:grpSp>
        <p:nvGrpSpPr>
          <p:cNvPr id="79" name="Group 221">
            <a:extLst>
              <a:ext uri="{FF2B5EF4-FFF2-40B4-BE49-F238E27FC236}">
                <a16:creationId xmlns:a16="http://schemas.microsoft.com/office/drawing/2014/main" id="{3A4BB07C-342F-AC47-A201-42B8DDCEEACF}"/>
              </a:ext>
            </a:extLst>
          </p:cNvPr>
          <p:cNvGrpSpPr>
            <a:grpSpLocks noChangeAspect="1"/>
          </p:cNvGrpSpPr>
          <p:nvPr/>
        </p:nvGrpSpPr>
        <p:grpSpPr bwMode="auto">
          <a:xfrm>
            <a:off x="1254299" y="3636483"/>
            <a:ext cx="376570" cy="333831"/>
            <a:chOff x="2306" y="2999"/>
            <a:chExt cx="326" cy="289"/>
          </a:xfrm>
          <a:solidFill>
            <a:schemeClr val="accent2"/>
          </a:solidFill>
        </p:grpSpPr>
        <p:sp>
          <p:nvSpPr>
            <p:cNvPr id="80" name="Freeform 222">
              <a:extLst>
                <a:ext uri="{FF2B5EF4-FFF2-40B4-BE49-F238E27FC236}">
                  <a16:creationId xmlns:a16="http://schemas.microsoft.com/office/drawing/2014/main" id="{150C4735-9D10-6F49-BC83-160527AA7EB8}"/>
                </a:ext>
              </a:extLst>
            </p:cNvPr>
            <p:cNvSpPr>
              <a:spLocks noEditPoints="1"/>
            </p:cNvSpPr>
            <p:nvPr/>
          </p:nvSpPr>
          <p:spPr bwMode="auto">
            <a:xfrm>
              <a:off x="2306" y="3051"/>
              <a:ext cx="244" cy="237"/>
            </a:xfrm>
            <a:custGeom>
              <a:avLst/>
              <a:gdLst>
                <a:gd name="T0" fmla="*/ 56 w 204"/>
                <a:gd name="T1" fmla="*/ 98 h 198"/>
                <a:gd name="T2" fmla="*/ 148 w 204"/>
                <a:gd name="T3" fmla="*/ 99 h 198"/>
                <a:gd name="T4" fmla="*/ 201 w 204"/>
                <a:gd name="T5" fmla="*/ 73 h 198"/>
                <a:gd name="T6" fmla="*/ 180 w 204"/>
                <a:gd name="T7" fmla="*/ 70 h 198"/>
                <a:gd name="T8" fmla="*/ 167 w 204"/>
                <a:gd name="T9" fmla="*/ 54 h 198"/>
                <a:gd name="T10" fmla="*/ 175 w 204"/>
                <a:gd name="T11" fmla="*/ 37 h 198"/>
                <a:gd name="T12" fmla="*/ 160 w 204"/>
                <a:gd name="T13" fmla="*/ 17 h 198"/>
                <a:gd name="T14" fmla="*/ 142 w 204"/>
                <a:gd name="T15" fmla="*/ 27 h 198"/>
                <a:gd name="T16" fmla="*/ 121 w 204"/>
                <a:gd name="T17" fmla="*/ 24 h 198"/>
                <a:gd name="T18" fmla="*/ 116 w 204"/>
                <a:gd name="T19" fmla="*/ 5 h 198"/>
                <a:gd name="T20" fmla="*/ 111 w 204"/>
                <a:gd name="T21" fmla="*/ 0 h 198"/>
                <a:gd name="T22" fmla="*/ 86 w 204"/>
                <a:gd name="T23" fmla="*/ 6 h 198"/>
                <a:gd name="T24" fmla="*/ 81 w 204"/>
                <a:gd name="T25" fmla="*/ 24 h 198"/>
                <a:gd name="T26" fmla="*/ 60 w 204"/>
                <a:gd name="T27" fmla="*/ 28 h 198"/>
                <a:gd name="T28" fmla="*/ 42 w 204"/>
                <a:gd name="T29" fmla="*/ 18 h 198"/>
                <a:gd name="T30" fmla="*/ 28 w 204"/>
                <a:gd name="T31" fmla="*/ 38 h 198"/>
                <a:gd name="T32" fmla="*/ 36 w 204"/>
                <a:gd name="T33" fmla="*/ 55 h 198"/>
                <a:gd name="T34" fmla="*/ 23 w 204"/>
                <a:gd name="T35" fmla="*/ 71 h 198"/>
                <a:gd name="T36" fmla="*/ 3 w 204"/>
                <a:gd name="T37" fmla="*/ 75 h 198"/>
                <a:gd name="T38" fmla="*/ 5 w 204"/>
                <a:gd name="T39" fmla="*/ 99 h 198"/>
                <a:gd name="T40" fmla="*/ 22 w 204"/>
                <a:gd name="T41" fmla="*/ 108 h 198"/>
                <a:gd name="T42" fmla="*/ 22 w 204"/>
                <a:gd name="T43" fmla="*/ 127 h 198"/>
                <a:gd name="T44" fmla="*/ 9 w 204"/>
                <a:gd name="T45" fmla="*/ 143 h 198"/>
                <a:gd name="T46" fmla="*/ 26 w 204"/>
                <a:gd name="T47" fmla="*/ 160 h 198"/>
                <a:gd name="T48" fmla="*/ 45 w 204"/>
                <a:gd name="T49" fmla="*/ 155 h 198"/>
                <a:gd name="T50" fmla="*/ 58 w 204"/>
                <a:gd name="T51" fmla="*/ 172 h 198"/>
                <a:gd name="T52" fmla="*/ 59 w 204"/>
                <a:gd name="T53" fmla="*/ 191 h 198"/>
                <a:gd name="T54" fmla="*/ 76 w 204"/>
                <a:gd name="T55" fmla="*/ 197 h 198"/>
                <a:gd name="T56" fmla="*/ 89 w 204"/>
                <a:gd name="T57" fmla="*/ 182 h 198"/>
                <a:gd name="T58" fmla="*/ 109 w 204"/>
                <a:gd name="T59" fmla="*/ 178 h 198"/>
                <a:gd name="T60" fmla="*/ 116 w 204"/>
                <a:gd name="T61" fmla="*/ 183 h 198"/>
                <a:gd name="T62" fmla="*/ 125 w 204"/>
                <a:gd name="T63" fmla="*/ 197 h 198"/>
                <a:gd name="T64" fmla="*/ 145 w 204"/>
                <a:gd name="T65" fmla="*/ 191 h 198"/>
                <a:gd name="T66" fmla="*/ 146 w 204"/>
                <a:gd name="T67" fmla="*/ 170 h 198"/>
                <a:gd name="T68" fmla="*/ 158 w 204"/>
                <a:gd name="T69" fmla="*/ 155 h 198"/>
                <a:gd name="T70" fmla="*/ 178 w 204"/>
                <a:gd name="T71" fmla="*/ 160 h 198"/>
                <a:gd name="T72" fmla="*/ 192 w 204"/>
                <a:gd name="T73" fmla="*/ 146 h 198"/>
                <a:gd name="T74" fmla="*/ 192 w 204"/>
                <a:gd name="T75" fmla="*/ 133 h 198"/>
                <a:gd name="T76" fmla="*/ 179 w 204"/>
                <a:gd name="T77" fmla="*/ 120 h 198"/>
                <a:gd name="T78" fmla="*/ 187 w 204"/>
                <a:gd name="T79" fmla="*/ 101 h 198"/>
                <a:gd name="T80" fmla="*/ 204 w 204"/>
                <a:gd name="T81" fmla="*/ 92 h 198"/>
                <a:gd name="T82" fmla="*/ 204 w 204"/>
                <a:gd name="T83" fmla="*/ 99 h 198"/>
                <a:gd name="T84" fmla="*/ 201 w 204"/>
                <a:gd name="T85" fmla="*/ 7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198">
                  <a:moveTo>
                    <a:pt x="102" y="144"/>
                  </a:moveTo>
                  <a:cubicBezTo>
                    <a:pt x="77" y="144"/>
                    <a:pt x="56" y="124"/>
                    <a:pt x="56" y="98"/>
                  </a:cubicBezTo>
                  <a:cubicBezTo>
                    <a:pt x="56" y="74"/>
                    <a:pt x="77" y="53"/>
                    <a:pt x="102" y="54"/>
                  </a:cubicBezTo>
                  <a:cubicBezTo>
                    <a:pt x="128" y="54"/>
                    <a:pt x="148" y="75"/>
                    <a:pt x="148" y="99"/>
                  </a:cubicBezTo>
                  <a:cubicBezTo>
                    <a:pt x="147" y="123"/>
                    <a:pt x="127" y="144"/>
                    <a:pt x="102" y="144"/>
                  </a:cubicBezTo>
                  <a:moveTo>
                    <a:pt x="201" y="73"/>
                  </a:moveTo>
                  <a:cubicBezTo>
                    <a:pt x="200" y="70"/>
                    <a:pt x="197" y="68"/>
                    <a:pt x="194" y="68"/>
                  </a:cubicBezTo>
                  <a:cubicBezTo>
                    <a:pt x="189" y="69"/>
                    <a:pt x="185" y="69"/>
                    <a:pt x="180" y="70"/>
                  </a:cubicBezTo>
                  <a:cubicBezTo>
                    <a:pt x="178" y="70"/>
                    <a:pt x="176" y="69"/>
                    <a:pt x="174" y="67"/>
                  </a:cubicBezTo>
                  <a:cubicBezTo>
                    <a:pt x="172" y="63"/>
                    <a:pt x="169" y="59"/>
                    <a:pt x="167" y="54"/>
                  </a:cubicBezTo>
                  <a:cubicBezTo>
                    <a:pt x="165" y="52"/>
                    <a:pt x="165" y="50"/>
                    <a:pt x="167" y="48"/>
                  </a:cubicBezTo>
                  <a:cubicBezTo>
                    <a:pt x="170" y="44"/>
                    <a:pt x="172" y="41"/>
                    <a:pt x="175" y="37"/>
                  </a:cubicBezTo>
                  <a:cubicBezTo>
                    <a:pt x="177" y="34"/>
                    <a:pt x="177" y="31"/>
                    <a:pt x="174" y="29"/>
                  </a:cubicBezTo>
                  <a:cubicBezTo>
                    <a:pt x="169" y="25"/>
                    <a:pt x="164" y="21"/>
                    <a:pt x="160" y="17"/>
                  </a:cubicBezTo>
                  <a:cubicBezTo>
                    <a:pt x="158" y="15"/>
                    <a:pt x="154" y="16"/>
                    <a:pt x="152" y="18"/>
                  </a:cubicBezTo>
                  <a:cubicBezTo>
                    <a:pt x="149" y="21"/>
                    <a:pt x="145" y="24"/>
                    <a:pt x="142" y="27"/>
                  </a:cubicBezTo>
                  <a:cubicBezTo>
                    <a:pt x="140" y="29"/>
                    <a:pt x="138" y="30"/>
                    <a:pt x="136" y="29"/>
                  </a:cubicBezTo>
                  <a:cubicBezTo>
                    <a:pt x="131" y="27"/>
                    <a:pt x="126" y="26"/>
                    <a:pt x="121" y="24"/>
                  </a:cubicBezTo>
                  <a:cubicBezTo>
                    <a:pt x="119" y="23"/>
                    <a:pt x="118" y="21"/>
                    <a:pt x="117" y="19"/>
                  </a:cubicBezTo>
                  <a:cubicBezTo>
                    <a:pt x="117" y="14"/>
                    <a:pt x="117" y="10"/>
                    <a:pt x="116" y="5"/>
                  </a:cubicBezTo>
                  <a:cubicBezTo>
                    <a:pt x="116" y="2"/>
                    <a:pt x="114" y="1"/>
                    <a:pt x="112" y="0"/>
                  </a:cubicBezTo>
                  <a:cubicBezTo>
                    <a:pt x="112" y="0"/>
                    <a:pt x="111" y="0"/>
                    <a:pt x="111" y="0"/>
                  </a:cubicBezTo>
                  <a:cubicBezTo>
                    <a:pt x="105" y="0"/>
                    <a:pt x="98" y="0"/>
                    <a:pt x="91" y="0"/>
                  </a:cubicBezTo>
                  <a:cubicBezTo>
                    <a:pt x="88" y="1"/>
                    <a:pt x="86" y="3"/>
                    <a:pt x="86" y="6"/>
                  </a:cubicBezTo>
                  <a:cubicBezTo>
                    <a:pt x="86" y="10"/>
                    <a:pt x="85" y="14"/>
                    <a:pt x="85" y="18"/>
                  </a:cubicBezTo>
                  <a:cubicBezTo>
                    <a:pt x="85" y="21"/>
                    <a:pt x="84" y="23"/>
                    <a:pt x="81" y="24"/>
                  </a:cubicBezTo>
                  <a:cubicBezTo>
                    <a:pt x="76" y="26"/>
                    <a:pt x="72" y="28"/>
                    <a:pt x="67" y="29"/>
                  </a:cubicBezTo>
                  <a:cubicBezTo>
                    <a:pt x="65" y="30"/>
                    <a:pt x="62" y="30"/>
                    <a:pt x="60" y="28"/>
                  </a:cubicBezTo>
                  <a:cubicBezTo>
                    <a:pt x="57" y="25"/>
                    <a:pt x="54" y="22"/>
                    <a:pt x="51" y="18"/>
                  </a:cubicBezTo>
                  <a:cubicBezTo>
                    <a:pt x="48" y="16"/>
                    <a:pt x="45" y="16"/>
                    <a:pt x="42" y="18"/>
                  </a:cubicBezTo>
                  <a:cubicBezTo>
                    <a:pt x="38" y="22"/>
                    <a:pt x="34" y="26"/>
                    <a:pt x="29" y="29"/>
                  </a:cubicBezTo>
                  <a:cubicBezTo>
                    <a:pt x="26" y="31"/>
                    <a:pt x="26" y="35"/>
                    <a:pt x="28" y="38"/>
                  </a:cubicBezTo>
                  <a:cubicBezTo>
                    <a:pt x="31" y="41"/>
                    <a:pt x="33" y="45"/>
                    <a:pt x="36" y="49"/>
                  </a:cubicBezTo>
                  <a:cubicBezTo>
                    <a:pt x="37" y="51"/>
                    <a:pt x="38" y="53"/>
                    <a:pt x="36" y="55"/>
                  </a:cubicBezTo>
                  <a:cubicBezTo>
                    <a:pt x="34" y="59"/>
                    <a:pt x="31" y="63"/>
                    <a:pt x="29" y="68"/>
                  </a:cubicBezTo>
                  <a:cubicBezTo>
                    <a:pt x="27" y="70"/>
                    <a:pt x="25" y="71"/>
                    <a:pt x="23" y="71"/>
                  </a:cubicBezTo>
                  <a:cubicBezTo>
                    <a:pt x="18" y="70"/>
                    <a:pt x="13" y="70"/>
                    <a:pt x="9" y="70"/>
                  </a:cubicBezTo>
                  <a:cubicBezTo>
                    <a:pt x="6" y="69"/>
                    <a:pt x="3" y="72"/>
                    <a:pt x="3" y="75"/>
                  </a:cubicBezTo>
                  <a:cubicBezTo>
                    <a:pt x="2" y="80"/>
                    <a:pt x="0" y="86"/>
                    <a:pt x="0" y="91"/>
                  </a:cubicBezTo>
                  <a:cubicBezTo>
                    <a:pt x="0" y="96"/>
                    <a:pt x="1" y="98"/>
                    <a:pt x="5" y="99"/>
                  </a:cubicBezTo>
                  <a:cubicBezTo>
                    <a:pt x="9" y="100"/>
                    <a:pt x="13" y="101"/>
                    <a:pt x="17" y="102"/>
                  </a:cubicBezTo>
                  <a:cubicBezTo>
                    <a:pt x="20" y="103"/>
                    <a:pt x="22" y="104"/>
                    <a:pt x="22" y="108"/>
                  </a:cubicBezTo>
                  <a:cubicBezTo>
                    <a:pt x="23" y="112"/>
                    <a:pt x="24" y="116"/>
                    <a:pt x="25" y="121"/>
                  </a:cubicBezTo>
                  <a:cubicBezTo>
                    <a:pt x="25" y="124"/>
                    <a:pt x="24" y="126"/>
                    <a:pt x="22" y="127"/>
                  </a:cubicBezTo>
                  <a:cubicBezTo>
                    <a:pt x="18" y="130"/>
                    <a:pt x="15" y="132"/>
                    <a:pt x="11" y="135"/>
                  </a:cubicBezTo>
                  <a:cubicBezTo>
                    <a:pt x="8" y="137"/>
                    <a:pt x="7" y="140"/>
                    <a:pt x="9" y="143"/>
                  </a:cubicBezTo>
                  <a:cubicBezTo>
                    <a:pt x="12" y="148"/>
                    <a:pt x="15" y="153"/>
                    <a:pt x="18" y="158"/>
                  </a:cubicBezTo>
                  <a:cubicBezTo>
                    <a:pt x="20" y="161"/>
                    <a:pt x="23" y="162"/>
                    <a:pt x="26" y="160"/>
                  </a:cubicBezTo>
                  <a:cubicBezTo>
                    <a:pt x="30" y="158"/>
                    <a:pt x="34" y="157"/>
                    <a:pt x="38" y="155"/>
                  </a:cubicBezTo>
                  <a:cubicBezTo>
                    <a:pt x="41" y="154"/>
                    <a:pt x="43" y="154"/>
                    <a:pt x="45" y="155"/>
                  </a:cubicBezTo>
                  <a:cubicBezTo>
                    <a:pt x="49" y="158"/>
                    <a:pt x="53" y="162"/>
                    <a:pt x="56" y="165"/>
                  </a:cubicBezTo>
                  <a:cubicBezTo>
                    <a:pt x="59" y="166"/>
                    <a:pt x="59" y="169"/>
                    <a:pt x="58" y="172"/>
                  </a:cubicBezTo>
                  <a:cubicBezTo>
                    <a:pt x="57" y="176"/>
                    <a:pt x="56" y="180"/>
                    <a:pt x="55" y="184"/>
                  </a:cubicBezTo>
                  <a:cubicBezTo>
                    <a:pt x="54" y="187"/>
                    <a:pt x="56" y="190"/>
                    <a:pt x="59" y="191"/>
                  </a:cubicBezTo>
                  <a:cubicBezTo>
                    <a:pt x="61" y="192"/>
                    <a:pt x="63" y="193"/>
                    <a:pt x="64" y="193"/>
                  </a:cubicBezTo>
                  <a:cubicBezTo>
                    <a:pt x="68" y="195"/>
                    <a:pt x="72" y="196"/>
                    <a:pt x="76" y="197"/>
                  </a:cubicBezTo>
                  <a:cubicBezTo>
                    <a:pt x="80" y="198"/>
                    <a:pt x="82" y="196"/>
                    <a:pt x="84" y="193"/>
                  </a:cubicBezTo>
                  <a:cubicBezTo>
                    <a:pt x="86" y="189"/>
                    <a:pt x="87" y="185"/>
                    <a:pt x="89" y="182"/>
                  </a:cubicBezTo>
                  <a:cubicBezTo>
                    <a:pt x="90" y="179"/>
                    <a:pt x="92" y="178"/>
                    <a:pt x="95" y="178"/>
                  </a:cubicBezTo>
                  <a:cubicBezTo>
                    <a:pt x="100" y="179"/>
                    <a:pt x="104" y="179"/>
                    <a:pt x="109" y="178"/>
                  </a:cubicBezTo>
                  <a:cubicBezTo>
                    <a:pt x="111" y="178"/>
                    <a:pt x="114" y="179"/>
                    <a:pt x="115" y="181"/>
                  </a:cubicBezTo>
                  <a:cubicBezTo>
                    <a:pt x="115" y="182"/>
                    <a:pt x="116" y="182"/>
                    <a:pt x="116" y="183"/>
                  </a:cubicBezTo>
                  <a:cubicBezTo>
                    <a:pt x="118" y="187"/>
                    <a:pt x="119" y="190"/>
                    <a:pt x="121" y="194"/>
                  </a:cubicBezTo>
                  <a:cubicBezTo>
                    <a:pt x="122" y="196"/>
                    <a:pt x="123" y="197"/>
                    <a:pt x="125" y="197"/>
                  </a:cubicBezTo>
                  <a:cubicBezTo>
                    <a:pt x="127" y="197"/>
                    <a:pt x="129" y="197"/>
                    <a:pt x="130" y="196"/>
                  </a:cubicBezTo>
                  <a:cubicBezTo>
                    <a:pt x="135" y="195"/>
                    <a:pt x="140" y="193"/>
                    <a:pt x="145" y="191"/>
                  </a:cubicBezTo>
                  <a:cubicBezTo>
                    <a:pt x="149" y="190"/>
                    <a:pt x="150" y="187"/>
                    <a:pt x="149" y="183"/>
                  </a:cubicBezTo>
                  <a:cubicBezTo>
                    <a:pt x="148" y="179"/>
                    <a:pt x="147" y="174"/>
                    <a:pt x="146" y="170"/>
                  </a:cubicBezTo>
                  <a:cubicBezTo>
                    <a:pt x="145" y="168"/>
                    <a:pt x="146" y="166"/>
                    <a:pt x="148" y="164"/>
                  </a:cubicBezTo>
                  <a:cubicBezTo>
                    <a:pt x="151" y="161"/>
                    <a:pt x="155" y="158"/>
                    <a:pt x="158" y="155"/>
                  </a:cubicBezTo>
                  <a:cubicBezTo>
                    <a:pt x="161" y="153"/>
                    <a:pt x="163" y="153"/>
                    <a:pt x="166" y="154"/>
                  </a:cubicBezTo>
                  <a:cubicBezTo>
                    <a:pt x="170" y="156"/>
                    <a:pt x="174" y="158"/>
                    <a:pt x="178" y="160"/>
                  </a:cubicBezTo>
                  <a:cubicBezTo>
                    <a:pt x="181" y="161"/>
                    <a:pt x="184" y="160"/>
                    <a:pt x="186" y="157"/>
                  </a:cubicBezTo>
                  <a:cubicBezTo>
                    <a:pt x="188" y="154"/>
                    <a:pt x="190" y="150"/>
                    <a:pt x="192" y="146"/>
                  </a:cubicBezTo>
                  <a:cubicBezTo>
                    <a:pt x="193" y="145"/>
                    <a:pt x="194" y="144"/>
                    <a:pt x="194" y="143"/>
                  </a:cubicBezTo>
                  <a:cubicBezTo>
                    <a:pt x="197" y="139"/>
                    <a:pt x="196" y="136"/>
                    <a:pt x="192" y="133"/>
                  </a:cubicBezTo>
                  <a:cubicBezTo>
                    <a:pt x="189" y="131"/>
                    <a:pt x="185" y="129"/>
                    <a:pt x="182" y="126"/>
                  </a:cubicBezTo>
                  <a:cubicBezTo>
                    <a:pt x="179" y="125"/>
                    <a:pt x="178" y="123"/>
                    <a:pt x="179" y="120"/>
                  </a:cubicBezTo>
                  <a:cubicBezTo>
                    <a:pt x="180" y="116"/>
                    <a:pt x="181" y="111"/>
                    <a:pt x="181" y="107"/>
                  </a:cubicBezTo>
                  <a:cubicBezTo>
                    <a:pt x="182" y="104"/>
                    <a:pt x="183" y="102"/>
                    <a:pt x="187" y="101"/>
                  </a:cubicBezTo>
                  <a:cubicBezTo>
                    <a:pt x="191" y="100"/>
                    <a:pt x="195" y="99"/>
                    <a:pt x="199" y="98"/>
                  </a:cubicBezTo>
                  <a:cubicBezTo>
                    <a:pt x="203" y="97"/>
                    <a:pt x="204" y="95"/>
                    <a:pt x="204" y="92"/>
                  </a:cubicBezTo>
                  <a:cubicBezTo>
                    <a:pt x="204" y="99"/>
                    <a:pt x="204" y="99"/>
                    <a:pt x="204" y="99"/>
                  </a:cubicBezTo>
                  <a:cubicBezTo>
                    <a:pt x="204" y="99"/>
                    <a:pt x="204" y="99"/>
                    <a:pt x="204" y="99"/>
                  </a:cubicBezTo>
                  <a:cubicBezTo>
                    <a:pt x="204" y="99"/>
                    <a:pt x="204" y="92"/>
                    <a:pt x="203" y="90"/>
                  </a:cubicBezTo>
                  <a:cubicBezTo>
                    <a:pt x="203" y="86"/>
                    <a:pt x="201" y="78"/>
                    <a:pt x="201" y="7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44" tIns="42222" rIns="84444" bIns="42222" numCol="1" anchor="t" anchorCtr="0" compatLnSpc="1">
              <a:prstTxWarp prst="textNoShape">
                <a:avLst/>
              </a:prstTxWarp>
            </a:bodyPr>
            <a:lstStyle/>
            <a:p>
              <a:pPr marL="0" marR="0" lvl="0" indent="0" algn="l" defTabSz="743031" eaLnBrk="1" fontAlgn="auto" latinLnBrk="0" hangingPunct="1">
                <a:lnSpc>
                  <a:spcPct val="100000"/>
                </a:lnSpc>
                <a:spcBef>
                  <a:spcPts val="0"/>
                </a:spcBef>
                <a:spcAft>
                  <a:spcPts val="0"/>
                </a:spcAft>
                <a:buClrTx/>
                <a:buSzTx/>
                <a:buFontTx/>
                <a:buNone/>
                <a:tabLst/>
                <a:defRPr/>
              </a:pPr>
              <a:endParaRPr kumimoji="0" lang="de-DE" sz="1463" b="0" i="0" u="none" strike="noStrike" kern="0" cap="none" spc="0" normalizeH="0" baseline="0" noProof="0">
                <a:ln>
                  <a:noFill/>
                </a:ln>
                <a:solidFill>
                  <a:srgbClr val="000000"/>
                </a:solidFill>
                <a:effectLst/>
                <a:uLnTx/>
                <a:uFillTx/>
                <a:latin typeface="Arial"/>
              </a:endParaRPr>
            </a:p>
          </p:txBody>
        </p:sp>
        <p:sp>
          <p:nvSpPr>
            <p:cNvPr id="81" name="Freeform 223">
              <a:extLst>
                <a:ext uri="{FF2B5EF4-FFF2-40B4-BE49-F238E27FC236}">
                  <a16:creationId xmlns:a16="http://schemas.microsoft.com/office/drawing/2014/main" id="{1BFE04E5-9223-9E46-9923-C5A4AEE12C1C}"/>
                </a:ext>
              </a:extLst>
            </p:cNvPr>
            <p:cNvSpPr>
              <a:spLocks noEditPoints="1"/>
            </p:cNvSpPr>
            <p:nvPr/>
          </p:nvSpPr>
          <p:spPr bwMode="auto">
            <a:xfrm>
              <a:off x="2519" y="2999"/>
              <a:ext cx="113" cy="112"/>
            </a:xfrm>
            <a:custGeom>
              <a:avLst/>
              <a:gdLst>
                <a:gd name="T0" fmla="*/ 26 w 94"/>
                <a:gd name="T1" fmla="*/ 46 h 93"/>
                <a:gd name="T2" fmla="*/ 68 w 94"/>
                <a:gd name="T3" fmla="*/ 47 h 93"/>
                <a:gd name="T4" fmla="*/ 94 w 94"/>
                <a:gd name="T5" fmla="*/ 41 h 93"/>
                <a:gd name="T6" fmla="*/ 90 w 94"/>
                <a:gd name="T7" fmla="*/ 32 h 93"/>
                <a:gd name="T8" fmla="*/ 81 w 94"/>
                <a:gd name="T9" fmla="*/ 32 h 93"/>
                <a:gd name="T10" fmla="*/ 77 w 94"/>
                <a:gd name="T11" fmla="*/ 22 h 93"/>
                <a:gd name="T12" fmla="*/ 80 w 94"/>
                <a:gd name="T13" fmla="*/ 13 h 93"/>
                <a:gd name="T14" fmla="*/ 70 w 94"/>
                <a:gd name="T15" fmla="*/ 8 h 93"/>
                <a:gd name="T16" fmla="*/ 63 w 94"/>
                <a:gd name="T17" fmla="*/ 14 h 93"/>
                <a:gd name="T18" fmla="*/ 54 w 94"/>
                <a:gd name="T19" fmla="*/ 9 h 93"/>
                <a:gd name="T20" fmla="*/ 52 w 94"/>
                <a:gd name="T21" fmla="*/ 0 h 93"/>
                <a:gd name="T22" fmla="*/ 42 w 94"/>
                <a:gd name="T23" fmla="*/ 0 h 93"/>
                <a:gd name="T24" fmla="*/ 39 w 94"/>
                <a:gd name="T25" fmla="*/ 9 h 93"/>
                <a:gd name="T26" fmla="*/ 31 w 94"/>
                <a:gd name="T27" fmla="*/ 14 h 93"/>
                <a:gd name="T28" fmla="*/ 23 w 94"/>
                <a:gd name="T29" fmla="*/ 9 h 93"/>
                <a:gd name="T30" fmla="*/ 13 w 94"/>
                <a:gd name="T31" fmla="*/ 14 h 93"/>
                <a:gd name="T32" fmla="*/ 16 w 94"/>
                <a:gd name="T33" fmla="*/ 23 h 93"/>
                <a:gd name="T34" fmla="*/ 13 w 94"/>
                <a:gd name="T35" fmla="*/ 32 h 93"/>
                <a:gd name="T36" fmla="*/ 4 w 94"/>
                <a:gd name="T37" fmla="*/ 33 h 93"/>
                <a:gd name="T38" fmla="*/ 0 w 94"/>
                <a:gd name="T39" fmla="*/ 43 h 93"/>
                <a:gd name="T40" fmla="*/ 8 w 94"/>
                <a:gd name="T41" fmla="*/ 48 h 93"/>
                <a:gd name="T42" fmla="*/ 11 w 94"/>
                <a:gd name="T43" fmla="*/ 57 h 93"/>
                <a:gd name="T44" fmla="*/ 5 w 94"/>
                <a:gd name="T45" fmla="*/ 64 h 93"/>
                <a:gd name="T46" fmla="*/ 8 w 94"/>
                <a:gd name="T47" fmla="*/ 74 h 93"/>
                <a:gd name="T48" fmla="*/ 18 w 94"/>
                <a:gd name="T49" fmla="*/ 73 h 93"/>
                <a:gd name="T50" fmla="*/ 26 w 94"/>
                <a:gd name="T51" fmla="*/ 78 h 93"/>
                <a:gd name="T52" fmla="*/ 25 w 94"/>
                <a:gd name="T53" fmla="*/ 87 h 93"/>
                <a:gd name="T54" fmla="*/ 30 w 94"/>
                <a:gd name="T55" fmla="*/ 91 h 93"/>
                <a:gd name="T56" fmla="*/ 39 w 94"/>
                <a:gd name="T57" fmla="*/ 91 h 93"/>
                <a:gd name="T58" fmla="*/ 44 w 94"/>
                <a:gd name="T59" fmla="*/ 84 h 93"/>
                <a:gd name="T60" fmla="*/ 53 w 94"/>
                <a:gd name="T61" fmla="*/ 85 h 93"/>
                <a:gd name="T62" fmla="*/ 56 w 94"/>
                <a:gd name="T63" fmla="*/ 92 h 93"/>
                <a:gd name="T64" fmla="*/ 60 w 94"/>
                <a:gd name="T65" fmla="*/ 93 h 93"/>
                <a:gd name="T66" fmla="*/ 69 w 94"/>
                <a:gd name="T67" fmla="*/ 86 h 93"/>
                <a:gd name="T68" fmla="*/ 68 w 94"/>
                <a:gd name="T69" fmla="*/ 77 h 93"/>
                <a:gd name="T70" fmla="*/ 77 w 94"/>
                <a:gd name="T71" fmla="*/ 73 h 93"/>
                <a:gd name="T72" fmla="*/ 86 w 94"/>
                <a:gd name="T73" fmla="*/ 74 h 93"/>
                <a:gd name="T74" fmla="*/ 90 w 94"/>
                <a:gd name="T75" fmla="*/ 67 h 93"/>
                <a:gd name="T76" fmla="*/ 84 w 94"/>
                <a:gd name="T77" fmla="*/ 60 h 93"/>
                <a:gd name="T78" fmla="*/ 84 w 94"/>
                <a:gd name="T79" fmla="*/ 50 h 93"/>
                <a:gd name="T80" fmla="*/ 92 w 94"/>
                <a:gd name="T81" fmla="*/ 46 h 93"/>
                <a:gd name="T82" fmla="*/ 94 w 94"/>
                <a:gd name="T83"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93">
                  <a:moveTo>
                    <a:pt x="47" y="68"/>
                  </a:moveTo>
                  <a:cubicBezTo>
                    <a:pt x="36" y="68"/>
                    <a:pt x="26" y="59"/>
                    <a:pt x="26" y="46"/>
                  </a:cubicBezTo>
                  <a:cubicBezTo>
                    <a:pt x="26" y="35"/>
                    <a:pt x="35" y="25"/>
                    <a:pt x="47" y="25"/>
                  </a:cubicBezTo>
                  <a:cubicBezTo>
                    <a:pt x="59" y="25"/>
                    <a:pt x="68" y="35"/>
                    <a:pt x="68" y="47"/>
                  </a:cubicBezTo>
                  <a:cubicBezTo>
                    <a:pt x="68" y="58"/>
                    <a:pt x="59" y="68"/>
                    <a:pt x="47" y="68"/>
                  </a:cubicBezTo>
                  <a:moveTo>
                    <a:pt x="94" y="41"/>
                  </a:moveTo>
                  <a:cubicBezTo>
                    <a:pt x="94" y="39"/>
                    <a:pt x="93" y="37"/>
                    <a:pt x="93" y="35"/>
                  </a:cubicBezTo>
                  <a:cubicBezTo>
                    <a:pt x="93" y="33"/>
                    <a:pt x="91" y="32"/>
                    <a:pt x="90" y="32"/>
                  </a:cubicBezTo>
                  <a:cubicBezTo>
                    <a:pt x="88" y="33"/>
                    <a:pt x="86" y="33"/>
                    <a:pt x="83" y="33"/>
                  </a:cubicBezTo>
                  <a:cubicBezTo>
                    <a:pt x="82" y="33"/>
                    <a:pt x="81" y="33"/>
                    <a:pt x="81" y="32"/>
                  </a:cubicBezTo>
                  <a:cubicBezTo>
                    <a:pt x="79" y="30"/>
                    <a:pt x="78" y="28"/>
                    <a:pt x="77" y="26"/>
                  </a:cubicBezTo>
                  <a:cubicBezTo>
                    <a:pt x="77" y="24"/>
                    <a:pt x="77" y="23"/>
                    <a:pt x="77" y="22"/>
                  </a:cubicBezTo>
                  <a:cubicBezTo>
                    <a:pt x="78" y="21"/>
                    <a:pt x="80" y="19"/>
                    <a:pt x="81" y="17"/>
                  </a:cubicBezTo>
                  <a:cubicBezTo>
                    <a:pt x="82" y="16"/>
                    <a:pt x="82" y="14"/>
                    <a:pt x="80" y="13"/>
                  </a:cubicBezTo>
                  <a:cubicBezTo>
                    <a:pt x="78" y="12"/>
                    <a:pt x="76" y="10"/>
                    <a:pt x="74" y="8"/>
                  </a:cubicBezTo>
                  <a:cubicBezTo>
                    <a:pt x="73" y="7"/>
                    <a:pt x="71" y="7"/>
                    <a:pt x="70" y="8"/>
                  </a:cubicBezTo>
                  <a:cubicBezTo>
                    <a:pt x="69" y="10"/>
                    <a:pt x="67" y="11"/>
                    <a:pt x="66" y="13"/>
                  </a:cubicBezTo>
                  <a:cubicBezTo>
                    <a:pt x="65" y="14"/>
                    <a:pt x="64" y="14"/>
                    <a:pt x="63" y="14"/>
                  </a:cubicBezTo>
                  <a:cubicBezTo>
                    <a:pt x="61" y="13"/>
                    <a:pt x="58" y="12"/>
                    <a:pt x="56" y="11"/>
                  </a:cubicBezTo>
                  <a:cubicBezTo>
                    <a:pt x="55" y="11"/>
                    <a:pt x="54" y="10"/>
                    <a:pt x="54" y="9"/>
                  </a:cubicBezTo>
                  <a:cubicBezTo>
                    <a:pt x="54" y="6"/>
                    <a:pt x="54" y="4"/>
                    <a:pt x="54" y="2"/>
                  </a:cubicBezTo>
                  <a:cubicBezTo>
                    <a:pt x="54" y="1"/>
                    <a:pt x="53" y="0"/>
                    <a:pt x="52" y="0"/>
                  </a:cubicBezTo>
                  <a:cubicBezTo>
                    <a:pt x="52" y="0"/>
                    <a:pt x="51" y="0"/>
                    <a:pt x="51" y="0"/>
                  </a:cubicBezTo>
                  <a:cubicBezTo>
                    <a:pt x="48" y="0"/>
                    <a:pt x="45" y="0"/>
                    <a:pt x="42" y="0"/>
                  </a:cubicBezTo>
                  <a:cubicBezTo>
                    <a:pt x="41" y="0"/>
                    <a:pt x="40" y="1"/>
                    <a:pt x="40" y="2"/>
                  </a:cubicBezTo>
                  <a:cubicBezTo>
                    <a:pt x="40" y="4"/>
                    <a:pt x="39" y="6"/>
                    <a:pt x="39" y="9"/>
                  </a:cubicBezTo>
                  <a:cubicBezTo>
                    <a:pt x="39" y="10"/>
                    <a:pt x="39" y="11"/>
                    <a:pt x="37" y="11"/>
                  </a:cubicBezTo>
                  <a:cubicBezTo>
                    <a:pt x="35" y="12"/>
                    <a:pt x="33" y="13"/>
                    <a:pt x="31" y="14"/>
                  </a:cubicBezTo>
                  <a:cubicBezTo>
                    <a:pt x="30" y="14"/>
                    <a:pt x="29" y="14"/>
                    <a:pt x="28" y="13"/>
                  </a:cubicBezTo>
                  <a:cubicBezTo>
                    <a:pt x="26" y="11"/>
                    <a:pt x="25" y="10"/>
                    <a:pt x="23" y="9"/>
                  </a:cubicBezTo>
                  <a:cubicBezTo>
                    <a:pt x="22" y="7"/>
                    <a:pt x="21" y="7"/>
                    <a:pt x="19" y="8"/>
                  </a:cubicBezTo>
                  <a:cubicBezTo>
                    <a:pt x="17" y="10"/>
                    <a:pt x="15" y="12"/>
                    <a:pt x="13" y="14"/>
                  </a:cubicBezTo>
                  <a:cubicBezTo>
                    <a:pt x="12" y="15"/>
                    <a:pt x="12" y="16"/>
                    <a:pt x="13" y="18"/>
                  </a:cubicBezTo>
                  <a:cubicBezTo>
                    <a:pt x="14" y="19"/>
                    <a:pt x="15" y="21"/>
                    <a:pt x="16" y="23"/>
                  </a:cubicBezTo>
                  <a:cubicBezTo>
                    <a:pt x="17" y="24"/>
                    <a:pt x="17" y="25"/>
                    <a:pt x="17" y="26"/>
                  </a:cubicBezTo>
                  <a:cubicBezTo>
                    <a:pt x="15" y="28"/>
                    <a:pt x="14" y="30"/>
                    <a:pt x="13" y="32"/>
                  </a:cubicBezTo>
                  <a:cubicBezTo>
                    <a:pt x="13" y="33"/>
                    <a:pt x="12" y="33"/>
                    <a:pt x="10" y="33"/>
                  </a:cubicBezTo>
                  <a:cubicBezTo>
                    <a:pt x="8" y="33"/>
                    <a:pt x="6" y="33"/>
                    <a:pt x="4" y="33"/>
                  </a:cubicBezTo>
                  <a:cubicBezTo>
                    <a:pt x="2" y="33"/>
                    <a:pt x="1" y="34"/>
                    <a:pt x="1" y="35"/>
                  </a:cubicBezTo>
                  <a:cubicBezTo>
                    <a:pt x="1" y="38"/>
                    <a:pt x="0" y="40"/>
                    <a:pt x="0" y="43"/>
                  </a:cubicBezTo>
                  <a:cubicBezTo>
                    <a:pt x="0" y="45"/>
                    <a:pt x="0" y="46"/>
                    <a:pt x="2" y="47"/>
                  </a:cubicBezTo>
                  <a:cubicBezTo>
                    <a:pt x="4" y="47"/>
                    <a:pt x="6" y="48"/>
                    <a:pt x="8" y="48"/>
                  </a:cubicBezTo>
                  <a:cubicBezTo>
                    <a:pt x="9" y="48"/>
                    <a:pt x="10" y="49"/>
                    <a:pt x="10" y="51"/>
                  </a:cubicBezTo>
                  <a:cubicBezTo>
                    <a:pt x="10" y="53"/>
                    <a:pt x="11" y="55"/>
                    <a:pt x="11" y="57"/>
                  </a:cubicBezTo>
                  <a:cubicBezTo>
                    <a:pt x="11" y="58"/>
                    <a:pt x="11" y="59"/>
                    <a:pt x="10" y="60"/>
                  </a:cubicBezTo>
                  <a:cubicBezTo>
                    <a:pt x="8" y="61"/>
                    <a:pt x="7" y="62"/>
                    <a:pt x="5" y="64"/>
                  </a:cubicBezTo>
                  <a:cubicBezTo>
                    <a:pt x="4" y="65"/>
                    <a:pt x="3" y="66"/>
                    <a:pt x="4" y="68"/>
                  </a:cubicBezTo>
                  <a:cubicBezTo>
                    <a:pt x="5" y="70"/>
                    <a:pt x="7" y="72"/>
                    <a:pt x="8" y="74"/>
                  </a:cubicBezTo>
                  <a:cubicBezTo>
                    <a:pt x="9" y="76"/>
                    <a:pt x="10" y="76"/>
                    <a:pt x="12" y="76"/>
                  </a:cubicBezTo>
                  <a:cubicBezTo>
                    <a:pt x="14" y="75"/>
                    <a:pt x="16" y="74"/>
                    <a:pt x="18" y="73"/>
                  </a:cubicBezTo>
                  <a:cubicBezTo>
                    <a:pt x="19" y="73"/>
                    <a:pt x="20" y="73"/>
                    <a:pt x="21" y="73"/>
                  </a:cubicBezTo>
                  <a:cubicBezTo>
                    <a:pt x="22" y="75"/>
                    <a:pt x="24" y="76"/>
                    <a:pt x="26" y="78"/>
                  </a:cubicBezTo>
                  <a:cubicBezTo>
                    <a:pt x="27" y="79"/>
                    <a:pt x="27" y="80"/>
                    <a:pt x="27" y="81"/>
                  </a:cubicBezTo>
                  <a:cubicBezTo>
                    <a:pt x="26" y="83"/>
                    <a:pt x="26" y="85"/>
                    <a:pt x="25" y="87"/>
                  </a:cubicBezTo>
                  <a:cubicBezTo>
                    <a:pt x="25" y="88"/>
                    <a:pt x="26" y="90"/>
                    <a:pt x="27" y="90"/>
                  </a:cubicBezTo>
                  <a:cubicBezTo>
                    <a:pt x="28" y="91"/>
                    <a:pt x="29" y="91"/>
                    <a:pt x="30" y="91"/>
                  </a:cubicBezTo>
                  <a:cubicBezTo>
                    <a:pt x="31" y="92"/>
                    <a:pt x="33" y="93"/>
                    <a:pt x="35" y="93"/>
                  </a:cubicBezTo>
                  <a:cubicBezTo>
                    <a:pt x="37" y="93"/>
                    <a:pt x="38" y="93"/>
                    <a:pt x="39" y="91"/>
                  </a:cubicBezTo>
                  <a:cubicBezTo>
                    <a:pt x="40" y="89"/>
                    <a:pt x="40" y="88"/>
                    <a:pt x="41" y="86"/>
                  </a:cubicBezTo>
                  <a:cubicBezTo>
                    <a:pt x="42" y="85"/>
                    <a:pt x="43" y="84"/>
                    <a:pt x="44" y="84"/>
                  </a:cubicBezTo>
                  <a:cubicBezTo>
                    <a:pt x="46" y="84"/>
                    <a:pt x="48" y="84"/>
                    <a:pt x="50" y="84"/>
                  </a:cubicBezTo>
                  <a:cubicBezTo>
                    <a:pt x="52" y="84"/>
                    <a:pt x="52" y="84"/>
                    <a:pt x="53" y="85"/>
                  </a:cubicBezTo>
                  <a:cubicBezTo>
                    <a:pt x="53" y="86"/>
                    <a:pt x="53" y="86"/>
                    <a:pt x="54" y="86"/>
                  </a:cubicBezTo>
                  <a:cubicBezTo>
                    <a:pt x="54" y="88"/>
                    <a:pt x="55" y="90"/>
                    <a:pt x="56" y="92"/>
                  </a:cubicBezTo>
                  <a:cubicBezTo>
                    <a:pt x="56" y="92"/>
                    <a:pt x="57" y="93"/>
                    <a:pt x="58" y="93"/>
                  </a:cubicBezTo>
                  <a:cubicBezTo>
                    <a:pt x="59" y="93"/>
                    <a:pt x="59" y="93"/>
                    <a:pt x="60" y="93"/>
                  </a:cubicBezTo>
                  <a:cubicBezTo>
                    <a:pt x="63" y="92"/>
                    <a:pt x="65" y="91"/>
                    <a:pt x="67" y="90"/>
                  </a:cubicBezTo>
                  <a:cubicBezTo>
                    <a:pt x="69" y="90"/>
                    <a:pt x="70" y="88"/>
                    <a:pt x="69" y="86"/>
                  </a:cubicBezTo>
                  <a:cubicBezTo>
                    <a:pt x="68" y="84"/>
                    <a:pt x="68" y="82"/>
                    <a:pt x="67" y="80"/>
                  </a:cubicBezTo>
                  <a:cubicBezTo>
                    <a:pt x="67" y="79"/>
                    <a:pt x="67" y="78"/>
                    <a:pt x="68" y="77"/>
                  </a:cubicBezTo>
                  <a:cubicBezTo>
                    <a:pt x="70" y="76"/>
                    <a:pt x="72" y="75"/>
                    <a:pt x="73" y="73"/>
                  </a:cubicBezTo>
                  <a:cubicBezTo>
                    <a:pt x="74" y="72"/>
                    <a:pt x="75" y="72"/>
                    <a:pt x="77" y="73"/>
                  </a:cubicBezTo>
                  <a:cubicBezTo>
                    <a:pt x="79" y="74"/>
                    <a:pt x="81" y="75"/>
                    <a:pt x="82" y="75"/>
                  </a:cubicBezTo>
                  <a:cubicBezTo>
                    <a:pt x="84" y="76"/>
                    <a:pt x="85" y="76"/>
                    <a:pt x="86" y="74"/>
                  </a:cubicBezTo>
                  <a:cubicBezTo>
                    <a:pt x="87" y="73"/>
                    <a:pt x="88" y="71"/>
                    <a:pt x="89" y="69"/>
                  </a:cubicBezTo>
                  <a:cubicBezTo>
                    <a:pt x="89" y="68"/>
                    <a:pt x="90" y="68"/>
                    <a:pt x="90" y="67"/>
                  </a:cubicBezTo>
                  <a:cubicBezTo>
                    <a:pt x="91" y="66"/>
                    <a:pt x="91" y="64"/>
                    <a:pt x="89" y="63"/>
                  </a:cubicBezTo>
                  <a:cubicBezTo>
                    <a:pt x="87" y="62"/>
                    <a:pt x="86" y="61"/>
                    <a:pt x="84" y="60"/>
                  </a:cubicBezTo>
                  <a:cubicBezTo>
                    <a:pt x="83" y="59"/>
                    <a:pt x="83" y="58"/>
                    <a:pt x="83" y="57"/>
                  </a:cubicBezTo>
                  <a:cubicBezTo>
                    <a:pt x="83" y="55"/>
                    <a:pt x="84" y="52"/>
                    <a:pt x="84" y="50"/>
                  </a:cubicBezTo>
                  <a:cubicBezTo>
                    <a:pt x="84" y="49"/>
                    <a:pt x="85" y="48"/>
                    <a:pt x="86" y="48"/>
                  </a:cubicBezTo>
                  <a:cubicBezTo>
                    <a:pt x="88" y="47"/>
                    <a:pt x="90" y="47"/>
                    <a:pt x="92" y="46"/>
                  </a:cubicBezTo>
                  <a:cubicBezTo>
                    <a:pt x="94" y="46"/>
                    <a:pt x="94" y="45"/>
                    <a:pt x="94" y="43"/>
                  </a:cubicBezTo>
                  <a:cubicBezTo>
                    <a:pt x="94" y="44"/>
                    <a:pt x="94" y="44"/>
                    <a:pt x="94" y="44"/>
                  </a:cubicBezTo>
                  <a:cubicBezTo>
                    <a:pt x="94" y="44"/>
                    <a:pt x="94" y="42"/>
                    <a:pt x="94"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44" tIns="42222" rIns="84444" bIns="42222" numCol="1" anchor="t" anchorCtr="0" compatLnSpc="1">
              <a:prstTxWarp prst="textNoShape">
                <a:avLst/>
              </a:prstTxWarp>
            </a:bodyPr>
            <a:lstStyle/>
            <a:p>
              <a:pPr marL="0" marR="0" lvl="0" indent="0" algn="l" defTabSz="743031" eaLnBrk="1" fontAlgn="auto" latinLnBrk="0" hangingPunct="1">
                <a:lnSpc>
                  <a:spcPct val="100000"/>
                </a:lnSpc>
                <a:spcBef>
                  <a:spcPts val="0"/>
                </a:spcBef>
                <a:spcAft>
                  <a:spcPts val="0"/>
                </a:spcAft>
                <a:buClrTx/>
                <a:buSzTx/>
                <a:buFontTx/>
                <a:buNone/>
                <a:tabLst/>
                <a:defRPr/>
              </a:pPr>
              <a:endParaRPr kumimoji="0" lang="de-DE" sz="1463" b="0" i="0" u="none" strike="noStrike" kern="0" cap="none" spc="0" normalizeH="0" baseline="0" noProof="0">
                <a:ln>
                  <a:noFill/>
                </a:ln>
                <a:solidFill>
                  <a:srgbClr val="000000"/>
                </a:solidFill>
                <a:effectLst/>
                <a:uLnTx/>
                <a:uFillTx/>
                <a:latin typeface="Arial"/>
              </a:endParaRPr>
            </a:p>
          </p:txBody>
        </p:sp>
      </p:grpSp>
      <p:grpSp>
        <p:nvGrpSpPr>
          <p:cNvPr id="82" name="Gruppieren 131"/>
          <p:cNvGrpSpPr>
            <a:grpSpLocks noChangeAspect="1"/>
          </p:cNvGrpSpPr>
          <p:nvPr/>
        </p:nvGrpSpPr>
        <p:grpSpPr>
          <a:xfrm>
            <a:off x="8003606" y="3640503"/>
            <a:ext cx="342264" cy="436569"/>
            <a:chOff x="3105148" y="4692108"/>
            <a:chExt cx="1338703" cy="1707561"/>
          </a:xfrm>
          <a:solidFill>
            <a:schemeClr val="accent2">
              <a:lumMod val="40000"/>
              <a:lumOff val="60000"/>
            </a:schemeClr>
          </a:solidFill>
        </p:grpSpPr>
        <p:grpSp>
          <p:nvGrpSpPr>
            <p:cNvPr id="83" name="Gruppieren 85"/>
            <p:cNvGrpSpPr>
              <a:grpSpLocks noChangeAspect="1"/>
            </p:cNvGrpSpPr>
            <p:nvPr/>
          </p:nvGrpSpPr>
          <p:grpSpPr>
            <a:xfrm>
              <a:off x="3365500" y="5181600"/>
              <a:ext cx="828000" cy="1218069"/>
              <a:chOff x="3341179" y="4893464"/>
              <a:chExt cx="869242" cy="1278736"/>
            </a:xfrm>
            <a:grpFill/>
          </p:grpSpPr>
          <p:sp>
            <p:nvSpPr>
              <p:cNvPr id="102" name="Ellipse 152"/>
              <p:cNvSpPr/>
              <p:nvPr/>
            </p:nvSpPr>
            <p:spPr bwMode="ltGray">
              <a:xfrm>
                <a:off x="3571053" y="4893464"/>
                <a:ext cx="409494" cy="409494"/>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3" name="Torte 153"/>
              <p:cNvSpPr/>
              <p:nvPr/>
            </p:nvSpPr>
            <p:spPr bwMode="ltGray">
              <a:xfrm>
                <a:off x="3341179" y="5302958"/>
                <a:ext cx="869242" cy="869242"/>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84" name="Gruppieren 152"/>
            <p:cNvGrpSpPr/>
            <p:nvPr/>
          </p:nvGrpSpPr>
          <p:grpSpPr>
            <a:xfrm>
              <a:off x="3832860" y="4692108"/>
              <a:ext cx="332740" cy="489492"/>
              <a:chOff x="5130800" y="2122170"/>
              <a:chExt cx="812800" cy="1195705"/>
            </a:xfrm>
            <a:grpFill/>
          </p:grpSpPr>
          <p:sp>
            <p:nvSpPr>
              <p:cNvPr id="100" name="Ellipse 150"/>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1" name="Torte 151"/>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85" name="Gruppieren 155"/>
            <p:cNvGrpSpPr/>
            <p:nvPr/>
          </p:nvGrpSpPr>
          <p:grpSpPr>
            <a:xfrm>
              <a:off x="4111111" y="4996908"/>
              <a:ext cx="332740" cy="489492"/>
              <a:chOff x="5130800" y="2122170"/>
              <a:chExt cx="812800" cy="1195705"/>
            </a:xfrm>
            <a:grpFill/>
          </p:grpSpPr>
          <p:sp>
            <p:nvSpPr>
              <p:cNvPr id="98" name="Ellipse 148"/>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99" name="Torte 149"/>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86" name="Gruppieren 152"/>
            <p:cNvGrpSpPr/>
            <p:nvPr/>
          </p:nvGrpSpPr>
          <p:grpSpPr>
            <a:xfrm>
              <a:off x="3105148" y="4996908"/>
              <a:ext cx="332740" cy="489492"/>
              <a:chOff x="5130800" y="2122170"/>
              <a:chExt cx="812800" cy="1195705"/>
            </a:xfrm>
            <a:grpFill/>
          </p:grpSpPr>
          <p:sp>
            <p:nvSpPr>
              <p:cNvPr id="96" name="Ellipse 146"/>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97" name="Torte 147"/>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87" name="Gruppieren 155"/>
            <p:cNvGrpSpPr/>
            <p:nvPr/>
          </p:nvGrpSpPr>
          <p:grpSpPr>
            <a:xfrm>
              <a:off x="3401060" y="4692108"/>
              <a:ext cx="332740" cy="489492"/>
              <a:chOff x="5130800" y="2122170"/>
              <a:chExt cx="812800" cy="1195705"/>
            </a:xfrm>
            <a:grpFill/>
          </p:grpSpPr>
          <p:sp>
            <p:nvSpPr>
              <p:cNvPr id="94" name="Ellipse 144"/>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95" name="Torte 145"/>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88" name="Gruppieren 155"/>
            <p:cNvGrpSpPr/>
            <p:nvPr/>
          </p:nvGrpSpPr>
          <p:grpSpPr>
            <a:xfrm>
              <a:off x="4082536" y="5377908"/>
              <a:ext cx="332740" cy="489492"/>
              <a:chOff x="5130800" y="2122170"/>
              <a:chExt cx="812800" cy="1195705"/>
            </a:xfrm>
            <a:grpFill/>
          </p:grpSpPr>
          <p:sp>
            <p:nvSpPr>
              <p:cNvPr id="92" name="Ellipse 142"/>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93" name="Torte 143"/>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89" name="Gruppieren 152"/>
            <p:cNvGrpSpPr/>
            <p:nvPr/>
          </p:nvGrpSpPr>
          <p:grpSpPr>
            <a:xfrm>
              <a:off x="3140075" y="5377908"/>
              <a:ext cx="332740" cy="489492"/>
              <a:chOff x="5130800" y="2122170"/>
              <a:chExt cx="812800" cy="1195705"/>
            </a:xfrm>
            <a:grpFill/>
          </p:grpSpPr>
          <p:sp>
            <p:nvSpPr>
              <p:cNvPr id="90" name="Ellipse 140"/>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91" name="Torte 141"/>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sp>
        <p:nvSpPr>
          <p:cNvPr id="2" name="Foliennummernplatzhalter 1"/>
          <p:cNvSpPr>
            <a:spLocks noGrp="1"/>
          </p:cNvSpPr>
          <p:nvPr>
            <p:ph type="sldNum" sz="quarter" idx="12"/>
          </p:nvPr>
        </p:nvSpPr>
        <p:spPr/>
        <p:txBody>
          <a:bodyPr/>
          <a:lstStyle/>
          <a:p>
            <a:fld id="{5678FFC5-4430-43BC-9807-D0C6EB405569}" type="slidenum">
              <a:rPr lang="de-DE" smtClean="0"/>
              <a:t>12</a:t>
            </a:fld>
            <a:endParaRPr lang="de-DE" dirty="0"/>
          </a:p>
        </p:txBody>
      </p:sp>
    </p:spTree>
    <p:extLst>
      <p:ext uri="{BB962C8B-B14F-4D97-AF65-F5344CB8AC3E}">
        <p14:creationId xmlns:p14="http://schemas.microsoft.com/office/powerpoint/2010/main" val="3341449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087200" y="2138400"/>
            <a:ext cx="8474313" cy="1114320"/>
          </a:xfrm>
        </p:spPr>
        <p:txBody>
          <a:bodyPr/>
          <a:lstStyle/>
          <a:p>
            <a:r>
              <a:rPr lang="de-DE" dirty="0"/>
              <a:t>DEG - Deutsche Investitions- und Entwicklungsgesellschaft</a:t>
            </a:r>
          </a:p>
        </p:txBody>
      </p:sp>
      <p:sp>
        <p:nvSpPr>
          <p:cNvPr id="2" name="Slide Number Placeholder 1"/>
          <p:cNvSpPr>
            <a:spLocks noGrp="1"/>
          </p:cNvSpPr>
          <p:nvPr>
            <p:ph type="sldNum" sz="quarter" idx="21"/>
          </p:nvPr>
        </p:nvSpPr>
        <p:spPr/>
        <p:txBody>
          <a:bodyPr/>
          <a:lstStyle/>
          <a:p>
            <a:fld id="{5678FFC5-4430-43BC-9807-D0C6EB405569}" type="slidenum">
              <a:rPr lang="de-DE" smtClean="0"/>
              <a:pPr/>
              <a:t>2</a:t>
            </a:fld>
            <a:endParaRPr lang="de-DE" dirty="0"/>
          </a:p>
        </p:txBody>
      </p:sp>
      <p:sp>
        <p:nvSpPr>
          <p:cNvPr id="6" name="Text Placeholder 7"/>
          <p:cNvSpPr>
            <a:spLocks noGrp="1"/>
          </p:cNvSpPr>
          <p:nvPr>
            <p:ph type="body" sz="quarter" idx="18"/>
          </p:nvPr>
        </p:nvSpPr>
        <p:spPr>
          <a:xfrm>
            <a:off x="1087200" y="3252720"/>
            <a:ext cx="8474313" cy="1256400"/>
          </a:xfrm>
        </p:spPr>
        <p:txBody>
          <a:bodyPr/>
          <a:lstStyle/>
          <a:p>
            <a:r>
              <a:rPr lang="de-DE" dirty="0" err="1"/>
              <a:t>We</a:t>
            </a:r>
            <a:r>
              <a:rPr lang="de-DE" dirty="0"/>
              <a:t> </a:t>
            </a:r>
            <a:r>
              <a:rPr lang="de-DE" dirty="0" err="1"/>
              <a:t>shape</a:t>
            </a:r>
            <a:r>
              <a:rPr lang="de-DE" dirty="0"/>
              <a:t> </a:t>
            </a:r>
            <a:r>
              <a:rPr lang="de-DE" dirty="0" err="1"/>
              <a:t>transformation</a:t>
            </a:r>
            <a:endParaRPr lang="de-DE" dirty="0"/>
          </a:p>
        </p:txBody>
      </p:sp>
    </p:spTree>
    <p:extLst>
      <p:ext uri="{BB962C8B-B14F-4D97-AF65-F5344CB8AC3E}">
        <p14:creationId xmlns:p14="http://schemas.microsoft.com/office/powerpoint/2010/main" val="3973581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4"/>
          <p:cNvSpPr>
            <a:spLocks noChangeArrowheads="1"/>
          </p:cNvSpPr>
          <p:nvPr/>
        </p:nvSpPr>
        <p:spPr bwMode="auto">
          <a:xfrm>
            <a:off x="8093989" y="2565399"/>
            <a:ext cx="1475999" cy="3168651"/>
          </a:xfrm>
          <a:prstGeom prst="rect">
            <a:avLst/>
          </a:prstGeom>
          <a:solidFill>
            <a:srgbClr val="DDECF4"/>
          </a:solidFill>
          <a:ln>
            <a:noFill/>
          </a:ln>
          <a:effectLst/>
        </p:spPr>
        <p:style>
          <a:lnRef idx="0">
            <a:scrgbClr r="0" g="0" b="0"/>
          </a:lnRef>
          <a:fillRef idx="0">
            <a:scrgbClr r="0" g="0" b="0"/>
          </a:fillRef>
          <a:effectRef idx="0">
            <a:scrgbClr r="0" g="0" b="0"/>
          </a:effectRef>
          <a:fontRef idx="major"/>
        </p:style>
        <p:txBody>
          <a:bodyPr lIns="0" tIns="36000" r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a:spcBef>
                <a:spcPct val="50000"/>
              </a:spcBef>
            </a:pPr>
            <a:br>
              <a:rPr lang="en-GB" sz="1200" b="1" kern="1200" dirty="0">
                <a:solidFill>
                  <a:srgbClr val="4B5055"/>
                </a:solidFill>
                <a:latin typeface="+mn-lt"/>
              </a:rPr>
            </a:br>
            <a:endParaRPr lang="en-GB" sz="1200" b="1" kern="1200" dirty="0">
              <a:solidFill>
                <a:srgbClr val="4B5055"/>
              </a:solidFill>
              <a:latin typeface="+mn-lt"/>
            </a:endParaRPr>
          </a:p>
        </p:txBody>
      </p:sp>
      <p:sp>
        <p:nvSpPr>
          <p:cNvPr id="83" name="Rectangle 15"/>
          <p:cNvSpPr>
            <a:spLocks noChangeArrowheads="1"/>
          </p:cNvSpPr>
          <p:nvPr/>
        </p:nvSpPr>
        <p:spPr bwMode="auto">
          <a:xfrm>
            <a:off x="5057485" y="2565399"/>
            <a:ext cx="1476000" cy="3168651"/>
          </a:xfrm>
          <a:prstGeom prst="rect">
            <a:avLst/>
          </a:prstGeom>
          <a:solidFill>
            <a:srgbClr val="DDECF4"/>
          </a:solidFill>
          <a:ln>
            <a:noFill/>
          </a:ln>
          <a:effectLst/>
        </p:spPr>
        <p:style>
          <a:lnRef idx="0">
            <a:scrgbClr r="0" g="0" b="0"/>
          </a:lnRef>
          <a:fillRef idx="0">
            <a:scrgbClr r="0" g="0" b="0"/>
          </a:fillRef>
          <a:effectRef idx="0">
            <a:scrgbClr r="0" g="0" b="0"/>
          </a:effectRef>
          <a:fontRef idx="major"/>
        </p:style>
        <p:txBody>
          <a:bodyPr lIns="0" tIns="36000" r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pPr>
            <a:r>
              <a:rPr lang="en-GB" sz="1200" b="1" kern="1200" dirty="0">
                <a:solidFill>
                  <a:schemeClr val="tx1"/>
                </a:solidFill>
                <a:latin typeface="+mn-lt"/>
              </a:rPr>
              <a:t>We ensure</a:t>
            </a:r>
            <a:br>
              <a:rPr lang="en-GB" sz="1200" b="1" dirty="0">
                <a:latin typeface="+mn-lt"/>
              </a:rPr>
            </a:br>
            <a:r>
              <a:rPr lang="en-GB" sz="1200" b="1" kern="1200" dirty="0">
                <a:solidFill>
                  <a:schemeClr val="tx1"/>
                </a:solidFill>
                <a:latin typeface="+mn-lt"/>
              </a:rPr>
              <a:t>internationalisation</a:t>
            </a:r>
          </a:p>
          <a:p>
            <a:pPr algn="ctr" eaLnBrk="0" hangingPunct="0"/>
            <a:endParaRPr lang="en-GB" sz="1200" b="1" kern="1200" dirty="0">
              <a:solidFill>
                <a:schemeClr val="tx1"/>
              </a:solidFill>
              <a:latin typeface="+mn-lt"/>
            </a:endParaRPr>
          </a:p>
        </p:txBody>
      </p:sp>
      <p:sp>
        <p:nvSpPr>
          <p:cNvPr id="7" name="Text Placeholder 6"/>
          <p:cNvSpPr>
            <a:spLocks noGrp="1"/>
          </p:cNvSpPr>
          <p:nvPr>
            <p:ph type="body" sz="quarter" idx="14"/>
          </p:nvPr>
        </p:nvSpPr>
        <p:spPr/>
        <p:txBody>
          <a:bodyPr/>
          <a:lstStyle/>
          <a:p>
            <a:r>
              <a:rPr lang="en-GB" dirty="0"/>
              <a:t>DEG, a subsidiary of </a:t>
            </a:r>
            <a:r>
              <a:rPr lang="en-GB" dirty="0" err="1"/>
              <a:t>KfW</a:t>
            </a:r>
            <a:endParaRPr lang="en-GB" dirty="0"/>
          </a:p>
          <a:p>
            <a:endParaRPr lang="en-GB" dirty="0"/>
          </a:p>
        </p:txBody>
      </p:sp>
      <p:sp>
        <p:nvSpPr>
          <p:cNvPr id="4" name="Titel 3"/>
          <p:cNvSpPr>
            <a:spLocks noGrp="1"/>
          </p:cNvSpPr>
          <p:nvPr>
            <p:ph type="title"/>
          </p:nvPr>
        </p:nvSpPr>
        <p:spPr/>
        <p:txBody>
          <a:bodyPr/>
          <a:lstStyle/>
          <a:p>
            <a:r>
              <a:rPr lang="en-GB" dirty="0">
                <a:ea typeface="ＭＳ Ｐゴシック" pitchFamily="34" charset="-128"/>
              </a:rPr>
              <a:t>Part of a strong banking group</a:t>
            </a:r>
            <a:endParaRPr lang="en-GB" dirty="0"/>
          </a:p>
        </p:txBody>
      </p:sp>
      <p:sp>
        <p:nvSpPr>
          <p:cNvPr id="64" name="Rectangle 14"/>
          <p:cNvSpPr>
            <a:spLocks noChangeArrowheads="1"/>
          </p:cNvSpPr>
          <p:nvPr/>
        </p:nvSpPr>
        <p:spPr bwMode="gray">
          <a:xfrm>
            <a:off x="344488" y="1412875"/>
            <a:ext cx="9215148" cy="636589"/>
          </a:xfrm>
          <a:prstGeom prst="rect">
            <a:avLst/>
          </a:prstGeom>
          <a:solidFill>
            <a:srgbClr val="DDECF4"/>
          </a:solidFill>
          <a:ln>
            <a:noFill/>
          </a:ln>
          <a:effectLst/>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GB" sz="1300" b="1" kern="1200" dirty="0">
              <a:solidFill>
                <a:srgbClr val="FFFFFF"/>
              </a:solidFill>
              <a:latin typeface="+mn-lt"/>
            </a:endParaRPr>
          </a:p>
        </p:txBody>
      </p:sp>
      <p:sp>
        <p:nvSpPr>
          <p:cNvPr id="65" name="Rectangle 4"/>
          <p:cNvSpPr>
            <a:spLocks noChangeArrowheads="1"/>
          </p:cNvSpPr>
          <p:nvPr/>
        </p:nvSpPr>
        <p:spPr bwMode="auto">
          <a:xfrm>
            <a:off x="6575738" y="2565400"/>
            <a:ext cx="1475999" cy="3168650"/>
          </a:xfrm>
          <a:prstGeom prst="rect">
            <a:avLst/>
          </a:prstGeom>
          <a:solidFill>
            <a:srgbClr val="DDECF4"/>
          </a:solidFill>
          <a:ln>
            <a:noFill/>
          </a:ln>
          <a:effectLst/>
        </p:spPr>
        <p:style>
          <a:lnRef idx="0">
            <a:scrgbClr r="0" g="0" b="0"/>
          </a:lnRef>
          <a:fillRef idx="0">
            <a:scrgbClr r="0" g="0" b="0"/>
          </a:fillRef>
          <a:effectRef idx="0">
            <a:scrgbClr r="0" g="0" b="0"/>
          </a:effectRef>
          <a:fontRef idx="major"/>
        </p:style>
        <p:txBody>
          <a:bodyPr lIns="0" tIns="36000" r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a:spcBef>
                <a:spcPct val="50000"/>
              </a:spcBef>
            </a:pPr>
            <a:br>
              <a:rPr lang="en-GB" sz="1200" b="1" kern="1200" dirty="0">
                <a:solidFill>
                  <a:srgbClr val="4B5055"/>
                </a:solidFill>
                <a:latin typeface="+mn-lt"/>
              </a:rPr>
            </a:br>
            <a:endParaRPr lang="en-GB" sz="1200" b="1" kern="1200" dirty="0">
              <a:solidFill>
                <a:srgbClr val="4B5055"/>
              </a:solidFill>
              <a:latin typeface="+mn-lt"/>
            </a:endParaRPr>
          </a:p>
        </p:txBody>
      </p:sp>
      <p:sp>
        <p:nvSpPr>
          <p:cNvPr id="66" name="Rectangle 5"/>
          <p:cNvSpPr>
            <a:spLocks noChangeArrowheads="1"/>
          </p:cNvSpPr>
          <p:nvPr/>
        </p:nvSpPr>
        <p:spPr bwMode="auto">
          <a:xfrm>
            <a:off x="6610113" y="3082202"/>
            <a:ext cx="1396800" cy="1786958"/>
          </a:xfrm>
          <a:prstGeom prst="rect">
            <a:avLst/>
          </a:prstGeom>
          <a:solidFill>
            <a:schemeClr val="bg1"/>
          </a:solidFill>
          <a:ln>
            <a:noFill/>
          </a:ln>
          <a:effectLst/>
        </p:spPr>
        <p:style>
          <a:lnRef idx="0">
            <a:scrgbClr r="0" g="0" b="0"/>
          </a:lnRef>
          <a:fillRef idx="0">
            <a:scrgbClr r="0" g="0" b="0"/>
          </a:fillRef>
          <a:effectRef idx="0">
            <a:scrgbClr r="0" g="0" b="0"/>
          </a:effectRef>
          <a:fontRef idx="major"/>
        </p:style>
        <p:txBody>
          <a:bodyPr lIns="0" tIns="108000" rIns="0" anchor="t" anchorCtr="1"/>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0" hangingPunct="0"/>
            <a:r>
              <a:rPr lang="en-GB" sz="1100" b="1" kern="1200" dirty="0" err="1"/>
              <a:t>KfW</a:t>
            </a:r>
            <a:r>
              <a:rPr lang="en-GB" sz="1100" b="1" kern="1200" dirty="0"/>
              <a:t> Development Bank</a:t>
            </a:r>
          </a:p>
          <a:p>
            <a:pPr algn="ctr" eaLnBrk="0" hangingPunct="0"/>
            <a:endParaRPr lang="en-GB" sz="1100" kern="1200" dirty="0">
              <a:solidFill>
                <a:schemeClr val="tx1"/>
              </a:solidFill>
              <a:latin typeface="+mn-lt"/>
            </a:endParaRPr>
          </a:p>
          <a:p>
            <a:pPr algn="ctr" eaLnBrk="0" hangingPunct="0"/>
            <a:endParaRPr lang="en-GB" sz="1100" kern="1200" dirty="0">
              <a:solidFill>
                <a:schemeClr val="tx1"/>
              </a:solidFill>
              <a:latin typeface="+mn-lt"/>
            </a:endParaRPr>
          </a:p>
          <a:p>
            <a:pPr algn="ctr" eaLnBrk="0" hangingPunct="0"/>
            <a:r>
              <a:rPr lang="en-GB" sz="1100" kern="1200" dirty="0">
                <a:solidFill>
                  <a:schemeClr val="tx1"/>
                </a:solidFill>
                <a:latin typeface="+mn-lt"/>
              </a:rPr>
              <a:t>Developing and</a:t>
            </a:r>
          </a:p>
          <a:p>
            <a:pPr algn="ctr" eaLnBrk="0" hangingPunct="0"/>
            <a:r>
              <a:rPr lang="en-GB" sz="1100" kern="1200" dirty="0">
                <a:solidFill>
                  <a:schemeClr val="tx1"/>
                </a:solidFill>
                <a:latin typeface="+mn-lt"/>
              </a:rPr>
              <a:t> Emerging markets:</a:t>
            </a:r>
          </a:p>
          <a:p>
            <a:pPr algn="ctr" eaLnBrk="0" hangingPunct="0"/>
            <a:r>
              <a:rPr lang="en-GB" sz="1100" kern="1200" dirty="0">
                <a:solidFill>
                  <a:schemeClr val="tx1"/>
                </a:solidFill>
                <a:latin typeface="+mn-lt"/>
              </a:rPr>
              <a:t>Financial cooperation</a:t>
            </a:r>
          </a:p>
        </p:txBody>
      </p:sp>
      <p:sp>
        <p:nvSpPr>
          <p:cNvPr id="67" name="Rectangle 8"/>
          <p:cNvSpPr>
            <a:spLocks noChangeArrowheads="1"/>
          </p:cNvSpPr>
          <p:nvPr/>
        </p:nvSpPr>
        <p:spPr bwMode="gray">
          <a:xfrm>
            <a:off x="5057485" y="2147899"/>
            <a:ext cx="4512503" cy="320675"/>
          </a:xfrm>
          <a:prstGeom prst="rect">
            <a:avLst/>
          </a:prstGeom>
          <a:solidFill>
            <a:schemeClr val="accent1"/>
          </a:solidFill>
          <a:ln>
            <a:noFill/>
          </a:ln>
          <a:effectLst/>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GB" sz="1400" b="1" kern="1200" dirty="0">
                <a:solidFill>
                  <a:srgbClr val="FFFFFF"/>
                </a:solidFill>
                <a:latin typeface="+mn-lt"/>
              </a:rPr>
              <a:t>International financing</a:t>
            </a:r>
          </a:p>
        </p:txBody>
      </p:sp>
      <p:sp>
        <p:nvSpPr>
          <p:cNvPr id="68" name="Rectangle 9"/>
          <p:cNvSpPr>
            <a:spLocks noChangeArrowheads="1"/>
          </p:cNvSpPr>
          <p:nvPr/>
        </p:nvSpPr>
        <p:spPr bwMode="auto">
          <a:xfrm>
            <a:off x="344480" y="2565400"/>
            <a:ext cx="4502159" cy="3168650"/>
          </a:xfrm>
          <a:prstGeom prst="rect">
            <a:avLst/>
          </a:prstGeom>
          <a:solidFill>
            <a:srgbClr val="DDECF4"/>
          </a:solidFill>
          <a:ln>
            <a:noFill/>
          </a:ln>
          <a:effectLst/>
        </p:spPr>
        <p:style>
          <a:lnRef idx="0">
            <a:scrgbClr r="0" g="0" b="0"/>
          </a:lnRef>
          <a:fillRef idx="0">
            <a:scrgbClr r="0" g="0" b="0"/>
          </a:fillRef>
          <a:effectRef idx="0">
            <a:scrgbClr r="0" g="0" b="0"/>
          </a:effectRef>
          <a:fontRef idx="major"/>
        </p:style>
        <p:txBody>
          <a:bodyPr lIns="0" tIns="144000" r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pPr>
            <a:r>
              <a:rPr lang="en-GB" sz="1200" b="1" kern="1200" dirty="0">
                <a:solidFill>
                  <a:schemeClr val="tx1"/>
                </a:solidFill>
                <a:latin typeface="+mn-lt"/>
              </a:rPr>
              <a:t>We promote Germany</a:t>
            </a:r>
          </a:p>
        </p:txBody>
      </p:sp>
      <p:sp>
        <p:nvSpPr>
          <p:cNvPr id="69" name="Rectangle 10"/>
          <p:cNvSpPr>
            <a:spLocks noChangeArrowheads="1"/>
          </p:cNvSpPr>
          <p:nvPr/>
        </p:nvSpPr>
        <p:spPr bwMode="auto">
          <a:xfrm>
            <a:off x="1876053" y="3082202"/>
            <a:ext cx="1440000" cy="1786958"/>
          </a:xfrm>
          <a:prstGeom prst="rect">
            <a:avLst/>
          </a:prstGeom>
          <a:solidFill>
            <a:schemeClr val="bg1"/>
          </a:solidFill>
          <a:ln>
            <a:noFill/>
          </a:ln>
          <a:effectLst/>
        </p:spPr>
        <p:style>
          <a:lnRef idx="0">
            <a:scrgbClr r="0" g="0" b="0"/>
          </a:lnRef>
          <a:fillRef idx="0">
            <a:scrgbClr r="0" g="0" b="0"/>
          </a:fillRef>
          <a:effectRef idx="0">
            <a:scrgbClr r="0" g="0" b="0"/>
          </a:effectRef>
          <a:fontRef idx="major"/>
        </p:style>
        <p:txBody>
          <a:bodyPr lIns="0" tIns="108000" rIns="0" anchor="t" anchorCtr="1"/>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0" hangingPunct="0"/>
            <a:r>
              <a:rPr lang="en-GB" sz="1100" b="1" kern="1200" dirty="0"/>
              <a:t>Individual-</a:t>
            </a:r>
            <a:br>
              <a:rPr lang="en-GB" sz="1100" b="1" kern="1200" dirty="0"/>
            </a:br>
            <a:r>
              <a:rPr lang="en-GB" sz="1100" b="1" kern="1200" dirty="0"/>
              <a:t>financing &amp; </a:t>
            </a:r>
            <a:br>
              <a:rPr lang="en-GB" sz="1100" b="1" kern="1200" dirty="0"/>
            </a:br>
            <a:r>
              <a:rPr lang="en-GB" sz="1100" b="1" kern="1200" dirty="0"/>
              <a:t>Public clients</a:t>
            </a:r>
          </a:p>
          <a:p>
            <a:pPr algn="ctr" eaLnBrk="0" hangingPunct="0"/>
            <a:endParaRPr lang="en-GB" sz="1100" b="1" kern="1200" dirty="0">
              <a:solidFill>
                <a:schemeClr val="tx1"/>
              </a:solidFill>
              <a:latin typeface="+mn-lt"/>
            </a:endParaRPr>
          </a:p>
          <a:p>
            <a:pPr algn="ctr" eaLnBrk="0" hangingPunct="0"/>
            <a:r>
              <a:rPr lang="en-GB" sz="1100" kern="1200" dirty="0">
                <a:latin typeface="+mn-lt"/>
              </a:rPr>
              <a:t>Individual financing solutions </a:t>
            </a:r>
            <a:br>
              <a:rPr lang="en-GB" sz="1100" kern="1200" dirty="0">
                <a:latin typeface="+mn-lt"/>
              </a:rPr>
            </a:br>
            <a:r>
              <a:rPr lang="en-GB" sz="1100" kern="1200" dirty="0">
                <a:latin typeface="+mn-lt"/>
              </a:rPr>
              <a:t>&amp; Municipal</a:t>
            </a:r>
            <a:br>
              <a:rPr lang="en-GB" sz="1100" kern="1200" dirty="0">
                <a:latin typeface="+mn-lt"/>
              </a:rPr>
            </a:br>
            <a:r>
              <a:rPr lang="en-GB" sz="1100" kern="1200" dirty="0">
                <a:latin typeface="+mn-lt"/>
              </a:rPr>
              <a:t>Financing</a:t>
            </a:r>
          </a:p>
        </p:txBody>
      </p:sp>
      <p:sp>
        <p:nvSpPr>
          <p:cNvPr id="70" name="Rectangle 11"/>
          <p:cNvSpPr>
            <a:spLocks noChangeArrowheads="1"/>
          </p:cNvSpPr>
          <p:nvPr/>
        </p:nvSpPr>
        <p:spPr bwMode="auto">
          <a:xfrm>
            <a:off x="385172" y="3082202"/>
            <a:ext cx="1440000" cy="1786958"/>
          </a:xfrm>
          <a:prstGeom prst="rect">
            <a:avLst/>
          </a:prstGeom>
          <a:solidFill>
            <a:schemeClr val="bg1"/>
          </a:solidFill>
          <a:ln>
            <a:noFill/>
          </a:ln>
          <a:effectLst/>
        </p:spPr>
        <p:style>
          <a:lnRef idx="0">
            <a:scrgbClr r="0" g="0" b="0"/>
          </a:lnRef>
          <a:fillRef idx="0">
            <a:scrgbClr r="0" g="0" b="0"/>
          </a:fillRef>
          <a:effectRef idx="0">
            <a:scrgbClr r="0" g="0" b="0"/>
          </a:effectRef>
          <a:fontRef idx="major"/>
        </p:style>
        <p:txBody>
          <a:bodyPr lIns="0" tIns="108000" rIns="0" anchor="t"/>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0" hangingPunct="0"/>
            <a:r>
              <a:rPr lang="en-GB" sz="1100" b="1" kern="1200" dirty="0" err="1"/>
              <a:t>Mittelstandsbank</a:t>
            </a:r>
            <a:r>
              <a:rPr lang="en-GB" sz="1100" b="1" kern="1200" dirty="0"/>
              <a:t> &amp; Private Clients</a:t>
            </a:r>
          </a:p>
          <a:p>
            <a:pPr algn="ctr" eaLnBrk="0" hangingPunct="0"/>
            <a:endParaRPr lang="en-GB" sz="1100" b="1" kern="1200" dirty="0">
              <a:solidFill>
                <a:schemeClr val="tx1"/>
              </a:solidFill>
              <a:latin typeface="+mn-lt"/>
            </a:endParaRPr>
          </a:p>
          <a:p>
            <a:pPr algn="ctr" eaLnBrk="0" hangingPunct="0"/>
            <a:endParaRPr lang="en-GB" sz="1100" kern="1200" dirty="0"/>
          </a:p>
          <a:p>
            <a:pPr algn="ctr" eaLnBrk="0" hangingPunct="0"/>
            <a:r>
              <a:rPr lang="en-GB" sz="1100" kern="1200" dirty="0"/>
              <a:t>Digital </a:t>
            </a:r>
            <a:br>
              <a:rPr lang="en-GB" sz="1100" kern="1200" dirty="0"/>
            </a:br>
            <a:r>
              <a:rPr lang="en-GB" sz="1100" kern="1200" dirty="0"/>
              <a:t>Retail business</a:t>
            </a:r>
          </a:p>
        </p:txBody>
      </p:sp>
      <p:sp>
        <p:nvSpPr>
          <p:cNvPr id="71" name="Rectangle 12"/>
          <p:cNvSpPr>
            <a:spLocks noChangeArrowheads="1"/>
          </p:cNvSpPr>
          <p:nvPr/>
        </p:nvSpPr>
        <p:spPr bwMode="auto">
          <a:xfrm>
            <a:off x="3366934" y="3082202"/>
            <a:ext cx="1440000" cy="1786958"/>
          </a:xfrm>
          <a:prstGeom prst="rect">
            <a:avLst/>
          </a:prstGeom>
          <a:solidFill>
            <a:schemeClr val="bg1"/>
          </a:solidFill>
          <a:ln>
            <a:noFill/>
          </a:ln>
          <a:effectLst/>
        </p:spPr>
        <p:style>
          <a:lnRef idx="0">
            <a:scrgbClr r="0" g="0" b="0"/>
          </a:lnRef>
          <a:fillRef idx="0">
            <a:scrgbClr r="0" g="0" b="0"/>
          </a:fillRef>
          <a:effectRef idx="0">
            <a:scrgbClr r="0" g="0" b="0"/>
          </a:effectRef>
          <a:fontRef idx="major"/>
        </p:style>
        <p:txBody>
          <a:bodyPr lIns="0" tIns="108000" rIns="0" bIns="10800" anchor="t" anchorCtr="1"/>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0" hangingPunct="0"/>
            <a:r>
              <a:rPr lang="en-GB" sz="1100" b="1" kern="1200" dirty="0"/>
              <a:t>Participation</a:t>
            </a:r>
            <a:br>
              <a:rPr lang="en-GB" sz="1100" b="1" kern="1200" dirty="0"/>
            </a:br>
            <a:r>
              <a:rPr lang="en-GB" sz="1100" b="1" kern="1200" dirty="0"/>
              <a:t>financing</a:t>
            </a:r>
          </a:p>
          <a:p>
            <a:pPr algn="ctr" eaLnBrk="0" hangingPunct="0"/>
            <a:endParaRPr lang="en-GB" sz="1100" b="1" kern="1200" dirty="0">
              <a:solidFill>
                <a:schemeClr val="tx1"/>
              </a:solidFill>
              <a:latin typeface="+mn-lt"/>
            </a:endParaRPr>
          </a:p>
          <a:p>
            <a:pPr algn="ctr" eaLnBrk="0" hangingPunct="0"/>
            <a:endParaRPr lang="en-GB" sz="1100" kern="1200" dirty="0">
              <a:latin typeface="+mn-lt"/>
            </a:endParaRPr>
          </a:p>
          <a:p>
            <a:pPr algn="ctr" eaLnBrk="0" hangingPunct="0"/>
            <a:r>
              <a:rPr lang="en-GB" sz="1100" kern="1200" dirty="0">
                <a:latin typeface="+mn-lt"/>
              </a:rPr>
              <a:t>Venture Capital </a:t>
            </a:r>
            <a:br>
              <a:rPr lang="en-GB" sz="1100" kern="1200" dirty="0">
                <a:latin typeface="+mn-lt"/>
              </a:rPr>
            </a:br>
            <a:r>
              <a:rPr lang="en-GB" sz="1100" kern="1200" dirty="0">
                <a:latin typeface="+mn-lt"/>
              </a:rPr>
              <a:t>Investments</a:t>
            </a:r>
          </a:p>
        </p:txBody>
      </p:sp>
      <p:sp>
        <p:nvSpPr>
          <p:cNvPr id="72" name="Rectangle 14"/>
          <p:cNvSpPr>
            <a:spLocks noChangeArrowheads="1"/>
          </p:cNvSpPr>
          <p:nvPr/>
        </p:nvSpPr>
        <p:spPr bwMode="gray">
          <a:xfrm>
            <a:off x="344481" y="2147899"/>
            <a:ext cx="4502158" cy="320675"/>
          </a:xfrm>
          <a:prstGeom prst="rect">
            <a:avLst/>
          </a:prstGeom>
          <a:solidFill>
            <a:schemeClr val="accent1"/>
          </a:solidFill>
          <a:ln>
            <a:noFill/>
          </a:ln>
          <a:effectLst/>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GB" sz="1400" b="1" kern="1200" dirty="0">
                <a:solidFill>
                  <a:srgbClr val="FFFFFF"/>
                </a:solidFill>
                <a:latin typeface="+mn-lt"/>
              </a:rPr>
              <a:t>Domestic promotion</a:t>
            </a:r>
          </a:p>
        </p:txBody>
      </p:sp>
      <p:sp>
        <p:nvSpPr>
          <p:cNvPr id="74" name="Rectangle 16"/>
          <p:cNvSpPr>
            <a:spLocks noChangeArrowheads="1"/>
          </p:cNvSpPr>
          <p:nvPr/>
        </p:nvSpPr>
        <p:spPr bwMode="auto">
          <a:xfrm>
            <a:off x="5096826" y="3082202"/>
            <a:ext cx="1397319" cy="1786958"/>
          </a:xfrm>
          <a:prstGeom prst="rect">
            <a:avLst/>
          </a:prstGeom>
          <a:solidFill>
            <a:schemeClr val="bg1"/>
          </a:solidFill>
          <a:ln>
            <a:noFill/>
          </a:ln>
          <a:effectLst/>
        </p:spPr>
        <p:style>
          <a:lnRef idx="0">
            <a:scrgbClr r="0" g="0" b="0"/>
          </a:lnRef>
          <a:fillRef idx="0">
            <a:scrgbClr r="0" g="0" b="0"/>
          </a:fillRef>
          <a:effectRef idx="0">
            <a:scrgbClr r="0" g="0" b="0"/>
          </a:effectRef>
          <a:fontRef idx="major"/>
        </p:style>
        <p:txBody>
          <a:bodyPr lIns="0" tIns="108000" rIns="0" anchor="t" anchorCtr="1"/>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pPr>
            <a:r>
              <a:rPr lang="en-GB" sz="1100" b="1" kern="1200" dirty="0" err="1"/>
              <a:t>KfW</a:t>
            </a:r>
            <a:r>
              <a:rPr lang="en-GB" sz="1100" b="1" kern="1200" dirty="0"/>
              <a:t> IPEX Bank</a:t>
            </a:r>
          </a:p>
          <a:p>
            <a:pPr algn="ctr" eaLnBrk="0" hangingPunct="0"/>
            <a:endParaRPr lang="en-GB" sz="1100" kern="1200" dirty="0">
              <a:solidFill>
                <a:schemeClr val="tx1"/>
              </a:solidFill>
              <a:latin typeface="+mn-lt"/>
            </a:endParaRPr>
          </a:p>
          <a:p>
            <a:pPr algn="ctr" eaLnBrk="0" hangingPunct="0"/>
            <a:endParaRPr lang="en-GB" sz="1100" kern="1200" dirty="0">
              <a:solidFill>
                <a:schemeClr val="tx1"/>
              </a:solidFill>
              <a:latin typeface="+mn-lt"/>
            </a:endParaRPr>
          </a:p>
          <a:p>
            <a:pPr algn="ctr" eaLnBrk="0" hangingPunct="0"/>
            <a:endParaRPr lang="en-GB" sz="1100" kern="1200" dirty="0">
              <a:solidFill>
                <a:schemeClr val="tx1"/>
              </a:solidFill>
              <a:latin typeface="+mn-lt"/>
            </a:endParaRPr>
          </a:p>
          <a:p>
            <a:pPr algn="ctr" eaLnBrk="0" hangingPunct="0"/>
            <a:r>
              <a:rPr lang="en-GB" sz="1100" kern="1200" dirty="0">
                <a:solidFill>
                  <a:schemeClr val="tx1"/>
                </a:solidFill>
                <a:latin typeface="+mn-lt"/>
              </a:rPr>
              <a:t>International </a:t>
            </a:r>
          </a:p>
          <a:p>
            <a:pPr algn="ctr" eaLnBrk="0" hangingPunct="0"/>
            <a:r>
              <a:rPr lang="en-GB" sz="1100" kern="1200" dirty="0">
                <a:solidFill>
                  <a:schemeClr val="tx1"/>
                </a:solidFill>
                <a:latin typeface="+mn-lt"/>
              </a:rPr>
              <a:t>Project &amp; </a:t>
            </a:r>
          </a:p>
          <a:p>
            <a:pPr algn="ctr" eaLnBrk="0" hangingPunct="0"/>
            <a:r>
              <a:rPr lang="en-GB" sz="1100" kern="1200" dirty="0">
                <a:solidFill>
                  <a:schemeClr val="tx1"/>
                </a:solidFill>
                <a:latin typeface="+mn-lt"/>
              </a:rPr>
              <a:t>Export financing</a:t>
            </a:r>
          </a:p>
        </p:txBody>
      </p:sp>
      <p:pic>
        <p:nvPicPr>
          <p:cNvPr id="75" name="Picture 20" descr="KfW_IPEX_Logo_rgb_CO_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0266" r="10266"/>
          <a:stretch/>
        </p:blipFill>
        <p:spPr bwMode="auto">
          <a:xfrm>
            <a:off x="5065294" y="4968494"/>
            <a:ext cx="1476000" cy="681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21" descr="KfW_Logo_rgb_CO_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064795" y="4968494"/>
            <a:ext cx="1102995" cy="681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22" descr="KfW_Logo_rgb_CO_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27629" y="4968494"/>
            <a:ext cx="1102995" cy="681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Rectangle 16"/>
          <p:cNvSpPr>
            <a:spLocks noChangeArrowheads="1"/>
          </p:cNvSpPr>
          <p:nvPr/>
        </p:nvSpPr>
        <p:spPr bwMode="auto">
          <a:xfrm>
            <a:off x="8133588" y="3082202"/>
            <a:ext cx="1396800" cy="1786958"/>
          </a:xfrm>
          <a:prstGeom prst="rect">
            <a:avLst/>
          </a:prstGeom>
          <a:solidFill>
            <a:schemeClr val="accent3">
              <a:lumMod val="60000"/>
              <a:lumOff val="40000"/>
            </a:schemeClr>
          </a:solidFill>
          <a:ln>
            <a:solidFill>
              <a:schemeClr val="accent1"/>
            </a:solidFill>
          </a:ln>
          <a:effectLst/>
        </p:spPr>
        <p:style>
          <a:lnRef idx="0">
            <a:scrgbClr r="0" g="0" b="0"/>
          </a:lnRef>
          <a:fillRef idx="0">
            <a:scrgbClr r="0" g="0" b="0"/>
          </a:fillRef>
          <a:effectRef idx="0">
            <a:scrgbClr r="0" g="0" b="0"/>
          </a:effectRef>
          <a:fontRef idx="major"/>
        </p:style>
        <p:txBody>
          <a:bodyPr lIns="0" tIns="108000" rIns="0" anchor="t" anchorCtr="1"/>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0" hangingPunct="0"/>
            <a:r>
              <a:rPr lang="en-GB" sz="1100" b="1" kern="1200" dirty="0"/>
              <a:t>DEG</a:t>
            </a:r>
          </a:p>
          <a:p>
            <a:pPr algn="ctr" eaLnBrk="0" hangingPunct="0"/>
            <a:endParaRPr lang="en-GB" sz="1100" kern="1200" dirty="0">
              <a:solidFill>
                <a:schemeClr val="tx1"/>
              </a:solidFill>
              <a:latin typeface="+mn-lt"/>
            </a:endParaRPr>
          </a:p>
          <a:p>
            <a:pPr algn="ctr" eaLnBrk="0" hangingPunct="0"/>
            <a:endParaRPr lang="en-GB" sz="1100" kern="1200" dirty="0">
              <a:solidFill>
                <a:schemeClr val="tx1"/>
              </a:solidFill>
              <a:latin typeface="+mn-lt"/>
            </a:endParaRPr>
          </a:p>
          <a:p>
            <a:pPr algn="ctr" eaLnBrk="0" hangingPunct="0"/>
            <a:endParaRPr lang="en-GB" sz="1100" kern="1200" dirty="0">
              <a:solidFill>
                <a:schemeClr val="tx1"/>
              </a:solidFill>
              <a:latin typeface="+mn-lt"/>
            </a:endParaRPr>
          </a:p>
          <a:p>
            <a:pPr algn="ctr" eaLnBrk="0" hangingPunct="0"/>
            <a:r>
              <a:rPr lang="en-GB" sz="1100" kern="1200" dirty="0">
                <a:solidFill>
                  <a:schemeClr val="tx1"/>
                </a:solidFill>
                <a:latin typeface="+mn-lt"/>
              </a:rPr>
              <a:t>Developing and</a:t>
            </a:r>
          </a:p>
          <a:p>
            <a:pPr algn="ctr" eaLnBrk="0" hangingPunct="0"/>
            <a:r>
              <a:rPr lang="en-GB" sz="1100" kern="1200" dirty="0">
                <a:solidFill>
                  <a:schemeClr val="tx1"/>
                </a:solidFill>
                <a:latin typeface="+mn-lt"/>
              </a:rPr>
              <a:t> Emerging markets:</a:t>
            </a:r>
          </a:p>
          <a:p>
            <a:pPr algn="ctr" eaLnBrk="0" hangingPunct="0"/>
            <a:r>
              <a:rPr lang="en-GB" sz="1100" kern="1200" dirty="0">
                <a:solidFill>
                  <a:schemeClr val="tx1"/>
                </a:solidFill>
                <a:latin typeface="+mn-lt"/>
              </a:rPr>
              <a:t>Private sector</a:t>
            </a:r>
          </a:p>
          <a:p>
            <a:pPr algn="ctr" eaLnBrk="0" hangingPunct="0"/>
            <a:r>
              <a:rPr lang="en-GB" sz="1100" kern="1200" dirty="0">
                <a:solidFill>
                  <a:schemeClr val="tx1"/>
                </a:solidFill>
                <a:latin typeface="+mn-lt"/>
              </a:rPr>
              <a:t>promotion</a:t>
            </a:r>
          </a:p>
        </p:txBody>
      </p:sp>
      <p:pic>
        <p:nvPicPr>
          <p:cNvPr id="80" name="Picture 23" descr="KfW_DEG_Logo_rgb_CO_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09993" y="4968494"/>
            <a:ext cx="1443990" cy="681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ectangle 4"/>
          <p:cNvSpPr>
            <a:spLocks noChangeArrowheads="1"/>
          </p:cNvSpPr>
          <p:nvPr/>
        </p:nvSpPr>
        <p:spPr bwMode="auto">
          <a:xfrm>
            <a:off x="6710838" y="2564905"/>
            <a:ext cx="2850676" cy="517298"/>
          </a:xfrm>
          <a:prstGeom prst="rect">
            <a:avLst/>
          </a:prstGeom>
          <a:solidFill>
            <a:srgbClr val="DDECF4"/>
          </a:solidFill>
          <a:ln>
            <a:noFill/>
          </a:ln>
          <a:effectLst/>
        </p:spPr>
        <p:style>
          <a:lnRef idx="0">
            <a:scrgbClr r="0" g="0" b="0"/>
          </a:lnRef>
          <a:fillRef idx="0">
            <a:scrgbClr r="0" g="0" b="0"/>
          </a:fillRef>
          <a:effectRef idx="0">
            <a:scrgbClr r="0" g="0" b="0"/>
          </a:effectRef>
          <a:fontRef idx="major"/>
        </p:style>
        <p:txBody>
          <a:bodyPr lIns="0" tIns="144000" r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pPr>
            <a:r>
              <a:rPr lang="en-GB" sz="1200" b="1" kern="1200" dirty="0">
                <a:solidFill>
                  <a:schemeClr val="tx1"/>
                </a:solidFill>
                <a:latin typeface="+mn-lt"/>
              </a:rPr>
              <a:t>We promote development</a:t>
            </a:r>
          </a:p>
        </p:txBody>
      </p:sp>
      <p:pic>
        <p:nvPicPr>
          <p:cNvPr id="82" name="Picture 24" descr="KfW_Logo_rgb_CO_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168087" y="1235867"/>
            <a:ext cx="1652587"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7"/>
          <p:cNvSpPr>
            <a:spLocks noGrp="1"/>
          </p:cNvSpPr>
          <p:nvPr>
            <p:ph type="sldNum" sz="quarter" idx="17"/>
          </p:nvPr>
        </p:nvSpPr>
        <p:spPr/>
        <p:txBody>
          <a:bodyPr/>
          <a:lstStyle/>
          <a:p>
            <a:fld id="{5678FFC5-4430-43BC-9807-D0C6EB405569}" type="slidenum">
              <a:rPr lang="en-GB" smtClean="0"/>
              <a:pPr/>
              <a:t>3</a:t>
            </a:fld>
            <a:endParaRPr lang="en-GB" dirty="0"/>
          </a:p>
        </p:txBody>
      </p:sp>
    </p:spTree>
    <p:extLst>
      <p:ext uri="{BB962C8B-B14F-4D97-AF65-F5344CB8AC3E}">
        <p14:creationId xmlns:p14="http://schemas.microsoft.com/office/powerpoint/2010/main" val="2887853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 name="TextBox 77">
            <a:extLst>
              <a:ext uri="{FF2B5EF4-FFF2-40B4-BE49-F238E27FC236}">
                <a16:creationId xmlns:a16="http://schemas.microsoft.com/office/drawing/2014/main" id="{54340765-182B-408F-A887-BB5C20796D52}"/>
              </a:ext>
            </a:extLst>
          </p:cNvPr>
          <p:cNvSpPr txBox="1"/>
          <p:nvPr/>
        </p:nvSpPr>
        <p:spPr>
          <a:xfrm>
            <a:off x="1004190" y="1640754"/>
            <a:ext cx="1937441" cy="400380"/>
          </a:xfrm>
          <a:prstGeom prst="rect">
            <a:avLst/>
          </a:prstGeom>
          <a:noFill/>
        </p:spPr>
        <p:txBody>
          <a:bodyPr wrap="square" lIns="132982" tIns="99737" rIns="132982" bIns="99737" rtlCol="0">
            <a:spAutoFit/>
          </a:bodyPr>
          <a:lstStyle/>
          <a:p>
            <a:pPr marL="0" marR="0" lvl="0" indent="0" defTabSz="914400" eaLnBrk="1" fontAlgn="auto" latinLnBrk="0" hangingPunct="1">
              <a:lnSpc>
                <a:spcPct val="100000"/>
              </a:lnSpc>
              <a:spcBef>
                <a:spcPts val="0"/>
              </a:spcBef>
              <a:spcAft>
                <a:spcPts val="0"/>
              </a:spcAft>
              <a:buClrTx/>
              <a:buSzPct val="110000"/>
              <a:buFontTx/>
              <a:buNone/>
              <a:tabLst/>
              <a:defRPr/>
            </a:pPr>
            <a:r>
              <a:rPr lang="en-US" sz="1290" kern="0" dirty="0">
                <a:solidFill>
                  <a:srgbClr val="005A8C">
                    <a:lumMod val="75000"/>
                  </a:srgbClr>
                </a:solidFill>
              </a:rPr>
              <a:t>Founding date</a:t>
            </a:r>
            <a:endParaRPr kumimoji="0" lang="en-US" sz="1290" b="0" i="0" u="none" strike="noStrike" kern="0" cap="none" spc="0" normalizeH="0" baseline="0" dirty="0">
              <a:ln>
                <a:noFill/>
              </a:ln>
              <a:solidFill>
                <a:srgbClr val="005A8C">
                  <a:lumMod val="75000"/>
                </a:srgbClr>
              </a:solidFill>
              <a:effectLst/>
              <a:uLnTx/>
              <a:uFillTx/>
            </a:endParaRPr>
          </a:p>
        </p:txBody>
      </p:sp>
      <p:sp>
        <p:nvSpPr>
          <p:cNvPr id="549" name="Rectangle: Rounded Corners 59">
            <a:extLst>
              <a:ext uri="{FF2B5EF4-FFF2-40B4-BE49-F238E27FC236}">
                <a16:creationId xmlns:a16="http://schemas.microsoft.com/office/drawing/2014/main" id="{1874B64A-21F1-48F2-9E52-67F2CE07989A}"/>
              </a:ext>
            </a:extLst>
          </p:cNvPr>
          <p:cNvSpPr/>
          <p:nvPr/>
        </p:nvSpPr>
        <p:spPr>
          <a:xfrm>
            <a:off x="446053" y="1435510"/>
            <a:ext cx="2367575" cy="531928"/>
          </a:xfrm>
          <a:prstGeom prst="roundRect">
            <a:avLst>
              <a:gd name="adj" fmla="val 0"/>
            </a:avLst>
          </a:prstGeom>
          <a:solidFill>
            <a:schemeClr val="accent3">
              <a:lumMod val="20000"/>
              <a:lumOff val="80000"/>
              <a:alpha val="40000"/>
            </a:schemeClr>
          </a:solidFill>
          <a:ln w="19050" cap="flat" cmpd="sng" algn="ctr">
            <a:noFill/>
            <a:prstDash val="solid"/>
            <a:miter lim="800000"/>
          </a:ln>
          <a:effectLst/>
        </p:spPr>
        <p:txBody>
          <a:bodyPr lIns="166228" tIns="166228" rIns="166228" bIns="166228" rtlCol="0" anchor="ctr">
            <a:prstTxWarp prst="textNoShape">
              <a:avLst/>
            </a:prstTxWarp>
          </a:bodyPr>
          <a:lstStyle/>
          <a:p>
            <a:pPr marL="0" marR="0" lvl="0" indent="0" algn="l" defTabSz="914400" eaLnBrk="0" fontAlgn="auto" latinLnBrk="0" hangingPunct="0">
              <a:lnSpc>
                <a:spcPct val="150000"/>
              </a:lnSpc>
              <a:spcBef>
                <a:spcPts val="554"/>
              </a:spcBef>
              <a:spcAft>
                <a:spcPts val="0"/>
              </a:spcAft>
              <a:buClrTx/>
              <a:buSzPct val="90000"/>
              <a:buFontTx/>
              <a:buNone/>
              <a:tabLst/>
              <a:defRPr/>
            </a:pPr>
            <a:endParaRPr kumimoji="0" lang="en-US" sz="970" b="0" i="0" u="none" strike="noStrike" kern="0" cap="none" spc="0" normalizeH="0" baseline="0" dirty="0">
              <a:ln>
                <a:noFill/>
              </a:ln>
              <a:solidFill>
                <a:srgbClr val="005A8C">
                  <a:lumMod val="75000"/>
                </a:srgbClr>
              </a:solidFill>
              <a:effectLst/>
              <a:uLnTx/>
              <a:uFillTx/>
              <a:latin typeface="Arial"/>
              <a:ea typeface="ＭＳ Ｐゴシック" pitchFamily="-107" charset="-128"/>
              <a:cs typeface="ＭＳ Ｐゴシック" pitchFamily="-107" charset="-128"/>
            </a:endParaRPr>
          </a:p>
        </p:txBody>
      </p:sp>
      <p:sp>
        <p:nvSpPr>
          <p:cNvPr id="16" name="Text Placeholder 15"/>
          <p:cNvSpPr>
            <a:spLocks noGrp="1"/>
          </p:cNvSpPr>
          <p:nvPr>
            <p:ph type="body" sz="quarter" idx="14"/>
          </p:nvPr>
        </p:nvSpPr>
        <p:spPr/>
        <p:txBody>
          <a:bodyPr/>
          <a:lstStyle/>
          <a:p>
            <a:r>
              <a:rPr lang="en-US" dirty="0"/>
              <a:t>Facts and figures (FY22)</a:t>
            </a:r>
          </a:p>
        </p:txBody>
      </p:sp>
      <p:sp>
        <p:nvSpPr>
          <p:cNvPr id="2" name="Title 1"/>
          <p:cNvSpPr>
            <a:spLocks noGrp="1"/>
          </p:cNvSpPr>
          <p:nvPr>
            <p:ph type="title"/>
          </p:nvPr>
        </p:nvSpPr>
        <p:spPr/>
        <p:txBody>
          <a:bodyPr/>
          <a:lstStyle/>
          <a:p>
            <a:r>
              <a:rPr lang="en-US" dirty="0"/>
              <a:t>DEG in developing and emerging markets</a:t>
            </a:r>
          </a:p>
        </p:txBody>
      </p:sp>
      <p:sp>
        <p:nvSpPr>
          <p:cNvPr id="556" name="TextBox 76">
            <a:extLst>
              <a:ext uri="{FF2B5EF4-FFF2-40B4-BE49-F238E27FC236}">
                <a16:creationId xmlns:a16="http://schemas.microsoft.com/office/drawing/2014/main" id="{52DBB457-4AFC-4E65-B27D-369D4DE17CFD}"/>
              </a:ext>
            </a:extLst>
          </p:cNvPr>
          <p:cNvSpPr txBox="1"/>
          <p:nvPr/>
        </p:nvSpPr>
        <p:spPr>
          <a:xfrm>
            <a:off x="1008119" y="1398872"/>
            <a:ext cx="743051" cy="457198"/>
          </a:xfrm>
          <a:prstGeom prst="rect">
            <a:avLst/>
          </a:prstGeom>
          <a:noFill/>
        </p:spPr>
        <p:txBody>
          <a:bodyPr wrap="none" lIns="132982" tIns="99737" rIns="132982" bIns="99737" rtlCol="0">
            <a:spAutoFit/>
          </a:bodyPr>
          <a:lstStyle/>
          <a:p>
            <a:pPr marL="0" marR="0" lvl="0" indent="0" defTabSz="914400" eaLnBrk="1" fontAlgn="auto" latinLnBrk="0" hangingPunct="1">
              <a:lnSpc>
                <a:spcPct val="100000"/>
              </a:lnSpc>
              <a:spcBef>
                <a:spcPts val="0"/>
              </a:spcBef>
              <a:spcAft>
                <a:spcPts val="0"/>
              </a:spcAft>
              <a:buClrTx/>
              <a:buSzPct val="110000"/>
              <a:buFontTx/>
              <a:buNone/>
              <a:tabLst/>
              <a:defRPr/>
            </a:pPr>
            <a:r>
              <a:rPr kumimoji="0" lang="en-US" sz="1662" b="1" i="0" u="none" strike="noStrike" kern="0" cap="none" spc="0" normalizeH="0" baseline="0" dirty="0">
                <a:ln>
                  <a:noFill/>
                </a:ln>
                <a:solidFill>
                  <a:srgbClr val="005A8C">
                    <a:lumMod val="75000"/>
                  </a:srgbClr>
                </a:solidFill>
                <a:effectLst/>
                <a:uLnTx/>
                <a:uFillTx/>
              </a:rPr>
              <a:t>1962</a:t>
            </a:r>
          </a:p>
        </p:txBody>
      </p:sp>
      <p:sp>
        <p:nvSpPr>
          <p:cNvPr id="558" name="Freeform 101"/>
          <p:cNvSpPr>
            <a:spLocks noEditPoints="1"/>
          </p:cNvSpPr>
          <p:nvPr/>
        </p:nvSpPr>
        <p:spPr bwMode="auto">
          <a:xfrm>
            <a:off x="645508" y="1480562"/>
            <a:ext cx="235679" cy="354774"/>
          </a:xfrm>
          <a:custGeom>
            <a:avLst/>
            <a:gdLst>
              <a:gd name="T0" fmla="*/ 565 w 565"/>
              <a:gd name="T1" fmla="*/ 268 h 848"/>
              <a:gd name="T2" fmla="*/ 551 w 565"/>
              <a:gd name="T3" fmla="*/ 199 h 848"/>
              <a:gd name="T4" fmla="*/ 516 w 565"/>
              <a:gd name="T5" fmla="*/ 125 h 848"/>
              <a:gd name="T6" fmla="*/ 461 w 565"/>
              <a:gd name="T7" fmla="*/ 65 h 848"/>
              <a:gd name="T8" fmla="*/ 391 w 565"/>
              <a:gd name="T9" fmla="*/ 22 h 848"/>
              <a:gd name="T10" fmla="*/ 311 w 565"/>
              <a:gd name="T11" fmla="*/ 2 h 848"/>
              <a:gd name="T12" fmla="*/ 282 w 565"/>
              <a:gd name="T13" fmla="*/ 0 h 848"/>
              <a:gd name="T14" fmla="*/ 226 w 565"/>
              <a:gd name="T15" fmla="*/ 6 h 848"/>
              <a:gd name="T16" fmla="*/ 147 w 565"/>
              <a:gd name="T17" fmla="*/ 34 h 848"/>
              <a:gd name="T18" fmla="*/ 83 w 565"/>
              <a:gd name="T19" fmla="*/ 83 h 848"/>
              <a:gd name="T20" fmla="*/ 33 w 565"/>
              <a:gd name="T21" fmla="*/ 148 h 848"/>
              <a:gd name="T22" fmla="*/ 6 w 565"/>
              <a:gd name="T23" fmla="*/ 226 h 848"/>
              <a:gd name="T24" fmla="*/ 0 w 565"/>
              <a:gd name="T25" fmla="*/ 283 h 848"/>
              <a:gd name="T26" fmla="*/ 2 w 565"/>
              <a:gd name="T27" fmla="*/ 321 h 848"/>
              <a:gd name="T28" fmla="*/ 15 w 565"/>
              <a:gd name="T29" fmla="*/ 374 h 848"/>
              <a:gd name="T30" fmla="*/ 38 w 565"/>
              <a:gd name="T31" fmla="*/ 423 h 848"/>
              <a:gd name="T32" fmla="*/ 526 w 565"/>
              <a:gd name="T33" fmla="*/ 423 h 848"/>
              <a:gd name="T34" fmla="*/ 534 w 565"/>
              <a:gd name="T35" fmla="*/ 408 h 848"/>
              <a:gd name="T36" fmla="*/ 555 w 565"/>
              <a:gd name="T37" fmla="*/ 357 h 848"/>
              <a:gd name="T38" fmla="*/ 563 w 565"/>
              <a:gd name="T39" fmla="*/ 302 h 848"/>
              <a:gd name="T40" fmla="*/ 282 w 565"/>
              <a:gd name="T41" fmla="*/ 428 h 848"/>
              <a:gd name="T42" fmla="*/ 253 w 565"/>
              <a:gd name="T43" fmla="*/ 426 h 848"/>
              <a:gd name="T44" fmla="*/ 212 w 565"/>
              <a:gd name="T45" fmla="*/ 411 h 848"/>
              <a:gd name="T46" fmla="*/ 179 w 565"/>
              <a:gd name="T47" fmla="*/ 386 h 848"/>
              <a:gd name="T48" fmla="*/ 154 w 565"/>
              <a:gd name="T49" fmla="*/ 353 h 848"/>
              <a:gd name="T50" fmla="*/ 139 w 565"/>
              <a:gd name="T51" fmla="*/ 312 h 848"/>
              <a:gd name="T52" fmla="*/ 137 w 565"/>
              <a:gd name="T53" fmla="*/ 283 h 848"/>
              <a:gd name="T54" fmla="*/ 143 w 565"/>
              <a:gd name="T55" fmla="*/ 240 h 848"/>
              <a:gd name="T56" fmla="*/ 162 w 565"/>
              <a:gd name="T57" fmla="*/ 201 h 848"/>
              <a:gd name="T58" fmla="*/ 190 w 565"/>
              <a:gd name="T59" fmla="*/ 170 h 848"/>
              <a:gd name="T60" fmla="*/ 226 w 565"/>
              <a:gd name="T61" fmla="*/ 148 h 848"/>
              <a:gd name="T62" fmla="*/ 268 w 565"/>
              <a:gd name="T63" fmla="*/ 137 h 848"/>
              <a:gd name="T64" fmla="*/ 297 w 565"/>
              <a:gd name="T65" fmla="*/ 137 h 848"/>
              <a:gd name="T66" fmla="*/ 339 w 565"/>
              <a:gd name="T67" fmla="*/ 148 h 848"/>
              <a:gd name="T68" fmla="*/ 375 w 565"/>
              <a:gd name="T69" fmla="*/ 170 h 848"/>
              <a:gd name="T70" fmla="*/ 402 w 565"/>
              <a:gd name="T71" fmla="*/ 201 h 848"/>
              <a:gd name="T72" fmla="*/ 422 w 565"/>
              <a:gd name="T73" fmla="*/ 240 h 848"/>
              <a:gd name="T74" fmla="*/ 428 w 565"/>
              <a:gd name="T75" fmla="*/ 283 h 848"/>
              <a:gd name="T76" fmla="*/ 425 w 565"/>
              <a:gd name="T77" fmla="*/ 312 h 848"/>
              <a:gd name="T78" fmla="*/ 411 w 565"/>
              <a:gd name="T79" fmla="*/ 353 h 848"/>
              <a:gd name="T80" fmla="*/ 385 w 565"/>
              <a:gd name="T81" fmla="*/ 386 h 848"/>
              <a:gd name="T82" fmla="*/ 352 w 565"/>
              <a:gd name="T83" fmla="*/ 411 h 848"/>
              <a:gd name="T84" fmla="*/ 311 w 565"/>
              <a:gd name="T85" fmla="*/ 426 h 848"/>
              <a:gd name="T86" fmla="*/ 282 w 565"/>
              <a:gd name="T87" fmla="*/ 42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5" h="848">
                <a:moveTo>
                  <a:pt x="565" y="283"/>
                </a:moveTo>
                <a:lnTo>
                  <a:pt x="565" y="283"/>
                </a:lnTo>
                <a:lnTo>
                  <a:pt x="565" y="268"/>
                </a:lnTo>
                <a:lnTo>
                  <a:pt x="563" y="254"/>
                </a:lnTo>
                <a:lnTo>
                  <a:pt x="559" y="226"/>
                </a:lnTo>
                <a:lnTo>
                  <a:pt x="551" y="199"/>
                </a:lnTo>
                <a:lnTo>
                  <a:pt x="543" y="173"/>
                </a:lnTo>
                <a:lnTo>
                  <a:pt x="531" y="148"/>
                </a:lnTo>
                <a:lnTo>
                  <a:pt x="516" y="125"/>
                </a:lnTo>
                <a:lnTo>
                  <a:pt x="500" y="104"/>
                </a:lnTo>
                <a:lnTo>
                  <a:pt x="482" y="83"/>
                </a:lnTo>
                <a:lnTo>
                  <a:pt x="461" y="65"/>
                </a:lnTo>
                <a:lnTo>
                  <a:pt x="440" y="48"/>
                </a:lnTo>
                <a:lnTo>
                  <a:pt x="417" y="34"/>
                </a:lnTo>
                <a:lnTo>
                  <a:pt x="391" y="22"/>
                </a:lnTo>
                <a:lnTo>
                  <a:pt x="366" y="14"/>
                </a:lnTo>
                <a:lnTo>
                  <a:pt x="339" y="6"/>
                </a:lnTo>
                <a:lnTo>
                  <a:pt x="311" y="2"/>
                </a:lnTo>
                <a:lnTo>
                  <a:pt x="297" y="0"/>
                </a:lnTo>
                <a:lnTo>
                  <a:pt x="282" y="0"/>
                </a:lnTo>
                <a:lnTo>
                  <a:pt x="282" y="0"/>
                </a:lnTo>
                <a:lnTo>
                  <a:pt x="268" y="0"/>
                </a:lnTo>
                <a:lnTo>
                  <a:pt x="253" y="2"/>
                </a:lnTo>
                <a:lnTo>
                  <a:pt x="226" y="6"/>
                </a:lnTo>
                <a:lnTo>
                  <a:pt x="198" y="14"/>
                </a:lnTo>
                <a:lnTo>
                  <a:pt x="173" y="22"/>
                </a:lnTo>
                <a:lnTo>
                  <a:pt x="147" y="34"/>
                </a:lnTo>
                <a:lnTo>
                  <a:pt x="125" y="48"/>
                </a:lnTo>
                <a:lnTo>
                  <a:pt x="103" y="65"/>
                </a:lnTo>
                <a:lnTo>
                  <a:pt x="83" y="83"/>
                </a:lnTo>
                <a:lnTo>
                  <a:pt x="65" y="104"/>
                </a:lnTo>
                <a:lnTo>
                  <a:pt x="48" y="125"/>
                </a:lnTo>
                <a:lnTo>
                  <a:pt x="33" y="148"/>
                </a:lnTo>
                <a:lnTo>
                  <a:pt x="21" y="173"/>
                </a:lnTo>
                <a:lnTo>
                  <a:pt x="13" y="199"/>
                </a:lnTo>
                <a:lnTo>
                  <a:pt x="6" y="226"/>
                </a:lnTo>
                <a:lnTo>
                  <a:pt x="1" y="254"/>
                </a:lnTo>
                <a:lnTo>
                  <a:pt x="0" y="268"/>
                </a:lnTo>
                <a:lnTo>
                  <a:pt x="0" y="283"/>
                </a:lnTo>
                <a:lnTo>
                  <a:pt x="0" y="283"/>
                </a:lnTo>
                <a:lnTo>
                  <a:pt x="1" y="302"/>
                </a:lnTo>
                <a:lnTo>
                  <a:pt x="2" y="321"/>
                </a:lnTo>
                <a:lnTo>
                  <a:pt x="6" y="339"/>
                </a:lnTo>
                <a:lnTo>
                  <a:pt x="9" y="357"/>
                </a:lnTo>
                <a:lnTo>
                  <a:pt x="15" y="374"/>
                </a:lnTo>
                <a:lnTo>
                  <a:pt x="21" y="391"/>
                </a:lnTo>
                <a:lnTo>
                  <a:pt x="30" y="408"/>
                </a:lnTo>
                <a:lnTo>
                  <a:pt x="38" y="423"/>
                </a:lnTo>
                <a:lnTo>
                  <a:pt x="38" y="423"/>
                </a:lnTo>
                <a:lnTo>
                  <a:pt x="282" y="848"/>
                </a:lnTo>
                <a:lnTo>
                  <a:pt x="526" y="423"/>
                </a:lnTo>
                <a:lnTo>
                  <a:pt x="526" y="423"/>
                </a:lnTo>
                <a:lnTo>
                  <a:pt x="526" y="423"/>
                </a:lnTo>
                <a:lnTo>
                  <a:pt x="534" y="408"/>
                </a:lnTo>
                <a:lnTo>
                  <a:pt x="543" y="391"/>
                </a:lnTo>
                <a:lnTo>
                  <a:pt x="549" y="374"/>
                </a:lnTo>
                <a:lnTo>
                  <a:pt x="555" y="357"/>
                </a:lnTo>
                <a:lnTo>
                  <a:pt x="559" y="339"/>
                </a:lnTo>
                <a:lnTo>
                  <a:pt x="562" y="321"/>
                </a:lnTo>
                <a:lnTo>
                  <a:pt x="563" y="302"/>
                </a:lnTo>
                <a:lnTo>
                  <a:pt x="565" y="283"/>
                </a:lnTo>
                <a:lnTo>
                  <a:pt x="565" y="283"/>
                </a:lnTo>
                <a:close/>
                <a:moveTo>
                  <a:pt x="282" y="428"/>
                </a:moveTo>
                <a:lnTo>
                  <a:pt x="282" y="428"/>
                </a:lnTo>
                <a:lnTo>
                  <a:pt x="268" y="428"/>
                </a:lnTo>
                <a:lnTo>
                  <a:pt x="253" y="426"/>
                </a:lnTo>
                <a:lnTo>
                  <a:pt x="239" y="422"/>
                </a:lnTo>
                <a:lnTo>
                  <a:pt x="226" y="417"/>
                </a:lnTo>
                <a:lnTo>
                  <a:pt x="212" y="411"/>
                </a:lnTo>
                <a:lnTo>
                  <a:pt x="200" y="403"/>
                </a:lnTo>
                <a:lnTo>
                  <a:pt x="190" y="396"/>
                </a:lnTo>
                <a:lnTo>
                  <a:pt x="179" y="386"/>
                </a:lnTo>
                <a:lnTo>
                  <a:pt x="169" y="375"/>
                </a:lnTo>
                <a:lnTo>
                  <a:pt x="162" y="365"/>
                </a:lnTo>
                <a:lnTo>
                  <a:pt x="154" y="353"/>
                </a:lnTo>
                <a:lnTo>
                  <a:pt x="147" y="339"/>
                </a:lnTo>
                <a:lnTo>
                  <a:pt x="143" y="326"/>
                </a:lnTo>
                <a:lnTo>
                  <a:pt x="139" y="312"/>
                </a:lnTo>
                <a:lnTo>
                  <a:pt x="137" y="297"/>
                </a:lnTo>
                <a:lnTo>
                  <a:pt x="137" y="283"/>
                </a:lnTo>
                <a:lnTo>
                  <a:pt x="137" y="283"/>
                </a:lnTo>
                <a:lnTo>
                  <a:pt x="137" y="268"/>
                </a:lnTo>
                <a:lnTo>
                  <a:pt x="139" y="254"/>
                </a:lnTo>
                <a:lnTo>
                  <a:pt x="143" y="240"/>
                </a:lnTo>
                <a:lnTo>
                  <a:pt x="147" y="226"/>
                </a:lnTo>
                <a:lnTo>
                  <a:pt x="154" y="213"/>
                </a:lnTo>
                <a:lnTo>
                  <a:pt x="162" y="201"/>
                </a:lnTo>
                <a:lnTo>
                  <a:pt x="169" y="190"/>
                </a:lnTo>
                <a:lnTo>
                  <a:pt x="179" y="179"/>
                </a:lnTo>
                <a:lnTo>
                  <a:pt x="190" y="170"/>
                </a:lnTo>
                <a:lnTo>
                  <a:pt x="200" y="163"/>
                </a:lnTo>
                <a:lnTo>
                  <a:pt x="212" y="154"/>
                </a:lnTo>
                <a:lnTo>
                  <a:pt x="226" y="148"/>
                </a:lnTo>
                <a:lnTo>
                  <a:pt x="239" y="143"/>
                </a:lnTo>
                <a:lnTo>
                  <a:pt x="253" y="140"/>
                </a:lnTo>
                <a:lnTo>
                  <a:pt x="268" y="137"/>
                </a:lnTo>
                <a:lnTo>
                  <a:pt x="282" y="137"/>
                </a:lnTo>
                <a:lnTo>
                  <a:pt x="282" y="137"/>
                </a:lnTo>
                <a:lnTo>
                  <a:pt x="297" y="137"/>
                </a:lnTo>
                <a:lnTo>
                  <a:pt x="311" y="140"/>
                </a:lnTo>
                <a:lnTo>
                  <a:pt x="325" y="143"/>
                </a:lnTo>
                <a:lnTo>
                  <a:pt x="339" y="148"/>
                </a:lnTo>
                <a:lnTo>
                  <a:pt x="352" y="154"/>
                </a:lnTo>
                <a:lnTo>
                  <a:pt x="364" y="163"/>
                </a:lnTo>
                <a:lnTo>
                  <a:pt x="375" y="170"/>
                </a:lnTo>
                <a:lnTo>
                  <a:pt x="385" y="179"/>
                </a:lnTo>
                <a:lnTo>
                  <a:pt x="394" y="190"/>
                </a:lnTo>
                <a:lnTo>
                  <a:pt x="402" y="201"/>
                </a:lnTo>
                <a:lnTo>
                  <a:pt x="411" y="213"/>
                </a:lnTo>
                <a:lnTo>
                  <a:pt x="417" y="226"/>
                </a:lnTo>
                <a:lnTo>
                  <a:pt x="422" y="240"/>
                </a:lnTo>
                <a:lnTo>
                  <a:pt x="425" y="254"/>
                </a:lnTo>
                <a:lnTo>
                  <a:pt x="428" y="268"/>
                </a:lnTo>
                <a:lnTo>
                  <a:pt x="428" y="283"/>
                </a:lnTo>
                <a:lnTo>
                  <a:pt x="428" y="283"/>
                </a:lnTo>
                <a:lnTo>
                  <a:pt x="428" y="297"/>
                </a:lnTo>
                <a:lnTo>
                  <a:pt x="425" y="312"/>
                </a:lnTo>
                <a:lnTo>
                  <a:pt x="422" y="326"/>
                </a:lnTo>
                <a:lnTo>
                  <a:pt x="417" y="339"/>
                </a:lnTo>
                <a:lnTo>
                  <a:pt x="411" y="353"/>
                </a:lnTo>
                <a:lnTo>
                  <a:pt x="402" y="365"/>
                </a:lnTo>
                <a:lnTo>
                  <a:pt x="394" y="375"/>
                </a:lnTo>
                <a:lnTo>
                  <a:pt x="385" y="386"/>
                </a:lnTo>
                <a:lnTo>
                  <a:pt x="375" y="396"/>
                </a:lnTo>
                <a:lnTo>
                  <a:pt x="364" y="403"/>
                </a:lnTo>
                <a:lnTo>
                  <a:pt x="352" y="411"/>
                </a:lnTo>
                <a:lnTo>
                  <a:pt x="339" y="417"/>
                </a:lnTo>
                <a:lnTo>
                  <a:pt x="325" y="422"/>
                </a:lnTo>
                <a:lnTo>
                  <a:pt x="311" y="426"/>
                </a:lnTo>
                <a:lnTo>
                  <a:pt x="297" y="428"/>
                </a:lnTo>
                <a:lnTo>
                  <a:pt x="282" y="428"/>
                </a:lnTo>
                <a:lnTo>
                  <a:pt x="282" y="428"/>
                </a:lnTo>
                <a:close/>
              </a:path>
            </a:pathLst>
          </a:custGeom>
          <a:solidFill>
            <a:srgbClr val="005A8C"/>
          </a:solidFill>
          <a:ln>
            <a:noFill/>
          </a:ln>
        </p:spPr>
        <p:txBody>
          <a:bodyPr vert="horz" wrap="square" lIns="72208" tIns="36104" rIns="72208" bIns="3610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78" b="0" i="0" u="none" strike="noStrike" kern="0" cap="none" spc="0" normalizeH="0" baseline="0" dirty="0">
              <a:ln>
                <a:noFill/>
              </a:ln>
              <a:solidFill>
                <a:srgbClr val="FFFFFF"/>
              </a:solidFill>
              <a:effectLst/>
              <a:uLnTx/>
              <a:uFillTx/>
            </a:endParaRPr>
          </a:p>
        </p:txBody>
      </p:sp>
      <p:sp>
        <p:nvSpPr>
          <p:cNvPr id="563" name="TextBox 77">
            <a:extLst>
              <a:ext uri="{FF2B5EF4-FFF2-40B4-BE49-F238E27FC236}">
                <a16:creationId xmlns:a16="http://schemas.microsoft.com/office/drawing/2014/main" id="{54340765-182B-408F-A887-BB5C20796D52}"/>
              </a:ext>
            </a:extLst>
          </p:cNvPr>
          <p:cNvSpPr txBox="1"/>
          <p:nvPr/>
        </p:nvSpPr>
        <p:spPr>
          <a:xfrm>
            <a:off x="1004190" y="5095838"/>
            <a:ext cx="2008267" cy="400380"/>
          </a:xfrm>
          <a:prstGeom prst="rect">
            <a:avLst/>
          </a:prstGeom>
          <a:noFill/>
        </p:spPr>
        <p:txBody>
          <a:bodyPr wrap="square" lIns="132982" tIns="99737" rIns="132982" bIns="99737" rtlCol="0">
            <a:spAutoFit/>
          </a:bodyPr>
          <a:lstStyle/>
          <a:p>
            <a:pPr marL="0" marR="0" lvl="0" indent="0" algn="l" defTabSz="914400" eaLnBrk="1" fontAlgn="auto" latinLnBrk="0" hangingPunct="1">
              <a:lnSpc>
                <a:spcPct val="100000"/>
              </a:lnSpc>
              <a:spcBef>
                <a:spcPts val="0"/>
              </a:spcBef>
              <a:spcAft>
                <a:spcPts val="0"/>
              </a:spcAft>
              <a:buClrTx/>
              <a:buSzPct val="110000"/>
              <a:buFontTx/>
              <a:buNone/>
              <a:tabLst/>
              <a:defRPr/>
            </a:pPr>
            <a:r>
              <a:rPr kumimoji="0" lang="en-US" sz="1293" b="0" i="0" u="none" strike="noStrike" kern="0" cap="none" spc="0" normalizeH="0" baseline="0" noProof="0" dirty="0">
                <a:ln>
                  <a:noFill/>
                </a:ln>
                <a:solidFill>
                  <a:srgbClr val="005A8C">
                    <a:lumMod val="75000"/>
                  </a:srgbClr>
                </a:solidFill>
                <a:effectLst/>
                <a:uLnTx/>
                <a:uFillTx/>
              </a:rPr>
              <a:t>Equity capital</a:t>
            </a:r>
            <a:endParaRPr kumimoji="0" lang="en-US" sz="1293" b="0" i="0" u="none" strike="noStrike" kern="0" cap="none" spc="0" normalizeH="0" baseline="0" dirty="0">
              <a:ln>
                <a:noFill/>
              </a:ln>
              <a:solidFill>
                <a:srgbClr val="005A8C">
                  <a:lumMod val="75000"/>
                </a:srgbClr>
              </a:solidFill>
              <a:effectLst/>
              <a:uLnTx/>
              <a:uFillTx/>
            </a:endParaRPr>
          </a:p>
        </p:txBody>
      </p:sp>
      <p:sp>
        <p:nvSpPr>
          <p:cNvPr id="545" name="Rectangle: Rounded Corners 59">
            <a:extLst>
              <a:ext uri="{FF2B5EF4-FFF2-40B4-BE49-F238E27FC236}">
                <a16:creationId xmlns:a16="http://schemas.microsoft.com/office/drawing/2014/main" id="{1874B64A-21F1-48F2-9E52-67F2CE07989A}"/>
              </a:ext>
            </a:extLst>
          </p:cNvPr>
          <p:cNvSpPr/>
          <p:nvPr/>
        </p:nvSpPr>
        <p:spPr>
          <a:xfrm>
            <a:off x="446053" y="4900489"/>
            <a:ext cx="2367575" cy="531928"/>
          </a:xfrm>
          <a:prstGeom prst="roundRect">
            <a:avLst>
              <a:gd name="adj" fmla="val 0"/>
            </a:avLst>
          </a:prstGeom>
          <a:solidFill>
            <a:schemeClr val="accent3">
              <a:lumMod val="20000"/>
              <a:lumOff val="80000"/>
              <a:alpha val="40000"/>
            </a:schemeClr>
          </a:solidFill>
          <a:ln w="19050" cap="flat" cmpd="sng" algn="ctr">
            <a:noFill/>
            <a:prstDash val="solid"/>
            <a:miter lim="800000"/>
          </a:ln>
          <a:effectLst/>
        </p:spPr>
        <p:txBody>
          <a:bodyPr lIns="166228" tIns="166228" rIns="166228" bIns="166228" rtlCol="0" anchor="ctr">
            <a:prstTxWarp prst="textNoShape">
              <a:avLst/>
            </a:prstTxWarp>
          </a:bodyPr>
          <a:lstStyle/>
          <a:p>
            <a:pPr defTabSz="914400" eaLnBrk="0" hangingPunct="0">
              <a:lnSpc>
                <a:spcPct val="150000"/>
              </a:lnSpc>
              <a:spcBef>
                <a:spcPts val="554"/>
              </a:spcBef>
              <a:buSzPct val="90000"/>
            </a:pPr>
            <a:endParaRPr lang="en-US" sz="970" kern="0" dirty="0">
              <a:solidFill>
                <a:srgbClr val="005A8C">
                  <a:lumMod val="75000"/>
                </a:srgbClr>
              </a:solidFill>
              <a:latin typeface="Arial"/>
              <a:ea typeface="ＭＳ Ｐゴシック" pitchFamily="-107" charset="-128"/>
              <a:cs typeface="ＭＳ Ｐゴシック" pitchFamily="-107" charset="-128"/>
            </a:endParaRPr>
          </a:p>
        </p:txBody>
      </p:sp>
      <p:sp>
        <p:nvSpPr>
          <p:cNvPr id="562" name="TextBox 76">
            <a:extLst>
              <a:ext uri="{FF2B5EF4-FFF2-40B4-BE49-F238E27FC236}">
                <a16:creationId xmlns:a16="http://schemas.microsoft.com/office/drawing/2014/main" id="{52DBB457-4AFC-4E65-B27D-369D4DE17CFD}"/>
              </a:ext>
            </a:extLst>
          </p:cNvPr>
          <p:cNvSpPr txBox="1"/>
          <p:nvPr/>
        </p:nvSpPr>
        <p:spPr>
          <a:xfrm>
            <a:off x="1008119" y="4861506"/>
            <a:ext cx="1334559" cy="457198"/>
          </a:xfrm>
          <a:prstGeom prst="rect">
            <a:avLst/>
          </a:prstGeom>
          <a:noFill/>
        </p:spPr>
        <p:txBody>
          <a:bodyPr wrap="none" lIns="132982" tIns="99737" rIns="132982" bIns="99737" rtlCol="0">
            <a:spAutoFit/>
          </a:bodyPr>
          <a:lstStyle/>
          <a:p>
            <a:pPr marL="0" marR="0" lvl="0" indent="0" defTabSz="914400" eaLnBrk="1" fontAlgn="auto" latinLnBrk="0" hangingPunct="1">
              <a:lnSpc>
                <a:spcPct val="100000"/>
              </a:lnSpc>
              <a:spcBef>
                <a:spcPts val="0"/>
              </a:spcBef>
              <a:spcAft>
                <a:spcPts val="0"/>
              </a:spcAft>
              <a:buClrTx/>
              <a:buSzPct val="110000"/>
              <a:buFontTx/>
              <a:buNone/>
              <a:tabLst/>
              <a:defRPr/>
            </a:pPr>
            <a:r>
              <a:rPr kumimoji="0" lang="en-US" sz="1662" b="1" i="0" u="none" strike="noStrike" kern="0" cap="none" spc="0" normalizeH="0" baseline="0" dirty="0">
                <a:ln>
                  <a:noFill/>
                </a:ln>
                <a:solidFill>
                  <a:srgbClr val="005A8C">
                    <a:lumMod val="75000"/>
                  </a:srgbClr>
                </a:solidFill>
                <a:effectLst/>
                <a:uLnTx/>
                <a:uFillTx/>
              </a:rPr>
              <a:t>EUR </a:t>
            </a:r>
            <a:r>
              <a:rPr kumimoji="0" lang="en-US" sz="1662" b="1" i="0" u="none" strike="noStrike" kern="0" cap="none" spc="0" normalizeH="0" baseline="0" dirty="0">
                <a:ln>
                  <a:noFill/>
                </a:ln>
                <a:solidFill>
                  <a:schemeClr val="bg2"/>
                </a:solidFill>
                <a:effectLst/>
                <a:uLnTx/>
                <a:uFillTx/>
              </a:rPr>
              <a:t>2.5bn</a:t>
            </a:r>
          </a:p>
        </p:txBody>
      </p:sp>
      <p:grpSp>
        <p:nvGrpSpPr>
          <p:cNvPr id="564" name="Group 563"/>
          <p:cNvGrpSpPr/>
          <p:nvPr/>
        </p:nvGrpSpPr>
        <p:grpSpPr>
          <a:xfrm>
            <a:off x="649569" y="4932227"/>
            <a:ext cx="227556" cy="511828"/>
            <a:chOff x="276307" y="4596090"/>
            <a:chExt cx="246410" cy="554234"/>
          </a:xfrm>
        </p:grpSpPr>
        <p:grpSp>
          <p:nvGrpSpPr>
            <p:cNvPr id="578" name="Group 577"/>
            <p:cNvGrpSpPr/>
            <p:nvPr/>
          </p:nvGrpSpPr>
          <p:grpSpPr>
            <a:xfrm>
              <a:off x="297726" y="4596090"/>
              <a:ext cx="224991" cy="435851"/>
              <a:chOff x="297726" y="4596090"/>
              <a:chExt cx="224991" cy="435851"/>
            </a:xfrm>
          </p:grpSpPr>
          <p:grpSp>
            <p:nvGrpSpPr>
              <p:cNvPr id="580" name="Group 579"/>
              <p:cNvGrpSpPr/>
              <p:nvPr/>
            </p:nvGrpSpPr>
            <p:grpSpPr>
              <a:xfrm>
                <a:off x="297726" y="4596090"/>
                <a:ext cx="224991" cy="435851"/>
                <a:chOff x="4935413" y="1889744"/>
                <a:chExt cx="328613" cy="636588"/>
              </a:xfrm>
              <a:solidFill>
                <a:srgbClr val="005A8C"/>
              </a:solidFill>
            </p:grpSpPr>
            <p:sp>
              <p:nvSpPr>
                <p:cNvPr id="582" name="Freeform 211"/>
                <p:cNvSpPr>
                  <a:spLocks/>
                </p:cNvSpPr>
                <p:nvPr/>
              </p:nvSpPr>
              <p:spPr bwMode="auto">
                <a:xfrm>
                  <a:off x="4952876" y="1889744"/>
                  <a:ext cx="311150" cy="258763"/>
                </a:xfrm>
                <a:custGeom>
                  <a:avLst/>
                  <a:gdLst>
                    <a:gd name="T0" fmla="*/ 147 w 196"/>
                    <a:gd name="T1" fmla="*/ 10 h 163"/>
                    <a:gd name="T2" fmla="*/ 85 w 196"/>
                    <a:gd name="T3" fmla="*/ 13 h 163"/>
                    <a:gd name="T4" fmla="*/ 69 w 196"/>
                    <a:gd name="T5" fmla="*/ 15 h 163"/>
                    <a:gd name="T6" fmla="*/ 54 w 196"/>
                    <a:gd name="T7" fmla="*/ 25 h 163"/>
                    <a:gd name="T8" fmla="*/ 3 w 196"/>
                    <a:gd name="T9" fmla="*/ 74 h 163"/>
                    <a:gd name="T10" fmla="*/ 0 w 196"/>
                    <a:gd name="T11" fmla="*/ 77 h 163"/>
                    <a:gd name="T12" fmla="*/ 5 w 196"/>
                    <a:gd name="T13" fmla="*/ 146 h 163"/>
                    <a:gd name="T14" fmla="*/ 6 w 196"/>
                    <a:gd name="T15" fmla="*/ 148 h 163"/>
                    <a:gd name="T16" fmla="*/ 10 w 196"/>
                    <a:gd name="T17" fmla="*/ 153 h 163"/>
                    <a:gd name="T18" fmla="*/ 13 w 196"/>
                    <a:gd name="T19" fmla="*/ 153 h 163"/>
                    <a:gd name="T20" fmla="*/ 13 w 196"/>
                    <a:gd name="T21" fmla="*/ 154 h 163"/>
                    <a:gd name="T22" fmla="*/ 15 w 196"/>
                    <a:gd name="T23" fmla="*/ 157 h 163"/>
                    <a:gd name="T24" fmla="*/ 19 w 196"/>
                    <a:gd name="T25" fmla="*/ 161 h 163"/>
                    <a:gd name="T26" fmla="*/ 22 w 196"/>
                    <a:gd name="T27" fmla="*/ 163 h 163"/>
                    <a:gd name="T28" fmla="*/ 28 w 196"/>
                    <a:gd name="T29" fmla="*/ 160 h 163"/>
                    <a:gd name="T30" fmla="*/ 31 w 196"/>
                    <a:gd name="T31" fmla="*/ 154 h 163"/>
                    <a:gd name="T32" fmla="*/ 33 w 196"/>
                    <a:gd name="T33" fmla="*/ 151 h 163"/>
                    <a:gd name="T34" fmla="*/ 41 w 196"/>
                    <a:gd name="T35" fmla="*/ 94 h 163"/>
                    <a:gd name="T36" fmla="*/ 77 w 196"/>
                    <a:gd name="T37" fmla="*/ 66 h 163"/>
                    <a:gd name="T38" fmla="*/ 84 w 196"/>
                    <a:gd name="T39" fmla="*/ 65 h 163"/>
                    <a:gd name="T40" fmla="*/ 87 w 196"/>
                    <a:gd name="T41" fmla="*/ 68 h 163"/>
                    <a:gd name="T42" fmla="*/ 98 w 196"/>
                    <a:gd name="T43" fmla="*/ 87 h 163"/>
                    <a:gd name="T44" fmla="*/ 101 w 196"/>
                    <a:gd name="T45" fmla="*/ 95 h 163"/>
                    <a:gd name="T46" fmla="*/ 74 w 196"/>
                    <a:gd name="T47" fmla="*/ 133 h 163"/>
                    <a:gd name="T48" fmla="*/ 72 w 196"/>
                    <a:gd name="T49" fmla="*/ 137 h 163"/>
                    <a:gd name="T50" fmla="*/ 74 w 196"/>
                    <a:gd name="T51" fmla="*/ 147 h 163"/>
                    <a:gd name="T52" fmla="*/ 77 w 196"/>
                    <a:gd name="T53" fmla="*/ 151 h 163"/>
                    <a:gd name="T54" fmla="*/ 85 w 196"/>
                    <a:gd name="T55" fmla="*/ 154 h 163"/>
                    <a:gd name="T56" fmla="*/ 91 w 196"/>
                    <a:gd name="T57" fmla="*/ 153 h 163"/>
                    <a:gd name="T58" fmla="*/ 133 w 196"/>
                    <a:gd name="T59" fmla="*/ 100 h 163"/>
                    <a:gd name="T60" fmla="*/ 183 w 196"/>
                    <a:gd name="T61" fmla="*/ 68 h 163"/>
                    <a:gd name="T62" fmla="*/ 184 w 196"/>
                    <a:gd name="T63" fmla="*/ 68 h 163"/>
                    <a:gd name="T64" fmla="*/ 192 w 196"/>
                    <a:gd name="T65" fmla="*/ 64 h 163"/>
                    <a:gd name="T66" fmla="*/ 196 w 196"/>
                    <a:gd name="T67" fmla="*/ 56 h 163"/>
                    <a:gd name="T68" fmla="*/ 196 w 196"/>
                    <a:gd name="T69" fmla="*/ 51 h 163"/>
                    <a:gd name="T70" fmla="*/ 196 w 196"/>
                    <a:gd name="T71" fmla="*/ 10 h 163"/>
                    <a:gd name="T72" fmla="*/ 194 w 196"/>
                    <a:gd name="T73" fmla="*/ 5 h 163"/>
                    <a:gd name="T74" fmla="*/ 186 w 196"/>
                    <a:gd name="T75" fmla="*/ 0 h 163"/>
                    <a:gd name="T76" fmla="*/ 147 w 196"/>
                    <a:gd name="T77" fmla="*/ 1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6" h="163">
                      <a:moveTo>
                        <a:pt x="147" y="10"/>
                      </a:moveTo>
                      <a:lnTo>
                        <a:pt x="147" y="10"/>
                      </a:lnTo>
                      <a:lnTo>
                        <a:pt x="113" y="12"/>
                      </a:lnTo>
                      <a:lnTo>
                        <a:pt x="85" y="13"/>
                      </a:lnTo>
                      <a:lnTo>
                        <a:pt x="69" y="15"/>
                      </a:lnTo>
                      <a:lnTo>
                        <a:pt x="69" y="15"/>
                      </a:lnTo>
                      <a:lnTo>
                        <a:pt x="62" y="19"/>
                      </a:lnTo>
                      <a:lnTo>
                        <a:pt x="54" y="25"/>
                      </a:lnTo>
                      <a:lnTo>
                        <a:pt x="32" y="45"/>
                      </a:lnTo>
                      <a:lnTo>
                        <a:pt x="3" y="74"/>
                      </a:lnTo>
                      <a:lnTo>
                        <a:pt x="3" y="74"/>
                      </a:lnTo>
                      <a:lnTo>
                        <a:pt x="0" y="77"/>
                      </a:lnTo>
                      <a:lnTo>
                        <a:pt x="0" y="81"/>
                      </a:lnTo>
                      <a:lnTo>
                        <a:pt x="5" y="146"/>
                      </a:lnTo>
                      <a:lnTo>
                        <a:pt x="5" y="146"/>
                      </a:lnTo>
                      <a:lnTo>
                        <a:pt x="6" y="148"/>
                      </a:lnTo>
                      <a:lnTo>
                        <a:pt x="8" y="151"/>
                      </a:lnTo>
                      <a:lnTo>
                        <a:pt x="10" y="153"/>
                      </a:lnTo>
                      <a:lnTo>
                        <a:pt x="13" y="153"/>
                      </a:lnTo>
                      <a:lnTo>
                        <a:pt x="13" y="153"/>
                      </a:lnTo>
                      <a:lnTo>
                        <a:pt x="13" y="153"/>
                      </a:lnTo>
                      <a:lnTo>
                        <a:pt x="13" y="154"/>
                      </a:lnTo>
                      <a:lnTo>
                        <a:pt x="13" y="154"/>
                      </a:lnTo>
                      <a:lnTo>
                        <a:pt x="15" y="157"/>
                      </a:lnTo>
                      <a:lnTo>
                        <a:pt x="16" y="160"/>
                      </a:lnTo>
                      <a:lnTo>
                        <a:pt x="19" y="161"/>
                      </a:lnTo>
                      <a:lnTo>
                        <a:pt x="22" y="163"/>
                      </a:lnTo>
                      <a:lnTo>
                        <a:pt x="22" y="163"/>
                      </a:lnTo>
                      <a:lnTo>
                        <a:pt x="25" y="161"/>
                      </a:lnTo>
                      <a:lnTo>
                        <a:pt x="28" y="160"/>
                      </a:lnTo>
                      <a:lnTo>
                        <a:pt x="29" y="157"/>
                      </a:lnTo>
                      <a:lnTo>
                        <a:pt x="31" y="154"/>
                      </a:lnTo>
                      <a:lnTo>
                        <a:pt x="31" y="154"/>
                      </a:lnTo>
                      <a:lnTo>
                        <a:pt x="33" y="151"/>
                      </a:lnTo>
                      <a:lnTo>
                        <a:pt x="36" y="147"/>
                      </a:lnTo>
                      <a:lnTo>
                        <a:pt x="41" y="94"/>
                      </a:lnTo>
                      <a:lnTo>
                        <a:pt x="77" y="66"/>
                      </a:lnTo>
                      <a:lnTo>
                        <a:pt x="77" y="66"/>
                      </a:lnTo>
                      <a:lnTo>
                        <a:pt x="81" y="65"/>
                      </a:lnTo>
                      <a:lnTo>
                        <a:pt x="84" y="65"/>
                      </a:lnTo>
                      <a:lnTo>
                        <a:pt x="87" y="68"/>
                      </a:lnTo>
                      <a:lnTo>
                        <a:pt x="87" y="68"/>
                      </a:lnTo>
                      <a:lnTo>
                        <a:pt x="98" y="87"/>
                      </a:lnTo>
                      <a:lnTo>
                        <a:pt x="98" y="87"/>
                      </a:lnTo>
                      <a:lnTo>
                        <a:pt x="101" y="92"/>
                      </a:lnTo>
                      <a:lnTo>
                        <a:pt x="101" y="95"/>
                      </a:lnTo>
                      <a:lnTo>
                        <a:pt x="98" y="100"/>
                      </a:lnTo>
                      <a:lnTo>
                        <a:pt x="74" y="133"/>
                      </a:lnTo>
                      <a:lnTo>
                        <a:pt x="74" y="133"/>
                      </a:lnTo>
                      <a:lnTo>
                        <a:pt x="72" y="137"/>
                      </a:lnTo>
                      <a:lnTo>
                        <a:pt x="72" y="143"/>
                      </a:lnTo>
                      <a:lnTo>
                        <a:pt x="74" y="147"/>
                      </a:lnTo>
                      <a:lnTo>
                        <a:pt x="77" y="151"/>
                      </a:lnTo>
                      <a:lnTo>
                        <a:pt x="77" y="151"/>
                      </a:lnTo>
                      <a:lnTo>
                        <a:pt x="81" y="154"/>
                      </a:lnTo>
                      <a:lnTo>
                        <a:pt x="85" y="154"/>
                      </a:lnTo>
                      <a:lnTo>
                        <a:pt x="85" y="154"/>
                      </a:lnTo>
                      <a:lnTo>
                        <a:pt x="91" y="153"/>
                      </a:lnTo>
                      <a:lnTo>
                        <a:pt x="97" y="148"/>
                      </a:lnTo>
                      <a:lnTo>
                        <a:pt x="133" y="100"/>
                      </a:lnTo>
                      <a:lnTo>
                        <a:pt x="176" y="68"/>
                      </a:lnTo>
                      <a:lnTo>
                        <a:pt x="183" y="68"/>
                      </a:lnTo>
                      <a:lnTo>
                        <a:pt x="183" y="68"/>
                      </a:lnTo>
                      <a:lnTo>
                        <a:pt x="184" y="68"/>
                      </a:lnTo>
                      <a:lnTo>
                        <a:pt x="190" y="66"/>
                      </a:lnTo>
                      <a:lnTo>
                        <a:pt x="192" y="64"/>
                      </a:lnTo>
                      <a:lnTo>
                        <a:pt x="194" y="61"/>
                      </a:lnTo>
                      <a:lnTo>
                        <a:pt x="196" y="56"/>
                      </a:lnTo>
                      <a:lnTo>
                        <a:pt x="196" y="51"/>
                      </a:lnTo>
                      <a:lnTo>
                        <a:pt x="196" y="51"/>
                      </a:lnTo>
                      <a:lnTo>
                        <a:pt x="196" y="10"/>
                      </a:lnTo>
                      <a:lnTo>
                        <a:pt x="196" y="10"/>
                      </a:lnTo>
                      <a:lnTo>
                        <a:pt x="196" y="6"/>
                      </a:lnTo>
                      <a:lnTo>
                        <a:pt x="194" y="5"/>
                      </a:lnTo>
                      <a:lnTo>
                        <a:pt x="190" y="2"/>
                      </a:lnTo>
                      <a:lnTo>
                        <a:pt x="186" y="0"/>
                      </a:lnTo>
                      <a:lnTo>
                        <a:pt x="184" y="0"/>
                      </a:lnTo>
                      <a:lnTo>
                        <a:pt x="14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208" tIns="36104" rIns="72208" bIns="3610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78" b="0" i="0" u="none" strike="noStrike" kern="0" cap="none" spc="0" normalizeH="0" baseline="0" dirty="0">
                    <a:ln>
                      <a:noFill/>
                    </a:ln>
                    <a:solidFill>
                      <a:srgbClr val="FFFFFF"/>
                    </a:solidFill>
                    <a:effectLst/>
                    <a:uLnTx/>
                    <a:uFillTx/>
                    <a:latin typeface="Arial"/>
                  </a:endParaRPr>
                </a:p>
              </p:txBody>
            </p:sp>
            <p:sp>
              <p:nvSpPr>
                <p:cNvPr id="583" name="Freeform 212"/>
                <p:cNvSpPr>
                  <a:spLocks noEditPoints="1"/>
                </p:cNvSpPr>
                <p:nvPr/>
              </p:nvSpPr>
              <p:spPr bwMode="auto">
                <a:xfrm>
                  <a:off x="4935413" y="2237407"/>
                  <a:ext cx="269875" cy="288925"/>
                </a:xfrm>
                <a:custGeom>
                  <a:avLst/>
                  <a:gdLst>
                    <a:gd name="T0" fmla="*/ 23 w 170"/>
                    <a:gd name="T1" fmla="*/ 26 h 182"/>
                    <a:gd name="T2" fmla="*/ 1 w 170"/>
                    <a:gd name="T3" fmla="*/ 80 h 182"/>
                    <a:gd name="T4" fmla="*/ 1 w 170"/>
                    <a:gd name="T5" fmla="*/ 122 h 182"/>
                    <a:gd name="T6" fmla="*/ 16 w 170"/>
                    <a:gd name="T7" fmla="*/ 152 h 182"/>
                    <a:gd name="T8" fmla="*/ 70 w 170"/>
                    <a:gd name="T9" fmla="*/ 181 h 182"/>
                    <a:gd name="T10" fmla="*/ 121 w 170"/>
                    <a:gd name="T11" fmla="*/ 174 h 182"/>
                    <a:gd name="T12" fmla="*/ 164 w 170"/>
                    <a:gd name="T13" fmla="*/ 129 h 182"/>
                    <a:gd name="T14" fmla="*/ 168 w 170"/>
                    <a:gd name="T15" fmla="*/ 89 h 182"/>
                    <a:gd name="T16" fmla="*/ 155 w 170"/>
                    <a:gd name="T17" fmla="*/ 54 h 182"/>
                    <a:gd name="T18" fmla="*/ 115 w 170"/>
                    <a:gd name="T19" fmla="*/ 14 h 182"/>
                    <a:gd name="T20" fmla="*/ 131 w 170"/>
                    <a:gd name="T21" fmla="*/ 119 h 182"/>
                    <a:gd name="T22" fmla="*/ 124 w 170"/>
                    <a:gd name="T23" fmla="*/ 132 h 182"/>
                    <a:gd name="T24" fmla="*/ 101 w 170"/>
                    <a:gd name="T25" fmla="*/ 146 h 182"/>
                    <a:gd name="T26" fmla="*/ 102 w 170"/>
                    <a:gd name="T27" fmla="*/ 158 h 182"/>
                    <a:gd name="T28" fmla="*/ 96 w 170"/>
                    <a:gd name="T29" fmla="*/ 161 h 182"/>
                    <a:gd name="T30" fmla="*/ 89 w 170"/>
                    <a:gd name="T31" fmla="*/ 149 h 182"/>
                    <a:gd name="T32" fmla="*/ 66 w 170"/>
                    <a:gd name="T33" fmla="*/ 151 h 182"/>
                    <a:gd name="T34" fmla="*/ 56 w 170"/>
                    <a:gd name="T35" fmla="*/ 148 h 182"/>
                    <a:gd name="T36" fmla="*/ 50 w 170"/>
                    <a:gd name="T37" fmla="*/ 139 h 182"/>
                    <a:gd name="T38" fmla="*/ 56 w 170"/>
                    <a:gd name="T39" fmla="*/ 133 h 182"/>
                    <a:gd name="T40" fmla="*/ 70 w 170"/>
                    <a:gd name="T41" fmla="*/ 133 h 182"/>
                    <a:gd name="T42" fmla="*/ 93 w 170"/>
                    <a:gd name="T43" fmla="*/ 132 h 182"/>
                    <a:gd name="T44" fmla="*/ 106 w 170"/>
                    <a:gd name="T45" fmla="*/ 125 h 182"/>
                    <a:gd name="T46" fmla="*/ 111 w 170"/>
                    <a:gd name="T47" fmla="*/ 116 h 182"/>
                    <a:gd name="T48" fmla="*/ 105 w 170"/>
                    <a:gd name="T49" fmla="*/ 106 h 182"/>
                    <a:gd name="T50" fmla="*/ 96 w 170"/>
                    <a:gd name="T51" fmla="*/ 105 h 182"/>
                    <a:gd name="T52" fmla="*/ 69 w 170"/>
                    <a:gd name="T53" fmla="*/ 105 h 182"/>
                    <a:gd name="T54" fmla="*/ 49 w 170"/>
                    <a:gd name="T55" fmla="*/ 102 h 182"/>
                    <a:gd name="T56" fmla="*/ 39 w 170"/>
                    <a:gd name="T57" fmla="*/ 92 h 182"/>
                    <a:gd name="T58" fmla="*/ 36 w 170"/>
                    <a:gd name="T59" fmla="*/ 73 h 182"/>
                    <a:gd name="T60" fmla="*/ 43 w 170"/>
                    <a:gd name="T61" fmla="*/ 63 h 182"/>
                    <a:gd name="T62" fmla="*/ 63 w 170"/>
                    <a:gd name="T63" fmla="*/ 50 h 182"/>
                    <a:gd name="T64" fmla="*/ 62 w 170"/>
                    <a:gd name="T65" fmla="*/ 37 h 182"/>
                    <a:gd name="T66" fmla="*/ 67 w 170"/>
                    <a:gd name="T67" fmla="*/ 34 h 182"/>
                    <a:gd name="T68" fmla="*/ 75 w 170"/>
                    <a:gd name="T69" fmla="*/ 47 h 182"/>
                    <a:gd name="T70" fmla="*/ 99 w 170"/>
                    <a:gd name="T71" fmla="*/ 46 h 182"/>
                    <a:gd name="T72" fmla="*/ 106 w 170"/>
                    <a:gd name="T73" fmla="*/ 50 h 182"/>
                    <a:gd name="T74" fmla="*/ 111 w 170"/>
                    <a:gd name="T75" fmla="*/ 57 h 182"/>
                    <a:gd name="T76" fmla="*/ 105 w 170"/>
                    <a:gd name="T77" fmla="*/ 62 h 182"/>
                    <a:gd name="T78" fmla="*/ 101 w 170"/>
                    <a:gd name="T79" fmla="*/ 62 h 182"/>
                    <a:gd name="T80" fmla="*/ 83 w 170"/>
                    <a:gd name="T81" fmla="*/ 62 h 182"/>
                    <a:gd name="T82" fmla="*/ 67 w 170"/>
                    <a:gd name="T83" fmla="*/ 66 h 182"/>
                    <a:gd name="T84" fmla="*/ 57 w 170"/>
                    <a:gd name="T85" fmla="*/ 75 h 182"/>
                    <a:gd name="T86" fmla="*/ 60 w 170"/>
                    <a:gd name="T87" fmla="*/ 85 h 182"/>
                    <a:gd name="T88" fmla="*/ 73 w 170"/>
                    <a:gd name="T89" fmla="*/ 87 h 182"/>
                    <a:gd name="T90" fmla="*/ 93 w 170"/>
                    <a:gd name="T91" fmla="*/ 87 h 182"/>
                    <a:gd name="T92" fmla="*/ 113 w 170"/>
                    <a:gd name="T93" fmla="*/ 89 h 182"/>
                    <a:gd name="T94" fmla="*/ 131 w 170"/>
                    <a:gd name="T95" fmla="*/ 105 h 182"/>
                    <a:gd name="T96" fmla="*/ 131 w 170"/>
                    <a:gd name="T97" fmla="*/ 11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0" h="182">
                      <a:moveTo>
                        <a:pt x="90" y="0"/>
                      </a:moveTo>
                      <a:lnTo>
                        <a:pt x="30" y="16"/>
                      </a:lnTo>
                      <a:lnTo>
                        <a:pt x="30" y="16"/>
                      </a:lnTo>
                      <a:lnTo>
                        <a:pt x="23" y="26"/>
                      </a:lnTo>
                      <a:lnTo>
                        <a:pt x="16" y="39"/>
                      </a:lnTo>
                      <a:lnTo>
                        <a:pt x="10" y="52"/>
                      </a:lnTo>
                      <a:lnTo>
                        <a:pt x="4" y="66"/>
                      </a:lnTo>
                      <a:lnTo>
                        <a:pt x="1" y="80"/>
                      </a:lnTo>
                      <a:lnTo>
                        <a:pt x="0" y="95"/>
                      </a:lnTo>
                      <a:lnTo>
                        <a:pt x="0" y="109"/>
                      </a:lnTo>
                      <a:lnTo>
                        <a:pt x="1" y="122"/>
                      </a:lnTo>
                      <a:lnTo>
                        <a:pt x="1" y="122"/>
                      </a:lnTo>
                      <a:lnTo>
                        <a:pt x="4" y="131"/>
                      </a:lnTo>
                      <a:lnTo>
                        <a:pt x="7" y="138"/>
                      </a:lnTo>
                      <a:lnTo>
                        <a:pt x="11" y="145"/>
                      </a:lnTo>
                      <a:lnTo>
                        <a:pt x="16" y="152"/>
                      </a:lnTo>
                      <a:lnTo>
                        <a:pt x="27" y="164"/>
                      </a:lnTo>
                      <a:lnTo>
                        <a:pt x="40" y="172"/>
                      </a:lnTo>
                      <a:lnTo>
                        <a:pt x="55" y="178"/>
                      </a:lnTo>
                      <a:lnTo>
                        <a:pt x="70" y="181"/>
                      </a:lnTo>
                      <a:lnTo>
                        <a:pt x="88" y="182"/>
                      </a:lnTo>
                      <a:lnTo>
                        <a:pt x="103" y="179"/>
                      </a:lnTo>
                      <a:lnTo>
                        <a:pt x="103" y="179"/>
                      </a:lnTo>
                      <a:lnTo>
                        <a:pt x="121" y="174"/>
                      </a:lnTo>
                      <a:lnTo>
                        <a:pt x="135" y="165"/>
                      </a:lnTo>
                      <a:lnTo>
                        <a:pt x="147" y="155"/>
                      </a:lnTo>
                      <a:lnTo>
                        <a:pt x="157" y="144"/>
                      </a:lnTo>
                      <a:lnTo>
                        <a:pt x="164" y="129"/>
                      </a:lnTo>
                      <a:lnTo>
                        <a:pt x="168" y="113"/>
                      </a:lnTo>
                      <a:lnTo>
                        <a:pt x="170" y="106"/>
                      </a:lnTo>
                      <a:lnTo>
                        <a:pt x="170" y="98"/>
                      </a:lnTo>
                      <a:lnTo>
                        <a:pt x="168" y="89"/>
                      </a:lnTo>
                      <a:lnTo>
                        <a:pt x="167" y="79"/>
                      </a:lnTo>
                      <a:lnTo>
                        <a:pt x="167" y="79"/>
                      </a:lnTo>
                      <a:lnTo>
                        <a:pt x="162" y="67"/>
                      </a:lnTo>
                      <a:lnTo>
                        <a:pt x="155" y="54"/>
                      </a:lnTo>
                      <a:lnTo>
                        <a:pt x="147" y="43"/>
                      </a:lnTo>
                      <a:lnTo>
                        <a:pt x="136" y="33"/>
                      </a:lnTo>
                      <a:lnTo>
                        <a:pt x="126" y="23"/>
                      </a:lnTo>
                      <a:lnTo>
                        <a:pt x="115" y="14"/>
                      </a:lnTo>
                      <a:lnTo>
                        <a:pt x="102" y="6"/>
                      </a:lnTo>
                      <a:lnTo>
                        <a:pt x="90" y="0"/>
                      </a:lnTo>
                      <a:lnTo>
                        <a:pt x="90" y="0"/>
                      </a:lnTo>
                      <a:close/>
                      <a:moveTo>
                        <a:pt x="131" y="119"/>
                      </a:moveTo>
                      <a:lnTo>
                        <a:pt x="131" y="119"/>
                      </a:lnTo>
                      <a:lnTo>
                        <a:pt x="128" y="126"/>
                      </a:lnTo>
                      <a:lnTo>
                        <a:pt x="124" y="132"/>
                      </a:lnTo>
                      <a:lnTo>
                        <a:pt x="124" y="132"/>
                      </a:lnTo>
                      <a:lnTo>
                        <a:pt x="119" y="138"/>
                      </a:lnTo>
                      <a:lnTo>
                        <a:pt x="112" y="142"/>
                      </a:lnTo>
                      <a:lnTo>
                        <a:pt x="112" y="142"/>
                      </a:lnTo>
                      <a:lnTo>
                        <a:pt x="101" y="146"/>
                      </a:lnTo>
                      <a:lnTo>
                        <a:pt x="103" y="152"/>
                      </a:lnTo>
                      <a:lnTo>
                        <a:pt x="103" y="152"/>
                      </a:lnTo>
                      <a:lnTo>
                        <a:pt x="103" y="155"/>
                      </a:lnTo>
                      <a:lnTo>
                        <a:pt x="102" y="158"/>
                      </a:lnTo>
                      <a:lnTo>
                        <a:pt x="101" y="159"/>
                      </a:lnTo>
                      <a:lnTo>
                        <a:pt x="98" y="161"/>
                      </a:lnTo>
                      <a:lnTo>
                        <a:pt x="98" y="161"/>
                      </a:lnTo>
                      <a:lnTo>
                        <a:pt x="96" y="161"/>
                      </a:lnTo>
                      <a:lnTo>
                        <a:pt x="93" y="159"/>
                      </a:lnTo>
                      <a:lnTo>
                        <a:pt x="92" y="158"/>
                      </a:lnTo>
                      <a:lnTo>
                        <a:pt x="90" y="156"/>
                      </a:lnTo>
                      <a:lnTo>
                        <a:pt x="89" y="149"/>
                      </a:lnTo>
                      <a:lnTo>
                        <a:pt x="89" y="149"/>
                      </a:lnTo>
                      <a:lnTo>
                        <a:pt x="79" y="151"/>
                      </a:lnTo>
                      <a:lnTo>
                        <a:pt x="79" y="151"/>
                      </a:lnTo>
                      <a:lnTo>
                        <a:pt x="66" y="151"/>
                      </a:lnTo>
                      <a:lnTo>
                        <a:pt x="66" y="151"/>
                      </a:lnTo>
                      <a:lnTo>
                        <a:pt x="60" y="149"/>
                      </a:lnTo>
                      <a:lnTo>
                        <a:pt x="56" y="148"/>
                      </a:lnTo>
                      <a:lnTo>
                        <a:pt x="56" y="148"/>
                      </a:lnTo>
                      <a:lnTo>
                        <a:pt x="53" y="145"/>
                      </a:lnTo>
                      <a:lnTo>
                        <a:pt x="50" y="141"/>
                      </a:lnTo>
                      <a:lnTo>
                        <a:pt x="50" y="141"/>
                      </a:lnTo>
                      <a:lnTo>
                        <a:pt x="50" y="139"/>
                      </a:lnTo>
                      <a:lnTo>
                        <a:pt x="52" y="136"/>
                      </a:lnTo>
                      <a:lnTo>
                        <a:pt x="52" y="136"/>
                      </a:lnTo>
                      <a:lnTo>
                        <a:pt x="53" y="135"/>
                      </a:lnTo>
                      <a:lnTo>
                        <a:pt x="56" y="133"/>
                      </a:lnTo>
                      <a:lnTo>
                        <a:pt x="56" y="133"/>
                      </a:lnTo>
                      <a:lnTo>
                        <a:pt x="62" y="133"/>
                      </a:lnTo>
                      <a:lnTo>
                        <a:pt x="62" y="133"/>
                      </a:lnTo>
                      <a:lnTo>
                        <a:pt x="70" y="133"/>
                      </a:lnTo>
                      <a:lnTo>
                        <a:pt x="70" y="133"/>
                      </a:lnTo>
                      <a:lnTo>
                        <a:pt x="82" y="135"/>
                      </a:lnTo>
                      <a:lnTo>
                        <a:pt x="82" y="135"/>
                      </a:lnTo>
                      <a:lnTo>
                        <a:pt x="93" y="132"/>
                      </a:lnTo>
                      <a:lnTo>
                        <a:pt x="93" y="132"/>
                      </a:lnTo>
                      <a:lnTo>
                        <a:pt x="101" y="129"/>
                      </a:lnTo>
                      <a:lnTo>
                        <a:pt x="101" y="129"/>
                      </a:lnTo>
                      <a:lnTo>
                        <a:pt x="106" y="125"/>
                      </a:lnTo>
                      <a:lnTo>
                        <a:pt x="106" y="125"/>
                      </a:lnTo>
                      <a:lnTo>
                        <a:pt x="111" y="119"/>
                      </a:lnTo>
                      <a:lnTo>
                        <a:pt x="111" y="119"/>
                      </a:lnTo>
                      <a:lnTo>
                        <a:pt x="111" y="116"/>
                      </a:lnTo>
                      <a:lnTo>
                        <a:pt x="111" y="113"/>
                      </a:lnTo>
                      <a:lnTo>
                        <a:pt x="111" y="113"/>
                      </a:lnTo>
                      <a:lnTo>
                        <a:pt x="109" y="109"/>
                      </a:lnTo>
                      <a:lnTo>
                        <a:pt x="105" y="106"/>
                      </a:lnTo>
                      <a:lnTo>
                        <a:pt x="105" y="106"/>
                      </a:lnTo>
                      <a:lnTo>
                        <a:pt x="101" y="105"/>
                      </a:lnTo>
                      <a:lnTo>
                        <a:pt x="96" y="105"/>
                      </a:lnTo>
                      <a:lnTo>
                        <a:pt x="96" y="105"/>
                      </a:lnTo>
                      <a:lnTo>
                        <a:pt x="82" y="105"/>
                      </a:lnTo>
                      <a:lnTo>
                        <a:pt x="82" y="105"/>
                      </a:lnTo>
                      <a:lnTo>
                        <a:pt x="69" y="105"/>
                      </a:lnTo>
                      <a:lnTo>
                        <a:pt x="69" y="105"/>
                      </a:lnTo>
                      <a:lnTo>
                        <a:pt x="57" y="105"/>
                      </a:lnTo>
                      <a:lnTo>
                        <a:pt x="57" y="105"/>
                      </a:lnTo>
                      <a:lnTo>
                        <a:pt x="49" y="102"/>
                      </a:lnTo>
                      <a:lnTo>
                        <a:pt x="49" y="102"/>
                      </a:lnTo>
                      <a:lnTo>
                        <a:pt x="44" y="99"/>
                      </a:lnTo>
                      <a:lnTo>
                        <a:pt x="42" y="96"/>
                      </a:lnTo>
                      <a:lnTo>
                        <a:pt x="42" y="96"/>
                      </a:lnTo>
                      <a:lnTo>
                        <a:pt x="39" y="92"/>
                      </a:lnTo>
                      <a:lnTo>
                        <a:pt x="36" y="86"/>
                      </a:lnTo>
                      <a:lnTo>
                        <a:pt x="36" y="86"/>
                      </a:lnTo>
                      <a:lnTo>
                        <a:pt x="36" y="80"/>
                      </a:lnTo>
                      <a:lnTo>
                        <a:pt x="36" y="73"/>
                      </a:lnTo>
                      <a:lnTo>
                        <a:pt x="36" y="73"/>
                      </a:lnTo>
                      <a:lnTo>
                        <a:pt x="39" y="67"/>
                      </a:lnTo>
                      <a:lnTo>
                        <a:pt x="43" y="63"/>
                      </a:lnTo>
                      <a:lnTo>
                        <a:pt x="43" y="63"/>
                      </a:lnTo>
                      <a:lnTo>
                        <a:pt x="47" y="59"/>
                      </a:lnTo>
                      <a:lnTo>
                        <a:pt x="55" y="54"/>
                      </a:lnTo>
                      <a:lnTo>
                        <a:pt x="55" y="54"/>
                      </a:lnTo>
                      <a:lnTo>
                        <a:pt x="63" y="50"/>
                      </a:lnTo>
                      <a:lnTo>
                        <a:pt x="60" y="42"/>
                      </a:lnTo>
                      <a:lnTo>
                        <a:pt x="60" y="42"/>
                      </a:lnTo>
                      <a:lnTo>
                        <a:pt x="60" y="39"/>
                      </a:lnTo>
                      <a:lnTo>
                        <a:pt x="62" y="37"/>
                      </a:lnTo>
                      <a:lnTo>
                        <a:pt x="63" y="34"/>
                      </a:lnTo>
                      <a:lnTo>
                        <a:pt x="65" y="34"/>
                      </a:lnTo>
                      <a:lnTo>
                        <a:pt x="65" y="34"/>
                      </a:lnTo>
                      <a:lnTo>
                        <a:pt x="67" y="34"/>
                      </a:lnTo>
                      <a:lnTo>
                        <a:pt x="70" y="34"/>
                      </a:lnTo>
                      <a:lnTo>
                        <a:pt x="72" y="36"/>
                      </a:lnTo>
                      <a:lnTo>
                        <a:pt x="73" y="39"/>
                      </a:lnTo>
                      <a:lnTo>
                        <a:pt x="75" y="47"/>
                      </a:lnTo>
                      <a:lnTo>
                        <a:pt x="75" y="47"/>
                      </a:lnTo>
                      <a:lnTo>
                        <a:pt x="86" y="46"/>
                      </a:lnTo>
                      <a:lnTo>
                        <a:pt x="86" y="46"/>
                      </a:lnTo>
                      <a:lnTo>
                        <a:pt x="99" y="46"/>
                      </a:lnTo>
                      <a:lnTo>
                        <a:pt x="99" y="46"/>
                      </a:lnTo>
                      <a:lnTo>
                        <a:pt x="103" y="47"/>
                      </a:lnTo>
                      <a:lnTo>
                        <a:pt x="106" y="50"/>
                      </a:lnTo>
                      <a:lnTo>
                        <a:pt x="106" y="50"/>
                      </a:lnTo>
                      <a:lnTo>
                        <a:pt x="109" y="52"/>
                      </a:lnTo>
                      <a:lnTo>
                        <a:pt x="111" y="54"/>
                      </a:lnTo>
                      <a:lnTo>
                        <a:pt x="111" y="54"/>
                      </a:lnTo>
                      <a:lnTo>
                        <a:pt x="111" y="57"/>
                      </a:lnTo>
                      <a:lnTo>
                        <a:pt x="109" y="59"/>
                      </a:lnTo>
                      <a:lnTo>
                        <a:pt x="109" y="59"/>
                      </a:lnTo>
                      <a:lnTo>
                        <a:pt x="108" y="62"/>
                      </a:lnTo>
                      <a:lnTo>
                        <a:pt x="105" y="62"/>
                      </a:lnTo>
                      <a:lnTo>
                        <a:pt x="105" y="62"/>
                      </a:lnTo>
                      <a:lnTo>
                        <a:pt x="102" y="63"/>
                      </a:lnTo>
                      <a:lnTo>
                        <a:pt x="102" y="63"/>
                      </a:lnTo>
                      <a:lnTo>
                        <a:pt x="101" y="62"/>
                      </a:lnTo>
                      <a:lnTo>
                        <a:pt x="101" y="62"/>
                      </a:lnTo>
                      <a:lnTo>
                        <a:pt x="89" y="62"/>
                      </a:lnTo>
                      <a:lnTo>
                        <a:pt x="89" y="62"/>
                      </a:lnTo>
                      <a:lnTo>
                        <a:pt x="83" y="62"/>
                      </a:lnTo>
                      <a:lnTo>
                        <a:pt x="75" y="63"/>
                      </a:lnTo>
                      <a:lnTo>
                        <a:pt x="75" y="63"/>
                      </a:lnTo>
                      <a:lnTo>
                        <a:pt x="67" y="66"/>
                      </a:lnTo>
                      <a:lnTo>
                        <a:pt x="67" y="66"/>
                      </a:lnTo>
                      <a:lnTo>
                        <a:pt x="60" y="70"/>
                      </a:lnTo>
                      <a:lnTo>
                        <a:pt x="60" y="70"/>
                      </a:lnTo>
                      <a:lnTo>
                        <a:pt x="57" y="75"/>
                      </a:lnTo>
                      <a:lnTo>
                        <a:pt x="57" y="75"/>
                      </a:lnTo>
                      <a:lnTo>
                        <a:pt x="57" y="80"/>
                      </a:lnTo>
                      <a:lnTo>
                        <a:pt x="57" y="80"/>
                      </a:lnTo>
                      <a:lnTo>
                        <a:pt x="59" y="82"/>
                      </a:lnTo>
                      <a:lnTo>
                        <a:pt x="60" y="85"/>
                      </a:lnTo>
                      <a:lnTo>
                        <a:pt x="60" y="85"/>
                      </a:lnTo>
                      <a:lnTo>
                        <a:pt x="66" y="86"/>
                      </a:lnTo>
                      <a:lnTo>
                        <a:pt x="66" y="86"/>
                      </a:lnTo>
                      <a:lnTo>
                        <a:pt x="73" y="87"/>
                      </a:lnTo>
                      <a:lnTo>
                        <a:pt x="73" y="87"/>
                      </a:lnTo>
                      <a:lnTo>
                        <a:pt x="83" y="87"/>
                      </a:lnTo>
                      <a:lnTo>
                        <a:pt x="83" y="87"/>
                      </a:lnTo>
                      <a:lnTo>
                        <a:pt x="93" y="87"/>
                      </a:lnTo>
                      <a:lnTo>
                        <a:pt x="93" y="87"/>
                      </a:lnTo>
                      <a:lnTo>
                        <a:pt x="105" y="87"/>
                      </a:lnTo>
                      <a:lnTo>
                        <a:pt x="105" y="87"/>
                      </a:lnTo>
                      <a:lnTo>
                        <a:pt x="113" y="89"/>
                      </a:lnTo>
                      <a:lnTo>
                        <a:pt x="122" y="92"/>
                      </a:lnTo>
                      <a:lnTo>
                        <a:pt x="122" y="92"/>
                      </a:lnTo>
                      <a:lnTo>
                        <a:pt x="128" y="98"/>
                      </a:lnTo>
                      <a:lnTo>
                        <a:pt x="131" y="105"/>
                      </a:lnTo>
                      <a:lnTo>
                        <a:pt x="131" y="105"/>
                      </a:lnTo>
                      <a:lnTo>
                        <a:pt x="132" y="112"/>
                      </a:lnTo>
                      <a:lnTo>
                        <a:pt x="131" y="119"/>
                      </a:lnTo>
                      <a:lnTo>
                        <a:pt x="13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208" tIns="36104" rIns="72208" bIns="3610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78" b="0" i="0" u="none" strike="noStrike" kern="0" cap="none" spc="0" normalizeH="0" baseline="0" dirty="0">
                    <a:ln>
                      <a:noFill/>
                    </a:ln>
                    <a:solidFill>
                      <a:srgbClr val="FFFFFF"/>
                    </a:solidFill>
                    <a:effectLst/>
                    <a:uLnTx/>
                    <a:uFillTx/>
                    <a:latin typeface="Arial"/>
                  </a:endParaRPr>
                </a:p>
              </p:txBody>
            </p:sp>
            <p:sp>
              <p:nvSpPr>
                <p:cNvPr id="584" name="Freeform 213"/>
                <p:cNvSpPr>
                  <a:spLocks/>
                </p:cNvSpPr>
                <p:nvPr/>
              </p:nvSpPr>
              <p:spPr bwMode="auto">
                <a:xfrm>
                  <a:off x="4952876" y="2150094"/>
                  <a:ext cx="119063" cy="93663"/>
                </a:xfrm>
                <a:custGeom>
                  <a:avLst/>
                  <a:gdLst>
                    <a:gd name="T0" fmla="*/ 21 w 75"/>
                    <a:gd name="T1" fmla="*/ 59 h 59"/>
                    <a:gd name="T2" fmla="*/ 21 w 75"/>
                    <a:gd name="T3" fmla="*/ 59 h 59"/>
                    <a:gd name="T4" fmla="*/ 48 w 75"/>
                    <a:gd name="T5" fmla="*/ 53 h 59"/>
                    <a:gd name="T6" fmla="*/ 74 w 75"/>
                    <a:gd name="T7" fmla="*/ 46 h 59"/>
                    <a:gd name="T8" fmla="*/ 74 w 75"/>
                    <a:gd name="T9" fmla="*/ 46 h 59"/>
                    <a:gd name="T10" fmla="*/ 75 w 75"/>
                    <a:gd name="T11" fmla="*/ 7 h 59"/>
                    <a:gd name="T12" fmla="*/ 75 w 75"/>
                    <a:gd name="T13" fmla="*/ 7 h 59"/>
                    <a:gd name="T14" fmla="*/ 74 w 75"/>
                    <a:gd name="T15" fmla="*/ 3 h 59"/>
                    <a:gd name="T16" fmla="*/ 72 w 75"/>
                    <a:gd name="T17" fmla="*/ 0 h 59"/>
                    <a:gd name="T18" fmla="*/ 69 w 75"/>
                    <a:gd name="T19" fmla="*/ 0 h 59"/>
                    <a:gd name="T20" fmla="*/ 67 w 75"/>
                    <a:gd name="T21" fmla="*/ 2 h 59"/>
                    <a:gd name="T22" fmla="*/ 62 w 75"/>
                    <a:gd name="T23" fmla="*/ 5 h 59"/>
                    <a:gd name="T24" fmla="*/ 59 w 75"/>
                    <a:gd name="T25" fmla="*/ 9 h 59"/>
                    <a:gd name="T26" fmla="*/ 58 w 75"/>
                    <a:gd name="T27" fmla="*/ 15 h 59"/>
                    <a:gd name="T28" fmla="*/ 56 w 75"/>
                    <a:gd name="T29" fmla="*/ 20 h 59"/>
                    <a:gd name="T30" fmla="*/ 56 w 75"/>
                    <a:gd name="T31" fmla="*/ 20 h 59"/>
                    <a:gd name="T32" fmla="*/ 55 w 75"/>
                    <a:gd name="T33" fmla="*/ 19 h 59"/>
                    <a:gd name="T34" fmla="*/ 55 w 75"/>
                    <a:gd name="T35" fmla="*/ 19 h 59"/>
                    <a:gd name="T36" fmla="*/ 52 w 75"/>
                    <a:gd name="T37" fmla="*/ 13 h 59"/>
                    <a:gd name="T38" fmla="*/ 52 w 75"/>
                    <a:gd name="T39" fmla="*/ 13 h 59"/>
                    <a:gd name="T40" fmla="*/ 48 w 75"/>
                    <a:gd name="T41" fmla="*/ 9 h 59"/>
                    <a:gd name="T42" fmla="*/ 41 w 75"/>
                    <a:gd name="T43" fmla="*/ 5 h 59"/>
                    <a:gd name="T44" fmla="*/ 41 w 75"/>
                    <a:gd name="T45" fmla="*/ 5 h 59"/>
                    <a:gd name="T46" fmla="*/ 36 w 75"/>
                    <a:gd name="T47" fmla="*/ 3 h 59"/>
                    <a:gd name="T48" fmla="*/ 32 w 75"/>
                    <a:gd name="T49" fmla="*/ 5 h 59"/>
                    <a:gd name="T50" fmla="*/ 29 w 75"/>
                    <a:gd name="T51" fmla="*/ 7 h 59"/>
                    <a:gd name="T52" fmla="*/ 28 w 75"/>
                    <a:gd name="T53" fmla="*/ 12 h 59"/>
                    <a:gd name="T54" fmla="*/ 28 w 75"/>
                    <a:gd name="T55" fmla="*/ 12 h 59"/>
                    <a:gd name="T56" fmla="*/ 25 w 75"/>
                    <a:gd name="T57" fmla="*/ 19 h 59"/>
                    <a:gd name="T58" fmla="*/ 23 w 75"/>
                    <a:gd name="T59" fmla="*/ 26 h 59"/>
                    <a:gd name="T60" fmla="*/ 23 w 75"/>
                    <a:gd name="T61" fmla="*/ 26 h 59"/>
                    <a:gd name="T62" fmla="*/ 23 w 75"/>
                    <a:gd name="T63" fmla="*/ 29 h 59"/>
                    <a:gd name="T64" fmla="*/ 23 w 75"/>
                    <a:gd name="T65" fmla="*/ 29 h 59"/>
                    <a:gd name="T66" fmla="*/ 21 w 75"/>
                    <a:gd name="T67" fmla="*/ 23 h 59"/>
                    <a:gd name="T68" fmla="*/ 15 w 75"/>
                    <a:gd name="T69" fmla="*/ 20 h 59"/>
                    <a:gd name="T70" fmla="*/ 10 w 75"/>
                    <a:gd name="T71" fmla="*/ 17 h 59"/>
                    <a:gd name="T72" fmla="*/ 6 w 75"/>
                    <a:gd name="T73" fmla="*/ 16 h 59"/>
                    <a:gd name="T74" fmla="*/ 3 w 75"/>
                    <a:gd name="T75" fmla="*/ 17 h 59"/>
                    <a:gd name="T76" fmla="*/ 0 w 75"/>
                    <a:gd name="T77" fmla="*/ 19 h 59"/>
                    <a:gd name="T78" fmla="*/ 0 w 75"/>
                    <a:gd name="T79" fmla="*/ 22 h 59"/>
                    <a:gd name="T80" fmla="*/ 2 w 75"/>
                    <a:gd name="T81" fmla="*/ 25 h 59"/>
                    <a:gd name="T82" fmla="*/ 2 w 75"/>
                    <a:gd name="T83" fmla="*/ 25 h 59"/>
                    <a:gd name="T84" fmla="*/ 21 w 75"/>
                    <a:gd name="T85" fmla="*/ 59 h 59"/>
                    <a:gd name="T86" fmla="*/ 21 w 75"/>
                    <a:gd name="T8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9">
                      <a:moveTo>
                        <a:pt x="21" y="59"/>
                      </a:moveTo>
                      <a:lnTo>
                        <a:pt x="21" y="59"/>
                      </a:lnTo>
                      <a:lnTo>
                        <a:pt x="48" y="53"/>
                      </a:lnTo>
                      <a:lnTo>
                        <a:pt x="74" y="46"/>
                      </a:lnTo>
                      <a:lnTo>
                        <a:pt x="74" y="46"/>
                      </a:lnTo>
                      <a:lnTo>
                        <a:pt x="75" y="7"/>
                      </a:lnTo>
                      <a:lnTo>
                        <a:pt x="75" y="7"/>
                      </a:lnTo>
                      <a:lnTo>
                        <a:pt x="74" y="3"/>
                      </a:lnTo>
                      <a:lnTo>
                        <a:pt x="72" y="0"/>
                      </a:lnTo>
                      <a:lnTo>
                        <a:pt x="69" y="0"/>
                      </a:lnTo>
                      <a:lnTo>
                        <a:pt x="67" y="2"/>
                      </a:lnTo>
                      <a:lnTo>
                        <a:pt x="62" y="5"/>
                      </a:lnTo>
                      <a:lnTo>
                        <a:pt x="59" y="9"/>
                      </a:lnTo>
                      <a:lnTo>
                        <a:pt x="58" y="15"/>
                      </a:lnTo>
                      <a:lnTo>
                        <a:pt x="56" y="20"/>
                      </a:lnTo>
                      <a:lnTo>
                        <a:pt x="56" y="20"/>
                      </a:lnTo>
                      <a:lnTo>
                        <a:pt x="55" y="19"/>
                      </a:lnTo>
                      <a:lnTo>
                        <a:pt x="55" y="19"/>
                      </a:lnTo>
                      <a:lnTo>
                        <a:pt x="52" y="13"/>
                      </a:lnTo>
                      <a:lnTo>
                        <a:pt x="52" y="13"/>
                      </a:lnTo>
                      <a:lnTo>
                        <a:pt x="48" y="9"/>
                      </a:lnTo>
                      <a:lnTo>
                        <a:pt x="41" y="5"/>
                      </a:lnTo>
                      <a:lnTo>
                        <a:pt x="41" y="5"/>
                      </a:lnTo>
                      <a:lnTo>
                        <a:pt x="36" y="3"/>
                      </a:lnTo>
                      <a:lnTo>
                        <a:pt x="32" y="5"/>
                      </a:lnTo>
                      <a:lnTo>
                        <a:pt x="29" y="7"/>
                      </a:lnTo>
                      <a:lnTo>
                        <a:pt x="28" y="12"/>
                      </a:lnTo>
                      <a:lnTo>
                        <a:pt x="28" y="12"/>
                      </a:lnTo>
                      <a:lnTo>
                        <a:pt x="25" y="19"/>
                      </a:lnTo>
                      <a:lnTo>
                        <a:pt x="23" y="26"/>
                      </a:lnTo>
                      <a:lnTo>
                        <a:pt x="23" y="26"/>
                      </a:lnTo>
                      <a:lnTo>
                        <a:pt x="23" y="29"/>
                      </a:lnTo>
                      <a:lnTo>
                        <a:pt x="23" y="29"/>
                      </a:lnTo>
                      <a:lnTo>
                        <a:pt x="21" y="23"/>
                      </a:lnTo>
                      <a:lnTo>
                        <a:pt x="15" y="20"/>
                      </a:lnTo>
                      <a:lnTo>
                        <a:pt x="10" y="17"/>
                      </a:lnTo>
                      <a:lnTo>
                        <a:pt x="6" y="16"/>
                      </a:lnTo>
                      <a:lnTo>
                        <a:pt x="3" y="17"/>
                      </a:lnTo>
                      <a:lnTo>
                        <a:pt x="0" y="19"/>
                      </a:lnTo>
                      <a:lnTo>
                        <a:pt x="0" y="22"/>
                      </a:lnTo>
                      <a:lnTo>
                        <a:pt x="2" y="25"/>
                      </a:lnTo>
                      <a:lnTo>
                        <a:pt x="2" y="25"/>
                      </a:lnTo>
                      <a:lnTo>
                        <a:pt x="21" y="59"/>
                      </a:lnTo>
                      <a:lnTo>
                        <a:pt x="21"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208" tIns="36104" rIns="72208" bIns="3610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78" b="0" i="0" u="none" strike="noStrike" kern="0" cap="none" spc="0" normalizeH="0" baseline="0" dirty="0">
                    <a:ln>
                      <a:noFill/>
                    </a:ln>
                    <a:solidFill>
                      <a:srgbClr val="FFFFFF"/>
                    </a:solidFill>
                    <a:effectLst/>
                    <a:uLnTx/>
                    <a:uFillTx/>
                    <a:latin typeface="Arial"/>
                  </a:endParaRPr>
                </a:p>
              </p:txBody>
            </p:sp>
          </p:grpSp>
          <p:sp>
            <p:nvSpPr>
              <p:cNvPr id="581" name="Oval 580"/>
              <p:cNvSpPr/>
              <p:nvPr/>
            </p:nvSpPr>
            <p:spPr>
              <a:xfrm>
                <a:off x="310670" y="4863061"/>
                <a:ext cx="147484" cy="160790"/>
              </a:xfrm>
              <a:prstGeom prst="ellipse">
                <a:avLst/>
              </a:prstGeom>
              <a:solidFill>
                <a:srgbClr val="005A8C"/>
              </a:solidFill>
              <a:ln w="12700" cap="flat" cmpd="sng" algn="ctr">
                <a:noFill/>
                <a:prstDash val="solid"/>
                <a:miter lim="800000"/>
              </a:ln>
              <a:effectLst/>
            </p:spPr>
            <p:txBody>
              <a:bodyPr lIns="166228" tIns="166228" rIns="166228" bIns="166228" rtlCol="0" anchor="ctr">
                <a:prstTxWarp prst="textNoShape">
                  <a:avLst/>
                </a:prstTxWarp>
              </a:bodyPr>
              <a:lstStyle/>
              <a:p>
                <a:pPr marL="0" marR="0" lvl="0" indent="0" algn="l" defTabSz="914400" eaLnBrk="0" fontAlgn="auto" latinLnBrk="0" hangingPunct="0">
                  <a:lnSpc>
                    <a:spcPct val="150000"/>
                  </a:lnSpc>
                  <a:spcBef>
                    <a:spcPts val="554"/>
                  </a:spcBef>
                  <a:spcAft>
                    <a:spcPts val="0"/>
                  </a:spcAft>
                  <a:buClrTx/>
                  <a:buSzPct val="90000"/>
                  <a:buFontTx/>
                  <a:buNone/>
                  <a:tabLst/>
                  <a:defRPr/>
                </a:pPr>
                <a:endParaRPr kumimoji="0" lang="en-US" sz="924" b="0" i="0" u="none" strike="noStrike" kern="0" cap="none" spc="0" normalizeH="0" baseline="0" dirty="0">
                  <a:ln>
                    <a:noFill/>
                  </a:ln>
                  <a:solidFill>
                    <a:srgbClr val="FFFFFF"/>
                  </a:solidFill>
                  <a:effectLst/>
                  <a:uLnTx/>
                  <a:uFillTx/>
                  <a:latin typeface="Arial"/>
                  <a:ea typeface="ＭＳ Ｐゴシック" pitchFamily="-107" charset="-128"/>
                  <a:cs typeface="ＭＳ Ｐゴシック" pitchFamily="-107" charset="-128"/>
                </a:endParaRPr>
              </a:p>
            </p:txBody>
          </p:sp>
        </p:grpSp>
        <p:sp>
          <p:nvSpPr>
            <p:cNvPr id="579" name="TextBox 578"/>
            <p:cNvSpPr txBox="1"/>
            <p:nvPr/>
          </p:nvSpPr>
          <p:spPr>
            <a:xfrm rot="21090012">
              <a:off x="276307" y="4747549"/>
              <a:ext cx="136989" cy="402775"/>
            </a:xfrm>
            <a:prstGeom prst="rect">
              <a:avLst/>
            </a:prstGeom>
            <a:noFill/>
          </p:spPr>
          <p:txBody>
            <a:bodyPr wrap="square" lIns="132982" tIns="99737" rIns="132982" bIns="99737" rtlCol="0">
              <a:spAutoFit/>
            </a:bodyPr>
            <a:lstStyle/>
            <a:p>
              <a:pPr marL="0" marR="0" lvl="0" indent="0" algn="l" defTabSz="914400" eaLnBrk="1" fontAlgn="auto" latinLnBrk="0" hangingPunct="1">
                <a:lnSpc>
                  <a:spcPct val="100000"/>
                </a:lnSpc>
                <a:spcBef>
                  <a:spcPts val="0"/>
                </a:spcBef>
                <a:spcAft>
                  <a:spcPts val="0"/>
                </a:spcAft>
                <a:buClrTx/>
                <a:buSzPct val="110000"/>
                <a:buFontTx/>
                <a:buNone/>
                <a:tabLst/>
                <a:defRPr/>
              </a:pPr>
              <a:r>
                <a:rPr kumimoji="0" lang="en-US" sz="1108" b="0" i="0" u="none" strike="noStrike" kern="0" cap="none" spc="0" normalizeH="0" baseline="0" dirty="0">
                  <a:ln>
                    <a:noFill/>
                  </a:ln>
                  <a:solidFill>
                    <a:srgbClr val="FFFFFF"/>
                  </a:solidFill>
                  <a:effectLst/>
                  <a:uLnTx/>
                  <a:uFillTx/>
                  <a:latin typeface="Arial"/>
                </a:rPr>
                <a:t>€</a:t>
              </a:r>
            </a:p>
          </p:txBody>
        </p:sp>
      </p:grpSp>
      <p:sp>
        <p:nvSpPr>
          <p:cNvPr id="575" name="Rectangle: Rounded Corners 59">
            <a:extLst>
              <a:ext uri="{FF2B5EF4-FFF2-40B4-BE49-F238E27FC236}">
                <a16:creationId xmlns:a16="http://schemas.microsoft.com/office/drawing/2014/main" id="{1874B64A-21F1-48F2-9E52-67F2CE07989A}"/>
              </a:ext>
            </a:extLst>
          </p:cNvPr>
          <p:cNvSpPr/>
          <p:nvPr/>
        </p:nvSpPr>
        <p:spPr>
          <a:xfrm>
            <a:off x="446053" y="3105289"/>
            <a:ext cx="2367575" cy="531928"/>
          </a:xfrm>
          <a:prstGeom prst="roundRect">
            <a:avLst>
              <a:gd name="adj" fmla="val 0"/>
            </a:avLst>
          </a:prstGeom>
          <a:solidFill>
            <a:srgbClr val="005A8C"/>
          </a:solidFill>
          <a:ln w="12700" cap="flat" cmpd="sng" algn="ctr">
            <a:solidFill>
              <a:srgbClr val="005A8C"/>
            </a:solidFill>
            <a:prstDash val="solid"/>
            <a:miter lim="800000"/>
          </a:ln>
          <a:effectLst/>
        </p:spPr>
        <p:txBody>
          <a:bodyPr lIns="166228" tIns="166228" rIns="166228" bIns="166228" rtlCol="0" anchor="ctr">
            <a:prstTxWarp prst="textNoShape">
              <a:avLst/>
            </a:prstTxWarp>
          </a:bodyPr>
          <a:lstStyle/>
          <a:p>
            <a:pPr marL="0" marR="0" lvl="0" indent="0" algn="l" defTabSz="914400" eaLnBrk="0" fontAlgn="auto" latinLnBrk="0" hangingPunct="0">
              <a:lnSpc>
                <a:spcPct val="150000"/>
              </a:lnSpc>
              <a:spcBef>
                <a:spcPts val="554"/>
              </a:spcBef>
              <a:spcAft>
                <a:spcPts val="0"/>
              </a:spcAft>
              <a:buClrTx/>
              <a:buSzPct val="90000"/>
              <a:buFontTx/>
              <a:buNone/>
              <a:tabLst/>
              <a:defRPr/>
            </a:pPr>
            <a:endParaRPr kumimoji="0" lang="en-US" sz="970" b="0" i="0" u="none" strike="noStrike" kern="0" cap="none" spc="0" normalizeH="0" baseline="0" dirty="0">
              <a:ln>
                <a:noFill/>
              </a:ln>
              <a:solidFill>
                <a:srgbClr val="005A8C">
                  <a:lumMod val="75000"/>
                </a:srgbClr>
              </a:solidFill>
              <a:effectLst/>
              <a:uLnTx/>
              <a:uFillTx/>
              <a:latin typeface="Arial"/>
              <a:ea typeface="ＭＳ Ｐゴシック" pitchFamily="-107" charset="-128"/>
              <a:cs typeface="ＭＳ Ｐゴシック" pitchFamily="-107" charset="-128"/>
            </a:endParaRPr>
          </a:p>
        </p:txBody>
      </p:sp>
      <p:sp>
        <p:nvSpPr>
          <p:cNvPr id="576" name="TextBox 76">
            <a:extLst>
              <a:ext uri="{FF2B5EF4-FFF2-40B4-BE49-F238E27FC236}">
                <a16:creationId xmlns:a16="http://schemas.microsoft.com/office/drawing/2014/main" id="{52DBB457-4AFC-4E65-B27D-369D4DE17CFD}"/>
              </a:ext>
            </a:extLst>
          </p:cNvPr>
          <p:cNvSpPr txBox="1"/>
          <p:nvPr/>
        </p:nvSpPr>
        <p:spPr>
          <a:xfrm>
            <a:off x="970646" y="3030864"/>
            <a:ext cx="1334559" cy="457198"/>
          </a:xfrm>
          <a:prstGeom prst="rect">
            <a:avLst/>
          </a:prstGeom>
          <a:noFill/>
        </p:spPr>
        <p:txBody>
          <a:bodyPr wrap="none" lIns="132982" tIns="99737" rIns="132982" bIns="99737" rtlCol="0">
            <a:spAutoFit/>
          </a:bodyPr>
          <a:lstStyle/>
          <a:p>
            <a:pPr marL="0" marR="0" lvl="0" indent="0" defTabSz="914400" eaLnBrk="1" fontAlgn="auto" latinLnBrk="0" hangingPunct="1">
              <a:lnSpc>
                <a:spcPct val="100000"/>
              </a:lnSpc>
              <a:spcBef>
                <a:spcPts val="0"/>
              </a:spcBef>
              <a:spcAft>
                <a:spcPts val="0"/>
              </a:spcAft>
              <a:buClrTx/>
              <a:buSzPct val="110000"/>
              <a:buFontTx/>
              <a:buNone/>
              <a:tabLst/>
              <a:defRPr/>
            </a:pPr>
            <a:r>
              <a:rPr kumimoji="0" lang="en-US" sz="1662" b="1" i="0" u="none" strike="noStrike" kern="0" cap="none" spc="0" normalizeH="0" baseline="0" dirty="0">
                <a:ln>
                  <a:noFill/>
                </a:ln>
                <a:solidFill>
                  <a:srgbClr val="FFFFFF"/>
                </a:solidFill>
                <a:effectLst/>
                <a:uLnTx/>
                <a:uFillTx/>
              </a:rPr>
              <a:t>EUR </a:t>
            </a:r>
            <a:r>
              <a:rPr lang="en-US" sz="1662" b="1" kern="0" dirty="0">
                <a:solidFill>
                  <a:srgbClr val="FFFFFF"/>
                </a:solidFill>
              </a:rPr>
              <a:t>9</a:t>
            </a:r>
            <a:r>
              <a:rPr kumimoji="0" lang="en-US" sz="1662" b="1" i="0" u="none" strike="noStrike" kern="0" cap="none" spc="0" normalizeH="0" baseline="0" dirty="0">
                <a:ln>
                  <a:noFill/>
                </a:ln>
                <a:solidFill>
                  <a:srgbClr val="FFFFFF"/>
                </a:solidFill>
                <a:effectLst/>
                <a:uLnTx/>
                <a:uFillTx/>
              </a:rPr>
              <a:t>.9bn</a:t>
            </a:r>
          </a:p>
        </p:txBody>
      </p:sp>
      <p:sp>
        <p:nvSpPr>
          <p:cNvPr id="577" name="TextBox 77">
            <a:extLst>
              <a:ext uri="{FF2B5EF4-FFF2-40B4-BE49-F238E27FC236}">
                <a16:creationId xmlns:a16="http://schemas.microsoft.com/office/drawing/2014/main" id="{54340765-182B-408F-A887-BB5C20796D52}"/>
              </a:ext>
            </a:extLst>
          </p:cNvPr>
          <p:cNvSpPr txBox="1"/>
          <p:nvPr/>
        </p:nvSpPr>
        <p:spPr>
          <a:xfrm>
            <a:off x="964413" y="3249626"/>
            <a:ext cx="2050135" cy="400380"/>
          </a:xfrm>
          <a:prstGeom prst="rect">
            <a:avLst/>
          </a:prstGeom>
          <a:noFill/>
        </p:spPr>
        <p:txBody>
          <a:bodyPr wrap="square" lIns="132982" tIns="99737" rIns="132982" bIns="99737" rtlCol="0">
            <a:spAutoFit/>
          </a:bodyPr>
          <a:lstStyle/>
          <a:p>
            <a:pPr marL="0" marR="0" lvl="0" indent="0" defTabSz="914400" eaLnBrk="1" fontAlgn="auto" latinLnBrk="0" hangingPunct="1">
              <a:lnSpc>
                <a:spcPct val="100000"/>
              </a:lnSpc>
              <a:spcBef>
                <a:spcPts val="0"/>
              </a:spcBef>
              <a:spcAft>
                <a:spcPts val="0"/>
              </a:spcAft>
              <a:buClrTx/>
              <a:buSzPct val="110000"/>
              <a:buFontTx/>
              <a:buNone/>
              <a:tabLst/>
              <a:defRPr/>
            </a:pPr>
            <a:r>
              <a:rPr kumimoji="0" lang="en-US" sz="1293" b="0" i="0" u="none" strike="noStrike" kern="0" cap="none" spc="0" normalizeH="0" baseline="0" dirty="0">
                <a:ln>
                  <a:noFill/>
                </a:ln>
                <a:solidFill>
                  <a:srgbClr val="FFFFFF"/>
                </a:solidFill>
                <a:effectLst/>
                <a:uLnTx/>
                <a:uFillTx/>
              </a:rPr>
              <a:t>Global portfolio</a:t>
            </a:r>
          </a:p>
        </p:txBody>
      </p:sp>
      <p:sp>
        <p:nvSpPr>
          <p:cNvPr id="569" name="Freeform 4956"/>
          <p:cNvSpPr>
            <a:spLocks noEditPoints="1"/>
          </p:cNvSpPr>
          <p:nvPr/>
        </p:nvSpPr>
        <p:spPr bwMode="auto">
          <a:xfrm>
            <a:off x="571772" y="3155996"/>
            <a:ext cx="378381" cy="373981"/>
          </a:xfrm>
          <a:custGeom>
            <a:avLst/>
            <a:gdLst>
              <a:gd name="T0" fmla="*/ 154 w 344"/>
              <a:gd name="T1" fmla="*/ 30 h 340"/>
              <a:gd name="T2" fmla="*/ 122 w 344"/>
              <a:gd name="T3" fmla="*/ 34 h 340"/>
              <a:gd name="T4" fmla="*/ 94 w 344"/>
              <a:gd name="T5" fmla="*/ 42 h 340"/>
              <a:gd name="T6" fmla="*/ 68 w 344"/>
              <a:gd name="T7" fmla="*/ 56 h 340"/>
              <a:gd name="T8" fmla="*/ 44 w 344"/>
              <a:gd name="T9" fmla="*/ 76 h 340"/>
              <a:gd name="T10" fmla="*/ 26 w 344"/>
              <a:gd name="T11" fmla="*/ 98 h 340"/>
              <a:gd name="T12" fmla="*/ 12 w 344"/>
              <a:gd name="T13" fmla="*/ 124 h 340"/>
              <a:gd name="T14" fmla="*/ 2 w 344"/>
              <a:gd name="T15" fmla="*/ 154 h 340"/>
              <a:gd name="T16" fmla="*/ 0 w 344"/>
              <a:gd name="T17" fmla="*/ 186 h 340"/>
              <a:gd name="T18" fmla="*/ 0 w 344"/>
              <a:gd name="T19" fmla="*/ 200 h 340"/>
              <a:gd name="T20" fmla="*/ 6 w 344"/>
              <a:gd name="T21" fmla="*/ 232 h 340"/>
              <a:gd name="T22" fmla="*/ 18 w 344"/>
              <a:gd name="T23" fmla="*/ 258 h 340"/>
              <a:gd name="T24" fmla="*/ 34 w 344"/>
              <a:gd name="T25" fmla="*/ 284 h 340"/>
              <a:gd name="T26" fmla="*/ 56 w 344"/>
              <a:gd name="T27" fmla="*/ 304 h 340"/>
              <a:gd name="T28" fmla="*/ 80 w 344"/>
              <a:gd name="T29" fmla="*/ 322 h 340"/>
              <a:gd name="T30" fmla="*/ 108 w 344"/>
              <a:gd name="T31" fmla="*/ 332 h 340"/>
              <a:gd name="T32" fmla="*/ 138 w 344"/>
              <a:gd name="T33" fmla="*/ 338 h 340"/>
              <a:gd name="T34" fmla="*/ 154 w 344"/>
              <a:gd name="T35" fmla="*/ 340 h 340"/>
              <a:gd name="T36" fmla="*/ 196 w 344"/>
              <a:gd name="T37" fmla="*/ 334 h 340"/>
              <a:gd name="T38" fmla="*/ 232 w 344"/>
              <a:gd name="T39" fmla="*/ 318 h 340"/>
              <a:gd name="T40" fmla="*/ 264 w 344"/>
              <a:gd name="T41" fmla="*/ 294 h 340"/>
              <a:gd name="T42" fmla="*/ 288 w 344"/>
              <a:gd name="T43" fmla="*/ 262 h 340"/>
              <a:gd name="T44" fmla="*/ 154 w 344"/>
              <a:gd name="T45" fmla="*/ 30 h 340"/>
              <a:gd name="T46" fmla="*/ 240 w 344"/>
              <a:gd name="T47" fmla="*/ 272 h 340"/>
              <a:gd name="T48" fmla="*/ 202 w 344"/>
              <a:gd name="T49" fmla="*/ 298 h 340"/>
              <a:gd name="T50" fmla="*/ 166 w 344"/>
              <a:gd name="T51" fmla="*/ 308 h 340"/>
              <a:gd name="T52" fmla="*/ 154 w 344"/>
              <a:gd name="T53" fmla="*/ 308 h 340"/>
              <a:gd name="T54" fmla="*/ 130 w 344"/>
              <a:gd name="T55" fmla="*/ 306 h 340"/>
              <a:gd name="T56" fmla="*/ 106 w 344"/>
              <a:gd name="T57" fmla="*/ 298 h 340"/>
              <a:gd name="T58" fmla="*/ 68 w 344"/>
              <a:gd name="T59" fmla="*/ 272 h 340"/>
              <a:gd name="T60" fmla="*/ 42 w 344"/>
              <a:gd name="T61" fmla="*/ 232 h 340"/>
              <a:gd name="T62" fmla="*/ 34 w 344"/>
              <a:gd name="T63" fmla="*/ 210 h 340"/>
              <a:gd name="T64" fmla="*/ 32 w 344"/>
              <a:gd name="T65" fmla="*/ 186 h 340"/>
              <a:gd name="T66" fmla="*/ 34 w 344"/>
              <a:gd name="T67" fmla="*/ 164 h 340"/>
              <a:gd name="T68" fmla="*/ 46 w 344"/>
              <a:gd name="T69" fmla="*/ 126 h 340"/>
              <a:gd name="T70" fmla="*/ 70 w 344"/>
              <a:gd name="T71" fmla="*/ 96 h 340"/>
              <a:gd name="T72" fmla="*/ 104 w 344"/>
              <a:gd name="T73" fmla="*/ 74 h 340"/>
              <a:gd name="T74" fmla="*/ 122 w 344"/>
              <a:gd name="T75" fmla="*/ 186 h 340"/>
              <a:gd name="T76" fmla="*/ 124 w 344"/>
              <a:gd name="T77" fmla="*/ 194 h 340"/>
              <a:gd name="T78" fmla="*/ 132 w 344"/>
              <a:gd name="T79" fmla="*/ 208 h 340"/>
              <a:gd name="T80" fmla="*/ 240 w 344"/>
              <a:gd name="T81" fmla="*/ 272 h 340"/>
              <a:gd name="T82" fmla="*/ 180 w 344"/>
              <a:gd name="T83" fmla="*/ 154 h 340"/>
              <a:gd name="T84" fmla="*/ 328 w 344"/>
              <a:gd name="T85" fmla="*/ 114 h 340"/>
              <a:gd name="T86" fmla="*/ 308 w 344"/>
              <a:gd name="T87" fmla="*/ 70 h 340"/>
              <a:gd name="T88" fmla="*/ 274 w 344"/>
              <a:gd name="T89" fmla="*/ 32 h 340"/>
              <a:gd name="T90" fmla="*/ 230 w 344"/>
              <a:gd name="T91" fmla="*/ 8 h 340"/>
              <a:gd name="T92" fmla="*/ 180 w 344"/>
              <a:gd name="T93" fmla="*/ 0 h 340"/>
              <a:gd name="T94" fmla="*/ 200 w 344"/>
              <a:gd name="T95" fmla="*/ 22 h 340"/>
              <a:gd name="T96" fmla="*/ 216 w 344"/>
              <a:gd name="T97" fmla="*/ 26 h 340"/>
              <a:gd name="T98" fmla="*/ 248 w 344"/>
              <a:gd name="T99" fmla="*/ 38 h 340"/>
              <a:gd name="T100" fmla="*/ 274 w 344"/>
              <a:gd name="T101" fmla="*/ 60 h 340"/>
              <a:gd name="T102" fmla="*/ 296 w 344"/>
              <a:gd name="T103" fmla="*/ 86 h 340"/>
              <a:gd name="T104" fmla="*/ 200 w 344"/>
              <a:gd name="T105" fmla="*/ 128 h 340"/>
              <a:gd name="T106" fmla="*/ 344 w 344"/>
              <a:gd name="T107" fmla="*/ 176 h 340"/>
              <a:gd name="T108" fmla="*/ 344 w 344"/>
              <a:gd name="T109" fmla="*/ 198 h 340"/>
              <a:gd name="T110" fmla="*/ 332 w 344"/>
              <a:gd name="T111" fmla="*/ 236 h 340"/>
              <a:gd name="T112" fmla="*/ 190 w 344"/>
              <a:gd name="T113" fmla="*/ 176 h 340"/>
              <a:gd name="T114" fmla="*/ 340 w 344"/>
              <a:gd name="T115" fmla="*/ 136 h 340"/>
              <a:gd name="T116" fmla="*/ 344 w 344"/>
              <a:gd name="T117" fmla="*/ 17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340">
                <a:moveTo>
                  <a:pt x="154" y="30"/>
                </a:moveTo>
                <a:lnTo>
                  <a:pt x="154" y="30"/>
                </a:lnTo>
                <a:lnTo>
                  <a:pt x="138" y="32"/>
                </a:lnTo>
                <a:lnTo>
                  <a:pt x="122" y="34"/>
                </a:lnTo>
                <a:lnTo>
                  <a:pt x="108" y="38"/>
                </a:lnTo>
                <a:lnTo>
                  <a:pt x="94" y="42"/>
                </a:lnTo>
                <a:lnTo>
                  <a:pt x="80" y="50"/>
                </a:lnTo>
                <a:lnTo>
                  <a:pt x="68" y="56"/>
                </a:lnTo>
                <a:lnTo>
                  <a:pt x="56" y="66"/>
                </a:lnTo>
                <a:lnTo>
                  <a:pt x="44" y="76"/>
                </a:lnTo>
                <a:lnTo>
                  <a:pt x="34" y="86"/>
                </a:lnTo>
                <a:lnTo>
                  <a:pt x="26" y="98"/>
                </a:lnTo>
                <a:lnTo>
                  <a:pt x="18" y="112"/>
                </a:lnTo>
                <a:lnTo>
                  <a:pt x="12" y="124"/>
                </a:lnTo>
                <a:lnTo>
                  <a:pt x="6" y="140"/>
                </a:lnTo>
                <a:lnTo>
                  <a:pt x="2" y="154"/>
                </a:lnTo>
                <a:lnTo>
                  <a:pt x="0" y="170"/>
                </a:lnTo>
                <a:lnTo>
                  <a:pt x="0" y="186"/>
                </a:lnTo>
                <a:lnTo>
                  <a:pt x="0" y="186"/>
                </a:lnTo>
                <a:lnTo>
                  <a:pt x="0" y="200"/>
                </a:lnTo>
                <a:lnTo>
                  <a:pt x="2" y="216"/>
                </a:lnTo>
                <a:lnTo>
                  <a:pt x="6" y="232"/>
                </a:lnTo>
                <a:lnTo>
                  <a:pt x="12" y="246"/>
                </a:lnTo>
                <a:lnTo>
                  <a:pt x="18" y="258"/>
                </a:lnTo>
                <a:lnTo>
                  <a:pt x="26" y="272"/>
                </a:lnTo>
                <a:lnTo>
                  <a:pt x="34" y="284"/>
                </a:lnTo>
                <a:lnTo>
                  <a:pt x="44" y="294"/>
                </a:lnTo>
                <a:lnTo>
                  <a:pt x="56" y="304"/>
                </a:lnTo>
                <a:lnTo>
                  <a:pt x="68" y="314"/>
                </a:lnTo>
                <a:lnTo>
                  <a:pt x="80" y="322"/>
                </a:lnTo>
                <a:lnTo>
                  <a:pt x="94" y="328"/>
                </a:lnTo>
                <a:lnTo>
                  <a:pt x="108" y="332"/>
                </a:lnTo>
                <a:lnTo>
                  <a:pt x="122" y="336"/>
                </a:lnTo>
                <a:lnTo>
                  <a:pt x="138" y="338"/>
                </a:lnTo>
                <a:lnTo>
                  <a:pt x="154" y="340"/>
                </a:lnTo>
                <a:lnTo>
                  <a:pt x="154" y="340"/>
                </a:lnTo>
                <a:lnTo>
                  <a:pt x="176" y="338"/>
                </a:lnTo>
                <a:lnTo>
                  <a:pt x="196" y="334"/>
                </a:lnTo>
                <a:lnTo>
                  <a:pt x="214" y="328"/>
                </a:lnTo>
                <a:lnTo>
                  <a:pt x="232" y="318"/>
                </a:lnTo>
                <a:lnTo>
                  <a:pt x="248" y="308"/>
                </a:lnTo>
                <a:lnTo>
                  <a:pt x="264" y="294"/>
                </a:lnTo>
                <a:lnTo>
                  <a:pt x="276" y="278"/>
                </a:lnTo>
                <a:lnTo>
                  <a:pt x="288" y="262"/>
                </a:lnTo>
                <a:lnTo>
                  <a:pt x="154" y="186"/>
                </a:lnTo>
                <a:lnTo>
                  <a:pt x="154" y="30"/>
                </a:lnTo>
                <a:close/>
                <a:moveTo>
                  <a:pt x="240" y="272"/>
                </a:moveTo>
                <a:lnTo>
                  <a:pt x="240" y="272"/>
                </a:lnTo>
                <a:lnTo>
                  <a:pt x="222" y="288"/>
                </a:lnTo>
                <a:lnTo>
                  <a:pt x="202" y="298"/>
                </a:lnTo>
                <a:lnTo>
                  <a:pt x="178" y="306"/>
                </a:lnTo>
                <a:lnTo>
                  <a:pt x="166" y="308"/>
                </a:lnTo>
                <a:lnTo>
                  <a:pt x="154" y="308"/>
                </a:lnTo>
                <a:lnTo>
                  <a:pt x="154" y="308"/>
                </a:lnTo>
                <a:lnTo>
                  <a:pt x="142" y="308"/>
                </a:lnTo>
                <a:lnTo>
                  <a:pt x="130" y="306"/>
                </a:lnTo>
                <a:lnTo>
                  <a:pt x="118" y="302"/>
                </a:lnTo>
                <a:lnTo>
                  <a:pt x="106" y="298"/>
                </a:lnTo>
                <a:lnTo>
                  <a:pt x="86" y="286"/>
                </a:lnTo>
                <a:lnTo>
                  <a:pt x="68" y="272"/>
                </a:lnTo>
                <a:lnTo>
                  <a:pt x="52" y="254"/>
                </a:lnTo>
                <a:lnTo>
                  <a:pt x="42" y="232"/>
                </a:lnTo>
                <a:lnTo>
                  <a:pt x="38" y="222"/>
                </a:lnTo>
                <a:lnTo>
                  <a:pt x="34" y="210"/>
                </a:lnTo>
                <a:lnTo>
                  <a:pt x="32" y="198"/>
                </a:lnTo>
                <a:lnTo>
                  <a:pt x="32" y="186"/>
                </a:lnTo>
                <a:lnTo>
                  <a:pt x="32" y="186"/>
                </a:lnTo>
                <a:lnTo>
                  <a:pt x="34" y="164"/>
                </a:lnTo>
                <a:lnTo>
                  <a:pt x="38" y="144"/>
                </a:lnTo>
                <a:lnTo>
                  <a:pt x="46" y="126"/>
                </a:lnTo>
                <a:lnTo>
                  <a:pt x="58" y="110"/>
                </a:lnTo>
                <a:lnTo>
                  <a:pt x="70" y="96"/>
                </a:lnTo>
                <a:lnTo>
                  <a:pt x="86" y="84"/>
                </a:lnTo>
                <a:lnTo>
                  <a:pt x="104" y="74"/>
                </a:lnTo>
                <a:lnTo>
                  <a:pt x="122" y="66"/>
                </a:lnTo>
                <a:lnTo>
                  <a:pt x="122" y="186"/>
                </a:lnTo>
                <a:lnTo>
                  <a:pt x="122" y="186"/>
                </a:lnTo>
                <a:lnTo>
                  <a:pt x="124" y="194"/>
                </a:lnTo>
                <a:lnTo>
                  <a:pt x="126" y="202"/>
                </a:lnTo>
                <a:lnTo>
                  <a:pt x="132" y="208"/>
                </a:lnTo>
                <a:lnTo>
                  <a:pt x="138" y="212"/>
                </a:lnTo>
                <a:lnTo>
                  <a:pt x="240" y="272"/>
                </a:lnTo>
                <a:close/>
                <a:moveTo>
                  <a:pt x="180" y="0"/>
                </a:moveTo>
                <a:lnTo>
                  <a:pt x="180" y="154"/>
                </a:lnTo>
                <a:lnTo>
                  <a:pt x="328" y="114"/>
                </a:lnTo>
                <a:lnTo>
                  <a:pt x="328" y="114"/>
                </a:lnTo>
                <a:lnTo>
                  <a:pt x="320" y="90"/>
                </a:lnTo>
                <a:lnTo>
                  <a:pt x="308" y="70"/>
                </a:lnTo>
                <a:lnTo>
                  <a:pt x="292" y="50"/>
                </a:lnTo>
                <a:lnTo>
                  <a:pt x="274" y="32"/>
                </a:lnTo>
                <a:lnTo>
                  <a:pt x="254" y="20"/>
                </a:lnTo>
                <a:lnTo>
                  <a:pt x="230" y="8"/>
                </a:lnTo>
                <a:lnTo>
                  <a:pt x="206" y="2"/>
                </a:lnTo>
                <a:lnTo>
                  <a:pt x="180" y="0"/>
                </a:lnTo>
                <a:lnTo>
                  <a:pt x="180" y="0"/>
                </a:lnTo>
                <a:close/>
                <a:moveTo>
                  <a:pt x="200" y="22"/>
                </a:moveTo>
                <a:lnTo>
                  <a:pt x="200" y="22"/>
                </a:lnTo>
                <a:lnTo>
                  <a:pt x="216" y="26"/>
                </a:lnTo>
                <a:lnTo>
                  <a:pt x="232" y="32"/>
                </a:lnTo>
                <a:lnTo>
                  <a:pt x="248" y="38"/>
                </a:lnTo>
                <a:lnTo>
                  <a:pt x="262" y="48"/>
                </a:lnTo>
                <a:lnTo>
                  <a:pt x="274" y="60"/>
                </a:lnTo>
                <a:lnTo>
                  <a:pt x="286" y="72"/>
                </a:lnTo>
                <a:lnTo>
                  <a:pt x="296" y="86"/>
                </a:lnTo>
                <a:lnTo>
                  <a:pt x="302" y="102"/>
                </a:lnTo>
                <a:lnTo>
                  <a:pt x="200" y="128"/>
                </a:lnTo>
                <a:lnTo>
                  <a:pt x="200" y="22"/>
                </a:lnTo>
                <a:close/>
                <a:moveTo>
                  <a:pt x="344" y="176"/>
                </a:moveTo>
                <a:lnTo>
                  <a:pt x="344" y="176"/>
                </a:lnTo>
                <a:lnTo>
                  <a:pt x="344" y="198"/>
                </a:lnTo>
                <a:lnTo>
                  <a:pt x="340" y="216"/>
                </a:lnTo>
                <a:lnTo>
                  <a:pt x="332" y="236"/>
                </a:lnTo>
                <a:lnTo>
                  <a:pt x="324" y="254"/>
                </a:lnTo>
                <a:lnTo>
                  <a:pt x="190" y="176"/>
                </a:lnTo>
                <a:lnTo>
                  <a:pt x="340" y="136"/>
                </a:lnTo>
                <a:lnTo>
                  <a:pt x="340" y="136"/>
                </a:lnTo>
                <a:lnTo>
                  <a:pt x="344" y="156"/>
                </a:lnTo>
                <a:lnTo>
                  <a:pt x="344" y="176"/>
                </a:lnTo>
                <a:lnTo>
                  <a:pt x="344" y="176"/>
                </a:lnTo>
                <a:close/>
              </a:path>
            </a:pathLst>
          </a:custGeom>
          <a:solidFill>
            <a:schemeClr val="bg1"/>
          </a:solidFill>
          <a:ln>
            <a:noFill/>
          </a:ln>
        </p:spPr>
        <p:txBody>
          <a:bodyPr vert="horz" wrap="square" lIns="72208" tIns="36104" rIns="72208" bIns="3610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78" b="0" i="0" u="none" strike="noStrike" kern="0" cap="none" spc="0" normalizeH="0" baseline="0" dirty="0">
              <a:ln>
                <a:noFill/>
              </a:ln>
              <a:solidFill>
                <a:srgbClr val="FFFFFF"/>
              </a:solidFill>
              <a:effectLst/>
              <a:uLnTx/>
              <a:uFillTx/>
            </a:endParaRPr>
          </a:p>
        </p:txBody>
      </p:sp>
      <p:sp>
        <p:nvSpPr>
          <p:cNvPr id="566" name="TextBox 77">
            <a:extLst>
              <a:ext uri="{FF2B5EF4-FFF2-40B4-BE49-F238E27FC236}">
                <a16:creationId xmlns:a16="http://schemas.microsoft.com/office/drawing/2014/main" id="{54340765-182B-408F-A887-BB5C20796D52}"/>
              </a:ext>
            </a:extLst>
          </p:cNvPr>
          <p:cNvSpPr txBox="1"/>
          <p:nvPr/>
        </p:nvSpPr>
        <p:spPr>
          <a:xfrm>
            <a:off x="1004190" y="4429297"/>
            <a:ext cx="2026146" cy="400380"/>
          </a:xfrm>
          <a:prstGeom prst="rect">
            <a:avLst/>
          </a:prstGeom>
          <a:noFill/>
        </p:spPr>
        <p:txBody>
          <a:bodyPr wrap="square" lIns="132982" tIns="99737" rIns="132982" bIns="99737" rtlCol="0">
            <a:spAutoFit/>
          </a:bodyPr>
          <a:lstStyle/>
          <a:p>
            <a:pPr marL="0" marR="0" lvl="0" indent="0" defTabSz="914400" eaLnBrk="1" fontAlgn="auto" latinLnBrk="0" hangingPunct="1">
              <a:lnSpc>
                <a:spcPct val="100000"/>
              </a:lnSpc>
              <a:spcBef>
                <a:spcPts val="0"/>
              </a:spcBef>
              <a:spcAft>
                <a:spcPts val="0"/>
              </a:spcAft>
              <a:buClrTx/>
              <a:buSzPct val="110000"/>
              <a:buFontTx/>
              <a:buNone/>
              <a:tabLst/>
              <a:defRPr/>
            </a:pPr>
            <a:r>
              <a:rPr lang="en-US" sz="1293" kern="0" dirty="0">
                <a:solidFill>
                  <a:srgbClr val="005A8C">
                    <a:lumMod val="75000"/>
                  </a:srgbClr>
                </a:solidFill>
              </a:rPr>
              <a:t>Annual</a:t>
            </a:r>
            <a:r>
              <a:rPr kumimoji="0" lang="en-US" sz="1293" b="0" i="0" u="none" strike="noStrike" kern="0" cap="none" spc="0" normalizeH="0" noProof="0" dirty="0">
                <a:ln>
                  <a:noFill/>
                </a:ln>
                <a:solidFill>
                  <a:srgbClr val="005A8C">
                    <a:lumMod val="75000"/>
                  </a:srgbClr>
                </a:solidFill>
                <a:effectLst/>
                <a:uLnTx/>
                <a:uFillTx/>
              </a:rPr>
              <a:t> </a:t>
            </a:r>
            <a:r>
              <a:rPr kumimoji="0" lang="en-US" sz="1293" b="0" i="0" u="none" strike="noStrike" kern="0" cap="none" spc="0" normalizeH="0" baseline="0" noProof="0" dirty="0">
                <a:ln>
                  <a:noFill/>
                </a:ln>
                <a:solidFill>
                  <a:srgbClr val="005A8C">
                    <a:lumMod val="75000"/>
                  </a:srgbClr>
                </a:solidFill>
                <a:effectLst/>
                <a:uLnTx/>
                <a:uFillTx/>
              </a:rPr>
              <a:t>commitments </a:t>
            </a:r>
          </a:p>
        </p:txBody>
      </p:sp>
      <p:sp>
        <p:nvSpPr>
          <p:cNvPr id="547" name="Rectangle: Rounded Corners 59">
            <a:extLst>
              <a:ext uri="{FF2B5EF4-FFF2-40B4-BE49-F238E27FC236}">
                <a16:creationId xmlns:a16="http://schemas.microsoft.com/office/drawing/2014/main" id="{1874B64A-21F1-48F2-9E52-67F2CE07989A}"/>
              </a:ext>
            </a:extLst>
          </p:cNvPr>
          <p:cNvSpPr/>
          <p:nvPr/>
        </p:nvSpPr>
        <p:spPr>
          <a:xfrm>
            <a:off x="446053" y="4226936"/>
            <a:ext cx="2367575" cy="531928"/>
          </a:xfrm>
          <a:prstGeom prst="roundRect">
            <a:avLst>
              <a:gd name="adj" fmla="val 0"/>
            </a:avLst>
          </a:prstGeom>
          <a:solidFill>
            <a:schemeClr val="accent3">
              <a:lumMod val="20000"/>
              <a:lumOff val="80000"/>
              <a:alpha val="40000"/>
            </a:schemeClr>
          </a:solidFill>
          <a:ln w="19050" cap="flat" cmpd="sng" algn="ctr">
            <a:noFill/>
            <a:prstDash val="solid"/>
            <a:miter lim="800000"/>
          </a:ln>
          <a:effectLst/>
        </p:spPr>
        <p:txBody>
          <a:bodyPr lIns="166228" tIns="166228" rIns="166228" bIns="166228" rtlCol="0" anchor="ctr">
            <a:prstTxWarp prst="textNoShape">
              <a:avLst/>
            </a:prstTxWarp>
          </a:bodyPr>
          <a:lstStyle/>
          <a:p>
            <a:pPr defTabSz="914400" eaLnBrk="0" hangingPunct="0">
              <a:lnSpc>
                <a:spcPct val="150000"/>
              </a:lnSpc>
              <a:spcBef>
                <a:spcPts val="554"/>
              </a:spcBef>
              <a:buSzPct val="90000"/>
            </a:pPr>
            <a:endParaRPr lang="en-US" sz="970" kern="0" dirty="0">
              <a:solidFill>
                <a:srgbClr val="005A8C">
                  <a:lumMod val="75000"/>
                </a:srgbClr>
              </a:solidFill>
              <a:latin typeface="Arial"/>
              <a:ea typeface="ＭＳ Ｐゴシック" pitchFamily="-107" charset="-128"/>
              <a:cs typeface="ＭＳ Ｐゴシック" pitchFamily="-107" charset="-128"/>
            </a:endParaRPr>
          </a:p>
        </p:txBody>
      </p:sp>
      <p:sp>
        <p:nvSpPr>
          <p:cNvPr id="565" name="TextBox 76">
            <a:extLst>
              <a:ext uri="{FF2B5EF4-FFF2-40B4-BE49-F238E27FC236}">
                <a16:creationId xmlns:a16="http://schemas.microsoft.com/office/drawing/2014/main" id="{52DBB457-4AFC-4E65-B27D-369D4DE17CFD}"/>
              </a:ext>
            </a:extLst>
          </p:cNvPr>
          <p:cNvSpPr txBox="1"/>
          <p:nvPr/>
        </p:nvSpPr>
        <p:spPr>
          <a:xfrm>
            <a:off x="1008119" y="4201947"/>
            <a:ext cx="1393869" cy="457198"/>
          </a:xfrm>
          <a:prstGeom prst="rect">
            <a:avLst/>
          </a:prstGeom>
          <a:noFill/>
        </p:spPr>
        <p:txBody>
          <a:bodyPr wrap="none" lIns="132982" tIns="99737" rIns="132982" bIns="99737" rtlCol="0">
            <a:spAutoFit/>
          </a:bodyPr>
          <a:lstStyle/>
          <a:p>
            <a:pPr marL="0" marR="0" lvl="0" indent="0" defTabSz="914400" eaLnBrk="1" fontAlgn="auto" latinLnBrk="0" hangingPunct="1">
              <a:lnSpc>
                <a:spcPct val="100000"/>
              </a:lnSpc>
              <a:spcBef>
                <a:spcPts val="0"/>
              </a:spcBef>
              <a:spcAft>
                <a:spcPts val="0"/>
              </a:spcAft>
              <a:buClrTx/>
              <a:buSzPct val="110000"/>
              <a:buFontTx/>
              <a:buNone/>
              <a:tabLst/>
              <a:defRPr/>
            </a:pPr>
            <a:r>
              <a:rPr kumimoji="0" lang="en-US" sz="1662" b="1" i="0" u="none" strike="noStrike" kern="0" cap="none" spc="0" normalizeH="0" baseline="0" dirty="0">
                <a:ln>
                  <a:noFill/>
                </a:ln>
                <a:solidFill>
                  <a:srgbClr val="005A8C">
                    <a:lumMod val="75000"/>
                  </a:srgbClr>
                </a:solidFill>
                <a:effectLst/>
                <a:uLnTx/>
                <a:uFillTx/>
              </a:rPr>
              <a:t>EUR </a:t>
            </a:r>
            <a:r>
              <a:rPr kumimoji="0" lang="en-US" sz="1662" b="1" i="0" u="none" strike="noStrike" kern="0" cap="none" spc="0" normalizeH="0" baseline="0" dirty="0">
                <a:ln>
                  <a:noFill/>
                </a:ln>
                <a:solidFill>
                  <a:schemeClr val="bg2"/>
                </a:solidFill>
                <a:effectLst/>
                <a:uLnTx/>
                <a:uFillTx/>
              </a:rPr>
              <a:t>1.6</a:t>
            </a:r>
            <a:r>
              <a:rPr kumimoji="0" lang="en-US" sz="1662" b="1" i="0" u="none" strike="noStrike" kern="0" cap="none" spc="0" normalizeH="0" dirty="0">
                <a:ln>
                  <a:noFill/>
                </a:ln>
                <a:solidFill>
                  <a:schemeClr val="bg2"/>
                </a:solidFill>
                <a:effectLst/>
                <a:uLnTx/>
                <a:uFillTx/>
              </a:rPr>
              <a:t> </a:t>
            </a:r>
            <a:r>
              <a:rPr kumimoji="0" lang="en-US" sz="1662" b="1" i="0" u="none" strike="noStrike" kern="0" cap="none" spc="0" normalizeH="0" baseline="0" dirty="0" err="1">
                <a:ln>
                  <a:noFill/>
                </a:ln>
                <a:solidFill>
                  <a:schemeClr val="bg2"/>
                </a:solidFill>
                <a:effectLst/>
                <a:uLnTx/>
                <a:uFillTx/>
              </a:rPr>
              <a:t>bn</a:t>
            </a:r>
            <a:endParaRPr kumimoji="0" lang="en-US" sz="1662" b="1" i="0" u="none" strike="noStrike" kern="0" cap="none" spc="0" normalizeH="0" baseline="0" dirty="0">
              <a:ln>
                <a:noFill/>
              </a:ln>
              <a:solidFill>
                <a:schemeClr val="bg2"/>
              </a:solidFill>
              <a:effectLst/>
              <a:uLnTx/>
              <a:uFillTx/>
            </a:endParaRPr>
          </a:p>
        </p:txBody>
      </p:sp>
      <p:sp>
        <p:nvSpPr>
          <p:cNvPr id="574" name="Freeform 4831"/>
          <p:cNvSpPr>
            <a:spLocks noEditPoints="1"/>
          </p:cNvSpPr>
          <p:nvPr/>
        </p:nvSpPr>
        <p:spPr bwMode="auto">
          <a:xfrm>
            <a:off x="558945" y="4339079"/>
            <a:ext cx="408805" cy="220593"/>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rgbClr val="005A8C"/>
          </a:solidFill>
          <a:ln>
            <a:noFill/>
          </a:ln>
        </p:spPr>
        <p:txBody>
          <a:bodyPr vert="horz" wrap="square" lIns="74509" tIns="37254" rIns="74509" bIns="3725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dirty="0">
              <a:ln>
                <a:noFill/>
              </a:ln>
              <a:solidFill>
                <a:srgbClr val="FFFFFF"/>
              </a:solidFill>
              <a:effectLst/>
              <a:uLnTx/>
              <a:uFillTx/>
            </a:endParaRPr>
          </a:p>
        </p:txBody>
      </p:sp>
      <p:sp>
        <p:nvSpPr>
          <p:cNvPr id="1005" name="TextBox 77">
            <a:extLst>
              <a:ext uri="{FF2B5EF4-FFF2-40B4-BE49-F238E27FC236}">
                <a16:creationId xmlns:a16="http://schemas.microsoft.com/office/drawing/2014/main" id="{54340765-182B-408F-A887-BB5C20796D52}"/>
              </a:ext>
            </a:extLst>
          </p:cNvPr>
          <p:cNvSpPr txBox="1"/>
          <p:nvPr/>
        </p:nvSpPr>
        <p:spPr>
          <a:xfrm>
            <a:off x="1027242" y="2313582"/>
            <a:ext cx="2523846" cy="416625"/>
          </a:xfrm>
          <a:prstGeom prst="rect">
            <a:avLst/>
          </a:prstGeom>
          <a:noFill/>
        </p:spPr>
        <p:txBody>
          <a:bodyPr wrap="square" lIns="144000" tIns="108000" rIns="144000" bIns="108000" rtlCol="0">
            <a:spAutoFit/>
          </a:bodyPr>
          <a:lstStyle/>
          <a:p>
            <a:pPr algn="l" defTabSz="804581" fontAlgn="auto">
              <a:spcBef>
                <a:spcPts val="0"/>
              </a:spcBef>
              <a:spcAft>
                <a:spcPts val="0"/>
              </a:spcAft>
              <a:buSzPct val="110000"/>
            </a:pPr>
            <a:r>
              <a:rPr lang="en-US" sz="1290" dirty="0">
                <a:solidFill>
                  <a:srgbClr val="005A8C">
                    <a:lumMod val="75000"/>
                  </a:srgbClr>
                </a:solidFill>
                <a:latin typeface="Arial"/>
                <a:ea typeface="+mn-ea"/>
              </a:rPr>
              <a:t>Number of employees</a:t>
            </a:r>
          </a:p>
        </p:txBody>
      </p:sp>
      <p:sp>
        <p:nvSpPr>
          <p:cNvPr id="1002" name="Rectangle: Rounded Corners 59">
            <a:extLst>
              <a:ext uri="{FF2B5EF4-FFF2-40B4-BE49-F238E27FC236}">
                <a16:creationId xmlns:a16="http://schemas.microsoft.com/office/drawing/2014/main" id="{1874B64A-21F1-48F2-9E52-67F2CE07989A}"/>
              </a:ext>
            </a:extLst>
          </p:cNvPr>
          <p:cNvSpPr/>
          <p:nvPr/>
        </p:nvSpPr>
        <p:spPr>
          <a:xfrm>
            <a:off x="446053" y="2080031"/>
            <a:ext cx="2346728" cy="576000"/>
          </a:xfrm>
          <a:prstGeom prst="roundRect">
            <a:avLst>
              <a:gd name="adj" fmla="val 0"/>
            </a:avLst>
          </a:prstGeom>
          <a:solidFill>
            <a:schemeClr val="accent3">
              <a:lumMod val="20000"/>
              <a:lumOff val="80000"/>
              <a:alpha val="40000"/>
            </a:schemeClr>
          </a:solidFill>
          <a:ln w="19050" cap="flat" cmpd="sng" algn="ctr">
            <a:noFill/>
            <a:prstDash val="solid"/>
            <a:miter lim="800000"/>
          </a:ln>
          <a:effectLst/>
        </p:spPr>
        <p:txBody>
          <a:bodyPr lIns="166228" tIns="166228" rIns="166228" bIns="166228" rtlCol="0" anchor="ctr">
            <a:prstTxWarp prst="textNoShape">
              <a:avLst/>
            </a:prstTxWarp>
          </a:bodyPr>
          <a:lstStyle/>
          <a:p>
            <a:pPr defTabSz="914400" eaLnBrk="0" hangingPunct="0">
              <a:lnSpc>
                <a:spcPct val="150000"/>
              </a:lnSpc>
              <a:spcBef>
                <a:spcPts val="554"/>
              </a:spcBef>
              <a:buSzPct val="90000"/>
            </a:pPr>
            <a:endParaRPr lang="en-US" sz="970" kern="0" dirty="0">
              <a:solidFill>
                <a:srgbClr val="005A8C">
                  <a:lumMod val="75000"/>
                </a:srgbClr>
              </a:solidFill>
              <a:latin typeface="Arial"/>
              <a:ea typeface="ＭＳ Ｐゴシック" pitchFamily="-107" charset="-128"/>
              <a:cs typeface="ＭＳ Ｐゴシック" pitchFamily="-107" charset="-128"/>
            </a:endParaRPr>
          </a:p>
        </p:txBody>
      </p:sp>
      <p:sp>
        <p:nvSpPr>
          <p:cNvPr id="1004" name="TextBox 76">
            <a:extLst>
              <a:ext uri="{FF2B5EF4-FFF2-40B4-BE49-F238E27FC236}">
                <a16:creationId xmlns:a16="http://schemas.microsoft.com/office/drawing/2014/main" id="{52DBB457-4AFC-4E65-B27D-369D4DE17CFD}"/>
              </a:ext>
            </a:extLst>
          </p:cNvPr>
          <p:cNvSpPr txBox="1"/>
          <p:nvPr/>
        </p:nvSpPr>
        <p:spPr>
          <a:xfrm>
            <a:off x="1008119" y="2044039"/>
            <a:ext cx="675533" cy="495108"/>
          </a:xfrm>
          <a:prstGeom prst="rect">
            <a:avLst/>
          </a:prstGeom>
          <a:noFill/>
        </p:spPr>
        <p:txBody>
          <a:bodyPr wrap="none" lIns="144000" tIns="108000" rIns="144000" bIns="108000" rtlCol="0">
            <a:spAutoFit/>
          </a:bodyPr>
          <a:lstStyle/>
          <a:p>
            <a:pPr algn="l" defTabSz="804581" fontAlgn="auto">
              <a:spcBef>
                <a:spcPts val="0"/>
              </a:spcBef>
              <a:spcAft>
                <a:spcPts val="0"/>
              </a:spcAft>
              <a:buSzPct val="110000"/>
            </a:pPr>
            <a:r>
              <a:rPr lang="en-US" sz="1800" b="1" dirty="0">
                <a:solidFill>
                  <a:schemeClr val="bg2"/>
                </a:solidFill>
                <a:latin typeface="Arial"/>
                <a:ea typeface="+mn-ea"/>
              </a:rPr>
              <a:t>638</a:t>
            </a:r>
          </a:p>
        </p:txBody>
      </p:sp>
      <p:grpSp>
        <p:nvGrpSpPr>
          <p:cNvPr id="1006" name="Gruppieren 131"/>
          <p:cNvGrpSpPr>
            <a:grpSpLocks noChangeAspect="1"/>
          </p:cNvGrpSpPr>
          <p:nvPr/>
        </p:nvGrpSpPr>
        <p:grpSpPr>
          <a:xfrm>
            <a:off x="537460" y="2153953"/>
            <a:ext cx="451775" cy="576254"/>
            <a:chOff x="3105148" y="4692108"/>
            <a:chExt cx="1338703" cy="1707561"/>
          </a:xfrm>
          <a:solidFill>
            <a:srgbClr val="005A8C"/>
          </a:solidFill>
        </p:grpSpPr>
        <p:grpSp>
          <p:nvGrpSpPr>
            <p:cNvPr id="1007" name="Gruppieren 85"/>
            <p:cNvGrpSpPr>
              <a:grpSpLocks noChangeAspect="1"/>
            </p:cNvGrpSpPr>
            <p:nvPr/>
          </p:nvGrpSpPr>
          <p:grpSpPr>
            <a:xfrm>
              <a:off x="3365500" y="5181600"/>
              <a:ext cx="828000" cy="1218069"/>
              <a:chOff x="3341179" y="4893464"/>
              <a:chExt cx="869242" cy="1278736"/>
            </a:xfrm>
            <a:grpFill/>
          </p:grpSpPr>
          <p:sp>
            <p:nvSpPr>
              <p:cNvPr id="1026" name="Ellipse 152"/>
              <p:cNvSpPr/>
              <p:nvPr/>
            </p:nvSpPr>
            <p:spPr bwMode="ltGray">
              <a:xfrm>
                <a:off x="3571053" y="4893464"/>
                <a:ext cx="409494" cy="409494"/>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27" name="Torte 153"/>
              <p:cNvSpPr/>
              <p:nvPr/>
            </p:nvSpPr>
            <p:spPr bwMode="ltGray">
              <a:xfrm>
                <a:off x="3341179" y="5302958"/>
                <a:ext cx="869242" cy="869242"/>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1008" name="Gruppieren 152"/>
            <p:cNvGrpSpPr/>
            <p:nvPr/>
          </p:nvGrpSpPr>
          <p:grpSpPr>
            <a:xfrm>
              <a:off x="3832860" y="4692108"/>
              <a:ext cx="332740" cy="489492"/>
              <a:chOff x="5130800" y="2122170"/>
              <a:chExt cx="812800" cy="1195705"/>
            </a:xfrm>
            <a:grpFill/>
          </p:grpSpPr>
          <p:sp>
            <p:nvSpPr>
              <p:cNvPr id="1024" name="Ellipse 150"/>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25" name="Torte 151"/>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1009" name="Gruppieren 155"/>
            <p:cNvGrpSpPr/>
            <p:nvPr/>
          </p:nvGrpSpPr>
          <p:grpSpPr>
            <a:xfrm>
              <a:off x="4111111" y="4996908"/>
              <a:ext cx="332740" cy="489492"/>
              <a:chOff x="5130800" y="2122170"/>
              <a:chExt cx="812800" cy="1195705"/>
            </a:xfrm>
            <a:grpFill/>
          </p:grpSpPr>
          <p:sp>
            <p:nvSpPr>
              <p:cNvPr id="1022" name="Ellipse 148"/>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23" name="Torte 149"/>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1010" name="Gruppieren 152"/>
            <p:cNvGrpSpPr/>
            <p:nvPr/>
          </p:nvGrpSpPr>
          <p:grpSpPr>
            <a:xfrm>
              <a:off x="3105148" y="4996908"/>
              <a:ext cx="332740" cy="489492"/>
              <a:chOff x="5130800" y="2122170"/>
              <a:chExt cx="812800" cy="1195705"/>
            </a:xfrm>
            <a:grpFill/>
          </p:grpSpPr>
          <p:sp>
            <p:nvSpPr>
              <p:cNvPr id="1020" name="Ellipse 146"/>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21" name="Torte 147"/>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1011" name="Gruppieren 155"/>
            <p:cNvGrpSpPr/>
            <p:nvPr/>
          </p:nvGrpSpPr>
          <p:grpSpPr>
            <a:xfrm>
              <a:off x="3401060" y="4692108"/>
              <a:ext cx="332740" cy="489492"/>
              <a:chOff x="5130800" y="2122170"/>
              <a:chExt cx="812800" cy="1195705"/>
            </a:xfrm>
            <a:grpFill/>
          </p:grpSpPr>
          <p:sp>
            <p:nvSpPr>
              <p:cNvPr id="1018" name="Ellipse 144"/>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19" name="Torte 145"/>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1012" name="Gruppieren 155"/>
            <p:cNvGrpSpPr/>
            <p:nvPr/>
          </p:nvGrpSpPr>
          <p:grpSpPr>
            <a:xfrm>
              <a:off x="4082536" y="5377908"/>
              <a:ext cx="332740" cy="489492"/>
              <a:chOff x="5130800" y="2122170"/>
              <a:chExt cx="812800" cy="1195705"/>
            </a:xfrm>
            <a:grpFill/>
          </p:grpSpPr>
          <p:sp>
            <p:nvSpPr>
              <p:cNvPr id="1016" name="Ellipse 142"/>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17" name="Torte 143"/>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nvGrpSpPr>
            <p:cNvPr id="1013" name="Gruppieren 152"/>
            <p:cNvGrpSpPr/>
            <p:nvPr/>
          </p:nvGrpSpPr>
          <p:grpSpPr>
            <a:xfrm>
              <a:off x="3140075" y="5377908"/>
              <a:ext cx="332740" cy="489492"/>
              <a:chOff x="5130800" y="2122170"/>
              <a:chExt cx="812800" cy="1195705"/>
            </a:xfrm>
            <a:grpFill/>
          </p:grpSpPr>
          <p:sp>
            <p:nvSpPr>
              <p:cNvPr id="1014" name="Ellipse 140"/>
              <p:cNvSpPr/>
              <p:nvPr/>
            </p:nvSpPr>
            <p:spPr bwMode="ltGray">
              <a:xfrm>
                <a:off x="5345748" y="2122170"/>
                <a:ext cx="382905" cy="382905"/>
              </a:xfrm>
              <a:prstGeom prst="ellipse">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sp>
            <p:nvSpPr>
              <p:cNvPr id="1015" name="Torte 141"/>
              <p:cNvSpPr/>
              <p:nvPr/>
            </p:nvSpPr>
            <p:spPr bwMode="ltGray">
              <a:xfrm>
                <a:off x="5130800" y="2505075"/>
                <a:ext cx="812800" cy="812800"/>
              </a:xfrm>
              <a:prstGeom prst="pie">
                <a:avLst>
                  <a:gd name="adj1" fmla="val 10800006"/>
                  <a:gd name="adj2" fmla="val 21593516"/>
                </a:avLst>
              </a:prstGeom>
              <a:grpFill/>
              <a:ln w="3175" cap="flat" cmpd="sng" algn="ctr">
                <a:noFill/>
                <a:prstDash val="solid"/>
                <a:miter lim="800000"/>
              </a:ln>
              <a:effectLst/>
            </p:spPr>
            <p:txBody>
              <a:bodyPr rtlCol="0" anchor="ctr"/>
              <a:lstStyle/>
              <a:p>
                <a:pPr marL="0" marR="0" lvl="0" indent="0" defTabSz="80458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FFFFFF"/>
                  </a:solidFill>
                  <a:effectLst/>
                  <a:uLnTx/>
                  <a:uFillTx/>
                  <a:latin typeface="Georgia" pitchFamily="18" charset="0"/>
                  <a:ea typeface="+mn-ea"/>
                  <a:cs typeface="+mn-cs"/>
                </a:endParaRPr>
              </a:p>
            </p:txBody>
          </p:sp>
        </p:grpSp>
      </p:grpSp>
      <p:grpSp>
        <p:nvGrpSpPr>
          <p:cNvPr id="3" name="Group 2"/>
          <p:cNvGrpSpPr/>
          <p:nvPr/>
        </p:nvGrpSpPr>
        <p:grpSpPr>
          <a:xfrm>
            <a:off x="2808128" y="1340768"/>
            <a:ext cx="6854303" cy="4102836"/>
            <a:chOff x="3086080" y="1607513"/>
            <a:chExt cx="6854303" cy="4102836"/>
          </a:xfrm>
        </p:grpSpPr>
        <p:grpSp>
          <p:nvGrpSpPr>
            <p:cNvPr id="553" name="Group 552"/>
            <p:cNvGrpSpPr/>
            <p:nvPr/>
          </p:nvGrpSpPr>
          <p:grpSpPr>
            <a:xfrm>
              <a:off x="3424261" y="2099409"/>
              <a:ext cx="6516122" cy="3404074"/>
              <a:chOff x="2915097" y="1055959"/>
              <a:chExt cx="7766328" cy="4240111"/>
            </a:xfrm>
          </p:grpSpPr>
          <p:grpSp>
            <p:nvGrpSpPr>
              <p:cNvPr id="606" name="Gruppieren 4"/>
              <p:cNvGrpSpPr>
                <a:grpSpLocks noChangeAspect="1"/>
              </p:cNvGrpSpPr>
              <p:nvPr/>
            </p:nvGrpSpPr>
            <p:grpSpPr>
              <a:xfrm>
                <a:off x="2915097" y="1055959"/>
                <a:ext cx="7654448" cy="4142718"/>
                <a:chOff x="548483" y="1628800"/>
                <a:chExt cx="7917668" cy="3930864"/>
              </a:xfrm>
              <a:solidFill>
                <a:srgbClr val="D8D5D2">
                  <a:alpha val="37000"/>
                </a:srgbClr>
              </a:solidFill>
            </p:grpSpPr>
            <p:sp>
              <p:nvSpPr>
                <p:cNvPr id="649" name="Freeform 4"/>
                <p:cNvSpPr>
                  <a:spLocks/>
                </p:cNvSpPr>
                <p:nvPr/>
              </p:nvSpPr>
              <p:spPr bwMode="auto">
                <a:xfrm>
                  <a:off x="5011479" y="3009506"/>
                  <a:ext cx="288535" cy="297267"/>
                </a:xfrm>
                <a:custGeom>
                  <a:avLst/>
                  <a:gdLst>
                    <a:gd name="T0" fmla="*/ 233 w 280"/>
                    <a:gd name="T1" fmla="*/ 16 h 296"/>
                    <a:gd name="T2" fmla="*/ 202 w 280"/>
                    <a:gd name="T3" fmla="*/ 16 h 296"/>
                    <a:gd name="T4" fmla="*/ 187 w 280"/>
                    <a:gd name="T5" fmla="*/ 16 h 296"/>
                    <a:gd name="T6" fmla="*/ 171 w 280"/>
                    <a:gd name="T7" fmla="*/ 16 h 296"/>
                    <a:gd name="T8" fmla="*/ 171 w 280"/>
                    <a:gd name="T9" fmla="*/ 0 h 296"/>
                    <a:gd name="T10" fmla="*/ 156 w 280"/>
                    <a:gd name="T11" fmla="*/ 0 h 296"/>
                    <a:gd name="T12" fmla="*/ 132 w 280"/>
                    <a:gd name="T13" fmla="*/ 6 h 296"/>
                    <a:gd name="T14" fmla="*/ 112 w 280"/>
                    <a:gd name="T15" fmla="*/ 21 h 296"/>
                    <a:gd name="T16" fmla="*/ 79 w 280"/>
                    <a:gd name="T17" fmla="*/ 15 h 296"/>
                    <a:gd name="T18" fmla="*/ 47 w 280"/>
                    <a:gd name="T19" fmla="*/ 0 h 296"/>
                    <a:gd name="T20" fmla="*/ 0 w 280"/>
                    <a:gd name="T21" fmla="*/ 0 h 296"/>
                    <a:gd name="T22" fmla="*/ 0 w 280"/>
                    <a:gd name="T23" fmla="*/ 47 h 296"/>
                    <a:gd name="T24" fmla="*/ 6 w 280"/>
                    <a:gd name="T25" fmla="*/ 99 h 296"/>
                    <a:gd name="T26" fmla="*/ 16 w 280"/>
                    <a:gd name="T27" fmla="*/ 279 h 296"/>
                    <a:gd name="T28" fmla="*/ 130 w 280"/>
                    <a:gd name="T29" fmla="*/ 285 h 296"/>
                    <a:gd name="T30" fmla="*/ 218 w 280"/>
                    <a:gd name="T31" fmla="*/ 279 h 296"/>
                    <a:gd name="T32" fmla="*/ 235 w 280"/>
                    <a:gd name="T33" fmla="*/ 296 h 296"/>
                    <a:gd name="T34" fmla="*/ 249 w 280"/>
                    <a:gd name="T35" fmla="*/ 279 h 296"/>
                    <a:gd name="T36" fmla="*/ 280 w 280"/>
                    <a:gd name="T37" fmla="*/ 248 h 296"/>
                    <a:gd name="T38" fmla="*/ 280 w 280"/>
                    <a:gd name="T39" fmla="*/ 217 h 296"/>
                    <a:gd name="T40" fmla="*/ 264 w 280"/>
                    <a:gd name="T41" fmla="*/ 209 h 296"/>
                    <a:gd name="T42" fmla="*/ 241 w 280"/>
                    <a:gd name="T43" fmla="*/ 158 h 296"/>
                    <a:gd name="T44" fmla="*/ 223 w 280"/>
                    <a:gd name="T45" fmla="*/ 116 h 296"/>
                    <a:gd name="T46" fmla="*/ 202 w 280"/>
                    <a:gd name="T47" fmla="*/ 78 h 296"/>
                    <a:gd name="T48" fmla="*/ 187 w 280"/>
                    <a:gd name="T49" fmla="*/ 47 h 296"/>
                    <a:gd name="T50" fmla="*/ 208 w 280"/>
                    <a:gd name="T51" fmla="*/ 71 h 296"/>
                    <a:gd name="T52" fmla="*/ 218 w 280"/>
                    <a:gd name="T53" fmla="*/ 93 h 296"/>
                    <a:gd name="T54" fmla="*/ 233 w 280"/>
                    <a:gd name="T55" fmla="*/ 109 h 296"/>
                    <a:gd name="T56" fmla="*/ 241 w 280"/>
                    <a:gd name="T57" fmla="*/ 98 h 296"/>
                    <a:gd name="T58" fmla="*/ 249 w 280"/>
                    <a:gd name="T59" fmla="*/ 62 h 296"/>
                    <a:gd name="T60" fmla="*/ 244 w 280"/>
                    <a:gd name="T61" fmla="*/ 42 h 296"/>
                    <a:gd name="T62" fmla="*/ 233 w 280"/>
                    <a:gd name="T63" fmla="*/ 1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96">
                      <a:moveTo>
                        <a:pt x="233" y="16"/>
                      </a:moveTo>
                      <a:lnTo>
                        <a:pt x="202" y="16"/>
                      </a:lnTo>
                      <a:lnTo>
                        <a:pt x="187" y="16"/>
                      </a:lnTo>
                      <a:lnTo>
                        <a:pt x="171" y="16"/>
                      </a:lnTo>
                      <a:lnTo>
                        <a:pt x="171" y="0"/>
                      </a:lnTo>
                      <a:lnTo>
                        <a:pt x="156" y="0"/>
                      </a:lnTo>
                      <a:lnTo>
                        <a:pt x="132" y="6"/>
                      </a:lnTo>
                      <a:lnTo>
                        <a:pt x="112" y="21"/>
                      </a:lnTo>
                      <a:lnTo>
                        <a:pt x="79" y="15"/>
                      </a:lnTo>
                      <a:lnTo>
                        <a:pt x="47" y="0"/>
                      </a:lnTo>
                      <a:lnTo>
                        <a:pt x="0" y="0"/>
                      </a:lnTo>
                      <a:lnTo>
                        <a:pt x="0" y="47"/>
                      </a:lnTo>
                      <a:lnTo>
                        <a:pt x="6" y="99"/>
                      </a:lnTo>
                      <a:lnTo>
                        <a:pt x="16" y="279"/>
                      </a:lnTo>
                      <a:lnTo>
                        <a:pt x="130" y="285"/>
                      </a:lnTo>
                      <a:lnTo>
                        <a:pt x="218" y="279"/>
                      </a:lnTo>
                      <a:lnTo>
                        <a:pt x="235" y="296"/>
                      </a:lnTo>
                      <a:lnTo>
                        <a:pt x="249" y="279"/>
                      </a:lnTo>
                      <a:lnTo>
                        <a:pt x="280" y="248"/>
                      </a:lnTo>
                      <a:lnTo>
                        <a:pt x="280" y="217"/>
                      </a:lnTo>
                      <a:lnTo>
                        <a:pt x="264" y="209"/>
                      </a:lnTo>
                      <a:lnTo>
                        <a:pt x="241" y="158"/>
                      </a:lnTo>
                      <a:lnTo>
                        <a:pt x="223" y="116"/>
                      </a:lnTo>
                      <a:lnTo>
                        <a:pt x="202" y="78"/>
                      </a:lnTo>
                      <a:lnTo>
                        <a:pt x="187" y="47"/>
                      </a:lnTo>
                      <a:lnTo>
                        <a:pt x="208" y="71"/>
                      </a:lnTo>
                      <a:lnTo>
                        <a:pt x="218" y="93"/>
                      </a:lnTo>
                      <a:lnTo>
                        <a:pt x="233" y="109"/>
                      </a:lnTo>
                      <a:lnTo>
                        <a:pt x="241" y="98"/>
                      </a:lnTo>
                      <a:lnTo>
                        <a:pt x="249" y="62"/>
                      </a:lnTo>
                      <a:lnTo>
                        <a:pt x="244" y="42"/>
                      </a:lnTo>
                      <a:lnTo>
                        <a:pt x="233" y="1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50" name="Freeform 5"/>
                <p:cNvSpPr>
                  <a:spLocks/>
                </p:cNvSpPr>
                <p:nvPr/>
              </p:nvSpPr>
              <p:spPr bwMode="auto">
                <a:xfrm>
                  <a:off x="1310156" y="2490421"/>
                  <a:ext cx="1467499" cy="706197"/>
                </a:xfrm>
                <a:custGeom>
                  <a:avLst/>
                  <a:gdLst>
                    <a:gd name="T0" fmla="*/ 589 w 1427"/>
                    <a:gd name="T1" fmla="*/ 581 h 707"/>
                    <a:gd name="T2" fmla="*/ 620 w 1427"/>
                    <a:gd name="T3" fmla="*/ 581 h 707"/>
                    <a:gd name="T4" fmla="*/ 682 w 1427"/>
                    <a:gd name="T5" fmla="*/ 566 h 707"/>
                    <a:gd name="T6" fmla="*/ 729 w 1427"/>
                    <a:gd name="T7" fmla="*/ 597 h 707"/>
                    <a:gd name="T8" fmla="*/ 744 w 1427"/>
                    <a:gd name="T9" fmla="*/ 566 h 707"/>
                    <a:gd name="T10" fmla="*/ 729 w 1427"/>
                    <a:gd name="T11" fmla="*/ 550 h 707"/>
                    <a:gd name="T12" fmla="*/ 798 w 1427"/>
                    <a:gd name="T13" fmla="*/ 556 h 707"/>
                    <a:gd name="T14" fmla="*/ 837 w 1427"/>
                    <a:gd name="T15" fmla="*/ 581 h 707"/>
                    <a:gd name="T16" fmla="*/ 899 w 1427"/>
                    <a:gd name="T17" fmla="*/ 597 h 707"/>
                    <a:gd name="T18" fmla="*/ 906 w 1427"/>
                    <a:gd name="T19" fmla="*/ 682 h 707"/>
                    <a:gd name="T20" fmla="*/ 946 w 1427"/>
                    <a:gd name="T21" fmla="*/ 691 h 707"/>
                    <a:gd name="T22" fmla="*/ 946 w 1427"/>
                    <a:gd name="T23" fmla="*/ 534 h 707"/>
                    <a:gd name="T24" fmla="*/ 1055 w 1427"/>
                    <a:gd name="T25" fmla="*/ 448 h 707"/>
                    <a:gd name="T26" fmla="*/ 1098 w 1427"/>
                    <a:gd name="T27" fmla="*/ 408 h 707"/>
                    <a:gd name="T28" fmla="*/ 1101 w 1427"/>
                    <a:gd name="T29" fmla="*/ 393 h 707"/>
                    <a:gd name="T30" fmla="*/ 1131 w 1427"/>
                    <a:gd name="T31" fmla="*/ 364 h 707"/>
                    <a:gd name="T32" fmla="*/ 1116 w 1427"/>
                    <a:gd name="T33" fmla="*/ 314 h 707"/>
                    <a:gd name="T34" fmla="*/ 1151 w 1427"/>
                    <a:gd name="T35" fmla="*/ 288 h 707"/>
                    <a:gd name="T36" fmla="*/ 1155 w 1427"/>
                    <a:gd name="T37" fmla="*/ 327 h 707"/>
                    <a:gd name="T38" fmla="*/ 1178 w 1427"/>
                    <a:gd name="T39" fmla="*/ 299 h 707"/>
                    <a:gd name="T40" fmla="*/ 1248 w 1427"/>
                    <a:gd name="T41" fmla="*/ 238 h 707"/>
                    <a:gd name="T42" fmla="*/ 1304 w 1427"/>
                    <a:gd name="T43" fmla="*/ 232 h 707"/>
                    <a:gd name="T44" fmla="*/ 1310 w 1427"/>
                    <a:gd name="T45" fmla="*/ 214 h 707"/>
                    <a:gd name="T46" fmla="*/ 1380 w 1427"/>
                    <a:gd name="T47" fmla="*/ 148 h 707"/>
                    <a:gd name="T48" fmla="*/ 1426 w 1427"/>
                    <a:gd name="T49" fmla="*/ 110 h 707"/>
                    <a:gd name="T50" fmla="*/ 1404 w 1427"/>
                    <a:gd name="T51" fmla="*/ 61 h 707"/>
                    <a:gd name="T52" fmla="*/ 1240 w 1427"/>
                    <a:gd name="T53" fmla="*/ 126 h 707"/>
                    <a:gd name="T54" fmla="*/ 1116 w 1427"/>
                    <a:gd name="T55" fmla="*/ 173 h 707"/>
                    <a:gd name="T56" fmla="*/ 1008 w 1427"/>
                    <a:gd name="T57" fmla="*/ 220 h 707"/>
                    <a:gd name="T58" fmla="*/ 1023 w 1427"/>
                    <a:gd name="T59" fmla="*/ 157 h 707"/>
                    <a:gd name="T60" fmla="*/ 1023 w 1427"/>
                    <a:gd name="T61" fmla="*/ 110 h 707"/>
                    <a:gd name="T62" fmla="*/ 944 w 1427"/>
                    <a:gd name="T63" fmla="*/ 207 h 707"/>
                    <a:gd name="T64" fmla="*/ 899 w 1427"/>
                    <a:gd name="T65" fmla="*/ 204 h 707"/>
                    <a:gd name="T66" fmla="*/ 930 w 1427"/>
                    <a:gd name="T67" fmla="*/ 141 h 707"/>
                    <a:gd name="T68" fmla="*/ 1039 w 1427"/>
                    <a:gd name="T69" fmla="*/ 79 h 707"/>
                    <a:gd name="T70" fmla="*/ 977 w 1427"/>
                    <a:gd name="T71" fmla="*/ 79 h 707"/>
                    <a:gd name="T72" fmla="*/ 977 w 1427"/>
                    <a:gd name="T73" fmla="*/ 47 h 707"/>
                    <a:gd name="T74" fmla="*/ 868 w 1427"/>
                    <a:gd name="T75" fmla="*/ 79 h 707"/>
                    <a:gd name="T76" fmla="*/ 853 w 1427"/>
                    <a:gd name="T77" fmla="*/ 16 h 707"/>
                    <a:gd name="T78" fmla="*/ 201 w 1427"/>
                    <a:gd name="T79" fmla="*/ 9 h 707"/>
                    <a:gd name="T80" fmla="*/ 171 w 1427"/>
                    <a:gd name="T81" fmla="*/ 63 h 707"/>
                    <a:gd name="T82" fmla="*/ 155 w 1427"/>
                    <a:gd name="T83" fmla="*/ 30 h 707"/>
                    <a:gd name="T84" fmla="*/ 124 w 1427"/>
                    <a:gd name="T85" fmla="*/ 94 h 707"/>
                    <a:gd name="T86" fmla="*/ 47 w 1427"/>
                    <a:gd name="T87" fmla="*/ 189 h 707"/>
                    <a:gd name="T88" fmla="*/ 6 w 1427"/>
                    <a:gd name="T89" fmla="*/ 279 h 707"/>
                    <a:gd name="T90" fmla="*/ 3 w 1427"/>
                    <a:gd name="T91" fmla="*/ 324 h 707"/>
                    <a:gd name="T92" fmla="*/ 8 w 1427"/>
                    <a:gd name="T93" fmla="*/ 360 h 707"/>
                    <a:gd name="T94" fmla="*/ 11 w 1427"/>
                    <a:gd name="T95" fmla="*/ 441 h 707"/>
                    <a:gd name="T96" fmla="*/ 62 w 1427"/>
                    <a:gd name="T97" fmla="*/ 456 h 707"/>
                    <a:gd name="T98" fmla="*/ 123 w 1427"/>
                    <a:gd name="T99" fmla="*/ 487 h 707"/>
                    <a:gd name="T100" fmla="*/ 294 w 1427"/>
                    <a:gd name="T101" fmla="*/ 513 h 707"/>
                    <a:gd name="T102" fmla="*/ 357 w 1427"/>
                    <a:gd name="T103" fmla="*/ 566 h 707"/>
                    <a:gd name="T104" fmla="*/ 407 w 1427"/>
                    <a:gd name="T105" fmla="*/ 570 h 707"/>
                    <a:gd name="T106" fmla="*/ 455 w 1427"/>
                    <a:gd name="T107" fmla="*/ 616 h 707"/>
                    <a:gd name="T108" fmla="*/ 512 w 1427"/>
                    <a:gd name="T109" fmla="*/ 691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7" h="707">
                      <a:moveTo>
                        <a:pt x="527" y="628"/>
                      </a:moveTo>
                      <a:lnTo>
                        <a:pt x="599" y="586"/>
                      </a:lnTo>
                      <a:lnTo>
                        <a:pt x="589" y="581"/>
                      </a:lnTo>
                      <a:lnTo>
                        <a:pt x="605" y="566"/>
                      </a:lnTo>
                      <a:lnTo>
                        <a:pt x="609" y="580"/>
                      </a:lnTo>
                      <a:lnTo>
                        <a:pt x="620" y="581"/>
                      </a:lnTo>
                      <a:lnTo>
                        <a:pt x="636" y="567"/>
                      </a:lnTo>
                      <a:lnTo>
                        <a:pt x="667" y="581"/>
                      </a:lnTo>
                      <a:lnTo>
                        <a:pt x="682" y="566"/>
                      </a:lnTo>
                      <a:lnTo>
                        <a:pt x="682" y="597"/>
                      </a:lnTo>
                      <a:lnTo>
                        <a:pt x="729" y="581"/>
                      </a:lnTo>
                      <a:lnTo>
                        <a:pt x="729" y="597"/>
                      </a:lnTo>
                      <a:lnTo>
                        <a:pt x="744" y="597"/>
                      </a:lnTo>
                      <a:lnTo>
                        <a:pt x="729" y="581"/>
                      </a:lnTo>
                      <a:lnTo>
                        <a:pt x="744" y="566"/>
                      </a:lnTo>
                      <a:lnTo>
                        <a:pt x="726" y="570"/>
                      </a:lnTo>
                      <a:lnTo>
                        <a:pt x="713" y="566"/>
                      </a:lnTo>
                      <a:lnTo>
                        <a:pt x="729" y="550"/>
                      </a:lnTo>
                      <a:lnTo>
                        <a:pt x="738" y="561"/>
                      </a:lnTo>
                      <a:lnTo>
                        <a:pt x="768" y="555"/>
                      </a:lnTo>
                      <a:lnTo>
                        <a:pt x="798" y="556"/>
                      </a:lnTo>
                      <a:lnTo>
                        <a:pt x="822" y="550"/>
                      </a:lnTo>
                      <a:lnTo>
                        <a:pt x="837" y="566"/>
                      </a:lnTo>
                      <a:lnTo>
                        <a:pt x="837" y="581"/>
                      </a:lnTo>
                      <a:lnTo>
                        <a:pt x="866" y="567"/>
                      </a:lnTo>
                      <a:lnTo>
                        <a:pt x="884" y="566"/>
                      </a:lnTo>
                      <a:lnTo>
                        <a:pt x="899" y="597"/>
                      </a:lnTo>
                      <a:lnTo>
                        <a:pt x="891" y="631"/>
                      </a:lnTo>
                      <a:lnTo>
                        <a:pt x="900" y="658"/>
                      </a:lnTo>
                      <a:lnTo>
                        <a:pt x="906" y="682"/>
                      </a:lnTo>
                      <a:lnTo>
                        <a:pt x="917" y="702"/>
                      </a:lnTo>
                      <a:lnTo>
                        <a:pt x="930" y="707"/>
                      </a:lnTo>
                      <a:lnTo>
                        <a:pt x="946" y="691"/>
                      </a:lnTo>
                      <a:lnTo>
                        <a:pt x="951" y="658"/>
                      </a:lnTo>
                      <a:lnTo>
                        <a:pt x="945" y="613"/>
                      </a:lnTo>
                      <a:lnTo>
                        <a:pt x="946" y="534"/>
                      </a:lnTo>
                      <a:lnTo>
                        <a:pt x="978" y="495"/>
                      </a:lnTo>
                      <a:lnTo>
                        <a:pt x="1019" y="469"/>
                      </a:lnTo>
                      <a:lnTo>
                        <a:pt x="1055" y="448"/>
                      </a:lnTo>
                      <a:lnTo>
                        <a:pt x="1086" y="430"/>
                      </a:lnTo>
                      <a:lnTo>
                        <a:pt x="1098" y="423"/>
                      </a:lnTo>
                      <a:lnTo>
                        <a:pt x="1098" y="408"/>
                      </a:lnTo>
                      <a:lnTo>
                        <a:pt x="1115" y="409"/>
                      </a:lnTo>
                      <a:lnTo>
                        <a:pt x="1124" y="399"/>
                      </a:lnTo>
                      <a:lnTo>
                        <a:pt x="1101" y="393"/>
                      </a:lnTo>
                      <a:lnTo>
                        <a:pt x="1116" y="377"/>
                      </a:lnTo>
                      <a:lnTo>
                        <a:pt x="1131" y="382"/>
                      </a:lnTo>
                      <a:lnTo>
                        <a:pt x="1131" y="364"/>
                      </a:lnTo>
                      <a:lnTo>
                        <a:pt x="1116" y="361"/>
                      </a:lnTo>
                      <a:lnTo>
                        <a:pt x="1127" y="348"/>
                      </a:lnTo>
                      <a:lnTo>
                        <a:pt x="1116" y="314"/>
                      </a:lnTo>
                      <a:lnTo>
                        <a:pt x="1132" y="330"/>
                      </a:lnTo>
                      <a:lnTo>
                        <a:pt x="1132" y="314"/>
                      </a:lnTo>
                      <a:lnTo>
                        <a:pt x="1151" y="288"/>
                      </a:lnTo>
                      <a:lnTo>
                        <a:pt x="1147" y="314"/>
                      </a:lnTo>
                      <a:lnTo>
                        <a:pt x="1143" y="339"/>
                      </a:lnTo>
                      <a:lnTo>
                        <a:pt x="1155" y="327"/>
                      </a:lnTo>
                      <a:lnTo>
                        <a:pt x="1169" y="313"/>
                      </a:lnTo>
                      <a:lnTo>
                        <a:pt x="1166" y="295"/>
                      </a:lnTo>
                      <a:lnTo>
                        <a:pt x="1178" y="299"/>
                      </a:lnTo>
                      <a:lnTo>
                        <a:pt x="1194" y="283"/>
                      </a:lnTo>
                      <a:lnTo>
                        <a:pt x="1209" y="251"/>
                      </a:lnTo>
                      <a:lnTo>
                        <a:pt x="1248" y="238"/>
                      </a:lnTo>
                      <a:lnTo>
                        <a:pt x="1283" y="232"/>
                      </a:lnTo>
                      <a:lnTo>
                        <a:pt x="1287" y="220"/>
                      </a:lnTo>
                      <a:lnTo>
                        <a:pt x="1304" y="232"/>
                      </a:lnTo>
                      <a:lnTo>
                        <a:pt x="1318" y="220"/>
                      </a:lnTo>
                      <a:lnTo>
                        <a:pt x="1318" y="204"/>
                      </a:lnTo>
                      <a:lnTo>
                        <a:pt x="1310" y="214"/>
                      </a:lnTo>
                      <a:lnTo>
                        <a:pt x="1302" y="204"/>
                      </a:lnTo>
                      <a:lnTo>
                        <a:pt x="1337" y="162"/>
                      </a:lnTo>
                      <a:lnTo>
                        <a:pt x="1380" y="148"/>
                      </a:lnTo>
                      <a:lnTo>
                        <a:pt x="1411" y="141"/>
                      </a:lnTo>
                      <a:lnTo>
                        <a:pt x="1427" y="133"/>
                      </a:lnTo>
                      <a:lnTo>
                        <a:pt x="1426" y="110"/>
                      </a:lnTo>
                      <a:lnTo>
                        <a:pt x="1411" y="110"/>
                      </a:lnTo>
                      <a:lnTo>
                        <a:pt x="1426" y="63"/>
                      </a:lnTo>
                      <a:lnTo>
                        <a:pt x="1404" y="61"/>
                      </a:lnTo>
                      <a:lnTo>
                        <a:pt x="1349" y="110"/>
                      </a:lnTo>
                      <a:lnTo>
                        <a:pt x="1318" y="126"/>
                      </a:lnTo>
                      <a:lnTo>
                        <a:pt x="1240" y="126"/>
                      </a:lnTo>
                      <a:lnTo>
                        <a:pt x="1209" y="141"/>
                      </a:lnTo>
                      <a:lnTo>
                        <a:pt x="1194" y="173"/>
                      </a:lnTo>
                      <a:lnTo>
                        <a:pt x="1116" y="173"/>
                      </a:lnTo>
                      <a:lnTo>
                        <a:pt x="1132" y="189"/>
                      </a:lnTo>
                      <a:lnTo>
                        <a:pt x="1035" y="229"/>
                      </a:lnTo>
                      <a:lnTo>
                        <a:pt x="1008" y="220"/>
                      </a:lnTo>
                      <a:lnTo>
                        <a:pt x="1039" y="173"/>
                      </a:lnTo>
                      <a:lnTo>
                        <a:pt x="1039" y="157"/>
                      </a:lnTo>
                      <a:lnTo>
                        <a:pt x="1023" y="157"/>
                      </a:lnTo>
                      <a:lnTo>
                        <a:pt x="1039" y="141"/>
                      </a:lnTo>
                      <a:lnTo>
                        <a:pt x="1039" y="110"/>
                      </a:lnTo>
                      <a:lnTo>
                        <a:pt x="1023" y="110"/>
                      </a:lnTo>
                      <a:lnTo>
                        <a:pt x="977" y="126"/>
                      </a:lnTo>
                      <a:lnTo>
                        <a:pt x="961" y="157"/>
                      </a:lnTo>
                      <a:lnTo>
                        <a:pt x="944" y="207"/>
                      </a:lnTo>
                      <a:lnTo>
                        <a:pt x="915" y="220"/>
                      </a:lnTo>
                      <a:lnTo>
                        <a:pt x="899" y="220"/>
                      </a:lnTo>
                      <a:lnTo>
                        <a:pt x="899" y="204"/>
                      </a:lnTo>
                      <a:lnTo>
                        <a:pt x="915" y="173"/>
                      </a:lnTo>
                      <a:lnTo>
                        <a:pt x="961" y="126"/>
                      </a:lnTo>
                      <a:lnTo>
                        <a:pt x="930" y="141"/>
                      </a:lnTo>
                      <a:lnTo>
                        <a:pt x="977" y="94"/>
                      </a:lnTo>
                      <a:lnTo>
                        <a:pt x="1039" y="94"/>
                      </a:lnTo>
                      <a:lnTo>
                        <a:pt x="1039" y="79"/>
                      </a:lnTo>
                      <a:lnTo>
                        <a:pt x="1023" y="79"/>
                      </a:lnTo>
                      <a:lnTo>
                        <a:pt x="1039" y="79"/>
                      </a:lnTo>
                      <a:lnTo>
                        <a:pt x="977" y="79"/>
                      </a:lnTo>
                      <a:lnTo>
                        <a:pt x="977" y="63"/>
                      </a:lnTo>
                      <a:lnTo>
                        <a:pt x="946" y="79"/>
                      </a:lnTo>
                      <a:lnTo>
                        <a:pt x="977" y="47"/>
                      </a:lnTo>
                      <a:lnTo>
                        <a:pt x="899" y="79"/>
                      </a:lnTo>
                      <a:lnTo>
                        <a:pt x="899" y="63"/>
                      </a:lnTo>
                      <a:lnTo>
                        <a:pt x="868" y="79"/>
                      </a:lnTo>
                      <a:lnTo>
                        <a:pt x="930" y="31"/>
                      </a:lnTo>
                      <a:lnTo>
                        <a:pt x="946" y="31"/>
                      </a:lnTo>
                      <a:lnTo>
                        <a:pt x="853" y="16"/>
                      </a:lnTo>
                      <a:lnTo>
                        <a:pt x="837" y="0"/>
                      </a:lnTo>
                      <a:lnTo>
                        <a:pt x="827" y="12"/>
                      </a:lnTo>
                      <a:lnTo>
                        <a:pt x="201" y="9"/>
                      </a:lnTo>
                      <a:lnTo>
                        <a:pt x="198" y="33"/>
                      </a:lnTo>
                      <a:lnTo>
                        <a:pt x="186" y="47"/>
                      </a:lnTo>
                      <a:lnTo>
                        <a:pt x="171" y="63"/>
                      </a:lnTo>
                      <a:lnTo>
                        <a:pt x="171" y="47"/>
                      </a:lnTo>
                      <a:lnTo>
                        <a:pt x="186" y="31"/>
                      </a:lnTo>
                      <a:lnTo>
                        <a:pt x="155" y="30"/>
                      </a:lnTo>
                      <a:lnTo>
                        <a:pt x="140" y="31"/>
                      </a:lnTo>
                      <a:lnTo>
                        <a:pt x="137" y="60"/>
                      </a:lnTo>
                      <a:lnTo>
                        <a:pt x="124" y="94"/>
                      </a:lnTo>
                      <a:lnTo>
                        <a:pt x="104" y="117"/>
                      </a:lnTo>
                      <a:lnTo>
                        <a:pt x="84" y="148"/>
                      </a:lnTo>
                      <a:lnTo>
                        <a:pt x="47" y="189"/>
                      </a:lnTo>
                      <a:lnTo>
                        <a:pt x="31" y="220"/>
                      </a:lnTo>
                      <a:lnTo>
                        <a:pt x="8" y="259"/>
                      </a:lnTo>
                      <a:lnTo>
                        <a:pt x="6" y="279"/>
                      </a:lnTo>
                      <a:lnTo>
                        <a:pt x="0" y="299"/>
                      </a:lnTo>
                      <a:lnTo>
                        <a:pt x="3" y="312"/>
                      </a:lnTo>
                      <a:lnTo>
                        <a:pt x="3" y="324"/>
                      </a:lnTo>
                      <a:lnTo>
                        <a:pt x="21" y="331"/>
                      </a:lnTo>
                      <a:lnTo>
                        <a:pt x="2" y="345"/>
                      </a:lnTo>
                      <a:lnTo>
                        <a:pt x="8" y="360"/>
                      </a:lnTo>
                      <a:lnTo>
                        <a:pt x="3" y="384"/>
                      </a:lnTo>
                      <a:lnTo>
                        <a:pt x="14" y="405"/>
                      </a:lnTo>
                      <a:lnTo>
                        <a:pt x="11" y="441"/>
                      </a:lnTo>
                      <a:lnTo>
                        <a:pt x="32" y="438"/>
                      </a:lnTo>
                      <a:lnTo>
                        <a:pt x="47" y="447"/>
                      </a:lnTo>
                      <a:lnTo>
                        <a:pt x="62" y="456"/>
                      </a:lnTo>
                      <a:lnTo>
                        <a:pt x="78" y="471"/>
                      </a:lnTo>
                      <a:lnTo>
                        <a:pt x="78" y="487"/>
                      </a:lnTo>
                      <a:lnTo>
                        <a:pt x="123" y="487"/>
                      </a:lnTo>
                      <a:lnTo>
                        <a:pt x="219" y="529"/>
                      </a:lnTo>
                      <a:lnTo>
                        <a:pt x="284" y="526"/>
                      </a:lnTo>
                      <a:lnTo>
                        <a:pt x="294" y="513"/>
                      </a:lnTo>
                      <a:lnTo>
                        <a:pt x="341" y="518"/>
                      </a:lnTo>
                      <a:lnTo>
                        <a:pt x="357" y="550"/>
                      </a:lnTo>
                      <a:lnTo>
                        <a:pt x="357" y="566"/>
                      </a:lnTo>
                      <a:lnTo>
                        <a:pt x="372" y="597"/>
                      </a:lnTo>
                      <a:lnTo>
                        <a:pt x="388" y="597"/>
                      </a:lnTo>
                      <a:lnTo>
                        <a:pt x="407" y="570"/>
                      </a:lnTo>
                      <a:lnTo>
                        <a:pt x="437" y="573"/>
                      </a:lnTo>
                      <a:lnTo>
                        <a:pt x="447" y="583"/>
                      </a:lnTo>
                      <a:lnTo>
                        <a:pt x="455" y="616"/>
                      </a:lnTo>
                      <a:lnTo>
                        <a:pt x="468" y="639"/>
                      </a:lnTo>
                      <a:lnTo>
                        <a:pt x="470" y="673"/>
                      </a:lnTo>
                      <a:lnTo>
                        <a:pt x="512" y="691"/>
                      </a:lnTo>
                      <a:lnTo>
                        <a:pt x="512" y="646"/>
                      </a:lnTo>
                      <a:lnTo>
                        <a:pt x="527" y="62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51" name="Freeform 6"/>
                <p:cNvSpPr>
                  <a:spLocks/>
                </p:cNvSpPr>
                <p:nvPr/>
              </p:nvSpPr>
              <p:spPr bwMode="auto">
                <a:xfrm>
                  <a:off x="684994" y="1901923"/>
                  <a:ext cx="1022285" cy="443636"/>
                </a:xfrm>
                <a:custGeom>
                  <a:avLst/>
                  <a:gdLst>
                    <a:gd name="T0" fmla="*/ 735 w 995"/>
                    <a:gd name="T1" fmla="*/ 319 h 444"/>
                    <a:gd name="T2" fmla="*/ 806 w 995"/>
                    <a:gd name="T3" fmla="*/ 325 h 444"/>
                    <a:gd name="T4" fmla="*/ 783 w 995"/>
                    <a:gd name="T5" fmla="*/ 427 h 444"/>
                    <a:gd name="T6" fmla="*/ 750 w 995"/>
                    <a:gd name="T7" fmla="*/ 421 h 444"/>
                    <a:gd name="T8" fmla="*/ 749 w 995"/>
                    <a:gd name="T9" fmla="*/ 402 h 444"/>
                    <a:gd name="T10" fmla="*/ 737 w 995"/>
                    <a:gd name="T11" fmla="*/ 381 h 444"/>
                    <a:gd name="T12" fmla="*/ 734 w 995"/>
                    <a:gd name="T13" fmla="*/ 366 h 444"/>
                    <a:gd name="T14" fmla="*/ 759 w 995"/>
                    <a:gd name="T15" fmla="*/ 333 h 444"/>
                    <a:gd name="T16" fmla="*/ 714 w 995"/>
                    <a:gd name="T17" fmla="*/ 321 h 444"/>
                    <a:gd name="T18" fmla="*/ 678 w 995"/>
                    <a:gd name="T19" fmla="*/ 291 h 444"/>
                    <a:gd name="T20" fmla="*/ 594 w 995"/>
                    <a:gd name="T21" fmla="*/ 264 h 444"/>
                    <a:gd name="T22" fmla="*/ 545 w 995"/>
                    <a:gd name="T23" fmla="*/ 294 h 444"/>
                    <a:gd name="T24" fmla="*/ 447 w 995"/>
                    <a:gd name="T25" fmla="*/ 306 h 444"/>
                    <a:gd name="T26" fmla="*/ 512 w 995"/>
                    <a:gd name="T27" fmla="*/ 268 h 444"/>
                    <a:gd name="T28" fmla="*/ 513 w 995"/>
                    <a:gd name="T29" fmla="*/ 259 h 444"/>
                    <a:gd name="T30" fmla="*/ 368 w 995"/>
                    <a:gd name="T31" fmla="*/ 301 h 444"/>
                    <a:gd name="T32" fmla="*/ 372 w 995"/>
                    <a:gd name="T33" fmla="*/ 331 h 444"/>
                    <a:gd name="T34" fmla="*/ 260 w 995"/>
                    <a:gd name="T35" fmla="*/ 376 h 444"/>
                    <a:gd name="T36" fmla="*/ 186 w 995"/>
                    <a:gd name="T37" fmla="*/ 400 h 444"/>
                    <a:gd name="T38" fmla="*/ 120 w 995"/>
                    <a:gd name="T39" fmla="*/ 415 h 444"/>
                    <a:gd name="T40" fmla="*/ 119 w 995"/>
                    <a:gd name="T41" fmla="*/ 406 h 444"/>
                    <a:gd name="T42" fmla="*/ 239 w 995"/>
                    <a:gd name="T43" fmla="*/ 372 h 444"/>
                    <a:gd name="T44" fmla="*/ 293 w 995"/>
                    <a:gd name="T45" fmla="*/ 345 h 444"/>
                    <a:gd name="T46" fmla="*/ 317 w 995"/>
                    <a:gd name="T47" fmla="*/ 327 h 444"/>
                    <a:gd name="T48" fmla="*/ 248 w 995"/>
                    <a:gd name="T49" fmla="*/ 321 h 444"/>
                    <a:gd name="T50" fmla="*/ 230 w 995"/>
                    <a:gd name="T51" fmla="*/ 316 h 444"/>
                    <a:gd name="T52" fmla="*/ 231 w 995"/>
                    <a:gd name="T53" fmla="*/ 295 h 444"/>
                    <a:gd name="T54" fmla="*/ 224 w 995"/>
                    <a:gd name="T55" fmla="*/ 271 h 444"/>
                    <a:gd name="T56" fmla="*/ 269 w 995"/>
                    <a:gd name="T57" fmla="*/ 225 h 444"/>
                    <a:gd name="T58" fmla="*/ 398 w 995"/>
                    <a:gd name="T59" fmla="*/ 198 h 444"/>
                    <a:gd name="T60" fmla="*/ 441 w 995"/>
                    <a:gd name="T61" fmla="*/ 169 h 444"/>
                    <a:gd name="T62" fmla="*/ 378 w 995"/>
                    <a:gd name="T63" fmla="*/ 168 h 444"/>
                    <a:gd name="T64" fmla="*/ 339 w 995"/>
                    <a:gd name="T65" fmla="*/ 157 h 444"/>
                    <a:gd name="T66" fmla="*/ 396 w 995"/>
                    <a:gd name="T67" fmla="*/ 130 h 444"/>
                    <a:gd name="T68" fmla="*/ 443 w 995"/>
                    <a:gd name="T69" fmla="*/ 120 h 444"/>
                    <a:gd name="T70" fmla="*/ 497 w 995"/>
                    <a:gd name="T71" fmla="*/ 123 h 444"/>
                    <a:gd name="T72" fmla="*/ 479 w 995"/>
                    <a:gd name="T73" fmla="*/ 103 h 444"/>
                    <a:gd name="T74" fmla="*/ 476 w 995"/>
                    <a:gd name="T75" fmla="*/ 66 h 444"/>
                    <a:gd name="T76" fmla="*/ 593 w 995"/>
                    <a:gd name="T77" fmla="*/ 39 h 444"/>
                    <a:gd name="T78" fmla="*/ 662 w 995"/>
                    <a:gd name="T79" fmla="*/ 18 h 444"/>
                    <a:gd name="T80" fmla="*/ 761 w 995"/>
                    <a:gd name="T81" fmla="*/ 0 h 444"/>
                    <a:gd name="T82" fmla="*/ 837 w 995"/>
                    <a:gd name="T83" fmla="*/ 24 h 444"/>
                    <a:gd name="T84" fmla="*/ 932 w 995"/>
                    <a:gd name="T85" fmla="*/ 37 h 444"/>
                    <a:gd name="T86" fmla="*/ 995 w 995"/>
                    <a:gd name="T87" fmla="*/ 45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95" h="444">
                      <a:moveTo>
                        <a:pt x="729" y="285"/>
                      </a:moveTo>
                      <a:lnTo>
                        <a:pt x="738" y="300"/>
                      </a:lnTo>
                      <a:lnTo>
                        <a:pt x="735" y="319"/>
                      </a:lnTo>
                      <a:lnTo>
                        <a:pt x="774" y="303"/>
                      </a:lnTo>
                      <a:lnTo>
                        <a:pt x="807" y="297"/>
                      </a:lnTo>
                      <a:lnTo>
                        <a:pt x="806" y="325"/>
                      </a:lnTo>
                      <a:lnTo>
                        <a:pt x="798" y="381"/>
                      </a:lnTo>
                      <a:lnTo>
                        <a:pt x="809" y="403"/>
                      </a:lnTo>
                      <a:lnTo>
                        <a:pt x="783" y="427"/>
                      </a:lnTo>
                      <a:cubicBezTo>
                        <a:pt x="779" y="417"/>
                        <a:pt x="778" y="416"/>
                        <a:pt x="768" y="414"/>
                      </a:cubicBezTo>
                      <a:cubicBezTo>
                        <a:pt x="763" y="410"/>
                        <a:pt x="762" y="405"/>
                        <a:pt x="755" y="408"/>
                      </a:cubicBezTo>
                      <a:cubicBezTo>
                        <a:pt x="753" y="412"/>
                        <a:pt x="752" y="417"/>
                        <a:pt x="750" y="421"/>
                      </a:cubicBezTo>
                      <a:cubicBezTo>
                        <a:pt x="749" y="428"/>
                        <a:pt x="745" y="435"/>
                        <a:pt x="738" y="436"/>
                      </a:cubicBezTo>
                      <a:cubicBezTo>
                        <a:pt x="737" y="429"/>
                        <a:pt x="735" y="425"/>
                        <a:pt x="734" y="418"/>
                      </a:cubicBezTo>
                      <a:cubicBezTo>
                        <a:pt x="736" y="409"/>
                        <a:pt x="742" y="408"/>
                        <a:pt x="749" y="402"/>
                      </a:cubicBezTo>
                      <a:cubicBezTo>
                        <a:pt x="750" y="389"/>
                        <a:pt x="751" y="378"/>
                        <a:pt x="765" y="373"/>
                      </a:cubicBezTo>
                      <a:cubicBezTo>
                        <a:pt x="763" y="363"/>
                        <a:pt x="758" y="369"/>
                        <a:pt x="750" y="370"/>
                      </a:cubicBezTo>
                      <a:cubicBezTo>
                        <a:pt x="745" y="373"/>
                        <a:pt x="742" y="378"/>
                        <a:pt x="737" y="381"/>
                      </a:cubicBezTo>
                      <a:cubicBezTo>
                        <a:pt x="734" y="387"/>
                        <a:pt x="732" y="387"/>
                        <a:pt x="726" y="388"/>
                      </a:cubicBezTo>
                      <a:cubicBezTo>
                        <a:pt x="719" y="392"/>
                        <a:pt x="720" y="385"/>
                        <a:pt x="719" y="379"/>
                      </a:cubicBezTo>
                      <a:cubicBezTo>
                        <a:pt x="720" y="371"/>
                        <a:pt x="726" y="368"/>
                        <a:pt x="734" y="366"/>
                      </a:cubicBezTo>
                      <a:cubicBezTo>
                        <a:pt x="738" y="360"/>
                        <a:pt x="739" y="358"/>
                        <a:pt x="746" y="357"/>
                      </a:cubicBezTo>
                      <a:cubicBezTo>
                        <a:pt x="757" y="349"/>
                        <a:pt x="751" y="346"/>
                        <a:pt x="768" y="343"/>
                      </a:cubicBezTo>
                      <a:cubicBezTo>
                        <a:pt x="772" y="334"/>
                        <a:pt x="767" y="334"/>
                        <a:pt x="759" y="333"/>
                      </a:cubicBezTo>
                      <a:cubicBezTo>
                        <a:pt x="757" y="320"/>
                        <a:pt x="743" y="337"/>
                        <a:pt x="735" y="342"/>
                      </a:cubicBezTo>
                      <a:cubicBezTo>
                        <a:pt x="731" y="336"/>
                        <a:pt x="730" y="334"/>
                        <a:pt x="723" y="333"/>
                      </a:cubicBezTo>
                      <a:cubicBezTo>
                        <a:pt x="718" y="330"/>
                        <a:pt x="717" y="326"/>
                        <a:pt x="714" y="321"/>
                      </a:cubicBezTo>
                      <a:cubicBezTo>
                        <a:pt x="713" y="314"/>
                        <a:pt x="713" y="310"/>
                        <a:pt x="716" y="304"/>
                      </a:cubicBezTo>
                      <a:cubicBezTo>
                        <a:pt x="711" y="303"/>
                        <a:pt x="707" y="301"/>
                        <a:pt x="702" y="300"/>
                      </a:cubicBezTo>
                      <a:cubicBezTo>
                        <a:pt x="694" y="296"/>
                        <a:pt x="686" y="292"/>
                        <a:pt x="678" y="291"/>
                      </a:cubicBezTo>
                      <a:cubicBezTo>
                        <a:pt x="668" y="286"/>
                        <a:pt x="658" y="286"/>
                        <a:pt x="647" y="285"/>
                      </a:cubicBezTo>
                      <a:cubicBezTo>
                        <a:pt x="635" y="287"/>
                        <a:pt x="623" y="288"/>
                        <a:pt x="612" y="282"/>
                      </a:cubicBezTo>
                      <a:cubicBezTo>
                        <a:pt x="611" y="271"/>
                        <a:pt x="605" y="266"/>
                        <a:pt x="594" y="264"/>
                      </a:cubicBezTo>
                      <a:cubicBezTo>
                        <a:pt x="584" y="257"/>
                        <a:pt x="580" y="263"/>
                        <a:pt x="569" y="265"/>
                      </a:cubicBezTo>
                      <a:cubicBezTo>
                        <a:pt x="559" y="268"/>
                        <a:pt x="560" y="268"/>
                        <a:pt x="555" y="277"/>
                      </a:cubicBezTo>
                      <a:cubicBezTo>
                        <a:pt x="554" y="287"/>
                        <a:pt x="553" y="288"/>
                        <a:pt x="545" y="294"/>
                      </a:cubicBezTo>
                      <a:cubicBezTo>
                        <a:pt x="526" y="292"/>
                        <a:pt x="510" y="297"/>
                        <a:pt x="491" y="300"/>
                      </a:cubicBezTo>
                      <a:cubicBezTo>
                        <a:pt x="483" y="303"/>
                        <a:pt x="474" y="300"/>
                        <a:pt x="465" y="303"/>
                      </a:cubicBezTo>
                      <a:cubicBezTo>
                        <a:pt x="458" y="308"/>
                        <a:pt x="455" y="307"/>
                        <a:pt x="447" y="306"/>
                      </a:cubicBezTo>
                      <a:cubicBezTo>
                        <a:pt x="450" y="299"/>
                        <a:pt x="452" y="298"/>
                        <a:pt x="459" y="297"/>
                      </a:cubicBezTo>
                      <a:cubicBezTo>
                        <a:pt x="466" y="293"/>
                        <a:pt x="471" y="289"/>
                        <a:pt x="479" y="288"/>
                      </a:cubicBezTo>
                      <a:cubicBezTo>
                        <a:pt x="493" y="281"/>
                        <a:pt x="496" y="272"/>
                        <a:pt x="512" y="268"/>
                      </a:cubicBezTo>
                      <a:cubicBezTo>
                        <a:pt x="519" y="264"/>
                        <a:pt x="537" y="268"/>
                        <a:pt x="545" y="267"/>
                      </a:cubicBezTo>
                      <a:cubicBezTo>
                        <a:pt x="551" y="258"/>
                        <a:pt x="552" y="258"/>
                        <a:pt x="542" y="253"/>
                      </a:cubicBezTo>
                      <a:cubicBezTo>
                        <a:pt x="522" y="254"/>
                        <a:pt x="529" y="256"/>
                        <a:pt x="513" y="259"/>
                      </a:cubicBezTo>
                      <a:cubicBezTo>
                        <a:pt x="506" y="263"/>
                        <a:pt x="482" y="269"/>
                        <a:pt x="474" y="271"/>
                      </a:cubicBezTo>
                      <a:cubicBezTo>
                        <a:pt x="460" y="278"/>
                        <a:pt x="444" y="292"/>
                        <a:pt x="429" y="295"/>
                      </a:cubicBezTo>
                      <a:cubicBezTo>
                        <a:pt x="410" y="305"/>
                        <a:pt x="391" y="301"/>
                        <a:pt x="368" y="301"/>
                      </a:cubicBezTo>
                      <a:cubicBezTo>
                        <a:pt x="365" y="309"/>
                        <a:pt x="370" y="309"/>
                        <a:pt x="377" y="310"/>
                      </a:cubicBezTo>
                      <a:cubicBezTo>
                        <a:pt x="382" y="312"/>
                        <a:pt x="387" y="313"/>
                        <a:pt x="392" y="315"/>
                      </a:cubicBezTo>
                      <a:cubicBezTo>
                        <a:pt x="388" y="326"/>
                        <a:pt x="383" y="329"/>
                        <a:pt x="372" y="331"/>
                      </a:cubicBezTo>
                      <a:cubicBezTo>
                        <a:pt x="350" y="342"/>
                        <a:pt x="327" y="351"/>
                        <a:pt x="302" y="355"/>
                      </a:cubicBezTo>
                      <a:cubicBezTo>
                        <a:pt x="295" y="357"/>
                        <a:pt x="289" y="360"/>
                        <a:pt x="282" y="361"/>
                      </a:cubicBezTo>
                      <a:cubicBezTo>
                        <a:pt x="274" y="365"/>
                        <a:pt x="268" y="375"/>
                        <a:pt x="260" y="376"/>
                      </a:cubicBezTo>
                      <a:cubicBezTo>
                        <a:pt x="254" y="379"/>
                        <a:pt x="243" y="380"/>
                        <a:pt x="237" y="381"/>
                      </a:cubicBezTo>
                      <a:cubicBezTo>
                        <a:pt x="232" y="385"/>
                        <a:pt x="221" y="387"/>
                        <a:pt x="215" y="388"/>
                      </a:cubicBezTo>
                      <a:cubicBezTo>
                        <a:pt x="209" y="391"/>
                        <a:pt x="192" y="396"/>
                        <a:pt x="186" y="400"/>
                      </a:cubicBezTo>
                      <a:cubicBezTo>
                        <a:pt x="176" y="404"/>
                        <a:pt x="161" y="408"/>
                        <a:pt x="153" y="411"/>
                      </a:cubicBezTo>
                      <a:cubicBezTo>
                        <a:pt x="145" y="414"/>
                        <a:pt x="145" y="417"/>
                        <a:pt x="140" y="418"/>
                      </a:cubicBezTo>
                      <a:cubicBezTo>
                        <a:pt x="135" y="419"/>
                        <a:pt x="142" y="411"/>
                        <a:pt x="120" y="415"/>
                      </a:cubicBezTo>
                      <a:cubicBezTo>
                        <a:pt x="98" y="419"/>
                        <a:pt x="16" y="442"/>
                        <a:pt x="6" y="444"/>
                      </a:cubicBezTo>
                      <a:cubicBezTo>
                        <a:pt x="0" y="444"/>
                        <a:pt x="24" y="437"/>
                        <a:pt x="59" y="426"/>
                      </a:cubicBezTo>
                      <a:cubicBezTo>
                        <a:pt x="78" y="420"/>
                        <a:pt x="103" y="410"/>
                        <a:pt x="119" y="406"/>
                      </a:cubicBezTo>
                      <a:cubicBezTo>
                        <a:pt x="135" y="402"/>
                        <a:pt x="139" y="407"/>
                        <a:pt x="155" y="402"/>
                      </a:cubicBezTo>
                      <a:cubicBezTo>
                        <a:pt x="171" y="397"/>
                        <a:pt x="202" y="383"/>
                        <a:pt x="216" y="378"/>
                      </a:cubicBezTo>
                      <a:cubicBezTo>
                        <a:pt x="223" y="375"/>
                        <a:pt x="231" y="374"/>
                        <a:pt x="239" y="372"/>
                      </a:cubicBezTo>
                      <a:cubicBezTo>
                        <a:pt x="245" y="369"/>
                        <a:pt x="251" y="367"/>
                        <a:pt x="257" y="366"/>
                      </a:cubicBezTo>
                      <a:cubicBezTo>
                        <a:pt x="267" y="359"/>
                        <a:pt x="271" y="350"/>
                        <a:pt x="284" y="348"/>
                      </a:cubicBezTo>
                      <a:cubicBezTo>
                        <a:pt x="287" y="347"/>
                        <a:pt x="291" y="347"/>
                        <a:pt x="293" y="345"/>
                      </a:cubicBezTo>
                      <a:cubicBezTo>
                        <a:pt x="294" y="344"/>
                        <a:pt x="293" y="341"/>
                        <a:pt x="294" y="340"/>
                      </a:cubicBezTo>
                      <a:cubicBezTo>
                        <a:pt x="297" y="336"/>
                        <a:pt x="304" y="334"/>
                        <a:pt x="308" y="333"/>
                      </a:cubicBezTo>
                      <a:cubicBezTo>
                        <a:pt x="310" y="332"/>
                        <a:pt x="317" y="329"/>
                        <a:pt x="317" y="327"/>
                      </a:cubicBezTo>
                      <a:cubicBezTo>
                        <a:pt x="317" y="324"/>
                        <a:pt x="292" y="316"/>
                        <a:pt x="288" y="315"/>
                      </a:cubicBezTo>
                      <a:cubicBezTo>
                        <a:pt x="278" y="316"/>
                        <a:pt x="276" y="319"/>
                        <a:pt x="269" y="325"/>
                      </a:cubicBezTo>
                      <a:cubicBezTo>
                        <a:pt x="266" y="334"/>
                        <a:pt x="258" y="323"/>
                        <a:pt x="248" y="321"/>
                      </a:cubicBezTo>
                      <a:cubicBezTo>
                        <a:pt x="238" y="317"/>
                        <a:pt x="237" y="320"/>
                        <a:pt x="228" y="322"/>
                      </a:cubicBezTo>
                      <a:cubicBezTo>
                        <a:pt x="223" y="326"/>
                        <a:pt x="221" y="330"/>
                        <a:pt x="216" y="324"/>
                      </a:cubicBezTo>
                      <a:cubicBezTo>
                        <a:pt x="221" y="321"/>
                        <a:pt x="225" y="319"/>
                        <a:pt x="230" y="316"/>
                      </a:cubicBezTo>
                      <a:cubicBezTo>
                        <a:pt x="234" y="311"/>
                        <a:pt x="237" y="309"/>
                        <a:pt x="242" y="306"/>
                      </a:cubicBezTo>
                      <a:cubicBezTo>
                        <a:pt x="246" y="300"/>
                        <a:pt x="251" y="295"/>
                        <a:pt x="257" y="291"/>
                      </a:cubicBezTo>
                      <a:cubicBezTo>
                        <a:pt x="247" y="285"/>
                        <a:pt x="241" y="293"/>
                        <a:pt x="231" y="295"/>
                      </a:cubicBezTo>
                      <a:cubicBezTo>
                        <a:pt x="227" y="297"/>
                        <a:pt x="222" y="298"/>
                        <a:pt x="218" y="300"/>
                      </a:cubicBezTo>
                      <a:cubicBezTo>
                        <a:pt x="208" y="297"/>
                        <a:pt x="209" y="297"/>
                        <a:pt x="204" y="288"/>
                      </a:cubicBezTo>
                      <a:cubicBezTo>
                        <a:pt x="207" y="272"/>
                        <a:pt x="210" y="274"/>
                        <a:pt x="224" y="271"/>
                      </a:cubicBezTo>
                      <a:cubicBezTo>
                        <a:pt x="225" y="260"/>
                        <a:pt x="222" y="251"/>
                        <a:pt x="233" y="249"/>
                      </a:cubicBezTo>
                      <a:cubicBezTo>
                        <a:pt x="240" y="245"/>
                        <a:pt x="246" y="241"/>
                        <a:pt x="254" y="240"/>
                      </a:cubicBezTo>
                      <a:cubicBezTo>
                        <a:pt x="258" y="234"/>
                        <a:pt x="263" y="229"/>
                        <a:pt x="269" y="225"/>
                      </a:cubicBezTo>
                      <a:cubicBezTo>
                        <a:pt x="274" y="216"/>
                        <a:pt x="283" y="215"/>
                        <a:pt x="293" y="213"/>
                      </a:cubicBezTo>
                      <a:cubicBezTo>
                        <a:pt x="316" y="201"/>
                        <a:pt x="339" y="205"/>
                        <a:pt x="365" y="204"/>
                      </a:cubicBezTo>
                      <a:cubicBezTo>
                        <a:pt x="379" y="197"/>
                        <a:pt x="375" y="199"/>
                        <a:pt x="398" y="198"/>
                      </a:cubicBezTo>
                      <a:cubicBezTo>
                        <a:pt x="403" y="194"/>
                        <a:pt x="410" y="190"/>
                        <a:pt x="416" y="189"/>
                      </a:cubicBezTo>
                      <a:cubicBezTo>
                        <a:pt x="420" y="183"/>
                        <a:pt x="422" y="175"/>
                        <a:pt x="428" y="174"/>
                      </a:cubicBezTo>
                      <a:cubicBezTo>
                        <a:pt x="432" y="172"/>
                        <a:pt x="437" y="171"/>
                        <a:pt x="441" y="169"/>
                      </a:cubicBezTo>
                      <a:cubicBezTo>
                        <a:pt x="446" y="159"/>
                        <a:pt x="432" y="163"/>
                        <a:pt x="426" y="163"/>
                      </a:cubicBezTo>
                      <a:cubicBezTo>
                        <a:pt x="417" y="167"/>
                        <a:pt x="406" y="170"/>
                        <a:pt x="396" y="172"/>
                      </a:cubicBezTo>
                      <a:cubicBezTo>
                        <a:pt x="389" y="171"/>
                        <a:pt x="385" y="169"/>
                        <a:pt x="378" y="168"/>
                      </a:cubicBezTo>
                      <a:cubicBezTo>
                        <a:pt x="364" y="169"/>
                        <a:pt x="364" y="168"/>
                        <a:pt x="354" y="174"/>
                      </a:cubicBezTo>
                      <a:cubicBezTo>
                        <a:pt x="347" y="173"/>
                        <a:pt x="341" y="172"/>
                        <a:pt x="335" y="169"/>
                      </a:cubicBezTo>
                      <a:cubicBezTo>
                        <a:pt x="330" y="163"/>
                        <a:pt x="334" y="161"/>
                        <a:pt x="339" y="157"/>
                      </a:cubicBezTo>
                      <a:cubicBezTo>
                        <a:pt x="344" y="146"/>
                        <a:pt x="339" y="161"/>
                        <a:pt x="336" y="150"/>
                      </a:cubicBezTo>
                      <a:cubicBezTo>
                        <a:pt x="332" y="137"/>
                        <a:pt x="355" y="136"/>
                        <a:pt x="362" y="135"/>
                      </a:cubicBezTo>
                      <a:cubicBezTo>
                        <a:pt x="373" y="130"/>
                        <a:pt x="384" y="131"/>
                        <a:pt x="396" y="130"/>
                      </a:cubicBezTo>
                      <a:cubicBezTo>
                        <a:pt x="404" y="125"/>
                        <a:pt x="405" y="124"/>
                        <a:pt x="414" y="123"/>
                      </a:cubicBezTo>
                      <a:cubicBezTo>
                        <a:pt x="420" y="121"/>
                        <a:pt x="426" y="121"/>
                        <a:pt x="432" y="118"/>
                      </a:cubicBezTo>
                      <a:cubicBezTo>
                        <a:pt x="436" y="119"/>
                        <a:pt x="440" y="118"/>
                        <a:pt x="443" y="120"/>
                      </a:cubicBezTo>
                      <a:cubicBezTo>
                        <a:pt x="444" y="121"/>
                        <a:pt x="440" y="122"/>
                        <a:pt x="440" y="124"/>
                      </a:cubicBezTo>
                      <a:cubicBezTo>
                        <a:pt x="440" y="127"/>
                        <a:pt x="453" y="131"/>
                        <a:pt x="455" y="132"/>
                      </a:cubicBezTo>
                      <a:cubicBezTo>
                        <a:pt x="505" y="129"/>
                        <a:pt x="477" y="135"/>
                        <a:pt x="497" y="123"/>
                      </a:cubicBezTo>
                      <a:cubicBezTo>
                        <a:pt x="499" y="120"/>
                        <a:pt x="504" y="117"/>
                        <a:pt x="503" y="114"/>
                      </a:cubicBezTo>
                      <a:cubicBezTo>
                        <a:pt x="502" y="110"/>
                        <a:pt x="486" y="106"/>
                        <a:pt x="483" y="105"/>
                      </a:cubicBezTo>
                      <a:cubicBezTo>
                        <a:pt x="482" y="104"/>
                        <a:pt x="480" y="103"/>
                        <a:pt x="479" y="103"/>
                      </a:cubicBezTo>
                      <a:cubicBezTo>
                        <a:pt x="470" y="100"/>
                        <a:pt x="476" y="97"/>
                        <a:pt x="482" y="96"/>
                      </a:cubicBezTo>
                      <a:cubicBezTo>
                        <a:pt x="484" y="87"/>
                        <a:pt x="478" y="85"/>
                        <a:pt x="471" y="81"/>
                      </a:cubicBezTo>
                      <a:cubicBezTo>
                        <a:pt x="470" y="75"/>
                        <a:pt x="469" y="69"/>
                        <a:pt x="476" y="66"/>
                      </a:cubicBezTo>
                      <a:cubicBezTo>
                        <a:pt x="481" y="64"/>
                        <a:pt x="491" y="63"/>
                        <a:pt x="491" y="63"/>
                      </a:cubicBezTo>
                      <a:cubicBezTo>
                        <a:pt x="507" y="55"/>
                        <a:pt x="536" y="59"/>
                        <a:pt x="554" y="58"/>
                      </a:cubicBezTo>
                      <a:cubicBezTo>
                        <a:pt x="570" y="46"/>
                        <a:pt x="568" y="40"/>
                        <a:pt x="593" y="39"/>
                      </a:cubicBezTo>
                      <a:cubicBezTo>
                        <a:pt x="601" y="35"/>
                        <a:pt x="611" y="26"/>
                        <a:pt x="620" y="24"/>
                      </a:cubicBezTo>
                      <a:cubicBezTo>
                        <a:pt x="628" y="20"/>
                        <a:pt x="630" y="26"/>
                        <a:pt x="638" y="24"/>
                      </a:cubicBezTo>
                      <a:cubicBezTo>
                        <a:pt x="645" y="20"/>
                        <a:pt x="654" y="19"/>
                        <a:pt x="662" y="18"/>
                      </a:cubicBezTo>
                      <a:cubicBezTo>
                        <a:pt x="679" y="9"/>
                        <a:pt x="711" y="11"/>
                        <a:pt x="728" y="10"/>
                      </a:cubicBezTo>
                      <a:cubicBezTo>
                        <a:pt x="735" y="9"/>
                        <a:pt x="740" y="7"/>
                        <a:pt x="747" y="6"/>
                      </a:cubicBezTo>
                      <a:cubicBezTo>
                        <a:pt x="752" y="4"/>
                        <a:pt x="755" y="1"/>
                        <a:pt x="761" y="0"/>
                      </a:cubicBezTo>
                      <a:cubicBezTo>
                        <a:pt x="772" y="1"/>
                        <a:pt x="778" y="2"/>
                        <a:pt x="788" y="4"/>
                      </a:cubicBezTo>
                      <a:cubicBezTo>
                        <a:pt x="795" y="16"/>
                        <a:pt x="808" y="15"/>
                        <a:pt x="821" y="16"/>
                      </a:cubicBezTo>
                      <a:cubicBezTo>
                        <a:pt x="826" y="22"/>
                        <a:pt x="829" y="22"/>
                        <a:pt x="837" y="24"/>
                      </a:cubicBezTo>
                      <a:cubicBezTo>
                        <a:pt x="851" y="22"/>
                        <a:pt x="864" y="22"/>
                        <a:pt x="878" y="25"/>
                      </a:cubicBezTo>
                      <a:cubicBezTo>
                        <a:pt x="890" y="31"/>
                        <a:pt x="904" y="30"/>
                        <a:pt x="918" y="31"/>
                      </a:cubicBezTo>
                      <a:cubicBezTo>
                        <a:pt x="923" y="33"/>
                        <a:pt x="926" y="36"/>
                        <a:pt x="932" y="37"/>
                      </a:cubicBezTo>
                      <a:cubicBezTo>
                        <a:pt x="948" y="36"/>
                        <a:pt x="948" y="37"/>
                        <a:pt x="959" y="31"/>
                      </a:cubicBezTo>
                      <a:cubicBezTo>
                        <a:pt x="971" y="33"/>
                        <a:pt x="976" y="35"/>
                        <a:pt x="986" y="37"/>
                      </a:cubicBezTo>
                      <a:cubicBezTo>
                        <a:pt x="988" y="41"/>
                        <a:pt x="990" y="45"/>
                        <a:pt x="995" y="45"/>
                      </a:cubicBezTo>
                      <a:lnTo>
                        <a:pt x="707" y="280"/>
                      </a:lnTo>
                      <a:lnTo>
                        <a:pt x="729" y="28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52" name="Freeform 7"/>
                <p:cNvSpPr>
                  <a:spLocks/>
                </p:cNvSpPr>
                <p:nvPr/>
              </p:nvSpPr>
              <p:spPr bwMode="auto">
                <a:xfrm>
                  <a:off x="4992864" y="1754045"/>
                  <a:ext cx="3262315" cy="970267"/>
                </a:xfrm>
                <a:custGeom>
                  <a:avLst/>
                  <a:gdLst>
                    <a:gd name="T0" fmla="*/ 48 w 3173"/>
                    <a:gd name="T1" fmla="*/ 339 h 970"/>
                    <a:gd name="T2" fmla="*/ 0 w 3173"/>
                    <a:gd name="T3" fmla="*/ 212 h 970"/>
                    <a:gd name="T4" fmla="*/ 240 w 3173"/>
                    <a:gd name="T5" fmla="*/ 231 h 970"/>
                    <a:gd name="T6" fmla="*/ 132 w 3173"/>
                    <a:gd name="T7" fmla="*/ 310 h 970"/>
                    <a:gd name="T8" fmla="*/ 254 w 3173"/>
                    <a:gd name="T9" fmla="*/ 325 h 970"/>
                    <a:gd name="T10" fmla="*/ 302 w 3173"/>
                    <a:gd name="T11" fmla="*/ 258 h 970"/>
                    <a:gd name="T12" fmla="*/ 389 w 3173"/>
                    <a:gd name="T13" fmla="*/ 246 h 970"/>
                    <a:gd name="T14" fmla="*/ 564 w 3173"/>
                    <a:gd name="T15" fmla="*/ 174 h 970"/>
                    <a:gd name="T16" fmla="*/ 751 w 3173"/>
                    <a:gd name="T17" fmla="*/ 198 h 970"/>
                    <a:gd name="T18" fmla="*/ 775 w 3173"/>
                    <a:gd name="T19" fmla="*/ 111 h 970"/>
                    <a:gd name="T20" fmla="*/ 842 w 3173"/>
                    <a:gd name="T21" fmla="*/ 274 h 970"/>
                    <a:gd name="T22" fmla="*/ 943 w 3173"/>
                    <a:gd name="T23" fmla="*/ 229 h 970"/>
                    <a:gd name="T24" fmla="*/ 828 w 3173"/>
                    <a:gd name="T25" fmla="*/ 114 h 970"/>
                    <a:gd name="T26" fmla="*/ 984 w 3173"/>
                    <a:gd name="T27" fmla="*/ 133 h 970"/>
                    <a:gd name="T28" fmla="*/ 1092 w 3173"/>
                    <a:gd name="T29" fmla="*/ 42 h 970"/>
                    <a:gd name="T30" fmla="*/ 1262 w 3173"/>
                    <a:gd name="T31" fmla="*/ 10 h 970"/>
                    <a:gd name="T32" fmla="*/ 1382 w 3173"/>
                    <a:gd name="T33" fmla="*/ 102 h 970"/>
                    <a:gd name="T34" fmla="*/ 1769 w 3173"/>
                    <a:gd name="T35" fmla="*/ 104 h 970"/>
                    <a:gd name="T36" fmla="*/ 1932 w 3173"/>
                    <a:gd name="T37" fmla="*/ 145 h 970"/>
                    <a:gd name="T38" fmla="*/ 2210 w 3173"/>
                    <a:gd name="T39" fmla="*/ 133 h 970"/>
                    <a:gd name="T40" fmla="*/ 2645 w 3173"/>
                    <a:gd name="T41" fmla="*/ 198 h 970"/>
                    <a:gd name="T42" fmla="*/ 2839 w 3173"/>
                    <a:gd name="T43" fmla="*/ 193 h 970"/>
                    <a:gd name="T44" fmla="*/ 3042 w 3173"/>
                    <a:gd name="T45" fmla="*/ 250 h 970"/>
                    <a:gd name="T46" fmla="*/ 3091 w 3173"/>
                    <a:gd name="T47" fmla="*/ 299 h 970"/>
                    <a:gd name="T48" fmla="*/ 2946 w 3173"/>
                    <a:gd name="T49" fmla="*/ 298 h 970"/>
                    <a:gd name="T50" fmla="*/ 2998 w 3173"/>
                    <a:gd name="T51" fmla="*/ 391 h 970"/>
                    <a:gd name="T52" fmla="*/ 2872 w 3173"/>
                    <a:gd name="T53" fmla="*/ 439 h 970"/>
                    <a:gd name="T54" fmla="*/ 2905 w 3173"/>
                    <a:gd name="T55" fmla="*/ 506 h 970"/>
                    <a:gd name="T56" fmla="*/ 2935 w 3173"/>
                    <a:gd name="T57" fmla="*/ 604 h 970"/>
                    <a:gd name="T58" fmla="*/ 2782 w 3173"/>
                    <a:gd name="T59" fmla="*/ 530 h 970"/>
                    <a:gd name="T60" fmla="*/ 2808 w 3173"/>
                    <a:gd name="T61" fmla="*/ 413 h 970"/>
                    <a:gd name="T62" fmla="*/ 2729 w 3173"/>
                    <a:gd name="T63" fmla="*/ 409 h 970"/>
                    <a:gd name="T64" fmla="*/ 2609 w 3173"/>
                    <a:gd name="T65" fmla="*/ 466 h 970"/>
                    <a:gd name="T66" fmla="*/ 2443 w 3173"/>
                    <a:gd name="T67" fmla="*/ 598 h 970"/>
                    <a:gd name="T68" fmla="*/ 2573 w 3173"/>
                    <a:gd name="T69" fmla="*/ 658 h 970"/>
                    <a:gd name="T70" fmla="*/ 2729 w 3173"/>
                    <a:gd name="T71" fmla="*/ 762 h 970"/>
                    <a:gd name="T72" fmla="*/ 2714 w 3173"/>
                    <a:gd name="T73" fmla="*/ 841 h 970"/>
                    <a:gd name="T74" fmla="*/ 2582 w 3173"/>
                    <a:gd name="T75" fmla="*/ 666 h 970"/>
                    <a:gd name="T76" fmla="*/ 2496 w 3173"/>
                    <a:gd name="T77" fmla="*/ 930 h 970"/>
                    <a:gd name="T78" fmla="*/ 2510 w 3173"/>
                    <a:gd name="T79" fmla="*/ 807 h 970"/>
                    <a:gd name="T80" fmla="*/ 2309 w 3173"/>
                    <a:gd name="T81" fmla="*/ 726 h 970"/>
                    <a:gd name="T82" fmla="*/ 2105 w 3173"/>
                    <a:gd name="T83" fmla="*/ 673 h 970"/>
                    <a:gd name="T84" fmla="*/ 1973 w 3173"/>
                    <a:gd name="T85" fmla="*/ 730 h 970"/>
                    <a:gd name="T86" fmla="*/ 1704 w 3173"/>
                    <a:gd name="T87" fmla="*/ 670 h 970"/>
                    <a:gd name="T88" fmla="*/ 1495 w 3173"/>
                    <a:gd name="T89" fmla="*/ 694 h 970"/>
                    <a:gd name="T90" fmla="*/ 1260 w 3173"/>
                    <a:gd name="T91" fmla="*/ 694 h 970"/>
                    <a:gd name="T92" fmla="*/ 1044 w 3173"/>
                    <a:gd name="T93" fmla="*/ 618 h 970"/>
                    <a:gd name="T94" fmla="*/ 835 w 3173"/>
                    <a:gd name="T95" fmla="*/ 594 h 970"/>
                    <a:gd name="T96" fmla="*/ 792 w 3173"/>
                    <a:gd name="T97" fmla="*/ 697 h 970"/>
                    <a:gd name="T98" fmla="*/ 552 w 3173"/>
                    <a:gd name="T99" fmla="*/ 666 h 970"/>
                    <a:gd name="T100" fmla="*/ 509 w 3173"/>
                    <a:gd name="T101" fmla="*/ 783 h 970"/>
                    <a:gd name="T102" fmla="*/ 561 w 3173"/>
                    <a:gd name="T103" fmla="*/ 954 h 970"/>
                    <a:gd name="T104" fmla="*/ 269 w 3173"/>
                    <a:gd name="T105" fmla="*/ 855 h 970"/>
                    <a:gd name="T106" fmla="*/ 319 w 3173"/>
                    <a:gd name="T107" fmla="*/ 787 h 970"/>
                    <a:gd name="T108" fmla="*/ 217 w 3173"/>
                    <a:gd name="T109" fmla="*/ 688 h 970"/>
                    <a:gd name="T110" fmla="*/ 120 w 3173"/>
                    <a:gd name="T111" fmla="*/ 625 h 970"/>
                    <a:gd name="T112" fmla="*/ 72 w 3173"/>
                    <a:gd name="T113" fmla="*/ 556 h 970"/>
                    <a:gd name="T114" fmla="*/ 21 w 3173"/>
                    <a:gd name="T115" fmla="*/ 452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3" h="970">
                      <a:moveTo>
                        <a:pt x="21" y="452"/>
                      </a:moveTo>
                      <a:lnTo>
                        <a:pt x="67" y="438"/>
                      </a:lnTo>
                      <a:lnTo>
                        <a:pt x="41" y="428"/>
                      </a:lnTo>
                      <a:lnTo>
                        <a:pt x="26" y="416"/>
                      </a:lnTo>
                      <a:lnTo>
                        <a:pt x="65" y="380"/>
                      </a:lnTo>
                      <a:lnTo>
                        <a:pt x="79" y="356"/>
                      </a:lnTo>
                      <a:lnTo>
                        <a:pt x="48" y="339"/>
                      </a:lnTo>
                      <a:lnTo>
                        <a:pt x="60" y="325"/>
                      </a:lnTo>
                      <a:lnTo>
                        <a:pt x="36" y="306"/>
                      </a:lnTo>
                      <a:lnTo>
                        <a:pt x="36" y="289"/>
                      </a:lnTo>
                      <a:lnTo>
                        <a:pt x="19" y="255"/>
                      </a:lnTo>
                      <a:lnTo>
                        <a:pt x="31" y="234"/>
                      </a:lnTo>
                      <a:lnTo>
                        <a:pt x="12" y="224"/>
                      </a:lnTo>
                      <a:lnTo>
                        <a:pt x="0" y="212"/>
                      </a:lnTo>
                      <a:lnTo>
                        <a:pt x="17" y="190"/>
                      </a:lnTo>
                      <a:lnTo>
                        <a:pt x="38" y="186"/>
                      </a:lnTo>
                      <a:lnTo>
                        <a:pt x="62" y="181"/>
                      </a:lnTo>
                      <a:lnTo>
                        <a:pt x="98" y="190"/>
                      </a:lnTo>
                      <a:lnTo>
                        <a:pt x="153" y="200"/>
                      </a:lnTo>
                      <a:lnTo>
                        <a:pt x="201" y="217"/>
                      </a:lnTo>
                      <a:lnTo>
                        <a:pt x="240" y="231"/>
                      </a:lnTo>
                      <a:cubicBezTo>
                        <a:pt x="261" y="246"/>
                        <a:pt x="249" y="262"/>
                        <a:pt x="230" y="270"/>
                      </a:cubicBezTo>
                      <a:cubicBezTo>
                        <a:pt x="190" y="268"/>
                        <a:pt x="154" y="264"/>
                        <a:pt x="115" y="260"/>
                      </a:cubicBezTo>
                      <a:cubicBezTo>
                        <a:pt x="102" y="256"/>
                        <a:pt x="90" y="251"/>
                        <a:pt x="77" y="248"/>
                      </a:cubicBezTo>
                      <a:cubicBezTo>
                        <a:pt x="81" y="251"/>
                        <a:pt x="87" y="251"/>
                        <a:pt x="91" y="255"/>
                      </a:cubicBezTo>
                      <a:cubicBezTo>
                        <a:pt x="98" y="262"/>
                        <a:pt x="93" y="269"/>
                        <a:pt x="105" y="272"/>
                      </a:cubicBezTo>
                      <a:cubicBezTo>
                        <a:pt x="113" y="277"/>
                        <a:pt x="118" y="282"/>
                        <a:pt x="127" y="284"/>
                      </a:cubicBezTo>
                      <a:cubicBezTo>
                        <a:pt x="135" y="296"/>
                        <a:pt x="123" y="297"/>
                        <a:pt x="132" y="310"/>
                      </a:cubicBezTo>
                      <a:cubicBezTo>
                        <a:pt x="136" y="317"/>
                        <a:pt x="154" y="320"/>
                        <a:pt x="161" y="322"/>
                      </a:cubicBezTo>
                      <a:cubicBezTo>
                        <a:pt x="173" y="331"/>
                        <a:pt x="165" y="326"/>
                        <a:pt x="185" y="334"/>
                      </a:cubicBezTo>
                      <a:cubicBezTo>
                        <a:pt x="187" y="335"/>
                        <a:pt x="192" y="337"/>
                        <a:pt x="192" y="337"/>
                      </a:cubicBezTo>
                      <a:cubicBezTo>
                        <a:pt x="197" y="336"/>
                        <a:pt x="203" y="338"/>
                        <a:pt x="206" y="334"/>
                      </a:cubicBezTo>
                      <a:cubicBezTo>
                        <a:pt x="208" y="332"/>
                        <a:pt x="203" y="329"/>
                        <a:pt x="201" y="327"/>
                      </a:cubicBezTo>
                      <a:cubicBezTo>
                        <a:pt x="191" y="320"/>
                        <a:pt x="182" y="320"/>
                        <a:pt x="173" y="310"/>
                      </a:cubicBezTo>
                      <a:cubicBezTo>
                        <a:pt x="191" y="292"/>
                        <a:pt x="233" y="316"/>
                        <a:pt x="254" y="325"/>
                      </a:cubicBezTo>
                      <a:cubicBezTo>
                        <a:pt x="255" y="323"/>
                        <a:pt x="258" y="320"/>
                        <a:pt x="257" y="318"/>
                      </a:cubicBezTo>
                      <a:cubicBezTo>
                        <a:pt x="256" y="315"/>
                        <a:pt x="251" y="315"/>
                        <a:pt x="249" y="313"/>
                      </a:cubicBezTo>
                      <a:cubicBezTo>
                        <a:pt x="243" y="306"/>
                        <a:pt x="240" y="298"/>
                        <a:pt x="235" y="291"/>
                      </a:cubicBezTo>
                      <a:cubicBezTo>
                        <a:pt x="244" y="278"/>
                        <a:pt x="261" y="274"/>
                        <a:pt x="276" y="270"/>
                      </a:cubicBezTo>
                      <a:cubicBezTo>
                        <a:pt x="294" y="272"/>
                        <a:pt x="297" y="271"/>
                        <a:pt x="307" y="284"/>
                      </a:cubicBezTo>
                      <a:cubicBezTo>
                        <a:pt x="314" y="282"/>
                        <a:pt x="325" y="274"/>
                        <a:pt x="317" y="265"/>
                      </a:cubicBezTo>
                      <a:cubicBezTo>
                        <a:pt x="313" y="261"/>
                        <a:pt x="307" y="261"/>
                        <a:pt x="302" y="258"/>
                      </a:cubicBezTo>
                      <a:cubicBezTo>
                        <a:pt x="299" y="246"/>
                        <a:pt x="301" y="234"/>
                        <a:pt x="297" y="222"/>
                      </a:cubicBezTo>
                      <a:cubicBezTo>
                        <a:pt x="296" y="219"/>
                        <a:pt x="287" y="217"/>
                        <a:pt x="290" y="217"/>
                      </a:cubicBezTo>
                      <a:cubicBezTo>
                        <a:pt x="303" y="216"/>
                        <a:pt x="316" y="218"/>
                        <a:pt x="329" y="219"/>
                      </a:cubicBezTo>
                      <a:cubicBezTo>
                        <a:pt x="339" y="223"/>
                        <a:pt x="342" y="223"/>
                        <a:pt x="345" y="234"/>
                      </a:cubicBezTo>
                      <a:cubicBezTo>
                        <a:pt x="334" y="237"/>
                        <a:pt x="330" y="236"/>
                        <a:pt x="324" y="246"/>
                      </a:cubicBezTo>
                      <a:cubicBezTo>
                        <a:pt x="336" y="253"/>
                        <a:pt x="346" y="258"/>
                        <a:pt x="360" y="262"/>
                      </a:cubicBezTo>
                      <a:cubicBezTo>
                        <a:pt x="371" y="259"/>
                        <a:pt x="379" y="251"/>
                        <a:pt x="389" y="246"/>
                      </a:cubicBezTo>
                      <a:cubicBezTo>
                        <a:pt x="398" y="236"/>
                        <a:pt x="412" y="227"/>
                        <a:pt x="425" y="224"/>
                      </a:cubicBezTo>
                      <a:cubicBezTo>
                        <a:pt x="436" y="216"/>
                        <a:pt x="450" y="212"/>
                        <a:pt x="463" y="210"/>
                      </a:cubicBezTo>
                      <a:cubicBezTo>
                        <a:pt x="474" y="205"/>
                        <a:pt x="478" y="207"/>
                        <a:pt x="475" y="219"/>
                      </a:cubicBezTo>
                      <a:cubicBezTo>
                        <a:pt x="492" y="231"/>
                        <a:pt x="551" y="205"/>
                        <a:pt x="573" y="200"/>
                      </a:cubicBezTo>
                      <a:cubicBezTo>
                        <a:pt x="579" y="213"/>
                        <a:pt x="578" y="215"/>
                        <a:pt x="593" y="219"/>
                      </a:cubicBezTo>
                      <a:cubicBezTo>
                        <a:pt x="620" y="214"/>
                        <a:pt x="605" y="201"/>
                        <a:pt x="590" y="195"/>
                      </a:cubicBezTo>
                      <a:cubicBezTo>
                        <a:pt x="581" y="186"/>
                        <a:pt x="575" y="181"/>
                        <a:pt x="564" y="174"/>
                      </a:cubicBezTo>
                      <a:cubicBezTo>
                        <a:pt x="562" y="171"/>
                        <a:pt x="556" y="168"/>
                        <a:pt x="559" y="166"/>
                      </a:cubicBezTo>
                      <a:cubicBezTo>
                        <a:pt x="565" y="162"/>
                        <a:pt x="574" y="172"/>
                        <a:pt x="578" y="174"/>
                      </a:cubicBezTo>
                      <a:cubicBezTo>
                        <a:pt x="597" y="182"/>
                        <a:pt x="624" y="187"/>
                        <a:pt x="645" y="190"/>
                      </a:cubicBezTo>
                      <a:cubicBezTo>
                        <a:pt x="669" y="197"/>
                        <a:pt x="695" y="203"/>
                        <a:pt x="720" y="207"/>
                      </a:cubicBezTo>
                      <a:cubicBezTo>
                        <a:pt x="731" y="212"/>
                        <a:pt x="744" y="216"/>
                        <a:pt x="756" y="219"/>
                      </a:cubicBezTo>
                      <a:cubicBezTo>
                        <a:pt x="763" y="218"/>
                        <a:pt x="779" y="214"/>
                        <a:pt x="768" y="202"/>
                      </a:cubicBezTo>
                      <a:cubicBezTo>
                        <a:pt x="764" y="198"/>
                        <a:pt x="757" y="199"/>
                        <a:pt x="751" y="198"/>
                      </a:cubicBezTo>
                      <a:cubicBezTo>
                        <a:pt x="744" y="193"/>
                        <a:pt x="738" y="190"/>
                        <a:pt x="729" y="188"/>
                      </a:cubicBezTo>
                      <a:cubicBezTo>
                        <a:pt x="721" y="182"/>
                        <a:pt x="721" y="177"/>
                        <a:pt x="715" y="169"/>
                      </a:cubicBezTo>
                      <a:cubicBezTo>
                        <a:pt x="712" y="158"/>
                        <a:pt x="700" y="155"/>
                        <a:pt x="693" y="145"/>
                      </a:cubicBezTo>
                      <a:cubicBezTo>
                        <a:pt x="696" y="143"/>
                        <a:pt x="698" y="139"/>
                        <a:pt x="701" y="140"/>
                      </a:cubicBezTo>
                      <a:cubicBezTo>
                        <a:pt x="709" y="144"/>
                        <a:pt x="696" y="161"/>
                        <a:pt x="708" y="142"/>
                      </a:cubicBezTo>
                      <a:cubicBezTo>
                        <a:pt x="711" y="129"/>
                        <a:pt x="713" y="113"/>
                        <a:pt x="727" y="109"/>
                      </a:cubicBezTo>
                      <a:cubicBezTo>
                        <a:pt x="743" y="110"/>
                        <a:pt x="759" y="110"/>
                        <a:pt x="775" y="111"/>
                      </a:cubicBezTo>
                      <a:cubicBezTo>
                        <a:pt x="782" y="112"/>
                        <a:pt x="789" y="128"/>
                        <a:pt x="789" y="128"/>
                      </a:cubicBezTo>
                      <a:cubicBezTo>
                        <a:pt x="787" y="141"/>
                        <a:pt x="787" y="145"/>
                        <a:pt x="799" y="150"/>
                      </a:cubicBezTo>
                      <a:cubicBezTo>
                        <a:pt x="804" y="157"/>
                        <a:pt x="811" y="162"/>
                        <a:pt x="816" y="169"/>
                      </a:cubicBezTo>
                      <a:cubicBezTo>
                        <a:pt x="819" y="207"/>
                        <a:pt x="823" y="193"/>
                        <a:pt x="847" y="210"/>
                      </a:cubicBezTo>
                      <a:cubicBezTo>
                        <a:pt x="862" y="264"/>
                        <a:pt x="827" y="258"/>
                        <a:pt x="787" y="260"/>
                      </a:cubicBezTo>
                      <a:cubicBezTo>
                        <a:pt x="795" y="262"/>
                        <a:pt x="802" y="265"/>
                        <a:pt x="811" y="267"/>
                      </a:cubicBezTo>
                      <a:cubicBezTo>
                        <a:pt x="822" y="272"/>
                        <a:pt x="829" y="273"/>
                        <a:pt x="842" y="274"/>
                      </a:cubicBezTo>
                      <a:cubicBezTo>
                        <a:pt x="869" y="272"/>
                        <a:pt x="869" y="274"/>
                        <a:pt x="883" y="255"/>
                      </a:cubicBezTo>
                      <a:cubicBezTo>
                        <a:pt x="885" y="248"/>
                        <a:pt x="891" y="240"/>
                        <a:pt x="885" y="234"/>
                      </a:cubicBezTo>
                      <a:cubicBezTo>
                        <a:pt x="881" y="230"/>
                        <a:pt x="871" y="224"/>
                        <a:pt x="871" y="224"/>
                      </a:cubicBezTo>
                      <a:cubicBezTo>
                        <a:pt x="876" y="178"/>
                        <a:pt x="905" y="213"/>
                        <a:pt x="926" y="219"/>
                      </a:cubicBezTo>
                      <a:cubicBezTo>
                        <a:pt x="932" y="232"/>
                        <a:pt x="936" y="235"/>
                        <a:pt x="948" y="243"/>
                      </a:cubicBezTo>
                      <a:cubicBezTo>
                        <a:pt x="973" y="239"/>
                        <a:pt x="959" y="239"/>
                        <a:pt x="948" y="236"/>
                      </a:cubicBezTo>
                      <a:cubicBezTo>
                        <a:pt x="946" y="234"/>
                        <a:pt x="944" y="232"/>
                        <a:pt x="943" y="229"/>
                      </a:cubicBezTo>
                      <a:cubicBezTo>
                        <a:pt x="941" y="224"/>
                        <a:pt x="943" y="217"/>
                        <a:pt x="941" y="212"/>
                      </a:cubicBezTo>
                      <a:cubicBezTo>
                        <a:pt x="936" y="201"/>
                        <a:pt x="898" y="189"/>
                        <a:pt x="888" y="188"/>
                      </a:cubicBezTo>
                      <a:cubicBezTo>
                        <a:pt x="873" y="189"/>
                        <a:pt x="861" y="191"/>
                        <a:pt x="847" y="195"/>
                      </a:cubicBezTo>
                      <a:cubicBezTo>
                        <a:pt x="837" y="181"/>
                        <a:pt x="849" y="168"/>
                        <a:pt x="830" y="164"/>
                      </a:cubicBezTo>
                      <a:cubicBezTo>
                        <a:pt x="814" y="153"/>
                        <a:pt x="818" y="159"/>
                        <a:pt x="813" y="147"/>
                      </a:cubicBezTo>
                      <a:cubicBezTo>
                        <a:pt x="817" y="136"/>
                        <a:pt x="820" y="134"/>
                        <a:pt x="830" y="130"/>
                      </a:cubicBezTo>
                      <a:cubicBezTo>
                        <a:pt x="829" y="125"/>
                        <a:pt x="830" y="119"/>
                        <a:pt x="828" y="114"/>
                      </a:cubicBezTo>
                      <a:cubicBezTo>
                        <a:pt x="827" y="111"/>
                        <a:pt x="824" y="110"/>
                        <a:pt x="821" y="109"/>
                      </a:cubicBezTo>
                      <a:cubicBezTo>
                        <a:pt x="813" y="105"/>
                        <a:pt x="796" y="103"/>
                        <a:pt x="833" y="109"/>
                      </a:cubicBezTo>
                      <a:cubicBezTo>
                        <a:pt x="838" y="117"/>
                        <a:pt x="839" y="138"/>
                        <a:pt x="847" y="142"/>
                      </a:cubicBezTo>
                      <a:cubicBezTo>
                        <a:pt x="865" y="152"/>
                        <a:pt x="896" y="154"/>
                        <a:pt x="917" y="162"/>
                      </a:cubicBezTo>
                      <a:cubicBezTo>
                        <a:pt x="912" y="148"/>
                        <a:pt x="878" y="140"/>
                        <a:pt x="864" y="135"/>
                      </a:cubicBezTo>
                      <a:cubicBezTo>
                        <a:pt x="872" y="99"/>
                        <a:pt x="938" y="129"/>
                        <a:pt x="967" y="135"/>
                      </a:cubicBezTo>
                      <a:cubicBezTo>
                        <a:pt x="976" y="139"/>
                        <a:pt x="979" y="144"/>
                        <a:pt x="984" y="133"/>
                      </a:cubicBezTo>
                      <a:cubicBezTo>
                        <a:pt x="967" y="121"/>
                        <a:pt x="940" y="115"/>
                        <a:pt x="919" y="109"/>
                      </a:cubicBezTo>
                      <a:cubicBezTo>
                        <a:pt x="921" y="95"/>
                        <a:pt x="924" y="92"/>
                        <a:pt x="936" y="87"/>
                      </a:cubicBezTo>
                      <a:cubicBezTo>
                        <a:pt x="960" y="88"/>
                        <a:pt x="988" y="100"/>
                        <a:pt x="1008" y="87"/>
                      </a:cubicBezTo>
                      <a:cubicBezTo>
                        <a:pt x="1009" y="86"/>
                        <a:pt x="1001" y="71"/>
                        <a:pt x="1001" y="70"/>
                      </a:cubicBezTo>
                      <a:cubicBezTo>
                        <a:pt x="1009" y="62"/>
                        <a:pt x="1015" y="61"/>
                        <a:pt x="1025" y="58"/>
                      </a:cubicBezTo>
                      <a:cubicBezTo>
                        <a:pt x="1030" y="57"/>
                        <a:pt x="1039" y="54"/>
                        <a:pt x="1039" y="54"/>
                      </a:cubicBezTo>
                      <a:cubicBezTo>
                        <a:pt x="1055" y="43"/>
                        <a:pt x="1073" y="44"/>
                        <a:pt x="1092" y="42"/>
                      </a:cubicBezTo>
                      <a:cubicBezTo>
                        <a:pt x="1092" y="42"/>
                        <a:pt x="1105" y="36"/>
                        <a:pt x="1106" y="37"/>
                      </a:cubicBezTo>
                      <a:cubicBezTo>
                        <a:pt x="1108" y="39"/>
                        <a:pt x="1102" y="44"/>
                        <a:pt x="1104" y="44"/>
                      </a:cubicBezTo>
                      <a:cubicBezTo>
                        <a:pt x="1123" y="44"/>
                        <a:pt x="1142" y="42"/>
                        <a:pt x="1161" y="37"/>
                      </a:cubicBezTo>
                      <a:cubicBezTo>
                        <a:pt x="1176" y="33"/>
                        <a:pt x="1192" y="28"/>
                        <a:pt x="1207" y="25"/>
                      </a:cubicBezTo>
                      <a:cubicBezTo>
                        <a:pt x="1197" y="10"/>
                        <a:pt x="1201" y="10"/>
                        <a:pt x="1214" y="1"/>
                      </a:cubicBezTo>
                      <a:cubicBezTo>
                        <a:pt x="1231" y="2"/>
                        <a:pt x="1248" y="0"/>
                        <a:pt x="1265" y="3"/>
                      </a:cubicBezTo>
                      <a:cubicBezTo>
                        <a:pt x="1267" y="3"/>
                        <a:pt x="1262" y="7"/>
                        <a:pt x="1262" y="10"/>
                      </a:cubicBezTo>
                      <a:cubicBezTo>
                        <a:pt x="1262" y="13"/>
                        <a:pt x="1264" y="15"/>
                        <a:pt x="1265" y="18"/>
                      </a:cubicBezTo>
                      <a:cubicBezTo>
                        <a:pt x="1291" y="13"/>
                        <a:pt x="1293" y="25"/>
                        <a:pt x="1296" y="25"/>
                      </a:cubicBezTo>
                      <a:cubicBezTo>
                        <a:pt x="1327" y="28"/>
                        <a:pt x="1358" y="26"/>
                        <a:pt x="1389" y="27"/>
                      </a:cubicBezTo>
                      <a:cubicBezTo>
                        <a:pt x="1407" y="30"/>
                        <a:pt x="1423" y="36"/>
                        <a:pt x="1440" y="39"/>
                      </a:cubicBezTo>
                      <a:cubicBezTo>
                        <a:pt x="1454" y="59"/>
                        <a:pt x="1442" y="70"/>
                        <a:pt x="1423" y="78"/>
                      </a:cubicBezTo>
                      <a:cubicBezTo>
                        <a:pt x="1417" y="86"/>
                        <a:pt x="1413" y="86"/>
                        <a:pt x="1404" y="90"/>
                      </a:cubicBezTo>
                      <a:cubicBezTo>
                        <a:pt x="1396" y="98"/>
                        <a:pt x="1392" y="98"/>
                        <a:pt x="1382" y="102"/>
                      </a:cubicBezTo>
                      <a:cubicBezTo>
                        <a:pt x="1384" y="104"/>
                        <a:pt x="1384" y="108"/>
                        <a:pt x="1387" y="109"/>
                      </a:cubicBezTo>
                      <a:cubicBezTo>
                        <a:pt x="1394" y="111"/>
                        <a:pt x="1445" y="93"/>
                        <a:pt x="1454" y="90"/>
                      </a:cubicBezTo>
                      <a:cubicBezTo>
                        <a:pt x="1504" y="91"/>
                        <a:pt x="1561" y="73"/>
                        <a:pt x="1605" y="97"/>
                      </a:cubicBezTo>
                      <a:cubicBezTo>
                        <a:pt x="1619" y="104"/>
                        <a:pt x="1607" y="100"/>
                        <a:pt x="1620" y="104"/>
                      </a:cubicBezTo>
                      <a:cubicBezTo>
                        <a:pt x="1630" y="111"/>
                        <a:pt x="1641" y="113"/>
                        <a:pt x="1653" y="116"/>
                      </a:cubicBezTo>
                      <a:cubicBezTo>
                        <a:pt x="1677" y="113"/>
                        <a:pt x="1679" y="101"/>
                        <a:pt x="1699" y="90"/>
                      </a:cubicBezTo>
                      <a:cubicBezTo>
                        <a:pt x="1723" y="93"/>
                        <a:pt x="1745" y="102"/>
                        <a:pt x="1769" y="104"/>
                      </a:cubicBezTo>
                      <a:cubicBezTo>
                        <a:pt x="1777" y="106"/>
                        <a:pt x="1782" y="107"/>
                        <a:pt x="1790" y="109"/>
                      </a:cubicBezTo>
                      <a:cubicBezTo>
                        <a:pt x="1796" y="111"/>
                        <a:pt x="1807" y="114"/>
                        <a:pt x="1807" y="114"/>
                      </a:cubicBezTo>
                      <a:cubicBezTo>
                        <a:pt x="1827" y="134"/>
                        <a:pt x="1845" y="153"/>
                        <a:pt x="1874" y="159"/>
                      </a:cubicBezTo>
                      <a:cubicBezTo>
                        <a:pt x="1882" y="158"/>
                        <a:pt x="1890" y="159"/>
                        <a:pt x="1898" y="157"/>
                      </a:cubicBezTo>
                      <a:cubicBezTo>
                        <a:pt x="1914" y="152"/>
                        <a:pt x="1897" y="148"/>
                        <a:pt x="1896" y="147"/>
                      </a:cubicBezTo>
                      <a:cubicBezTo>
                        <a:pt x="1893" y="143"/>
                        <a:pt x="1885" y="136"/>
                        <a:pt x="1898" y="135"/>
                      </a:cubicBezTo>
                      <a:cubicBezTo>
                        <a:pt x="1909" y="134"/>
                        <a:pt x="1921" y="144"/>
                        <a:pt x="1932" y="145"/>
                      </a:cubicBezTo>
                      <a:cubicBezTo>
                        <a:pt x="1950" y="146"/>
                        <a:pt x="1969" y="146"/>
                        <a:pt x="1987" y="147"/>
                      </a:cubicBezTo>
                      <a:cubicBezTo>
                        <a:pt x="2011" y="150"/>
                        <a:pt x="2014" y="154"/>
                        <a:pt x="2033" y="142"/>
                      </a:cubicBezTo>
                      <a:cubicBezTo>
                        <a:pt x="2025" y="140"/>
                        <a:pt x="2019" y="135"/>
                        <a:pt x="2011" y="133"/>
                      </a:cubicBezTo>
                      <a:cubicBezTo>
                        <a:pt x="2015" y="112"/>
                        <a:pt x="2023" y="113"/>
                        <a:pt x="2040" y="106"/>
                      </a:cubicBezTo>
                      <a:cubicBezTo>
                        <a:pt x="2069" y="108"/>
                        <a:pt x="2093" y="114"/>
                        <a:pt x="2121" y="118"/>
                      </a:cubicBezTo>
                      <a:cubicBezTo>
                        <a:pt x="2148" y="127"/>
                        <a:pt x="2174" y="128"/>
                        <a:pt x="2203" y="130"/>
                      </a:cubicBezTo>
                      <a:cubicBezTo>
                        <a:pt x="2205" y="131"/>
                        <a:pt x="2210" y="133"/>
                        <a:pt x="2210" y="133"/>
                      </a:cubicBezTo>
                      <a:cubicBezTo>
                        <a:pt x="2231" y="148"/>
                        <a:pt x="2257" y="149"/>
                        <a:pt x="2282" y="157"/>
                      </a:cubicBezTo>
                      <a:cubicBezTo>
                        <a:pt x="2302" y="155"/>
                        <a:pt x="2319" y="155"/>
                        <a:pt x="2337" y="147"/>
                      </a:cubicBezTo>
                      <a:cubicBezTo>
                        <a:pt x="2360" y="148"/>
                        <a:pt x="2382" y="148"/>
                        <a:pt x="2405" y="150"/>
                      </a:cubicBezTo>
                      <a:cubicBezTo>
                        <a:pt x="2413" y="151"/>
                        <a:pt x="2429" y="157"/>
                        <a:pt x="2429" y="157"/>
                      </a:cubicBezTo>
                      <a:cubicBezTo>
                        <a:pt x="2468" y="185"/>
                        <a:pt x="2454" y="185"/>
                        <a:pt x="2515" y="188"/>
                      </a:cubicBezTo>
                      <a:cubicBezTo>
                        <a:pt x="2547" y="187"/>
                        <a:pt x="2579" y="181"/>
                        <a:pt x="2611" y="183"/>
                      </a:cubicBezTo>
                      <a:cubicBezTo>
                        <a:pt x="2626" y="184"/>
                        <a:pt x="2632" y="193"/>
                        <a:pt x="2645" y="198"/>
                      </a:cubicBezTo>
                      <a:cubicBezTo>
                        <a:pt x="2660" y="204"/>
                        <a:pt x="2677" y="208"/>
                        <a:pt x="2693" y="210"/>
                      </a:cubicBezTo>
                      <a:cubicBezTo>
                        <a:pt x="2696" y="208"/>
                        <a:pt x="2701" y="208"/>
                        <a:pt x="2702" y="205"/>
                      </a:cubicBezTo>
                      <a:cubicBezTo>
                        <a:pt x="2703" y="203"/>
                        <a:pt x="2697" y="203"/>
                        <a:pt x="2695" y="202"/>
                      </a:cubicBezTo>
                      <a:cubicBezTo>
                        <a:pt x="2683" y="196"/>
                        <a:pt x="2672" y="192"/>
                        <a:pt x="2659" y="188"/>
                      </a:cubicBezTo>
                      <a:cubicBezTo>
                        <a:pt x="2655" y="175"/>
                        <a:pt x="2674" y="173"/>
                        <a:pt x="2685" y="171"/>
                      </a:cubicBezTo>
                      <a:cubicBezTo>
                        <a:pt x="2707" y="174"/>
                        <a:pt x="2727" y="183"/>
                        <a:pt x="2748" y="186"/>
                      </a:cubicBezTo>
                      <a:cubicBezTo>
                        <a:pt x="2777" y="191"/>
                        <a:pt x="2811" y="191"/>
                        <a:pt x="2839" y="193"/>
                      </a:cubicBezTo>
                      <a:cubicBezTo>
                        <a:pt x="2867" y="201"/>
                        <a:pt x="2903" y="208"/>
                        <a:pt x="2920" y="220"/>
                      </a:cubicBezTo>
                      <a:cubicBezTo>
                        <a:pt x="2941" y="226"/>
                        <a:pt x="2951" y="224"/>
                        <a:pt x="2964" y="227"/>
                      </a:cubicBezTo>
                      <a:cubicBezTo>
                        <a:pt x="2977" y="230"/>
                        <a:pt x="2986" y="233"/>
                        <a:pt x="2998" y="238"/>
                      </a:cubicBezTo>
                      <a:cubicBezTo>
                        <a:pt x="3010" y="243"/>
                        <a:pt x="3028" y="251"/>
                        <a:pt x="3037" y="256"/>
                      </a:cubicBezTo>
                      <a:cubicBezTo>
                        <a:pt x="3046" y="261"/>
                        <a:pt x="3047" y="266"/>
                        <a:pt x="3055" y="268"/>
                      </a:cubicBezTo>
                      <a:cubicBezTo>
                        <a:pt x="3063" y="270"/>
                        <a:pt x="3087" y="274"/>
                        <a:pt x="3085" y="271"/>
                      </a:cubicBezTo>
                      <a:cubicBezTo>
                        <a:pt x="3083" y="268"/>
                        <a:pt x="3032" y="250"/>
                        <a:pt x="3042" y="250"/>
                      </a:cubicBezTo>
                      <a:cubicBezTo>
                        <a:pt x="3052" y="250"/>
                        <a:pt x="3124" y="261"/>
                        <a:pt x="3145" y="268"/>
                      </a:cubicBezTo>
                      <a:cubicBezTo>
                        <a:pt x="3166" y="275"/>
                        <a:pt x="3171" y="290"/>
                        <a:pt x="3172" y="293"/>
                      </a:cubicBezTo>
                      <a:cubicBezTo>
                        <a:pt x="3173" y="296"/>
                        <a:pt x="3158" y="287"/>
                        <a:pt x="3151" y="286"/>
                      </a:cubicBezTo>
                      <a:cubicBezTo>
                        <a:pt x="3144" y="285"/>
                        <a:pt x="3129" y="281"/>
                        <a:pt x="3132" y="287"/>
                      </a:cubicBezTo>
                      <a:cubicBezTo>
                        <a:pt x="3135" y="293"/>
                        <a:pt x="3173" y="316"/>
                        <a:pt x="3172" y="320"/>
                      </a:cubicBezTo>
                      <a:cubicBezTo>
                        <a:pt x="3171" y="324"/>
                        <a:pt x="3136" y="316"/>
                        <a:pt x="3123" y="313"/>
                      </a:cubicBezTo>
                      <a:cubicBezTo>
                        <a:pt x="3110" y="310"/>
                        <a:pt x="3102" y="303"/>
                        <a:pt x="3091" y="299"/>
                      </a:cubicBezTo>
                      <a:cubicBezTo>
                        <a:pt x="3080" y="295"/>
                        <a:pt x="3068" y="290"/>
                        <a:pt x="3058" y="289"/>
                      </a:cubicBezTo>
                      <a:cubicBezTo>
                        <a:pt x="3048" y="288"/>
                        <a:pt x="3040" y="295"/>
                        <a:pt x="3031" y="292"/>
                      </a:cubicBezTo>
                      <a:cubicBezTo>
                        <a:pt x="3022" y="289"/>
                        <a:pt x="3014" y="275"/>
                        <a:pt x="3004" y="271"/>
                      </a:cubicBezTo>
                      <a:cubicBezTo>
                        <a:pt x="2994" y="267"/>
                        <a:pt x="2971" y="262"/>
                        <a:pt x="2971" y="265"/>
                      </a:cubicBezTo>
                      <a:cubicBezTo>
                        <a:pt x="2971" y="268"/>
                        <a:pt x="2996" y="281"/>
                        <a:pt x="3001" y="289"/>
                      </a:cubicBezTo>
                      <a:cubicBezTo>
                        <a:pt x="3006" y="297"/>
                        <a:pt x="3013" y="313"/>
                        <a:pt x="3004" y="314"/>
                      </a:cubicBezTo>
                      <a:cubicBezTo>
                        <a:pt x="2995" y="315"/>
                        <a:pt x="2957" y="298"/>
                        <a:pt x="2946" y="298"/>
                      </a:cubicBezTo>
                      <a:cubicBezTo>
                        <a:pt x="2935" y="298"/>
                        <a:pt x="2934" y="311"/>
                        <a:pt x="2938" y="314"/>
                      </a:cubicBezTo>
                      <a:cubicBezTo>
                        <a:pt x="2942" y="317"/>
                        <a:pt x="2960" y="312"/>
                        <a:pt x="2970" y="314"/>
                      </a:cubicBezTo>
                      <a:cubicBezTo>
                        <a:pt x="2980" y="316"/>
                        <a:pt x="2982" y="319"/>
                        <a:pt x="2998" y="326"/>
                      </a:cubicBezTo>
                      <a:cubicBezTo>
                        <a:pt x="3014" y="333"/>
                        <a:pt x="3049" y="350"/>
                        <a:pt x="3064" y="358"/>
                      </a:cubicBezTo>
                      <a:cubicBezTo>
                        <a:pt x="3079" y="366"/>
                        <a:pt x="3094" y="372"/>
                        <a:pt x="3088" y="373"/>
                      </a:cubicBezTo>
                      <a:cubicBezTo>
                        <a:pt x="3082" y="374"/>
                        <a:pt x="3045" y="362"/>
                        <a:pt x="3030" y="365"/>
                      </a:cubicBezTo>
                      <a:cubicBezTo>
                        <a:pt x="3015" y="368"/>
                        <a:pt x="3007" y="382"/>
                        <a:pt x="2998" y="391"/>
                      </a:cubicBezTo>
                      <a:cubicBezTo>
                        <a:pt x="2989" y="400"/>
                        <a:pt x="2981" y="408"/>
                        <a:pt x="2977" y="416"/>
                      </a:cubicBezTo>
                      <a:cubicBezTo>
                        <a:pt x="2973" y="424"/>
                        <a:pt x="2977" y="437"/>
                        <a:pt x="2974" y="437"/>
                      </a:cubicBezTo>
                      <a:cubicBezTo>
                        <a:pt x="2971" y="437"/>
                        <a:pt x="2973" y="421"/>
                        <a:pt x="2961" y="418"/>
                      </a:cubicBezTo>
                      <a:cubicBezTo>
                        <a:pt x="2949" y="415"/>
                        <a:pt x="2911" y="415"/>
                        <a:pt x="2902" y="419"/>
                      </a:cubicBezTo>
                      <a:cubicBezTo>
                        <a:pt x="2893" y="423"/>
                        <a:pt x="2909" y="439"/>
                        <a:pt x="2904" y="440"/>
                      </a:cubicBezTo>
                      <a:cubicBezTo>
                        <a:pt x="2899" y="441"/>
                        <a:pt x="2879" y="424"/>
                        <a:pt x="2874" y="424"/>
                      </a:cubicBezTo>
                      <a:cubicBezTo>
                        <a:pt x="2869" y="424"/>
                        <a:pt x="2875" y="437"/>
                        <a:pt x="2872" y="439"/>
                      </a:cubicBezTo>
                      <a:cubicBezTo>
                        <a:pt x="2869" y="441"/>
                        <a:pt x="2859" y="432"/>
                        <a:pt x="2854" y="433"/>
                      </a:cubicBezTo>
                      <a:cubicBezTo>
                        <a:pt x="2849" y="434"/>
                        <a:pt x="2843" y="439"/>
                        <a:pt x="2844" y="443"/>
                      </a:cubicBezTo>
                      <a:cubicBezTo>
                        <a:pt x="2845" y="447"/>
                        <a:pt x="2855" y="448"/>
                        <a:pt x="2857" y="455"/>
                      </a:cubicBezTo>
                      <a:cubicBezTo>
                        <a:pt x="2859" y="462"/>
                        <a:pt x="2853" y="477"/>
                        <a:pt x="2856" y="485"/>
                      </a:cubicBezTo>
                      <a:cubicBezTo>
                        <a:pt x="2859" y="493"/>
                        <a:pt x="2871" y="504"/>
                        <a:pt x="2878" y="506"/>
                      </a:cubicBezTo>
                      <a:cubicBezTo>
                        <a:pt x="2885" y="508"/>
                        <a:pt x="2892" y="500"/>
                        <a:pt x="2896" y="500"/>
                      </a:cubicBezTo>
                      <a:cubicBezTo>
                        <a:pt x="2900" y="500"/>
                        <a:pt x="2900" y="502"/>
                        <a:pt x="2905" y="506"/>
                      </a:cubicBezTo>
                      <a:cubicBezTo>
                        <a:pt x="2910" y="510"/>
                        <a:pt x="2925" y="521"/>
                        <a:pt x="2928" y="527"/>
                      </a:cubicBezTo>
                      <a:cubicBezTo>
                        <a:pt x="2931" y="533"/>
                        <a:pt x="2923" y="539"/>
                        <a:pt x="2923" y="544"/>
                      </a:cubicBezTo>
                      <a:cubicBezTo>
                        <a:pt x="2923" y="549"/>
                        <a:pt x="2922" y="556"/>
                        <a:pt x="2925" y="560"/>
                      </a:cubicBezTo>
                      <a:cubicBezTo>
                        <a:pt x="2928" y="564"/>
                        <a:pt x="2934" y="566"/>
                        <a:pt x="2940" y="571"/>
                      </a:cubicBezTo>
                      <a:cubicBezTo>
                        <a:pt x="2946" y="576"/>
                        <a:pt x="2964" y="586"/>
                        <a:pt x="2964" y="589"/>
                      </a:cubicBezTo>
                      <a:cubicBezTo>
                        <a:pt x="2964" y="592"/>
                        <a:pt x="2945" y="587"/>
                        <a:pt x="2940" y="589"/>
                      </a:cubicBezTo>
                      <a:cubicBezTo>
                        <a:pt x="2935" y="591"/>
                        <a:pt x="2932" y="599"/>
                        <a:pt x="2935" y="604"/>
                      </a:cubicBezTo>
                      <a:cubicBezTo>
                        <a:pt x="2938" y="609"/>
                        <a:pt x="2956" y="618"/>
                        <a:pt x="2956" y="622"/>
                      </a:cubicBezTo>
                      <a:cubicBezTo>
                        <a:pt x="2956" y="626"/>
                        <a:pt x="2935" y="626"/>
                        <a:pt x="2934" y="631"/>
                      </a:cubicBezTo>
                      <a:cubicBezTo>
                        <a:pt x="2933" y="636"/>
                        <a:pt x="2947" y="644"/>
                        <a:pt x="2949" y="653"/>
                      </a:cubicBezTo>
                      <a:cubicBezTo>
                        <a:pt x="2951" y="662"/>
                        <a:pt x="2956" y="691"/>
                        <a:pt x="2944" y="686"/>
                      </a:cubicBezTo>
                      <a:cubicBezTo>
                        <a:pt x="2932" y="681"/>
                        <a:pt x="2898" y="643"/>
                        <a:pt x="2874" y="622"/>
                      </a:cubicBezTo>
                      <a:cubicBezTo>
                        <a:pt x="2850" y="601"/>
                        <a:pt x="2814" y="574"/>
                        <a:pt x="2799" y="559"/>
                      </a:cubicBezTo>
                      <a:cubicBezTo>
                        <a:pt x="2784" y="544"/>
                        <a:pt x="2785" y="539"/>
                        <a:pt x="2782" y="530"/>
                      </a:cubicBezTo>
                      <a:cubicBezTo>
                        <a:pt x="2779" y="521"/>
                        <a:pt x="2785" y="513"/>
                        <a:pt x="2781" y="506"/>
                      </a:cubicBezTo>
                      <a:cubicBezTo>
                        <a:pt x="2777" y="499"/>
                        <a:pt x="2757" y="492"/>
                        <a:pt x="2757" y="490"/>
                      </a:cubicBezTo>
                      <a:cubicBezTo>
                        <a:pt x="2757" y="488"/>
                        <a:pt x="2776" y="493"/>
                        <a:pt x="2782" y="494"/>
                      </a:cubicBezTo>
                      <a:cubicBezTo>
                        <a:pt x="2788" y="495"/>
                        <a:pt x="2792" y="500"/>
                        <a:pt x="2794" y="496"/>
                      </a:cubicBezTo>
                      <a:cubicBezTo>
                        <a:pt x="2796" y="492"/>
                        <a:pt x="2793" y="481"/>
                        <a:pt x="2794" y="470"/>
                      </a:cubicBezTo>
                      <a:cubicBezTo>
                        <a:pt x="2795" y="459"/>
                        <a:pt x="2798" y="440"/>
                        <a:pt x="2800" y="431"/>
                      </a:cubicBezTo>
                      <a:cubicBezTo>
                        <a:pt x="2802" y="422"/>
                        <a:pt x="2804" y="416"/>
                        <a:pt x="2808" y="413"/>
                      </a:cubicBezTo>
                      <a:cubicBezTo>
                        <a:pt x="2812" y="410"/>
                        <a:pt x="2829" y="416"/>
                        <a:pt x="2826" y="410"/>
                      </a:cubicBezTo>
                      <a:cubicBezTo>
                        <a:pt x="2823" y="404"/>
                        <a:pt x="2790" y="385"/>
                        <a:pt x="2787" y="379"/>
                      </a:cubicBezTo>
                      <a:cubicBezTo>
                        <a:pt x="2784" y="373"/>
                        <a:pt x="2810" y="375"/>
                        <a:pt x="2808" y="373"/>
                      </a:cubicBezTo>
                      <a:cubicBezTo>
                        <a:pt x="2806" y="371"/>
                        <a:pt x="2777" y="366"/>
                        <a:pt x="2772" y="368"/>
                      </a:cubicBezTo>
                      <a:cubicBezTo>
                        <a:pt x="2743" y="353"/>
                        <a:pt x="2756" y="382"/>
                        <a:pt x="2777" y="387"/>
                      </a:cubicBezTo>
                      <a:cubicBezTo>
                        <a:pt x="2787" y="404"/>
                        <a:pt x="2773" y="415"/>
                        <a:pt x="2757" y="418"/>
                      </a:cubicBezTo>
                      <a:cubicBezTo>
                        <a:pt x="2747" y="415"/>
                        <a:pt x="2739" y="412"/>
                        <a:pt x="2729" y="409"/>
                      </a:cubicBezTo>
                      <a:cubicBezTo>
                        <a:pt x="2725" y="400"/>
                        <a:pt x="2721" y="398"/>
                        <a:pt x="2712" y="394"/>
                      </a:cubicBezTo>
                      <a:cubicBezTo>
                        <a:pt x="2705" y="397"/>
                        <a:pt x="2697" y="399"/>
                        <a:pt x="2690" y="402"/>
                      </a:cubicBezTo>
                      <a:cubicBezTo>
                        <a:pt x="2679" y="400"/>
                        <a:pt x="2672" y="396"/>
                        <a:pt x="2661" y="399"/>
                      </a:cubicBezTo>
                      <a:cubicBezTo>
                        <a:pt x="2658" y="409"/>
                        <a:pt x="2653" y="418"/>
                        <a:pt x="2649" y="428"/>
                      </a:cubicBezTo>
                      <a:cubicBezTo>
                        <a:pt x="2656" y="445"/>
                        <a:pt x="2673" y="447"/>
                        <a:pt x="2690" y="452"/>
                      </a:cubicBezTo>
                      <a:cubicBezTo>
                        <a:pt x="2687" y="467"/>
                        <a:pt x="2679" y="464"/>
                        <a:pt x="2666" y="469"/>
                      </a:cubicBezTo>
                      <a:cubicBezTo>
                        <a:pt x="2647" y="468"/>
                        <a:pt x="2628" y="469"/>
                        <a:pt x="2609" y="466"/>
                      </a:cubicBezTo>
                      <a:cubicBezTo>
                        <a:pt x="2598" y="464"/>
                        <a:pt x="2614" y="454"/>
                        <a:pt x="2604" y="452"/>
                      </a:cubicBezTo>
                      <a:cubicBezTo>
                        <a:pt x="2593" y="449"/>
                        <a:pt x="2581" y="451"/>
                        <a:pt x="2570" y="450"/>
                      </a:cubicBezTo>
                      <a:cubicBezTo>
                        <a:pt x="2521" y="452"/>
                        <a:pt x="2473" y="458"/>
                        <a:pt x="2424" y="464"/>
                      </a:cubicBezTo>
                      <a:cubicBezTo>
                        <a:pt x="2419" y="471"/>
                        <a:pt x="2417" y="478"/>
                        <a:pt x="2414" y="486"/>
                      </a:cubicBezTo>
                      <a:cubicBezTo>
                        <a:pt x="2411" y="507"/>
                        <a:pt x="2404" y="531"/>
                        <a:pt x="2395" y="550"/>
                      </a:cubicBezTo>
                      <a:cubicBezTo>
                        <a:pt x="2390" y="560"/>
                        <a:pt x="2383" y="568"/>
                        <a:pt x="2378" y="579"/>
                      </a:cubicBezTo>
                      <a:cubicBezTo>
                        <a:pt x="2399" y="588"/>
                        <a:pt x="2422" y="589"/>
                        <a:pt x="2443" y="598"/>
                      </a:cubicBezTo>
                      <a:cubicBezTo>
                        <a:pt x="2458" y="604"/>
                        <a:pt x="2442" y="597"/>
                        <a:pt x="2457" y="606"/>
                      </a:cubicBezTo>
                      <a:cubicBezTo>
                        <a:pt x="2460" y="608"/>
                        <a:pt x="2465" y="610"/>
                        <a:pt x="2465" y="610"/>
                      </a:cubicBezTo>
                      <a:cubicBezTo>
                        <a:pt x="2460" y="599"/>
                        <a:pt x="2464" y="597"/>
                        <a:pt x="2472" y="589"/>
                      </a:cubicBezTo>
                      <a:cubicBezTo>
                        <a:pt x="2485" y="590"/>
                        <a:pt x="2497" y="590"/>
                        <a:pt x="2510" y="591"/>
                      </a:cubicBezTo>
                      <a:cubicBezTo>
                        <a:pt x="2520" y="592"/>
                        <a:pt x="2530" y="612"/>
                        <a:pt x="2539" y="618"/>
                      </a:cubicBezTo>
                      <a:cubicBezTo>
                        <a:pt x="2542" y="630"/>
                        <a:pt x="2547" y="637"/>
                        <a:pt x="2558" y="642"/>
                      </a:cubicBezTo>
                      <a:cubicBezTo>
                        <a:pt x="2562" y="652"/>
                        <a:pt x="2562" y="655"/>
                        <a:pt x="2573" y="658"/>
                      </a:cubicBezTo>
                      <a:cubicBezTo>
                        <a:pt x="2566" y="648"/>
                        <a:pt x="2558" y="641"/>
                        <a:pt x="2553" y="630"/>
                      </a:cubicBezTo>
                      <a:cubicBezTo>
                        <a:pt x="2556" y="606"/>
                        <a:pt x="2557" y="601"/>
                        <a:pt x="2577" y="615"/>
                      </a:cubicBezTo>
                      <a:cubicBezTo>
                        <a:pt x="2580" y="622"/>
                        <a:pt x="2594" y="632"/>
                        <a:pt x="2594" y="632"/>
                      </a:cubicBezTo>
                      <a:cubicBezTo>
                        <a:pt x="2599" y="644"/>
                        <a:pt x="2622" y="671"/>
                        <a:pt x="2633" y="678"/>
                      </a:cubicBezTo>
                      <a:cubicBezTo>
                        <a:pt x="2637" y="685"/>
                        <a:pt x="2652" y="694"/>
                        <a:pt x="2652" y="694"/>
                      </a:cubicBezTo>
                      <a:cubicBezTo>
                        <a:pt x="2661" y="708"/>
                        <a:pt x="2679" y="717"/>
                        <a:pt x="2693" y="726"/>
                      </a:cubicBezTo>
                      <a:cubicBezTo>
                        <a:pt x="2700" y="738"/>
                        <a:pt x="2718" y="745"/>
                        <a:pt x="2729" y="762"/>
                      </a:cubicBezTo>
                      <a:cubicBezTo>
                        <a:pt x="2714" y="769"/>
                        <a:pt x="2704" y="749"/>
                        <a:pt x="2688" y="742"/>
                      </a:cubicBezTo>
                      <a:cubicBezTo>
                        <a:pt x="2685" y="743"/>
                        <a:pt x="2680" y="742"/>
                        <a:pt x="2678" y="745"/>
                      </a:cubicBezTo>
                      <a:cubicBezTo>
                        <a:pt x="2674" y="752"/>
                        <a:pt x="2693" y="776"/>
                        <a:pt x="2700" y="781"/>
                      </a:cubicBezTo>
                      <a:cubicBezTo>
                        <a:pt x="2703" y="790"/>
                        <a:pt x="2715" y="797"/>
                        <a:pt x="2724" y="802"/>
                      </a:cubicBezTo>
                      <a:cubicBezTo>
                        <a:pt x="2729" y="811"/>
                        <a:pt x="2736" y="813"/>
                        <a:pt x="2741" y="822"/>
                      </a:cubicBezTo>
                      <a:cubicBezTo>
                        <a:pt x="2746" y="840"/>
                        <a:pt x="2723" y="821"/>
                        <a:pt x="2717" y="817"/>
                      </a:cubicBezTo>
                      <a:cubicBezTo>
                        <a:pt x="2713" y="827"/>
                        <a:pt x="2717" y="830"/>
                        <a:pt x="2714" y="841"/>
                      </a:cubicBezTo>
                      <a:cubicBezTo>
                        <a:pt x="2700" y="836"/>
                        <a:pt x="2707" y="841"/>
                        <a:pt x="2695" y="824"/>
                      </a:cubicBezTo>
                      <a:cubicBezTo>
                        <a:pt x="2693" y="822"/>
                        <a:pt x="2690" y="817"/>
                        <a:pt x="2690" y="817"/>
                      </a:cubicBezTo>
                      <a:cubicBezTo>
                        <a:pt x="2685" y="792"/>
                        <a:pt x="2669" y="769"/>
                        <a:pt x="2652" y="752"/>
                      </a:cubicBezTo>
                      <a:cubicBezTo>
                        <a:pt x="2648" y="743"/>
                        <a:pt x="2647" y="740"/>
                        <a:pt x="2640" y="730"/>
                      </a:cubicBezTo>
                      <a:cubicBezTo>
                        <a:pt x="2637" y="725"/>
                        <a:pt x="2633" y="721"/>
                        <a:pt x="2630" y="716"/>
                      </a:cubicBezTo>
                      <a:cubicBezTo>
                        <a:pt x="2628" y="714"/>
                        <a:pt x="2625" y="709"/>
                        <a:pt x="2625" y="709"/>
                      </a:cubicBezTo>
                      <a:cubicBezTo>
                        <a:pt x="2618" y="684"/>
                        <a:pt x="2605" y="673"/>
                        <a:pt x="2582" y="666"/>
                      </a:cubicBezTo>
                      <a:cubicBezTo>
                        <a:pt x="2555" y="681"/>
                        <a:pt x="2586" y="712"/>
                        <a:pt x="2601" y="723"/>
                      </a:cubicBezTo>
                      <a:cubicBezTo>
                        <a:pt x="2609" y="742"/>
                        <a:pt x="2613" y="754"/>
                        <a:pt x="2616" y="776"/>
                      </a:cubicBezTo>
                      <a:cubicBezTo>
                        <a:pt x="2613" y="815"/>
                        <a:pt x="2603" y="848"/>
                        <a:pt x="2594" y="886"/>
                      </a:cubicBezTo>
                      <a:cubicBezTo>
                        <a:pt x="2591" y="898"/>
                        <a:pt x="2590" y="917"/>
                        <a:pt x="2577" y="920"/>
                      </a:cubicBezTo>
                      <a:cubicBezTo>
                        <a:pt x="2561" y="932"/>
                        <a:pt x="2545" y="921"/>
                        <a:pt x="2529" y="915"/>
                      </a:cubicBezTo>
                      <a:cubicBezTo>
                        <a:pt x="2515" y="920"/>
                        <a:pt x="2517" y="930"/>
                        <a:pt x="2505" y="937"/>
                      </a:cubicBezTo>
                      <a:cubicBezTo>
                        <a:pt x="2495" y="934"/>
                        <a:pt x="2496" y="937"/>
                        <a:pt x="2496" y="930"/>
                      </a:cubicBezTo>
                      <a:cubicBezTo>
                        <a:pt x="2498" y="928"/>
                        <a:pt x="2499" y="927"/>
                        <a:pt x="2501" y="925"/>
                      </a:cubicBezTo>
                      <a:cubicBezTo>
                        <a:pt x="2502" y="920"/>
                        <a:pt x="2505" y="910"/>
                        <a:pt x="2505" y="910"/>
                      </a:cubicBezTo>
                      <a:cubicBezTo>
                        <a:pt x="2504" y="905"/>
                        <a:pt x="2501" y="896"/>
                        <a:pt x="2501" y="896"/>
                      </a:cubicBezTo>
                      <a:lnTo>
                        <a:pt x="2472" y="860"/>
                      </a:lnTo>
                      <a:lnTo>
                        <a:pt x="2484" y="848"/>
                      </a:lnTo>
                      <a:lnTo>
                        <a:pt x="2515" y="858"/>
                      </a:lnTo>
                      <a:lnTo>
                        <a:pt x="2510" y="807"/>
                      </a:lnTo>
                      <a:lnTo>
                        <a:pt x="2508" y="778"/>
                      </a:lnTo>
                      <a:lnTo>
                        <a:pt x="2489" y="757"/>
                      </a:lnTo>
                      <a:lnTo>
                        <a:pt x="2450" y="781"/>
                      </a:lnTo>
                      <a:lnTo>
                        <a:pt x="2417" y="778"/>
                      </a:lnTo>
                      <a:lnTo>
                        <a:pt x="2388" y="747"/>
                      </a:lnTo>
                      <a:lnTo>
                        <a:pt x="2333" y="726"/>
                      </a:lnTo>
                      <a:lnTo>
                        <a:pt x="2309" y="726"/>
                      </a:lnTo>
                      <a:lnTo>
                        <a:pt x="2246" y="658"/>
                      </a:lnTo>
                      <a:lnTo>
                        <a:pt x="2189" y="627"/>
                      </a:lnTo>
                      <a:lnTo>
                        <a:pt x="2133" y="615"/>
                      </a:lnTo>
                      <a:lnTo>
                        <a:pt x="2088" y="622"/>
                      </a:lnTo>
                      <a:lnTo>
                        <a:pt x="2083" y="639"/>
                      </a:lnTo>
                      <a:lnTo>
                        <a:pt x="2114" y="656"/>
                      </a:lnTo>
                      <a:lnTo>
                        <a:pt x="2105" y="673"/>
                      </a:lnTo>
                      <a:lnTo>
                        <a:pt x="2105" y="718"/>
                      </a:lnTo>
                      <a:lnTo>
                        <a:pt x="2081" y="726"/>
                      </a:lnTo>
                      <a:lnTo>
                        <a:pt x="2057" y="716"/>
                      </a:lnTo>
                      <a:lnTo>
                        <a:pt x="2030" y="718"/>
                      </a:lnTo>
                      <a:lnTo>
                        <a:pt x="2009" y="706"/>
                      </a:lnTo>
                      <a:lnTo>
                        <a:pt x="1985" y="714"/>
                      </a:lnTo>
                      <a:lnTo>
                        <a:pt x="1973" y="730"/>
                      </a:lnTo>
                      <a:lnTo>
                        <a:pt x="1929" y="738"/>
                      </a:lnTo>
                      <a:lnTo>
                        <a:pt x="1869" y="735"/>
                      </a:lnTo>
                      <a:lnTo>
                        <a:pt x="1857" y="711"/>
                      </a:lnTo>
                      <a:lnTo>
                        <a:pt x="1790" y="704"/>
                      </a:lnTo>
                      <a:lnTo>
                        <a:pt x="1757" y="714"/>
                      </a:lnTo>
                      <a:lnTo>
                        <a:pt x="1718" y="699"/>
                      </a:lnTo>
                      <a:lnTo>
                        <a:pt x="1704" y="670"/>
                      </a:lnTo>
                      <a:lnTo>
                        <a:pt x="1620" y="651"/>
                      </a:lnTo>
                      <a:lnTo>
                        <a:pt x="1610" y="678"/>
                      </a:lnTo>
                      <a:lnTo>
                        <a:pt x="1639" y="706"/>
                      </a:lnTo>
                      <a:lnTo>
                        <a:pt x="1622" y="721"/>
                      </a:lnTo>
                      <a:lnTo>
                        <a:pt x="1579" y="716"/>
                      </a:lnTo>
                      <a:lnTo>
                        <a:pt x="1543" y="697"/>
                      </a:lnTo>
                      <a:lnTo>
                        <a:pt x="1495" y="694"/>
                      </a:lnTo>
                      <a:lnTo>
                        <a:pt x="1416" y="742"/>
                      </a:lnTo>
                      <a:lnTo>
                        <a:pt x="1399" y="738"/>
                      </a:lnTo>
                      <a:lnTo>
                        <a:pt x="1375" y="721"/>
                      </a:lnTo>
                      <a:lnTo>
                        <a:pt x="1356" y="728"/>
                      </a:lnTo>
                      <a:lnTo>
                        <a:pt x="1310" y="704"/>
                      </a:lnTo>
                      <a:lnTo>
                        <a:pt x="1293" y="685"/>
                      </a:lnTo>
                      <a:lnTo>
                        <a:pt x="1260" y="694"/>
                      </a:lnTo>
                      <a:cubicBezTo>
                        <a:pt x="1235" y="674"/>
                        <a:pt x="1246" y="675"/>
                        <a:pt x="1233" y="675"/>
                      </a:cubicBezTo>
                      <a:lnTo>
                        <a:pt x="1219" y="697"/>
                      </a:lnTo>
                      <a:lnTo>
                        <a:pt x="1173" y="644"/>
                      </a:lnTo>
                      <a:lnTo>
                        <a:pt x="1137" y="620"/>
                      </a:lnTo>
                      <a:lnTo>
                        <a:pt x="1101" y="603"/>
                      </a:lnTo>
                      <a:lnTo>
                        <a:pt x="1109" y="579"/>
                      </a:lnTo>
                      <a:lnTo>
                        <a:pt x="1044" y="618"/>
                      </a:lnTo>
                      <a:lnTo>
                        <a:pt x="1029" y="598"/>
                      </a:lnTo>
                      <a:lnTo>
                        <a:pt x="981" y="598"/>
                      </a:lnTo>
                      <a:lnTo>
                        <a:pt x="977" y="577"/>
                      </a:lnTo>
                      <a:lnTo>
                        <a:pt x="950" y="565"/>
                      </a:lnTo>
                      <a:lnTo>
                        <a:pt x="919" y="562"/>
                      </a:lnTo>
                      <a:lnTo>
                        <a:pt x="897" y="582"/>
                      </a:lnTo>
                      <a:lnTo>
                        <a:pt x="835" y="594"/>
                      </a:lnTo>
                      <a:lnTo>
                        <a:pt x="765" y="603"/>
                      </a:lnTo>
                      <a:lnTo>
                        <a:pt x="775" y="622"/>
                      </a:lnTo>
                      <a:lnTo>
                        <a:pt x="801" y="632"/>
                      </a:lnTo>
                      <a:lnTo>
                        <a:pt x="770" y="632"/>
                      </a:lnTo>
                      <a:lnTo>
                        <a:pt x="763" y="663"/>
                      </a:lnTo>
                      <a:lnTo>
                        <a:pt x="804" y="678"/>
                      </a:lnTo>
                      <a:lnTo>
                        <a:pt x="792" y="697"/>
                      </a:lnTo>
                      <a:lnTo>
                        <a:pt x="756" y="697"/>
                      </a:lnTo>
                      <a:lnTo>
                        <a:pt x="732" y="682"/>
                      </a:lnTo>
                      <a:lnTo>
                        <a:pt x="681" y="692"/>
                      </a:lnTo>
                      <a:lnTo>
                        <a:pt x="669" y="699"/>
                      </a:lnTo>
                      <a:lnTo>
                        <a:pt x="629" y="682"/>
                      </a:lnTo>
                      <a:lnTo>
                        <a:pt x="588" y="668"/>
                      </a:lnTo>
                      <a:lnTo>
                        <a:pt x="552" y="666"/>
                      </a:lnTo>
                      <a:lnTo>
                        <a:pt x="511" y="697"/>
                      </a:lnTo>
                      <a:lnTo>
                        <a:pt x="525" y="721"/>
                      </a:lnTo>
                      <a:lnTo>
                        <a:pt x="509" y="721"/>
                      </a:lnTo>
                      <a:lnTo>
                        <a:pt x="492" y="704"/>
                      </a:lnTo>
                      <a:lnTo>
                        <a:pt x="480" y="721"/>
                      </a:lnTo>
                      <a:lnTo>
                        <a:pt x="482" y="762"/>
                      </a:lnTo>
                      <a:lnTo>
                        <a:pt x="509" y="783"/>
                      </a:lnTo>
                      <a:lnTo>
                        <a:pt x="523" y="778"/>
                      </a:lnTo>
                      <a:lnTo>
                        <a:pt x="552" y="824"/>
                      </a:lnTo>
                      <a:lnTo>
                        <a:pt x="511" y="841"/>
                      </a:lnTo>
                      <a:lnTo>
                        <a:pt x="506" y="874"/>
                      </a:lnTo>
                      <a:lnTo>
                        <a:pt x="528" y="896"/>
                      </a:lnTo>
                      <a:lnTo>
                        <a:pt x="528" y="920"/>
                      </a:lnTo>
                      <a:lnTo>
                        <a:pt x="561" y="954"/>
                      </a:lnTo>
                      <a:lnTo>
                        <a:pt x="540" y="970"/>
                      </a:lnTo>
                      <a:lnTo>
                        <a:pt x="509" y="946"/>
                      </a:lnTo>
                      <a:lnTo>
                        <a:pt x="465" y="922"/>
                      </a:lnTo>
                      <a:lnTo>
                        <a:pt x="446" y="930"/>
                      </a:lnTo>
                      <a:lnTo>
                        <a:pt x="415" y="910"/>
                      </a:lnTo>
                      <a:lnTo>
                        <a:pt x="348" y="906"/>
                      </a:lnTo>
                      <a:lnTo>
                        <a:pt x="269" y="855"/>
                      </a:lnTo>
                      <a:lnTo>
                        <a:pt x="290" y="846"/>
                      </a:lnTo>
                      <a:lnTo>
                        <a:pt x="305" y="824"/>
                      </a:lnTo>
                      <a:lnTo>
                        <a:pt x="288" y="814"/>
                      </a:lnTo>
                      <a:lnTo>
                        <a:pt x="324" y="800"/>
                      </a:lnTo>
                      <a:lnTo>
                        <a:pt x="300" y="795"/>
                      </a:lnTo>
                      <a:lnTo>
                        <a:pt x="304" y="785"/>
                      </a:lnTo>
                      <a:lnTo>
                        <a:pt x="319" y="787"/>
                      </a:lnTo>
                      <a:lnTo>
                        <a:pt x="336" y="778"/>
                      </a:lnTo>
                      <a:lnTo>
                        <a:pt x="328" y="763"/>
                      </a:lnTo>
                      <a:lnTo>
                        <a:pt x="331" y="728"/>
                      </a:lnTo>
                      <a:lnTo>
                        <a:pt x="295" y="722"/>
                      </a:lnTo>
                      <a:lnTo>
                        <a:pt x="264" y="707"/>
                      </a:lnTo>
                      <a:lnTo>
                        <a:pt x="222" y="706"/>
                      </a:lnTo>
                      <a:lnTo>
                        <a:pt x="217" y="688"/>
                      </a:lnTo>
                      <a:lnTo>
                        <a:pt x="189" y="674"/>
                      </a:lnTo>
                      <a:lnTo>
                        <a:pt x="195" y="662"/>
                      </a:lnTo>
                      <a:lnTo>
                        <a:pt x="178" y="650"/>
                      </a:lnTo>
                      <a:lnTo>
                        <a:pt x="145" y="650"/>
                      </a:lnTo>
                      <a:lnTo>
                        <a:pt x="135" y="659"/>
                      </a:lnTo>
                      <a:lnTo>
                        <a:pt x="127" y="655"/>
                      </a:lnTo>
                      <a:lnTo>
                        <a:pt x="120" y="625"/>
                      </a:lnTo>
                      <a:lnTo>
                        <a:pt x="133" y="628"/>
                      </a:lnTo>
                      <a:lnTo>
                        <a:pt x="148" y="616"/>
                      </a:lnTo>
                      <a:lnTo>
                        <a:pt x="127" y="605"/>
                      </a:lnTo>
                      <a:lnTo>
                        <a:pt x="100" y="584"/>
                      </a:lnTo>
                      <a:lnTo>
                        <a:pt x="106" y="565"/>
                      </a:lnTo>
                      <a:lnTo>
                        <a:pt x="87" y="553"/>
                      </a:lnTo>
                      <a:lnTo>
                        <a:pt x="72" y="556"/>
                      </a:lnTo>
                      <a:lnTo>
                        <a:pt x="64" y="544"/>
                      </a:lnTo>
                      <a:lnTo>
                        <a:pt x="52" y="548"/>
                      </a:lnTo>
                      <a:lnTo>
                        <a:pt x="37" y="544"/>
                      </a:lnTo>
                      <a:lnTo>
                        <a:pt x="22" y="503"/>
                      </a:lnTo>
                      <a:lnTo>
                        <a:pt x="27" y="491"/>
                      </a:lnTo>
                      <a:lnTo>
                        <a:pt x="13" y="475"/>
                      </a:lnTo>
                      <a:lnTo>
                        <a:pt x="21" y="452"/>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53" name="Freeform 8"/>
                <p:cNvSpPr>
                  <a:spLocks/>
                </p:cNvSpPr>
                <p:nvPr/>
              </p:nvSpPr>
              <p:spPr bwMode="auto">
                <a:xfrm>
                  <a:off x="7535391" y="2802778"/>
                  <a:ext cx="110140" cy="123736"/>
                </a:xfrm>
                <a:custGeom>
                  <a:avLst/>
                  <a:gdLst>
                    <a:gd name="T0" fmla="*/ 39 w 107"/>
                    <a:gd name="T1" fmla="*/ 0 h 123"/>
                    <a:gd name="T2" fmla="*/ 27 w 107"/>
                    <a:gd name="T3" fmla="*/ 8 h 123"/>
                    <a:gd name="T4" fmla="*/ 10 w 107"/>
                    <a:gd name="T5" fmla="*/ 6 h 123"/>
                    <a:gd name="T6" fmla="*/ 4 w 107"/>
                    <a:gd name="T7" fmla="*/ 21 h 123"/>
                    <a:gd name="T8" fmla="*/ 22 w 107"/>
                    <a:gd name="T9" fmla="*/ 44 h 123"/>
                    <a:gd name="T10" fmla="*/ 15 w 107"/>
                    <a:gd name="T11" fmla="*/ 48 h 123"/>
                    <a:gd name="T12" fmla="*/ 18 w 107"/>
                    <a:gd name="T13" fmla="*/ 62 h 123"/>
                    <a:gd name="T14" fmla="*/ 30 w 107"/>
                    <a:gd name="T15" fmla="*/ 78 h 123"/>
                    <a:gd name="T16" fmla="*/ 33 w 107"/>
                    <a:gd name="T17" fmla="*/ 111 h 123"/>
                    <a:gd name="T18" fmla="*/ 42 w 107"/>
                    <a:gd name="T19" fmla="*/ 123 h 123"/>
                    <a:gd name="T20" fmla="*/ 70 w 107"/>
                    <a:gd name="T21" fmla="*/ 108 h 123"/>
                    <a:gd name="T22" fmla="*/ 99 w 107"/>
                    <a:gd name="T23" fmla="*/ 105 h 123"/>
                    <a:gd name="T24" fmla="*/ 100 w 107"/>
                    <a:gd name="T25" fmla="*/ 86 h 123"/>
                    <a:gd name="T26" fmla="*/ 91 w 107"/>
                    <a:gd name="T27" fmla="*/ 66 h 123"/>
                    <a:gd name="T28" fmla="*/ 79 w 107"/>
                    <a:gd name="T29" fmla="*/ 42 h 123"/>
                    <a:gd name="T30" fmla="*/ 67 w 107"/>
                    <a:gd name="T31" fmla="*/ 32 h 123"/>
                    <a:gd name="T32" fmla="*/ 39 w 107"/>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23">
                      <a:moveTo>
                        <a:pt x="39" y="0"/>
                      </a:moveTo>
                      <a:lnTo>
                        <a:pt x="27" y="8"/>
                      </a:lnTo>
                      <a:lnTo>
                        <a:pt x="10" y="6"/>
                      </a:lnTo>
                      <a:lnTo>
                        <a:pt x="4" y="21"/>
                      </a:lnTo>
                      <a:cubicBezTo>
                        <a:pt x="10" y="28"/>
                        <a:pt x="14" y="38"/>
                        <a:pt x="22" y="44"/>
                      </a:cubicBezTo>
                      <a:cubicBezTo>
                        <a:pt x="26" y="51"/>
                        <a:pt x="20" y="50"/>
                        <a:pt x="15" y="48"/>
                      </a:cubicBezTo>
                      <a:cubicBezTo>
                        <a:pt x="0" y="52"/>
                        <a:pt x="10" y="57"/>
                        <a:pt x="18" y="62"/>
                      </a:cubicBezTo>
                      <a:cubicBezTo>
                        <a:pt x="22" y="68"/>
                        <a:pt x="26" y="72"/>
                        <a:pt x="30" y="78"/>
                      </a:cubicBezTo>
                      <a:cubicBezTo>
                        <a:pt x="29" y="90"/>
                        <a:pt x="25" y="101"/>
                        <a:pt x="33" y="111"/>
                      </a:cubicBezTo>
                      <a:cubicBezTo>
                        <a:pt x="34" y="118"/>
                        <a:pt x="36" y="119"/>
                        <a:pt x="42" y="123"/>
                      </a:cubicBezTo>
                      <a:cubicBezTo>
                        <a:pt x="53" y="121"/>
                        <a:pt x="60" y="112"/>
                        <a:pt x="70" y="108"/>
                      </a:cubicBezTo>
                      <a:cubicBezTo>
                        <a:pt x="79" y="104"/>
                        <a:pt x="89" y="106"/>
                        <a:pt x="99" y="105"/>
                      </a:cubicBezTo>
                      <a:cubicBezTo>
                        <a:pt x="107" y="99"/>
                        <a:pt x="106" y="94"/>
                        <a:pt x="100" y="86"/>
                      </a:cubicBezTo>
                      <a:cubicBezTo>
                        <a:pt x="99" y="79"/>
                        <a:pt x="94" y="72"/>
                        <a:pt x="91" y="66"/>
                      </a:cubicBezTo>
                      <a:cubicBezTo>
                        <a:pt x="90" y="56"/>
                        <a:pt x="88" y="48"/>
                        <a:pt x="79" y="42"/>
                      </a:cubicBezTo>
                      <a:cubicBezTo>
                        <a:pt x="75" y="37"/>
                        <a:pt x="72" y="35"/>
                        <a:pt x="67" y="32"/>
                      </a:cubicBezTo>
                      <a:cubicBezTo>
                        <a:pt x="60" y="20"/>
                        <a:pt x="45" y="13"/>
                        <a:pt x="39"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54" name="Freeform 9"/>
                <p:cNvSpPr>
                  <a:spLocks/>
                </p:cNvSpPr>
                <p:nvPr/>
              </p:nvSpPr>
              <p:spPr bwMode="auto">
                <a:xfrm>
                  <a:off x="5268989" y="2994417"/>
                  <a:ext cx="558456" cy="466272"/>
                </a:xfrm>
                <a:custGeom>
                  <a:avLst/>
                  <a:gdLst>
                    <a:gd name="T0" fmla="*/ 0 w 543"/>
                    <a:gd name="T1" fmla="*/ 81 h 466"/>
                    <a:gd name="T2" fmla="*/ 2 w 543"/>
                    <a:gd name="T3" fmla="*/ 103 h 466"/>
                    <a:gd name="T4" fmla="*/ 0 w 543"/>
                    <a:gd name="T5" fmla="*/ 118 h 466"/>
                    <a:gd name="T6" fmla="*/ 11 w 543"/>
                    <a:gd name="T7" fmla="*/ 121 h 466"/>
                    <a:gd name="T8" fmla="*/ 63 w 543"/>
                    <a:gd name="T9" fmla="*/ 196 h 466"/>
                    <a:gd name="T10" fmla="*/ 69 w 543"/>
                    <a:gd name="T11" fmla="*/ 211 h 466"/>
                    <a:gd name="T12" fmla="*/ 78 w 543"/>
                    <a:gd name="T13" fmla="*/ 237 h 466"/>
                    <a:gd name="T14" fmla="*/ 93 w 543"/>
                    <a:gd name="T15" fmla="*/ 238 h 466"/>
                    <a:gd name="T16" fmla="*/ 119 w 543"/>
                    <a:gd name="T17" fmla="*/ 277 h 466"/>
                    <a:gd name="T18" fmla="*/ 117 w 543"/>
                    <a:gd name="T19" fmla="*/ 304 h 466"/>
                    <a:gd name="T20" fmla="*/ 123 w 543"/>
                    <a:gd name="T21" fmla="*/ 315 h 466"/>
                    <a:gd name="T22" fmla="*/ 119 w 543"/>
                    <a:gd name="T23" fmla="*/ 327 h 466"/>
                    <a:gd name="T24" fmla="*/ 140 w 543"/>
                    <a:gd name="T25" fmla="*/ 349 h 466"/>
                    <a:gd name="T26" fmla="*/ 153 w 543"/>
                    <a:gd name="T27" fmla="*/ 354 h 466"/>
                    <a:gd name="T28" fmla="*/ 179 w 543"/>
                    <a:gd name="T29" fmla="*/ 391 h 466"/>
                    <a:gd name="T30" fmla="*/ 186 w 543"/>
                    <a:gd name="T31" fmla="*/ 414 h 466"/>
                    <a:gd name="T32" fmla="*/ 210 w 543"/>
                    <a:gd name="T33" fmla="*/ 439 h 466"/>
                    <a:gd name="T34" fmla="*/ 222 w 543"/>
                    <a:gd name="T35" fmla="*/ 466 h 466"/>
                    <a:gd name="T36" fmla="*/ 233 w 543"/>
                    <a:gd name="T37" fmla="*/ 456 h 466"/>
                    <a:gd name="T38" fmla="*/ 231 w 543"/>
                    <a:gd name="T39" fmla="*/ 436 h 466"/>
                    <a:gd name="T40" fmla="*/ 239 w 543"/>
                    <a:gd name="T41" fmla="*/ 429 h 466"/>
                    <a:gd name="T42" fmla="*/ 248 w 543"/>
                    <a:gd name="T43" fmla="*/ 436 h 466"/>
                    <a:gd name="T44" fmla="*/ 276 w 543"/>
                    <a:gd name="T45" fmla="*/ 429 h 466"/>
                    <a:gd name="T46" fmla="*/ 300 w 543"/>
                    <a:gd name="T47" fmla="*/ 441 h 466"/>
                    <a:gd name="T48" fmla="*/ 323 w 543"/>
                    <a:gd name="T49" fmla="*/ 435 h 466"/>
                    <a:gd name="T50" fmla="*/ 333 w 543"/>
                    <a:gd name="T51" fmla="*/ 447 h 466"/>
                    <a:gd name="T52" fmla="*/ 342 w 543"/>
                    <a:gd name="T53" fmla="*/ 435 h 466"/>
                    <a:gd name="T54" fmla="*/ 357 w 543"/>
                    <a:gd name="T55" fmla="*/ 411 h 466"/>
                    <a:gd name="T56" fmla="*/ 384 w 543"/>
                    <a:gd name="T57" fmla="*/ 394 h 466"/>
                    <a:gd name="T58" fmla="*/ 432 w 543"/>
                    <a:gd name="T59" fmla="*/ 391 h 466"/>
                    <a:gd name="T60" fmla="*/ 455 w 543"/>
                    <a:gd name="T61" fmla="*/ 385 h 466"/>
                    <a:gd name="T62" fmla="*/ 528 w 543"/>
                    <a:gd name="T63" fmla="*/ 358 h 466"/>
                    <a:gd name="T64" fmla="*/ 543 w 543"/>
                    <a:gd name="T65" fmla="*/ 295 h 466"/>
                    <a:gd name="T66" fmla="*/ 527 w 543"/>
                    <a:gd name="T67" fmla="*/ 276 h 466"/>
                    <a:gd name="T68" fmla="*/ 461 w 543"/>
                    <a:gd name="T69" fmla="*/ 273 h 466"/>
                    <a:gd name="T70" fmla="*/ 426 w 543"/>
                    <a:gd name="T71" fmla="*/ 223 h 466"/>
                    <a:gd name="T72" fmla="*/ 414 w 543"/>
                    <a:gd name="T73" fmla="*/ 223 h 466"/>
                    <a:gd name="T74" fmla="*/ 398 w 543"/>
                    <a:gd name="T75" fmla="*/ 192 h 466"/>
                    <a:gd name="T76" fmla="*/ 389 w 543"/>
                    <a:gd name="T77" fmla="*/ 187 h 466"/>
                    <a:gd name="T78" fmla="*/ 396 w 543"/>
                    <a:gd name="T79" fmla="*/ 166 h 466"/>
                    <a:gd name="T80" fmla="*/ 371 w 543"/>
                    <a:gd name="T81" fmla="*/ 141 h 466"/>
                    <a:gd name="T82" fmla="*/ 354 w 543"/>
                    <a:gd name="T83" fmla="*/ 132 h 466"/>
                    <a:gd name="T84" fmla="*/ 342 w 543"/>
                    <a:gd name="T85" fmla="*/ 106 h 466"/>
                    <a:gd name="T86" fmla="*/ 321 w 543"/>
                    <a:gd name="T87" fmla="*/ 105 h 466"/>
                    <a:gd name="T88" fmla="*/ 317 w 543"/>
                    <a:gd name="T89" fmla="*/ 91 h 466"/>
                    <a:gd name="T90" fmla="*/ 296 w 543"/>
                    <a:gd name="T91" fmla="*/ 88 h 466"/>
                    <a:gd name="T92" fmla="*/ 246 w 543"/>
                    <a:gd name="T93" fmla="*/ 84 h 466"/>
                    <a:gd name="T94" fmla="*/ 176 w 543"/>
                    <a:gd name="T95" fmla="*/ 25 h 466"/>
                    <a:gd name="T96" fmla="*/ 149 w 543"/>
                    <a:gd name="T97" fmla="*/ 18 h 466"/>
                    <a:gd name="T98" fmla="*/ 137 w 543"/>
                    <a:gd name="T99" fmla="*/ 3 h 466"/>
                    <a:gd name="T100" fmla="*/ 102 w 543"/>
                    <a:gd name="T101" fmla="*/ 0 h 466"/>
                    <a:gd name="T102" fmla="*/ 68 w 543"/>
                    <a:gd name="T103" fmla="*/ 16 h 466"/>
                    <a:gd name="T104" fmla="*/ 53 w 543"/>
                    <a:gd name="T105" fmla="*/ 12 h 466"/>
                    <a:gd name="T106" fmla="*/ 54 w 543"/>
                    <a:gd name="T107" fmla="*/ 28 h 466"/>
                    <a:gd name="T108" fmla="*/ 77 w 543"/>
                    <a:gd name="T109" fmla="*/ 45 h 466"/>
                    <a:gd name="T110" fmla="*/ 65 w 543"/>
                    <a:gd name="T111" fmla="*/ 61 h 466"/>
                    <a:gd name="T112" fmla="*/ 44 w 543"/>
                    <a:gd name="T113" fmla="*/ 67 h 466"/>
                    <a:gd name="T114" fmla="*/ 32 w 543"/>
                    <a:gd name="T115" fmla="*/ 87 h 466"/>
                    <a:gd name="T116" fmla="*/ 0 w 543"/>
                    <a:gd name="T117" fmla="*/ 81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3" h="466">
                      <a:moveTo>
                        <a:pt x="0" y="81"/>
                      </a:moveTo>
                      <a:lnTo>
                        <a:pt x="2" y="103"/>
                      </a:lnTo>
                      <a:lnTo>
                        <a:pt x="0" y="118"/>
                      </a:lnTo>
                      <a:lnTo>
                        <a:pt x="11" y="121"/>
                      </a:lnTo>
                      <a:lnTo>
                        <a:pt x="63" y="196"/>
                      </a:lnTo>
                      <a:lnTo>
                        <a:pt x="69" y="211"/>
                      </a:lnTo>
                      <a:lnTo>
                        <a:pt x="78" y="237"/>
                      </a:lnTo>
                      <a:lnTo>
                        <a:pt x="93" y="238"/>
                      </a:lnTo>
                      <a:lnTo>
                        <a:pt x="119" y="277"/>
                      </a:lnTo>
                      <a:lnTo>
                        <a:pt x="117" y="304"/>
                      </a:lnTo>
                      <a:lnTo>
                        <a:pt x="123" y="315"/>
                      </a:lnTo>
                      <a:lnTo>
                        <a:pt x="119" y="327"/>
                      </a:lnTo>
                      <a:lnTo>
                        <a:pt x="140" y="349"/>
                      </a:lnTo>
                      <a:lnTo>
                        <a:pt x="153" y="354"/>
                      </a:lnTo>
                      <a:lnTo>
                        <a:pt x="179" y="391"/>
                      </a:lnTo>
                      <a:lnTo>
                        <a:pt x="186" y="414"/>
                      </a:lnTo>
                      <a:lnTo>
                        <a:pt x="210" y="439"/>
                      </a:lnTo>
                      <a:lnTo>
                        <a:pt x="222" y="466"/>
                      </a:lnTo>
                      <a:lnTo>
                        <a:pt x="233" y="456"/>
                      </a:lnTo>
                      <a:lnTo>
                        <a:pt x="231" y="436"/>
                      </a:lnTo>
                      <a:lnTo>
                        <a:pt x="239" y="429"/>
                      </a:lnTo>
                      <a:lnTo>
                        <a:pt x="248" y="436"/>
                      </a:lnTo>
                      <a:lnTo>
                        <a:pt x="276" y="429"/>
                      </a:lnTo>
                      <a:lnTo>
                        <a:pt x="300" y="441"/>
                      </a:lnTo>
                      <a:lnTo>
                        <a:pt x="323" y="435"/>
                      </a:lnTo>
                      <a:lnTo>
                        <a:pt x="333" y="447"/>
                      </a:lnTo>
                      <a:lnTo>
                        <a:pt x="342" y="435"/>
                      </a:lnTo>
                      <a:lnTo>
                        <a:pt x="357" y="411"/>
                      </a:lnTo>
                      <a:lnTo>
                        <a:pt x="384" y="394"/>
                      </a:lnTo>
                      <a:lnTo>
                        <a:pt x="432" y="391"/>
                      </a:lnTo>
                      <a:lnTo>
                        <a:pt x="455" y="385"/>
                      </a:lnTo>
                      <a:lnTo>
                        <a:pt x="528" y="358"/>
                      </a:lnTo>
                      <a:lnTo>
                        <a:pt x="543" y="295"/>
                      </a:lnTo>
                      <a:lnTo>
                        <a:pt x="527" y="276"/>
                      </a:lnTo>
                      <a:lnTo>
                        <a:pt x="461" y="273"/>
                      </a:lnTo>
                      <a:lnTo>
                        <a:pt x="426" y="223"/>
                      </a:lnTo>
                      <a:lnTo>
                        <a:pt x="414" y="223"/>
                      </a:lnTo>
                      <a:lnTo>
                        <a:pt x="398" y="192"/>
                      </a:lnTo>
                      <a:lnTo>
                        <a:pt x="389" y="187"/>
                      </a:lnTo>
                      <a:lnTo>
                        <a:pt x="396" y="166"/>
                      </a:lnTo>
                      <a:lnTo>
                        <a:pt x="371" y="141"/>
                      </a:lnTo>
                      <a:lnTo>
                        <a:pt x="354" y="132"/>
                      </a:lnTo>
                      <a:lnTo>
                        <a:pt x="342" y="106"/>
                      </a:lnTo>
                      <a:lnTo>
                        <a:pt x="321" y="105"/>
                      </a:lnTo>
                      <a:lnTo>
                        <a:pt x="317" y="91"/>
                      </a:lnTo>
                      <a:lnTo>
                        <a:pt x="296" y="88"/>
                      </a:lnTo>
                      <a:lnTo>
                        <a:pt x="246" y="84"/>
                      </a:lnTo>
                      <a:lnTo>
                        <a:pt x="176" y="25"/>
                      </a:lnTo>
                      <a:lnTo>
                        <a:pt x="149" y="18"/>
                      </a:lnTo>
                      <a:lnTo>
                        <a:pt x="137" y="3"/>
                      </a:lnTo>
                      <a:lnTo>
                        <a:pt x="102" y="0"/>
                      </a:lnTo>
                      <a:lnTo>
                        <a:pt x="68" y="16"/>
                      </a:lnTo>
                      <a:lnTo>
                        <a:pt x="53" y="12"/>
                      </a:lnTo>
                      <a:lnTo>
                        <a:pt x="54" y="28"/>
                      </a:lnTo>
                      <a:lnTo>
                        <a:pt x="77" y="45"/>
                      </a:lnTo>
                      <a:lnTo>
                        <a:pt x="65" y="61"/>
                      </a:lnTo>
                      <a:lnTo>
                        <a:pt x="44" y="67"/>
                      </a:lnTo>
                      <a:lnTo>
                        <a:pt x="32" y="87"/>
                      </a:lnTo>
                      <a:lnTo>
                        <a:pt x="0" y="8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grpSp>
              <p:nvGrpSpPr>
                <p:cNvPr id="655" name="Group 10"/>
                <p:cNvGrpSpPr>
                  <a:grpSpLocks/>
                </p:cNvGrpSpPr>
                <p:nvPr/>
              </p:nvGrpSpPr>
              <p:grpSpPr bwMode="auto">
                <a:xfrm>
                  <a:off x="7287187" y="4240825"/>
                  <a:ext cx="1062618" cy="994410"/>
                  <a:chOff x="7180" y="4638"/>
                  <a:chExt cx="1033" cy="994"/>
                </a:xfrm>
                <a:grpFill/>
              </p:grpSpPr>
              <p:sp>
                <p:nvSpPr>
                  <p:cNvPr id="950" name="Freeform 11"/>
                  <p:cNvSpPr>
                    <a:spLocks/>
                  </p:cNvSpPr>
                  <p:nvPr/>
                </p:nvSpPr>
                <p:spPr bwMode="auto">
                  <a:xfrm>
                    <a:off x="7794" y="5538"/>
                    <a:ext cx="108" cy="94"/>
                  </a:xfrm>
                  <a:custGeom>
                    <a:avLst/>
                    <a:gdLst>
                      <a:gd name="T0" fmla="*/ 108 w 108"/>
                      <a:gd name="T1" fmla="*/ 6 h 94"/>
                      <a:gd name="T2" fmla="*/ 90 w 108"/>
                      <a:gd name="T3" fmla="*/ 5 h 94"/>
                      <a:gd name="T4" fmla="*/ 69 w 108"/>
                      <a:gd name="T5" fmla="*/ 15 h 94"/>
                      <a:gd name="T6" fmla="*/ 29 w 108"/>
                      <a:gd name="T7" fmla="*/ 0 h 94"/>
                      <a:gd name="T8" fmla="*/ 8 w 108"/>
                      <a:gd name="T9" fmla="*/ 17 h 94"/>
                      <a:gd name="T10" fmla="*/ 12 w 108"/>
                      <a:gd name="T11" fmla="*/ 35 h 94"/>
                      <a:gd name="T12" fmla="*/ 0 w 108"/>
                      <a:gd name="T13" fmla="*/ 66 h 94"/>
                      <a:gd name="T14" fmla="*/ 14 w 108"/>
                      <a:gd name="T15" fmla="*/ 93 h 94"/>
                      <a:gd name="T16" fmla="*/ 32 w 108"/>
                      <a:gd name="T17" fmla="*/ 92 h 94"/>
                      <a:gd name="T18" fmla="*/ 45 w 108"/>
                      <a:gd name="T19" fmla="*/ 81 h 94"/>
                      <a:gd name="T20" fmla="*/ 74 w 108"/>
                      <a:gd name="T21" fmla="*/ 63 h 94"/>
                      <a:gd name="T22" fmla="*/ 86 w 108"/>
                      <a:gd name="T23" fmla="*/ 51 h 94"/>
                      <a:gd name="T24" fmla="*/ 98 w 108"/>
                      <a:gd name="T25" fmla="*/ 32 h 94"/>
                      <a:gd name="T26" fmla="*/ 108 w 108"/>
                      <a:gd name="T2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94">
                        <a:moveTo>
                          <a:pt x="108" y="6"/>
                        </a:moveTo>
                        <a:cubicBezTo>
                          <a:pt x="99" y="5"/>
                          <a:pt x="99" y="3"/>
                          <a:pt x="90" y="5"/>
                        </a:cubicBezTo>
                        <a:cubicBezTo>
                          <a:pt x="83" y="10"/>
                          <a:pt x="78" y="14"/>
                          <a:pt x="69" y="15"/>
                        </a:cubicBezTo>
                        <a:cubicBezTo>
                          <a:pt x="47" y="22"/>
                          <a:pt x="44" y="8"/>
                          <a:pt x="29" y="0"/>
                        </a:cubicBezTo>
                        <a:cubicBezTo>
                          <a:pt x="19" y="3"/>
                          <a:pt x="13" y="8"/>
                          <a:pt x="8" y="17"/>
                        </a:cubicBezTo>
                        <a:cubicBezTo>
                          <a:pt x="9" y="24"/>
                          <a:pt x="11" y="28"/>
                          <a:pt x="12" y="35"/>
                        </a:cubicBezTo>
                        <a:cubicBezTo>
                          <a:pt x="11" y="49"/>
                          <a:pt x="5" y="54"/>
                          <a:pt x="0" y="66"/>
                        </a:cubicBezTo>
                        <a:cubicBezTo>
                          <a:pt x="1" y="79"/>
                          <a:pt x="0" y="90"/>
                          <a:pt x="14" y="93"/>
                        </a:cubicBezTo>
                        <a:cubicBezTo>
                          <a:pt x="20" y="93"/>
                          <a:pt x="26" y="94"/>
                          <a:pt x="32" y="92"/>
                        </a:cubicBezTo>
                        <a:cubicBezTo>
                          <a:pt x="34" y="91"/>
                          <a:pt x="42" y="83"/>
                          <a:pt x="45" y="81"/>
                        </a:cubicBezTo>
                        <a:cubicBezTo>
                          <a:pt x="54" y="75"/>
                          <a:pt x="65" y="70"/>
                          <a:pt x="74" y="63"/>
                        </a:cubicBezTo>
                        <a:cubicBezTo>
                          <a:pt x="79" y="59"/>
                          <a:pt x="80" y="54"/>
                          <a:pt x="86" y="51"/>
                        </a:cubicBezTo>
                        <a:cubicBezTo>
                          <a:pt x="87" y="44"/>
                          <a:pt x="93" y="38"/>
                          <a:pt x="98" y="32"/>
                        </a:cubicBezTo>
                        <a:cubicBezTo>
                          <a:pt x="100" y="23"/>
                          <a:pt x="104" y="14"/>
                          <a:pt x="108" y="6"/>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51" name="Freeform 12"/>
                  <p:cNvSpPr>
                    <a:spLocks/>
                  </p:cNvSpPr>
                  <p:nvPr/>
                </p:nvSpPr>
                <p:spPr bwMode="auto">
                  <a:xfrm>
                    <a:off x="7180" y="4638"/>
                    <a:ext cx="1033" cy="854"/>
                  </a:xfrm>
                  <a:custGeom>
                    <a:avLst/>
                    <a:gdLst>
                      <a:gd name="T0" fmla="*/ 863 w 1033"/>
                      <a:gd name="T1" fmla="*/ 60 h 854"/>
                      <a:gd name="T2" fmla="*/ 901 w 1033"/>
                      <a:gd name="T3" fmla="*/ 141 h 854"/>
                      <a:gd name="T4" fmla="*/ 943 w 1033"/>
                      <a:gd name="T5" fmla="*/ 284 h 854"/>
                      <a:gd name="T6" fmla="*/ 970 w 1033"/>
                      <a:gd name="T7" fmla="*/ 347 h 854"/>
                      <a:gd name="T8" fmla="*/ 1001 w 1033"/>
                      <a:gd name="T9" fmla="*/ 377 h 854"/>
                      <a:gd name="T10" fmla="*/ 1033 w 1033"/>
                      <a:gd name="T11" fmla="*/ 456 h 854"/>
                      <a:gd name="T12" fmla="*/ 968 w 1033"/>
                      <a:gd name="T13" fmla="*/ 639 h 854"/>
                      <a:gd name="T14" fmla="*/ 887 w 1033"/>
                      <a:gd name="T15" fmla="*/ 714 h 854"/>
                      <a:gd name="T16" fmla="*/ 823 w 1033"/>
                      <a:gd name="T17" fmla="*/ 786 h 854"/>
                      <a:gd name="T18" fmla="*/ 766 w 1033"/>
                      <a:gd name="T19" fmla="*/ 816 h 854"/>
                      <a:gd name="T20" fmla="*/ 716 w 1033"/>
                      <a:gd name="T21" fmla="*/ 849 h 854"/>
                      <a:gd name="T22" fmla="*/ 688 w 1033"/>
                      <a:gd name="T23" fmla="*/ 833 h 854"/>
                      <a:gd name="T24" fmla="*/ 608 w 1033"/>
                      <a:gd name="T25" fmla="*/ 836 h 854"/>
                      <a:gd name="T26" fmla="*/ 584 w 1033"/>
                      <a:gd name="T27" fmla="*/ 783 h 854"/>
                      <a:gd name="T28" fmla="*/ 551 w 1033"/>
                      <a:gd name="T29" fmla="*/ 756 h 854"/>
                      <a:gd name="T30" fmla="*/ 565 w 1033"/>
                      <a:gd name="T31" fmla="*/ 719 h 854"/>
                      <a:gd name="T32" fmla="*/ 557 w 1033"/>
                      <a:gd name="T33" fmla="*/ 713 h 854"/>
                      <a:gd name="T34" fmla="*/ 581 w 1033"/>
                      <a:gd name="T35" fmla="*/ 672 h 854"/>
                      <a:gd name="T36" fmla="*/ 500 w 1033"/>
                      <a:gd name="T37" fmla="*/ 741 h 854"/>
                      <a:gd name="T38" fmla="*/ 496 w 1033"/>
                      <a:gd name="T39" fmla="*/ 666 h 854"/>
                      <a:gd name="T40" fmla="*/ 443 w 1033"/>
                      <a:gd name="T41" fmla="*/ 641 h 854"/>
                      <a:gd name="T42" fmla="*/ 362 w 1033"/>
                      <a:gd name="T43" fmla="*/ 645 h 854"/>
                      <a:gd name="T44" fmla="*/ 254 w 1033"/>
                      <a:gd name="T45" fmla="*/ 666 h 854"/>
                      <a:gd name="T46" fmla="*/ 218 w 1033"/>
                      <a:gd name="T47" fmla="*/ 702 h 854"/>
                      <a:gd name="T48" fmla="*/ 116 w 1033"/>
                      <a:gd name="T49" fmla="*/ 711 h 854"/>
                      <a:gd name="T50" fmla="*/ 38 w 1033"/>
                      <a:gd name="T51" fmla="*/ 737 h 854"/>
                      <a:gd name="T52" fmla="*/ 31 w 1033"/>
                      <a:gd name="T53" fmla="*/ 687 h 854"/>
                      <a:gd name="T54" fmla="*/ 37 w 1033"/>
                      <a:gd name="T55" fmla="*/ 539 h 854"/>
                      <a:gd name="T56" fmla="*/ 17 w 1033"/>
                      <a:gd name="T57" fmla="*/ 456 h 854"/>
                      <a:gd name="T58" fmla="*/ 32 w 1033"/>
                      <a:gd name="T59" fmla="*/ 467 h 854"/>
                      <a:gd name="T60" fmla="*/ 55 w 1033"/>
                      <a:gd name="T61" fmla="*/ 473 h 854"/>
                      <a:gd name="T62" fmla="*/ 49 w 1033"/>
                      <a:gd name="T63" fmla="*/ 413 h 854"/>
                      <a:gd name="T64" fmla="*/ 76 w 1033"/>
                      <a:gd name="T65" fmla="*/ 363 h 854"/>
                      <a:gd name="T66" fmla="*/ 175 w 1033"/>
                      <a:gd name="T67" fmla="*/ 314 h 854"/>
                      <a:gd name="T68" fmla="*/ 268 w 1033"/>
                      <a:gd name="T69" fmla="*/ 282 h 854"/>
                      <a:gd name="T70" fmla="*/ 331 w 1033"/>
                      <a:gd name="T71" fmla="*/ 210 h 854"/>
                      <a:gd name="T72" fmla="*/ 368 w 1033"/>
                      <a:gd name="T73" fmla="*/ 183 h 854"/>
                      <a:gd name="T74" fmla="*/ 380 w 1033"/>
                      <a:gd name="T75" fmla="*/ 149 h 854"/>
                      <a:gd name="T76" fmla="*/ 413 w 1033"/>
                      <a:gd name="T77" fmla="*/ 116 h 854"/>
                      <a:gd name="T78" fmla="*/ 455 w 1033"/>
                      <a:gd name="T79" fmla="*/ 123 h 854"/>
                      <a:gd name="T80" fmla="*/ 478 w 1033"/>
                      <a:gd name="T81" fmla="*/ 144 h 854"/>
                      <a:gd name="T82" fmla="*/ 503 w 1033"/>
                      <a:gd name="T83" fmla="*/ 119 h 854"/>
                      <a:gd name="T84" fmla="*/ 587 w 1033"/>
                      <a:gd name="T85" fmla="*/ 63 h 854"/>
                      <a:gd name="T86" fmla="*/ 593 w 1033"/>
                      <a:gd name="T87" fmla="*/ 27 h 854"/>
                      <a:gd name="T88" fmla="*/ 653 w 1033"/>
                      <a:gd name="T89" fmla="*/ 65 h 854"/>
                      <a:gd name="T90" fmla="*/ 670 w 1033"/>
                      <a:gd name="T91" fmla="*/ 98 h 854"/>
                      <a:gd name="T92" fmla="*/ 676 w 1033"/>
                      <a:gd name="T93" fmla="*/ 165 h 854"/>
                      <a:gd name="T94" fmla="*/ 754 w 1033"/>
                      <a:gd name="T95" fmla="*/ 225 h 854"/>
                      <a:gd name="T96" fmla="*/ 808 w 1033"/>
                      <a:gd name="T97" fmla="*/ 147 h 854"/>
                      <a:gd name="T98" fmla="*/ 832 w 1033"/>
                      <a:gd name="T99" fmla="*/ 51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3" h="854">
                        <a:moveTo>
                          <a:pt x="848" y="0"/>
                        </a:moveTo>
                        <a:cubicBezTo>
                          <a:pt x="851" y="18"/>
                          <a:pt x="851" y="13"/>
                          <a:pt x="856" y="26"/>
                        </a:cubicBezTo>
                        <a:cubicBezTo>
                          <a:pt x="857" y="43"/>
                          <a:pt x="852" y="51"/>
                          <a:pt x="863" y="60"/>
                        </a:cubicBezTo>
                        <a:cubicBezTo>
                          <a:pt x="871" y="83"/>
                          <a:pt x="860" y="111"/>
                          <a:pt x="871" y="132"/>
                        </a:cubicBezTo>
                        <a:cubicBezTo>
                          <a:pt x="879" y="122"/>
                          <a:pt x="874" y="124"/>
                          <a:pt x="883" y="122"/>
                        </a:cubicBezTo>
                        <a:cubicBezTo>
                          <a:pt x="894" y="124"/>
                          <a:pt x="895" y="133"/>
                          <a:pt x="901" y="141"/>
                        </a:cubicBezTo>
                        <a:cubicBezTo>
                          <a:pt x="903" y="151"/>
                          <a:pt x="906" y="162"/>
                          <a:pt x="910" y="171"/>
                        </a:cubicBezTo>
                        <a:cubicBezTo>
                          <a:pt x="913" y="204"/>
                          <a:pt x="898" y="249"/>
                          <a:pt x="926" y="270"/>
                        </a:cubicBezTo>
                        <a:cubicBezTo>
                          <a:pt x="930" y="277"/>
                          <a:pt x="936" y="280"/>
                          <a:pt x="943" y="284"/>
                        </a:cubicBezTo>
                        <a:cubicBezTo>
                          <a:pt x="951" y="295"/>
                          <a:pt x="947" y="291"/>
                          <a:pt x="955" y="297"/>
                        </a:cubicBezTo>
                        <a:cubicBezTo>
                          <a:pt x="958" y="302"/>
                          <a:pt x="964" y="314"/>
                          <a:pt x="964" y="314"/>
                        </a:cubicBezTo>
                        <a:cubicBezTo>
                          <a:pt x="966" y="324"/>
                          <a:pt x="966" y="338"/>
                          <a:pt x="970" y="347"/>
                        </a:cubicBezTo>
                        <a:cubicBezTo>
                          <a:pt x="971" y="353"/>
                          <a:pt x="973" y="359"/>
                          <a:pt x="974" y="365"/>
                        </a:cubicBezTo>
                        <a:cubicBezTo>
                          <a:pt x="983" y="361"/>
                          <a:pt x="984" y="361"/>
                          <a:pt x="994" y="363"/>
                        </a:cubicBezTo>
                        <a:cubicBezTo>
                          <a:pt x="998" y="368"/>
                          <a:pt x="1000" y="371"/>
                          <a:pt x="1001" y="377"/>
                        </a:cubicBezTo>
                        <a:cubicBezTo>
                          <a:pt x="1002" y="386"/>
                          <a:pt x="1002" y="396"/>
                          <a:pt x="1003" y="405"/>
                        </a:cubicBezTo>
                        <a:cubicBezTo>
                          <a:pt x="1005" y="415"/>
                          <a:pt x="1021" y="428"/>
                          <a:pt x="1027" y="437"/>
                        </a:cubicBezTo>
                        <a:cubicBezTo>
                          <a:pt x="1028" y="443"/>
                          <a:pt x="1030" y="450"/>
                          <a:pt x="1033" y="456"/>
                        </a:cubicBezTo>
                        <a:cubicBezTo>
                          <a:pt x="1032" y="464"/>
                          <a:pt x="1032" y="473"/>
                          <a:pt x="1028" y="480"/>
                        </a:cubicBezTo>
                        <a:cubicBezTo>
                          <a:pt x="1023" y="505"/>
                          <a:pt x="1023" y="533"/>
                          <a:pt x="1016" y="558"/>
                        </a:cubicBezTo>
                        <a:cubicBezTo>
                          <a:pt x="1013" y="589"/>
                          <a:pt x="986" y="615"/>
                          <a:pt x="968" y="639"/>
                        </a:cubicBezTo>
                        <a:cubicBezTo>
                          <a:pt x="965" y="654"/>
                          <a:pt x="943" y="674"/>
                          <a:pt x="929" y="680"/>
                        </a:cubicBezTo>
                        <a:cubicBezTo>
                          <a:pt x="924" y="685"/>
                          <a:pt x="917" y="691"/>
                          <a:pt x="911" y="695"/>
                        </a:cubicBezTo>
                        <a:cubicBezTo>
                          <a:pt x="907" y="702"/>
                          <a:pt x="895" y="712"/>
                          <a:pt x="887" y="714"/>
                        </a:cubicBezTo>
                        <a:cubicBezTo>
                          <a:pt x="874" y="723"/>
                          <a:pt x="866" y="738"/>
                          <a:pt x="853" y="747"/>
                        </a:cubicBezTo>
                        <a:cubicBezTo>
                          <a:pt x="847" y="758"/>
                          <a:pt x="841" y="768"/>
                          <a:pt x="832" y="777"/>
                        </a:cubicBezTo>
                        <a:cubicBezTo>
                          <a:pt x="829" y="780"/>
                          <a:pt x="823" y="786"/>
                          <a:pt x="823" y="786"/>
                        </a:cubicBezTo>
                        <a:cubicBezTo>
                          <a:pt x="820" y="794"/>
                          <a:pt x="816" y="800"/>
                          <a:pt x="811" y="807"/>
                        </a:cubicBezTo>
                        <a:cubicBezTo>
                          <a:pt x="809" y="814"/>
                          <a:pt x="807" y="815"/>
                          <a:pt x="800" y="818"/>
                        </a:cubicBezTo>
                        <a:cubicBezTo>
                          <a:pt x="787" y="814"/>
                          <a:pt x="782" y="815"/>
                          <a:pt x="766" y="816"/>
                        </a:cubicBezTo>
                        <a:cubicBezTo>
                          <a:pt x="760" y="818"/>
                          <a:pt x="755" y="821"/>
                          <a:pt x="749" y="822"/>
                        </a:cubicBezTo>
                        <a:cubicBezTo>
                          <a:pt x="744" y="826"/>
                          <a:pt x="734" y="834"/>
                          <a:pt x="734" y="834"/>
                        </a:cubicBezTo>
                        <a:cubicBezTo>
                          <a:pt x="732" y="844"/>
                          <a:pt x="725" y="847"/>
                          <a:pt x="716" y="849"/>
                        </a:cubicBezTo>
                        <a:cubicBezTo>
                          <a:pt x="712" y="851"/>
                          <a:pt x="707" y="852"/>
                          <a:pt x="703" y="854"/>
                        </a:cubicBezTo>
                        <a:cubicBezTo>
                          <a:pt x="697" y="852"/>
                          <a:pt x="695" y="850"/>
                          <a:pt x="692" y="845"/>
                        </a:cubicBezTo>
                        <a:cubicBezTo>
                          <a:pt x="696" y="838"/>
                          <a:pt x="693" y="839"/>
                          <a:pt x="688" y="833"/>
                        </a:cubicBezTo>
                        <a:cubicBezTo>
                          <a:pt x="690" y="822"/>
                          <a:pt x="701" y="817"/>
                          <a:pt x="685" y="819"/>
                        </a:cubicBezTo>
                        <a:cubicBezTo>
                          <a:pt x="669" y="829"/>
                          <a:pt x="654" y="842"/>
                          <a:pt x="637" y="851"/>
                        </a:cubicBezTo>
                        <a:cubicBezTo>
                          <a:pt x="628" y="845"/>
                          <a:pt x="619" y="838"/>
                          <a:pt x="608" y="836"/>
                        </a:cubicBezTo>
                        <a:cubicBezTo>
                          <a:pt x="601" y="832"/>
                          <a:pt x="592" y="831"/>
                          <a:pt x="584" y="830"/>
                        </a:cubicBezTo>
                        <a:cubicBezTo>
                          <a:pt x="581" y="825"/>
                          <a:pt x="581" y="820"/>
                          <a:pt x="578" y="815"/>
                        </a:cubicBezTo>
                        <a:cubicBezTo>
                          <a:pt x="575" y="801"/>
                          <a:pt x="578" y="794"/>
                          <a:pt x="584" y="783"/>
                        </a:cubicBezTo>
                        <a:cubicBezTo>
                          <a:pt x="587" y="778"/>
                          <a:pt x="592" y="767"/>
                          <a:pt x="592" y="767"/>
                        </a:cubicBezTo>
                        <a:cubicBezTo>
                          <a:pt x="590" y="759"/>
                          <a:pt x="589" y="755"/>
                          <a:pt x="583" y="750"/>
                        </a:cubicBezTo>
                        <a:cubicBezTo>
                          <a:pt x="572" y="752"/>
                          <a:pt x="562" y="754"/>
                          <a:pt x="551" y="756"/>
                        </a:cubicBezTo>
                        <a:cubicBezTo>
                          <a:pt x="557" y="751"/>
                          <a:pt x="561" y="744"/>
                          <a:pt x="568" y="740"/>
                        </a:cubicBezTo>
                        <a:cubicBezTo>
                          <a:pt x="572" y="734"/>
                          <a:pt x="575" y="733"/>
                          <a:pt x="577" y="726"/>
                        </a:cubicBezTo>
                        <a:cubicBezTo>
                          <a:pt x="575" y="712"/>
                          <a:pt x="575" y="712"/>
                          <a:pt x="565" y="719"/>
                        </a:cubicBezTo>
                        <a:cubicBezTo>
                          <a:pt x="554" y="742"/>
                          <a:pt x="551" y="742"/>
                          <a:pt x="527" y="747"/>
                        </a:cubicBezTo>
                        <a:cubicBezTo>
                          <a:pt x="529" y="736"/>
                          <a:pt x="533" y="733"/>
                          <a:pt x="544" y="731"/>
                        </a:cubicBezTo>
                        <a:cubicBezTo>
                          <a:pt x="552" y="727"/>
                          <a:pt x="550" y="718"/>
                          <a:pt x="557" y="713"/>
                        </a:cubicBezTo>
                        <a:cubicBezTo>
                          <a:pt x="561" y="706"/>
                          <a:pt x="569" y="698"/>
                          <a:pt x="575" y="692"/>
                        </a:cubicBezTo>
                        <a:cubicBezTo>
                          <a:pt x="577" y="687"/>
                          <a:pt x="578" y="682"/>
                          <a:pt x="580" y="677"/>
                        </a:cubicBezTo>
                        <a:cubicBezTo>
                          <a:pt x="580" y="675"/>
                          <a:pt x="582" y="673"/>
                          <a:pt x="581" y="672"/>
                        </a:cubicBezTo>
                        <a:cubicBezTo>
                          <a:pt x="577" y="668"/>
                          <a:pt x="568" y="681"/>
                          <a:pt x="568" y="681"/>
                        </a:cubicBezTo>
                        <a:cubicBezTo>
                          <a:pt x="560" y="700"/>
                          <a:pt x="536" y="705"/>
                          <a:pt x="521" y="716"/>
                        </a:cubicBezTo>
                        <a:cubicBezTo>
                          <a:pt x="512" y="723"/>
                          <a:pt x="510" y="735"/>
                          <a:pt x="500" y="741"/>
                        </a:cubicBezTo>
                        <a:cubicBezTo>
                          <a:pt x="498" y="730"/>
                          <a:pt x="501" y="726"/>
                          <a:pt x="506" y="717"/>
                        </a:cubicBezTo>
                        <a:cubicBezTo>
                          <a:pt x="505" y="703"/>
                          <a:pt x="510" y="689"/>
                          <a:pt x="494" y="686"/>
                        </a:cubicBezTo>
                        <a:cubicBezTo>
                          <a:pt x="489" y="678"/>
                          <a:pt x="492" y="673"/>
                          <a:pt x="496" y="666"/>
                        </a:cubicBezTo>
                        <a:cubicBezTo>
                          <a:pt x="490" y="654"/>
                          <a:pt x="490" y="655"/>
                          <a:pt x="476" y="653"/>
                        </a:cubicBezTo>
                        <a:cubicBezTo>
                          <a:pt x="466" y="648"/>
                          <a:pt x="468" y="649"/>
                          <a:pt x="458" y="653"/>
                        </a:cubicBezTo>
                        <a:cubicBezTo>
                          <a:pt x="450" y="649"/>
                          <a:pt x="452" y="642"/>
                          <a:pt x="443" y="641"/>
                        </a:cubicBezTo>
                        <a:cubicBezTo>
                          <a:pt x="431" y="632"/>
                          <a:pt x="432" y="633"/>
                          <a:pt x="416" y="630"/>
                        </a:cubicBezTo>
                        <a:cubicBezTo>
                          <a:pt x="406" y="631"/>
                          <a:pt x="395" y="630"/>
                          <a:pt x="385" y="633"/>
                        </a:cubicBezTo>
                        <a:cubicBezTo>
                          <a:pt x="376" y="635"/>
                          <a:pt x="371" y="643"/>
                          <a:pt x="362" y="645"/>
                        </a:cubicBezTo>
                        <a:cubicBezTo>
                          <a:pt x="357" y="649"/>
                          <a:pt x="353" y="650"/>
                          <a:pt x="347" y="651"/>
                        </a:cubicBezTo>
                        <a:cubicBezTo>
                          <a:pt x="323" y="663"/>
                          <a:pt x="298" y="661"/>
                          <a:pt x="271" y="662"/>
                        </a:cubicBezTo>
                        <a:cubicBezTo>
                          <a:pt x="265" y="663"/>
                          <a:pt x="260" y="665"/>
                          <a:pt x="254" y="666"/>
                        </a:cubicBezTo>
                        <a:cubicBezTo>
                          <a:pt x="249" y="670"/>
                          <a:pt x="248" y="673"/>
                          <a:pt x="245" y="678"/>
                        </a:cubicBezTo>
                        <a:cubicBezTo>
                          <a:pt x="244" y="685"/>
                          <a:pt x="242" y="688"/>
                          <a:pt x="236" y="693"/>
                        </a:cubicBezTo>
                        <a:cubicBezTo>
                          <a:pt x="232" y="699"/>
                          <a:pt x="225" y="701"/>
                          <a:pt x="218" y="702"/>
                        </a:cubicBezTo>
                        <a:cubicBezTo>
                          <a:pt x="203" y="701"/>
                          <a:pt x="196" y="700"/>
                          <a:pt x="182" y="698"/>
                        </a:cubicBezTo>
                        <a:cubicBezTo>
                          <a:pt x="164" y="699"/>
                          <a:pt x="151" y="702"/>
                          <a:pt x="134" y="705"/>
                        </a:cubicBezTo>
                        <a:cubicBezTo>
                          <a:pt x="128" y="708"/>
                          <a:pt x="122" y="710"/>
                          <a:pt x="116" y="711"/>
                        </a:cubicBezTo>
                        <a:cubicBezTo>
                          <a:pt x="105" y="717"/>
                          <a:pt x="98" y="727"/>
                          <a:pt x="86" y="729"/>
                        </a:cubicBezTo>
                        <a:cubicBezTo>
                          <a:pt x="80" y="732"/>
                          <a:pt x="74" y="734"/>
                          <a:pt x="68" y="735"/>
                        </a:cubicBezTo>
                        <a:cubicBezTo>
                          <a:pt x="58" y="740"/>
                          <a:pt x="50" y="738"/>
                          <a:pt x="38" y="737"/>
                        </a:cubicBezTo>
                        <a:cubicBezTo>
                          <a:pt x="24" y="730"/>
                          <a:pt x="19" y="717"/>
                          <a:pt x="5" y="711"/>
                        </a:cubicBezTo>
                        <a:cubicBezTo>
                          <a:pt x="0" y="701"/>
                          <a:pt x="3" y="697"/>
                          <a:pt x="13" y="695"/>
                        </a:cubicBezTo>
                        <a:cubicBezTo>
                          <a:pt x="19" y="692"/>
                          <a:pt x="25" y="689"/>
                          <a:pt x="31" y="687"/>
                        </a:cubicBezTo>
                        <a:cubicBezTo>
                          <a:pt x="38" y="678"/>
                          <a:pt x="37" y="668"/>
                          <a:pt x="40" y="657"/>
                        </a:cubicBezTo>
                        <a:cubicBezTo>
                          <a:pt x="43" y="627"/>
                          <a:pt x="31" y="586"/>
                          <a:pt x="46" y="557"/>
                        </a:cubicBezTo>
                        <a:cubicBezTo>
                          <a:pt x="44" y="547"/>
                          <a:pt x="45" y="545"/>
                          <a:pt x="37" y="539"/>
                        </a:cubicBezTo>
                        <a:cubicBezTo>
                          <a:pt x="28" y="523"/>
                          <a:pt x="39" y="505"/>
                          <a:pt x="25" y="491"/>
                        </a:cubicBezTo>
                        <a:cubicBezTo>
                          <a:pt x="23" y="481"/>
                          <a:pt x="22" y="471"/>
                          <a:pt x="19" y="461"/>
                        </a:cubicBezTo>
                        <a:cubicBezTo>
                          <a:pt x="19" y="459"/>
                          <a:pt x="16" y="457"/>
                          <a:pt x="17" y="456"/>
                        </a:cubicBezTo>
                        <a:cubicBezTo>
                          <a:pt x="19" y="455"/>
                          <a:pt x="21" y="457"/>
                          <a:pt x="23" y="458"/>
                        </a:cubicBezTo>
                        <a:cubicBezTo>
                          <a:pt x="28" y="469"/>
                          <a:pt x="24" y="483"/>
                          <a:pt x="34" y="489"/>
                        </a:cubicBezTo>
                        <a:cubicBezTo>
                          <a:pt x="39" y="483"/>
                          <a:pt x="35" y="474"/>
                          <a:pt x="32" y="467"/>
                        </a:cubicBezTo>
                        <a:cubicBezTo>
                          <a:pt x="35" y="456"/>
                          <a:pt x="37" y="458"/>
                          <a:pt x="40" y="467"/>
                        </a:cubicBezTo>
                        <a:cubicBezTo>
                          <a:pt x="41" y="476"/>
                          <a:pt x="42" y="478"/>
                          <a:pt x="46" y="485"/>
                        </a:cubicBezTo>
                        <a:cubicBezTo>
                          <a:pt x="51" y="482"/>
                          <a:pt x="52" y="478"/>
                          <a:pt x="55" y="473"/>
                        </a:cubicBezTo>
                        <a:cubicBezTo>
                          <a:pt x="53" y="468"/>
                          <a:pt x="52" y="463"/>
                          <a:pt x="50" y="458"/>
                        </a:cubicBezTo>
                        <a:cubicBezTo>
                          <a:pt x="49" y="452"/>
                          <a:pt x="46" y="449"/>
                          <a:pt x="44" y="444"/>
                        </a:cubicBezTo>
                        <a:cubicBezTo>
                          <a:pt x="42" y="433"/>
                          <a:pt x="39" y="421"/>
                          <a:pt x="49" y="413"/>
                        </a:cubicBezTo>
                        <a:cubicBezTo>
                          <a:pt x="51" y="403"/>
                          <a:pt x="54" y="394"/>
                          <a:pt x="56" y="384"/>
                        </a:cubicBezTo>
                        <a:cubicBezTo>
                          <a:pt x="54" y="365"/>
                          <a:pt x="57" y="361"/>
                          <a:pt x="68" y="347"/>
                        </a:cubicBezTo>
                        <a:cubicBezTo>
                          <a:pt x="72" y="354"/>
                          <a:pt x="69" y="359"/>
                          <a:pt x="76" y="363"/>
                        </a:cubicBezTo>
                        <a:cubicBezTo>
                          <a:pt x="87" y="355"/>
                          <a:pt x="94" y="341"/>
                          <a:pt x="109" y="338"/>
                        </a:cubicBezTo>
                        <a:cubicBezTo>
                          <a:pt x="118" y="331"/>
                          <a:pt x="123" y="325"/>
                          <a:pt x="134" y="323"/>
                        </a:cubicBezTo>
                        <a:cubicBezTo>
                          <a:pt x="149" y="314"/>
                          <a:pt x="155" y="315"/>
                          <a:pt x="175" y="314"/>
                        </a:cubicBezTo>
                        <a:cubicBezTo>
                          <a:pt x="183" y="310"/>
                          <a:pt x="198" y="295"/>
                          <a:pt x="206" y="294"/>
                        </a:cubicBezTo>
                        <a:cubicBezTo>
                          <a:pt x="223" y="293"/>
                          <a:pt x="240" y="293"/>
                          <a:pt x="257" y="293"/>
                        </a:cubicBezTo>
                        <a:cubicBezTo>
                          <a:pt x="263" y="290"/>
                          <a:pt x="265" y="288"/>
                          <a:pt x="268" y="282"/>
                        </a:cubicBezTo>
                        <a:cubicBezTo>
                          <a:pt x="270" y="272"/>
                          <a:pt x="284" y="252"/>
                          <a:pt x="293" y="246"/>
                        </a:cubicBezTo>
                        <a:cubicBezTo>
                          <a:pt x="302" y="227"/>
                          <a:pt x="305" y="201"/>
                          <a:pt x="325" y="189"/>
                        </a:cubicBezTo>
                        <a:cubicBezTo>
                          <a:pt x="326" y="199"/>
                          <a:pt x="325" y="203"/>
                          <a:pt x="331" y="210"/>
                        </a:cubicBezTo>
                        <a:cubicBezTo>
                          <a:pt x="333" y="218"/>
                          <a:pt x="332" y="220"/>
                          <a:pt x="340" y="216"/>
                        </a:cubicBezTo>
                        <a:cubicBezTo>
                          <a:pt x="346" y="209"/>
                          <a:pt x="344" y="205"/>
                          <a:pt x="337" y="200"/>
                        </a:cubicBezTo>
                        <a:cubicBezTo>
                          <a:pt x="330" y="181"/>
                          <a:pt x="358" y="184"/>
                          <a:pt x="368" y="183"/>
                        </a:cubicBezTo>
                        <a:cubicBezTo>
                          <a:pt x="371" y="177"/>
                          <a:pt x="369" y="174"/>
                          <a:pt x="364" y="170"/>
                        </a:cubicBezTo>
                        <a:cubicBezTo>
                          <a:pt x="361" y="162"/>
                          <a:pt x="362" y="159"/>
                          <a:pt x="370" y="158"/>
                        </a:cubicBezTo>
                        <a:cubicBezTo>
                          <a:pt x="380" y="159"/>
                          <a:pt x="388" y="159"/>
                          <a:pt x="380" y="149"/>
                        </a:cubicBezTo>
                        <a:cubicBezTo>
                          <a:pt x="397" y="142"/>
                          <a:pt x="380" y="133"/>
                          <a:pt x="401" y="131"/>
                        </a:cubicBezTo>
                        <a:cubicBezTo>
                          <a:pt x="407" y="117"/>
                          <a:pt x="394" y="138"/>
                          <a:pt x="409" y="129"/>
                        </a:cubicBezTo>
                        <a:cubicBezTo>
                          <a:pt x="420" y="115"/>
                          <a:pt x="398" y="112"/>
                          <a:pt x="413" y="116"/>
                        </a:cubicBezTo>
                        <a:cubicBezTo>
                          <a:pt x="415" y="116"/>
                          <a:pt x="416" y="117"/>
                          <a:pt x="418" y="117"/>
                        </a:cubicBezTo>
                        <a:cubicBezTo>
                          <a:pt x="424" y="124"/>
                          <a:pt x="432" y="125"/>
                          <a:pt x="436" y="116"/>
                        </a:cubicBezTo>
                        <a:cubicBezTo>
                          <a:pt x="438" y="106"/>
                          <a:pt x="450" y="118"/>
                          <a:pt x="455" y="123"/>
                        </a:cubicBezTo>
                        <a:cubicBezTo>
                          <a:pt x="457" y="128"/>
                          <a:pt x="460" y="132"/>
                          <a:pt x="463" y="137"/>
                        </a:cubicBezTo>
                        <a:cubicBezTo>
                          <a:pt x="464" y="145"/>
                          <a:pt x="463" y="151"/>
                          <a:pt x="464" y="159"/>
                        </a:cubicBezTo>
                        <a:cubicBezTo>
                          <a:pt x="468" y="150"/>
                          <a:pt x="468" y="149"/>
                          <a:pt x="478" y="144"/>
                        </a:cubicBezTo>
                        <a:cubicBezTo>
                          <a:pt x="491" y="147"/>
                          <a:pt x="485" y="147"/>
                          <a:pt x="494" y="152"/>
                        </a:cubicBezTo>
                        <a:cubicBezTo>
                          <a:pt x="504" y="149"/>
                          <a:pt x="509" y="145"/>
                          <a:pt x="499" y="137"/>
                        </a:cubicBezTo>
                        <a:cubicBezTo>
                          <a:pt x="495" y="128"/>
                          <a:pt x="495" y="125"/>
                          <a:pt x="503" y="119"/>
                        </a:cubicBezTo>
                        <a:cubicBezTo>
                          <a:pt x="507" y="108"/>
                          <a:pt x="515" y="103"/>
                          <a:pt x="527" y="101"/>
                        </a:cubicBezTo>
                        <a:cubicBezTo>
                          <a:pt x="530" y="95"/>
                          <a:pt x="531" y="92"/>
                          <a:pt x="527" y="86"/>
                        </a:cubicBezTo>
                        <a:cubicBezTo>
                          <a:pt x="533" y="60"/>
                          <a:pt x="567" y="64"/>
                          <a:pt x="587" y="63"/>
                        </a:cubicBezTo>
                        <a:cubicBezTo>
                          <a:pt x="602" y="54"/>
                          <a:pt x="584" y="45"/>
                          <a:pt x="575" y="44"/>
                        </a:cubicBezTo>
                        <a:cubicBezTo>
                          <a:pt x="570" y="36"/>
                          <a:pt x="570" y="40"/>
                          <a:pt x="581" y="32"/>
                        </a:cubicBezTo>
                        <a:cubicBezTo>
                          <a:pt x="584" y="29"/>
                          <a:pt x="593" y="27"/>
                          <a:pt x="593" y="27"/>
                        </a:cubicBezTo>
                        <a:cubicBezTo>
                          <a:pt x="610" y="34"/>
                          <a:pt x="585" y="42"/>
                          <a:pt x="616" y="45"/>
                        </a:cubicBezTo>
                        <a:cubicBezTo>
                          <a:pt x="618" y="56"/>
                          <a:pt x="631" y="54"/>
                          <a:pt x="640" y="56"/>
                        </a:cubicBezTo>
                        <a:cubicBezTo>
                          <a:pt x="644" y="59"/>
                          <a:pt x="649" y="62"/>
                          <a:pt x="653" y="65"/>
                        </a:cubicBezTo>
                        <a:cubicBezTo>
                          <a:pt x="683" y="63"/>
                          <a:pt x="692" y="67"/>
                          <a:pt x="674" y="56"/>
                        </a:cubicBezTo>
                        <a:cubicBezTo>
                          <a:pt x="682" y="51"/>
                          <a:pt x="688" y="55"/>
                          <a:pt x="697" y="57"/>
                        </a:cubicBezTo>
                        <a:cubicBezTo>
                          <a:pt x="701" y="77"/>
                          <a:pt x="686" y="90"/>
                          <a:pt x="670" y="98"/>
                        </a:cubicBezTo>
                        <a:cubicBezTo>
                          <a:pt x="665" y="105"/>
                          <a:pt x="671" y="111"/>
                          <a:pt x="667" y="119"/>
                        </a:cubicBezTo>
                        <a:cubicBezTo>
                          <a:pt x="665" y="123"/>
                          <a:pt x="657" y="130"/>
                          <a:pt x="653" y="132"/>
                        </a:cubicBezTo>
                        <a:cubicBezTo>
                          <a:pt x="655" y="149"/>
                          <a:pt x="662" y="157"/>
                          <a:pt x="676" y="165"/>
                        </a:cubicBezTo>
                        <a:cubicBezTo>
                          <a:pt x="685" y="178"/>
                          <a:pt x="699" y="192"/>
                          <a:pt x="715" y="195"/>
                        </a:cubicBezTo>
                        <a:cubicBezTo>
                          <a:pt x="722" y="200"/>
                          <a:pt x="731" y="205"/>
                          <a:pt x="739" y="209"/>
                        </a:cubicBezTo>
                        <a:cubicBezTo>
                          <a:pt x="741" y="219"/>
                          <a:pt x="744" y="223"/>
                          <a:pt x="754" y="225"/>
                        </a:cubicBezTo>
                        <a:cubicBezTo>
                          <a:pt x="772" y="234"/>
                          <a:pt x="788" y="214"/>
                          <a:pt x="796" y="201"/>
                        </a:cubicBezTo>
                        <a:cubicBezTo>
                          <a:pt x="798" y="190"/>
                          <a:pt x="795" y="179"/>
                          <a:pt x="802" y="170"/>
                        </a:cubicBezTo>
                        <a:cubicBezTo>
                          <a:pt x="803" y="162"/>
                          <a:pt x="806" y="154"/>
                          <a:pt x="808" y="147"/>
                        </a:cubicBezTo>
                        <a:cubicBezTo>
                          <a:pt x="809" y="119"/>
                          <a:pt x="807" y="103"/>
                          <a:pt x="826" y="84"/>
                        </a:cubicBezTo>
                        <a:cubicBezTo>
                          <a:pt x="824" y="74"/>
                          <a:pt x="822" y="76"/>
                          <a:pt x="818" y="68"/>
                        </a:cubicBezTo>
                        <a:cubicBezTo>
                          <a:pt x="825" y="64"/>
                          <a:pt x="828" y="58"/>
                          <a:pt x="832" y="51"/>
                        </a:cubicBezTo>
                        <a:cubicBezTo>
                          <a:pt x="833" y="45"/>
                          <a:pt x="834" y="40"/>
                          <a:pt x="838" y="35"/>
                        </a:cubicBezTo>
                        <a:cubicBezTo>
                          <a:pt x="839" y="17"/>
                          <a:pt x="841" y="14"/>
                          <a:pt x="848"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grpSp>
            <p:sp>
              <p:nvSpPr>
                <p:cNvPr id="656" name="Freeform 13"/>
                <p:cNvSpPr>
                  <a:spLocks/>
                </p:cNvSpPr>
                <p:nvPr/>
              </p:nvSpPr>
              <p:spPr bwMode="auto">
                <a:xfrm>
                  <a:off x="7648632" y="4204610"/>
                  <a:ext cx="57397" cy="46778"/>
                </a:xfrm>
                <a:custGeom>
                  <a:avLst/>
                  <a:gdLst>
                    <a:gd name="T0" fmla="*/ 53 w 55"/>
                    <a:gd name="T1" fmla="*/ 0 h 47"/>
                    <a:gd name="T2" fmla="*/ 34 w 55"/>
                    <a:gd name="T3" fmla="*/ 9 h 47"/>
                    <a:gd name="T4" fmla="*/ 13 w 55"/>
                    <a:gd name="T5" fmla="*/ 24 h 47"/>
                    <a:gd name="T6" fmla="*/ 14 w 55"/>
                    <a:gd name="T7" fmla="*/ 47 h 47"/>
                    <a:gd name="T8" fmla="*/ 37 w 55"/>
                    <a:gd name="T9" fmla="*/ 36 h 47"/>
                    <a:gd name="T10" fmla="*/ 55 w 55"/>
                    <a:gd name="T11" fmla="*/ 23 h 47"/>
                    <a:gd name="T12" fmla="*/ 53 w 5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53" y="0"/>
                      </a:moveTo>
                      <a:cubicBezTo>
                        <a:pt x="47" y="4"/>
                        <a:pt x="41" y="8"/>
                        <a:pt x="34" y="9"/>
                      </a:cubicBezTo>
                      <a:cubicBezTo>
                        <a:pt x="26" y="14"/>
                        <a:pt x="18" y="17"/>
                        <a:pt x="13" y="24"/>
                      </a:cubicBezTo>
                      <a:cubicBezTo>
                        <a:pt x="10" y="46"/>
                        <a:pt x="0" y="37"/>
                        <a:pt x="14" y="47"/>
                      </a:cubicBezTo>
                      <a:cubicBezTo>
                        <a:pt x="24" y="45"/>
                        <a:pt x="29" y="41"/>
                        <a:pt x="37" y="36"/>
                      </a:cubicBezTo>
                      <a:cubicBezTo>
                        <a:pt x="41" y="31"/>
                        <a:pt x="49" y="24"/>
                        <a:pt x="55" y="23"/>
                      </a:cubicBezTo>
                      <a:cubicBezTo>
                        <a:pt x="53" y="3"/>
                        <a:pt x="53" y="11"/>
                        <a:pt x="53"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grpSp>
              <p:nvGrpSpPr>
                <p:cNvPr id="657" name="Group 14"/>
                <p:cNvGrpSpPr>
                  <a:grpSpLocks/>
                </p:cNvGrpSpPr>
                <p:nvPr/>
              </p:nvGrpSpPr>
              <p:grpSpPr bwMode="auto">
                <a:xfrm>
                  <a:off x="6913330" y="3774544"/>
                  <a:ext cx="1223950" cy="476833"/>
                  <a:chOff x="4565" y="2727"/>
                  <a:chExt cx="789" cy="316"/>
                </a:xfrm>
                <a:grpFill/>
              </p:grpSpPr>
              <p:sp>
                <p:nvSpPr>
                  <p:cNvPr id="939" name="Freeform 15"/>
                  <p:cNvSpPr>
                    <a:spLocks/>
                  </p:cNvSpPr>
                  <p:nvPr/>
                </p:nvSpPr>
                <p:spPr bwMode="auto">
                  <a:xfrm>
                    <a:off x="4801" y="2753"/>
                    <a:ext cx="178" cy="171"/>
                  </a:xfrm>
                  <a:custGeom>
                    <a:avLst/>
                    <a:gdLst>
                      <a:gd name="T0" fmla="*/ 225 w 269"/>
                      <a:gd name="T1" fmla="*/ 10 h 259"/>
                      <a:gd name="T2" fmla="*/ 216 w 269"/>
                      <a:gd name="T3" fmla="*/ 0 h 259"/>
                      <a:gd name="T4" fmla="*/ 169 w 269"/>
                      <a:gd name="T5" fmla="*/ 0 h 259"/>
                      <a:gd name="T6" fmla="*/ 172 w 269"/>
                      <a:gd name="T7" fmla="*/ 34 h 259"/>
                      <a:gd name="T8" fmla="*/ 159 w 269"/>
                      <a:gd name="T9" fmla="*/ 48 h 259"/>
                      <a:gd name="T10" fmla="*/ 153 w 269"/>
                      <a:gd name="T11" fmla="*/ 82 h 259"/>
                      <a:gd name="T12" fmla="*/ 136 w 269"/>
                      <a:gd name="T13" fmla="*/ 84 h 259"/>
                      <a:gd name="T14" fmla="*/ 123 w 269"/>
                      <a:gd name="T15" fmla="*/ 94 h 259"/>
                      <a:gd name="T16" fmla="*/ 103 w 269"/>
                      <a:gd name="T17" fmla="*/ 85 h 259"/>
                      <a:gd name="T18" fmla="*/ 84 w 269"/>
                      <a:gd name="T19" fmla="*/ 84 h 259"/>
                      <a:gd name="T20" fmla="*/ 82 w 269"/>
                      <a:gd name="T21" fmla="*/ 100 h 259"/>
                      <a:gd name="T22" fmla="*/ 60 w 269"/>
                      <a:gd name="T23" fmla="*/ 97 h 259"/>
                      <a:gd name="T24" fmla="*/ 40 w 269"/>
                      <a:gd name="T25" fmla="*/ 103 h 259"/>
                      <a:gd name="T26" fmla="*/ 27 w 269"/>
                      <a:gd name="T27" fmla="*/ 90 h 259"/>
                      <a:gd name="T28" fmla="*/ 21 w 269"/>
                      <a:gd name="T29" fmla="*/ 67 h 259"/>
                      <a:gd name="T30" fmla="*/ 7 w 269"/>
                      <a:gd name="T31" fmla="*/ 75 h 259"/>
                      <a:gd name="T32" fmla="*/ 9 w 269"/>
                      <a:gd name="T33" fmla="*/ 123 h 259"/>
                      <a:gd name="T34" fmla="*/ 7 w 269"/>
                      <a:gd name="T35" fmla="*/ 139 h 259"/>
                      <a:gd name="T36" fmla="*/ 18 w 269"/>
                      <a:gd name="T37" fmla="*/ 150 h 259"/>
                      <a:gd name="T38" fmla="*/ 7 w 269"/>
                      <a:gd name="T39" fmla="*/ 160 h 259"/>
                      <a:gd name="T40" fmla="*/ 18 w 269"/>
                      <a:gd name="T41" fmla="*/ 171 h 259"/>
                      <a:gd name="T42" fmla="*/ 30 w 269"/>
                      <a:gd name="T43" fmla="*/ 174 h 259"/>
                      <a:gd name="T44" fmla="*/ 48 w 269"/>
                      <a:gd name="T45" fmla="*/ 217 h 259"/>
                      <a:gd name="T46" fmla="*/ 63 w 269"/>
                      <a:gd name="T47" fmla="*/ 219 h 259"/>
                      <a:gd name="T48" fmla="*/ 78 w 269"/>
                      <a:gd name="T49" fmla="*/ 237 h 259"/>
                      <a:gd name="T50" fmla="*/ 102 w 269"/>
                      <a:gd name="T51" fmla="*/ 228 h 259"/>
                      <a:gd name="T52" fmla="*/ 114 w 269"/>
                      <a:gd name="T53" fmla="*/ 219 h 259"/>
                      <a:gd name="T54" fmla="*/ 142 w 269"/>
                      <a:gd name="T55" fmla="*/ 231 h 259"/>
                      <a:gd name="T56" fmla="*/ 147 w 269"/>
                      <a:gd name="T57" fmla="*/ 247 h 259"/>
                      <a:gd name="T58" fmla="*/ 168 w 269"/>
                      <a:gd name="T59" fmla="*/ 246 h 259"/>
                      <a:gd name="T60" fmla="*/ 181 w 269"/>
                      <a:gd name="T61" fmla="*/ 243 h 259"/>
                      <a:gd name="T62" fmla="*/ 193 w 269"/>
                      <a:gd name="T63" fmla="*/ 247 h 259"/>
                      <a:gd name="T64" fmla="*/ 192 w 269"/>
                      <a:gd name="T65" fmla="*/ 232 h 259"/>
                      <a:gd name="T66" fmla="*/ 199 w 269"/>
                      <a:gd name="T67" fmla="*/ 210 h 259"/>
                      <a:gd name="T68" fmla="*/ 193 w 269"/>
                      <a:gd name="T69" fmla="*/ 189 h 259"/>
                      <a:gd name="T70" fmla="*/ 216 w 269"/>
                      <a:gd name="T71" fmla="*/ 165 h 259"/>
                      <a:gd name="T72" fmla="*/ 223 w 269"/>
                      <a:gd name="T73" fmla="*/ 151 h 259"/>
                      <a:gd name="T74" fmla="*/ 243 w 269"/>
                      <a:gd name="T75" fmla="*/ 105 h 259"/>
                      <a:gd name="T76" fmla="*/ 268 w 269"/>
                      <a:gd name="T77" fmla="*/ 106 h 259"/>
                      <a:gd name="T78" fmla="*/ 267 w 269"/>
                      <a:gd name="T79" fmla="*/ 91 h 259"/>
                      <a:gd name="T80" fmla="*/ 262 w 269"/>
                      <a:gd name="T81" fmla="*/ 90 h 259"/>
                      <a:gd name="T82" fmla="*/ 244 w 269"/>
                      <a:gd name="T83" fmla="*/ 81 h 259"/>
                      <a:gd name="T84" fmla="*/ 243 w 269"/>
                      <a:gd name="T85" fmla="*/ 57 h 259"/>
                      <a:gd name="T86" fmla="*/ 232 w 269"/>
                      <a:gd name="T87" fmla="*/ 46 h 259"/>
                      <a:gd name="T88" fmla="*/ 220 w 269"/>
                      <a:gd name="T89" fmla="*/ 30 h 259"/>
                      <a:gd name="T90" fmla="*/ 225 w 269"/>
                      <a:gd name="T91" fmla="*/ 1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9" h="259">
                        <a:moveTo>
                          <a:pt x="225" y="10"/>
                        </a:moveTo>
                        <a:lnTo>
                          <a:pt x="216" y="0"/>
                        </a:lnTo>
                        <a:lnTo>
                          <a:pt x="169" y="0"/>
                        </a:lnTo>
                        <a:lnTo>
                          <a:pt x="172" y="34"/>
                        </a:lnTo>
                        <a:lnTo>
                          <a:pt x="159" y="48"/>
                        </a:lnTo>
                        <a:lnTo>
                          <a:pt x="153" y="82"/>
                        </a:lnTo>
                        <a:lnTo>
                          <a:pt x="136" y="84"/>
                        </a:lnTo>
                        <a:lnTo>
                          <a:pt x="123" y="94"/>
                        </a:lnTo>
                        <a:lnTo>
                          <a:pt x="103" y="85"/>
                        </a:lnTo>
                        <a:lnTo>
                          <a:pt x="84" y="84"/>
                        </a:lnTo>
                        <a:lnTo>
                          <a:pt x="82" y="100"/>
                        </a:lnTo>
                        <a:lnTo>
                          <a:pt x="60" y="97"/>
                        </a:lnTo>
                        <a:lnTo>
                          <a:pt x="40" y="103"/>
                        </a:lnTo>
                        <a:lnTo>
                          <a:pt x="27" y="90"/>
                        </a:lnTo>
                        <a:lnTo>
                          <a:pt x="21" y="67"/>
                        </a:lnTo>
                        <a:lnTo>
                          <a:pt x="7" y="75"/>
                        </a:lnTo>
                        <a:cubicBezTo>
                          <a:pt x="5" y="92"/>
                          <a:pt x="0" y="107"/>
                          <a:pt x="9" y="123"/>
                        </a:cubicBezTo>
                        <a:cubicBezTo>
                          <a:pt x="10" y="129"/>
                          <a:pt x="10" y="133"/>
                          <a:pt x="7" y="139"/>
                        </a:cubicBezTo>
                        <a:cubicBezTo>
                          <a:pt x="9" y="146"/>
                          <a:pt x="11" y="147"/>
                          <a:pt x="18" y="150"/>
                        </a:cubicBezTo>
                        <a:cubicBezTo>
                          <a:pt x="13" y="154"/>
                          <a:pt x="10" y="155"/>
                          <a:pt x="7" y="160"/>
                        </a:cubicBezTo>
                        <a:cubicBezTo>
                          <a:pt x="10" y="166"/>
                          <a:pt x="12" y="168"/>
                          <a:pt x="18" y="171"/>
                        </a:cubicBezTo>
                        <a:cubicBezTo>
                          <a:pt x="24" y="166"/>
                          <a:pt x="27" y="167"/>
                          <a:pt x="30" y="174"/>
                        </a:cubicBezTo>
                        <a:cubicBezTo>
                          <a:pt x="28" y="196"/>
                          <a:pt x="23" y="215"/>
                          <a:pt x="48" y="217"/>
                        </a:cubicBezTo>
                        <a:cubicBezTo>
                          <a:pt x="54" y="224"/>
                          <a:pt x="55" y="220"/>
                          <a:pt x="63" y="219"/>
                        </a:cubicBezTo>
                        <a:cubicBezTo>
                          <a:pt x="78" y="220"/>
                          <a:pt x="74" y="225"/>
                          <a:pt x="78" y="237"/>
                        </a:cubicBezTo>
                        <a:cubicBezTo>
                          <a:pt x="87" y="235"/>
                          <a:pt x="93" y="230"/>
                          <a:pt x="102" y="228"/>
                        </a:cubicBezTo>
                        <a:cubicBezTo>
                          <a:pt x="107" y="224"/>
                          <a:pt x="107" y="220"/>
                          <a:pt x="114" y="219"/>
                        </a:cubicBezTo>
                        <a:cubicBezTo>
                          <a:pt x="116" y="229"/>
                          <a:pt x="142" y="231"/>
                          <a:pt x="142" y="231"/>
                        </a:cubicBezTo>
                        <a:cubicBezTo>
                          <a:pt x="144" y="236"/>
                          <a:pt x="144" y="242"/>
                          <a:pt x="147" y="247"/>
                        </a:cubicBezTo>
                        <a:cubicBezTo>
                          <a:pt x="149" y="259"/>
                          <a:pt x="161" y="247"/>
                          <a:pt x="168" y="246"/>
                        </a:cubicBezTo>
                        <a:cubicBezTo>
                          <a:pt x="173" y="242"/>
                          <a:pt x="175" y="240"/>
                          <a:pt x="181" y="243"/>
                        </a:cubicBezTo>
                        <a:cubicBezTo>
                          <a:pt x="185" y="248"/>
                          <a:pt x="187" y="250"/>
                          <a:pt x="193" y="247"/>
                        </a:cubicBezTo>
                        <a:cubicBezTo>
                          <a:pt x="196" y="241"/>
                          <a:pt x="193" y="238"/>
                          <a:pt x="192" y="232"/>
                        </a:cubicBezTo>
                        <a:cubicBezTo>
                          <a:pt x="193" y="220"/>
                          <a:pt x="191" y="216"/>
                          <a:pt x="199" y="210"/>
                        </a:cubicBezTo>
                        <a:cubicBezTo>
                          <a:pt x="198" y="199"/>
                          <a:pt x="197" y="198"/>
                          <a:pt x="193" y="189"/>
                        </a:cubicBezTo>
                        <a:cubicBezTo>
                          <a:pt x="197" y="177"/>
                          <a:pt x="206" y="171"/>
                          <a:pt x="216" y="165"/>
                        </a:cubicBezTo>
                        <a:cubicBezTo>
                          <a:pt x="219" y="160"/>
                          <a:pt x="222" y="157"/>
                          <a:pt x="223" y="151"/>
                        </a:cubicBezTo>
                        <a:cubicBezTo>
                          <a:pt x="224" y="129"/>
                          <a:pt x="219" y="110"/>
                          <a:pt x="243" y="105"/>
                        </a:cubicBezTo>
                        <a:cubicBezTo>
                          <a:pt x="251" y="106"/>
                          <a:pt x="261" y="109"/>
                          <a:pt x="268" y="106"/>
                        </a:cubicBezTo>
                        <a:cubicBezTo>
                          <a:pt x="268" y="101"/>
                          <a:pt x="269" y="96"/>
                          <a:pt x="267" y="91"/>
                        </a:cubicBezTo>
                        <a:cubicBezTo>
                          <a:pt x="266" y="89"/>
                          <a:pt x="264" y="91"/>
                          <a:pt x="262" y="90"/>
                        </a:cubicBezTo>
                        <a:cubicBezTo>
                          <a:pt x="256" y="87"/>
                          <a:pt x="251" y="82"/>
                          <a:pt x="244" y="81"/>
                        </a:cubicBezTo>
                        <a:cubicBezTo>
                          <a:pt x="233" y="73"/>
                          <a:pt x="235" y="68"/>
                          <a:pt x="243" y="57"/>
                        </a:cubicBezTo>
                        <a:cubicBezTo>
                          <a:pt x="240" y="51"/>
                          <a:pt x="238" y="49"/>
                          <a:pt x="232" y="46"/>
                        </a:cubicBezTo>
                        <a:cubicBezTo>
                          <a:pt x="228" y="40"/>
                          <a:pt x="223" y="37"/>
                          <a:pt x="220" y="30"/>
                        </a:cubicBezTo>
                        <a:cubicBezTo>
                          <a:pt x="222" y="23"/>
                          <a:pt x="227" y="17"/>
                          <a:pt x="225" y="1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0" name="Freeform 16"/>
                  <p:cNvSpPr>
                    <a:spLocks/>
                  </p:cNvSpPr>
                  <p:nvPr/>
                </p:nvSpPr>
                <p:spPr bwMode="auto">
                  <a:xfrm>
                    <a:off x="4565" y="2727"/>
                    <a:ext cx="182" cy="227"/>
                  </a:xfrm>
                  <a:custGeom>
                    <a:avLst/>
                    <a:gdLst>
                      <a:gd name="T0" fmla="*/ 0 w 275"/>
                      <a:gd name="T1" fmla="*/ 4 h 342"/>
                      <a:gd name="T2" fmla="*/ 15 w 275"/>
                      <a:gd name="T3" fmla="*/ 1 h 342"/>
                      <a:gd name="T4" fmla="*/ 36 w 275"/>
                      <a:gd name="T5" fmla="*/ 16 h 342"/>
                      <a:gd name="T6" fmla="*/ 49 w 275"/>
                      <a:gd name="T7" fmla="*/ 10 h 342"/>
                      <a:gd name="T8" fmla="*/ 63 w 275"/>
                      <a:gd name="T9" fmla="*/ 12 h 342"/>
                      <a:gd name="T10" fmla="*/ 73 w 275"/>
                      <a:gd name="T11" fmla="*/ 45 h 342"/>
                      <a:gd name="T12" fmla="*/ 105 w 275"/>
                      <a:gd name="T13" fmla="*/ 73 h 342"/>
                      <a:gd name="T14" fmla="*/ 133 w 275"/>
                      <a:gd name="T15" fmla="*/ 96 h 342"/>
                      <a:gd name="T16" fmla="*/ 147 w 275"/>
                      <a:gd name="T17" fmla="*/ 112 h 342"/>
                      <a:gd name="T18" fmla="*/ 159 w 275"/>
                      <a:gd name="T19" fmla="*/ 106 h 342"/>
                      <a:gd name="T20" fmla="*/ 184 w 275"/>
                      <a:gd name="T21" fmla="*/ 124 h 342"/>
                      <a:gd name="T22" fmla="*/ 207 w 275"/>
                      <a:gd name="T23" fmla="*/ 148 h 342"/>
                      <a:gd name="T24" fmla="*/ 186 w 275"/>
                      <a:gd name="T25" fmla="*/ 159 h 342"/>
                      <a:gd name="T26" fmla="*/ 204 w 275"/>
                      <a:gd name="T27" fmla="*/ 163 h 342"/>
                      <a:gd name="T28" fmla="*/ 223 w 275"/>
                      <a:gd name="T29" fmla="*/ 165 h 342"/>
                      <a:gd name="T30" fmla="*/ 217 w 275"/>
                      <a:gd name="T31" fmla="*/ 181 h 342"/>
                      <a:gd name="T32" fmla="*/ 235 w 275"/>
                      <a:gd name="T33" fmla="*/ 198 h 342"/>
                      <a:gd name="T34" fmla="*/ 243 w 275"/>
                      <a:gd name="T35" fmla="*/ 229 h 342"/>
                      <a:gd name="T36" fmla="*/ 264 w 275"/>
                      <a:gd name="T37" fmla="*/ 240 h 342"/>
                      <a:gd name="T38" fmla="*/ 273 w 275"/>
                      <a:gd name="T39" fmla="*/ 253 h 342"/>
                      <a:gd name="T40" fmla="*/ 265 w 275"/>
                      <a:gd name="T41" fmla="*/ 325 h 342"/>
                      <a:gd name="T42" fmla="*/ 253 w 275"/>
                      <a:gd name="T43" fmla="*/ 340 h 342"/>
                      <a:gd name="T44" fmla="*/ 234 w 275"/>
                      <a:gd name="T45" fmla="*/ 336 h 342"/>
                      <a:gd name="T46" fmla="*/ 225 w 275"/>
                      <a:gd name="T47" fmla="*/ 327 h 342"/>
                      <a:gd name="T48" fmla="*/ 199 w 275"/>
                      <a:gd name="T49" fmla="*/ 295 h 342"/>
                      <a:gd name="T50" fmla="*/ 154 w 275"/>
                      <a:gd name="T51" fmla="*/ 234 h 342"/>
                      <a:gd name="T52" fmla="*/ 145 w 275"/>
                      <a:gd name="T53" fmla="*/ 220 h 342"/>
                      <a:gd name="T54" fmla="*/ 130 w 275"/>
                      <a:gd name="T55" fmla="*/ 184 h 342"/>
                      <a:gd name="T56" fmla="*/ 108 w 275"/>
                      <a:gd name="T57" fmla="*/ 165 h 342"/>
                      <a:gd name="T58" fmla="*/ 100 w 275"/>
                      <a:gd name="T59" fmla="*/ 148 h 342"/>
                      <a:gd name="T60" fmla="*/ 94 w 275"/>
                      <a:gd name="T61" fmla="*/ 126 h 342"/>
                      <a:gd name="T62" fmla="*/ 72 w 275"/>
                      <a:gd name="T63" fmla="*/ 103 h 342"/>
                      <a:gd name="T64" fmla="*/ 61 w 275"/>
                      <a:gd name="T65" fmla="*/ 90 h 342"/>
                      <a:gd name="T66" fmla="*/ 52 w 275"/>
                      <a:gd name="T67" fmla="*/ 72 h 342"/>
                      <a:gd name="T68" fmla="*/ 40 w 275"/>
                      <a:gd name="T69" fmla="*/ 60 h 342"/>
                      <a:gd name="T70" fmla="*/ 16 w 275"/>
                      <a:gd name="T71" fmla="*/ 28 h 342"/>
                      <a:gd name="T72" fmla="*/ 1 w 275"/>
                      <a:gd name="T73" fmla="*/ 12 h 342"/>
                      <a:gd name="T74" fmla="*/ 0 w 275"/>
                      <a:gd name="T75" fmla="*/ 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5" h="342">
                        <a:moveTo>
                          <a:pt x="0" y="4"/>
                        </a:moveTo>
                        <a:cubicBezTo>
                          <a:pt x="6" y="0"/>
                          <a:pt x="8" y="0"/>
                          <a:pt x="15" y="1"/>
                        </a:cubicBezTo>
                        <a:cubicBezTo>
                          <a:pt x="20" y="10"/>
                          <a:pt x="26" y="14"/>
                          <a:pt x="36" y="16"/>
                        </a:cubicBezTo>
                        <a:cubicBezTo>
                          <a:pt x="40" y="13"/>
                          <a:pt x="44" y="12"/>
                          <a:pt x="49" y="10"/>
                        </a:cubicBezTo>
                        <a:cubicBezTo>
                          <a:pt x="54" y="11"/>
                          <a:pt x="59" y="11"/>
                          <a:pt x="63" y="12"/>
                        </a:cubicBezTo>
                        <a:cubicBezTo>
                          <a:pt x="72" y="15"/>
                          <a:pt x="71" y="37"/>
                          <a:pt x="73" y="45"/>
                        </a:cubicBezTo>
                        <a:cubicBezTo>
                          <a:pt x="77" y="59"/>
                          <a:pt x="92" y="70"/>
                          <a:pt x="105" y="73"/>
                        </a:cubicBezTo>
                        <a:cubicBezTo>
                          <a:pt x="117" y="79"/>
                          <a:pt x="122" y="88"/>
                          <a:pt x="133" y="96"/>
                        </a:cubicBezTo>
                        <a:cubicBezTo>
                          <a:pt x="136" y="102"/>
                          <a:pt x="143" y="106"/>
                          <a:pt x="147" y="112"/>
                        </a:cubicBezTo>
                        <a:cubicBezTo>
                          <a:pt x="148" y="103"/>
                          <a:pt x="151" y="105"/>
                          <a:pt x="159" y="106"/>
                        </a:cubicBezTo>
                        <a:cubicBezTo>
                          <a:pt x="167" y="119"/>
                          <a:pt x="168" y="123"/>
                          <a:pt x="184" y="124"/>
                        </a:cubicBezTo>
                        <a:cubicBezTo>
                          <a:pt x="197" y="132"/>
                          <a:pt x="185" y="144"/>
                          <a:pt x="207" y="148"/>
                        </a:cubicBezTo>
                        <a:cubicBezTo>
                          <a:pt x="204" y="155"/>
                          <a:pt x="186" y="159"/>
                          <a:pt x="186" y="159"/>
                        </a:cubicBezTo>
                        <a:cubicBezTo>
                          <a:pt x="181" y="170"/>
                          <a:pt x="200" y="164"/>
                          <a:pt x="204" y="163"/>
                        </a:cubicBezTo>
                        <a:cubicBezTo>
                          <a:pt x="211" y="158"/>
                          <a:pt x="217" y="160"/>
                          <a:pt x="223" y="165"/>
                        </a:cubicBezTo>
                        <a:cubicBezTo>
                          <a:pt x="222" y="172"/>
                          <a:pt x="220" y="175"/>
                          <a:pt x="217" y="181"/>
                        </a:cubicBezTo>
                        <a:cubicBezTo>
                          <a:pt x="214" y="198"/>
                          <a:pt x="220" y="196"/>
                          <a:pt x="235" y="198"/>
                        </a:cubicBezTo>
                        <a:cubicBezTo>
                          <a:pt x="241" y="211"/>
                          <a:pt x="238" y="211"/>
                          <a:pt x="243" y="229"/>
                        </a:cubicBezTo>
                        <a:cubicBezTo>
                          <a:pt x="245" y="237"/>
                          <a:pt x="264" y="240"/>
                          <a:pt x="264" y="240"/>
                        </a:cubicBezTo>
                        <a:cubicBezTo>
                          <a:pt x="267" y="244"/>
                          <a:pt x="270" y="249"/>
                          <a:pt x="273" y="253"/>
                        </a:cubicBezTo>
                        <a:cubicBezTo>
                          <a:pt x="272" y="273"/>
                          <a:pt x="275" y="305"/>
                          <a:pt x="265" y="325"/>
                        </a:cubicBezTo>
                        <a:cubicBezTo>
                          <a:pt x="263" y="333"/>
                          <a:pt x="261" y="338"/>
                          <a:pt x="253" y="340"/>
                        </a:cubicBezTo>
                        <a:cubicBezTo>
                          <a:pt x="241" y="339"/>
                          <a:pt x="240" y="342"/>
                          <a:pt x="234" y="336"/>
                        </a:cubicBezTo>
                        <a:cubicBezTo>
                          <a:pt x="231" y="333"/>
                          <a:pt x="225" y="327"/>
                          <a:pt x="225" y="327"/>
                        </a:cubicBezTo>
                        <a:cubicBezTo>
                          <a:pt x="221" y="316"/>
                          <a:pt x="209" y="301"/>
                          <a:pt x="199" y="295"/>
                        </a:cubicBezTo>
                        <a:cubicBezTo>
                          <a:pt x="184" y="275"/>
                          <a:pt x="165" y="257"/>
                          <a:pt x="154" y="234"/>
                        </a:cubicBezTo>
                        <a:cubicBezTo>
                          <a:pt x="153" y="227"/>
                          <a:pt x="148" y="227"/>
                          <a:pt x="145" y="220"/>
                        </a:cubicBezTo>
                        <a:cubicBezTo>
                          <a:pt x="143" y="207"/>
                          <a:pt x="136" y="196"/>
                          <a:pt x="130" y="184"/>
                        </a:cubicBezTo>
                        <a:cubicBezTo>
                          <a:pt x="128" y="175"/>
                          <a:pt x="117" y="167"/>
                          <a:pt x="108" y="165"/>
                        </a:cubicBezTo>
                        <a:cubicBezTo>
                          <a:pt x="103" y="159"/>
                          <a:pt x="103" y="155"/>
                          <a:pt x="100" y="148"/>
                        </a:cubicBezTo>
                        <a:cubicBezTo>
                          <a:pt x="99" y="141"/>
                          <a:pt x="97" y="133"/>
                          <a:pt x="94" y="126"/>
                        </a:cubicBezTo>
                        <a:cubicBezTo>
                          <a:pt x="92" y="114"/>
                          <a:pt x="84" y="107"/>
                          <a:pt x="72" y="103"/>
                        </a:cubicBezTo>
                        <a:cubicBezTo>
                          <a:pt x="69" y="98"/>
                          <a:pt x="64" y="95"/>
                          <a:pt x="61" y="90"/>
                        </a:cubicBezTo>
                        <a:cubicBezTo>
                          <a:pt x="60" y="81"/>
                          <a:pt x="60" y="77"/>
                          <a:pt x="52" y="72"/>
                        </a:cubicBezTo>
                        <a:cubicBezTo>
                          <a:pt x="49" y="66"/>
                          <a:pt x="46" y="63"/>
                          <a:pt x="40" y="60"/>
                        </a:cubicBezTo>
                        <a:cubicBezTo>
                          <a:pt x="35" y="51"/>
                          <a:pt x="25" y="33"/>
                          <a:pt x="16" y="28"/>
                        </a:cubicBezTo>
                        <a:cubicBezTo>
                          <a:pt x="12" y="22"/>
                          <a:pt x="6" y="18"/>
                          <a:pt x="1" y="12"/>
                        </a:cubicBezTo>
                        <a:cubicBezTo>
                          <a:pt x="0" y="6"/>
                          <a:pt x="0" y="9"/>
                          <a:pt x="0" y="4"/>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1" name="Freeform 17"/>
                  <p:cNvSpPr>
                    <a:spLocks/>
                  </p:cNvSpPr>
                  <p:nvPr/>
                </p:nvSpPr>
                <p:spPr bwMode="auto">
                  <a:xfrm>
                    <a:off x="4968" y="2803"/>
                    <a:ext cx="114" cy="149"/>
                  </a:xfrm>
                  <a:custGeom>
                    <a:avLst/>
                    <a:gdLst>
                      <a:gd name="T0" fmla="*/ 166 w 171"/>
                      <a:gd name="T1" fmla="*/ 0 h 225"/>
                      <a:gd name="T2" fmla="*/ 154 w 171"/>
                      <a:gd name="T3" fmla="*/ 11 h 225"/>
                      <a:gd name="T4" fmla="*/ 133 w 171"/>
                      <a:gd name="T5" fmla="*/ 26 h 225"/>
                      <a:gd name="T6" fmla="*/ 81 w 171"/>
                      <a:gd name="T7" fmla="*/ 18 h 225"/>
                      <a:gd name="T8" fmla="*/ 55 w 171"/>
                      <a:gd name="T9" fmla="*/ 21 h 225"/>
                      <a:gd name="T10" fmla="*/ 40 w 171"/>
                      <a:gd name="T11" fmla="*/ 30 h 225"/>
                      <a:gd name="T12" fmla="*/ 33 w 171"/>
                      <a:gd name="T13" fmla="*/ 62 h 225"/>
                      <a:gd name="T14" fmla="*/ 13 w 171"/>
                      <a:gd name="T15" fmla="*/ 93 h 225"/>
                      <a:gd name="T16" fmla="*/ 3 w 171"/>
                      <a:gd name="T17" fmla="*/ 131 h 225"/>
                      <a:gd name="T18" fmla="*/ 6 w 171"/>
                      <a:gd name="T19" fmla="*/ 153 h 225"/>
                      <a:gd name="T20" fmla="*/ 21 w 171"/>
                      <a:gd name="T21" fmla="*/ 162 h 225"/>
                      <a:gd name="T22" fmla="*/ 28 w 171"/>
                      <a:gd name="T23" fmla="*/ 180 h 225"/>
                      <a:gd name="T24" fmla="*/ 22 w 171"/>
                      <a:gd name="T25" fmla="*/ 213 h 225"/>
                      <a:gd name="T26" fmla="*/ 33 w 171"/>
                      <a:gd name="T27" fmla="*/ 225 h 225"/>
                      <a:gd name="T28" fmla="*/ 45 w 171"/>
                      <a:gd name="T29" fmla="*/ 191 h 225"/>
                      <a:gd name="T30" fmla="*/ 54 w 171"/>
                      <a:gd name="T31" fmla="*/ 131 h 225"/>
                      <a:gd name="T32" fmla="*/ 66 w 171"/>
                      <a:gd name="T33" fmla="*/ 141 h 225"/>
                      <a:gd name="T34" fmla="*/ 58 w 171"/>
                      <a:gd name="T35" fmla="*/ 161 h 225"/>
                      <a:gd name="T36" fmla="*/ 72 w 171"/>
                      <a:gd name="T37" fmla="*/ 173 h 225"/>
                      <a:gd name="T38" fmla="*/ 79 w 171"/>
                      <a:gd name="T39" fmla="*/ 198 h 225"/>
                      <a:gd name="T40" fmla="*/ 97 w 171"/>
                      <a:gd name="T41" fmla="*/ 191 h 225"/>
                      <a:gd name="T42" fmla="*/ 90 w 171"/>
                      <a:gd name="T43" fmla="*/ 203 h 225"/>
                      <a:gd name="T44" fmla="*/ 99 w 171"/>
                      <a:gd name="T45" fmla="*/ 216 h 225"/>
                      <a:gd name="T46" fmla="*/ 118 w 171"/>
                      <a:gd name="T47" fmla="*/ 212 h 225"/>
                      <a:gd name="T48" fmla="*/ 115 w 171"/>
                      <a:gd name="T49" fmla="*/ 188 h 225"/>
                      <a:gd name="T50" fmla="*/ 97 w 171"/>
                      <a:gd name="T51" fmla="*/ 162 h 225"/>
                      <a:gd name="T52" fmla="*/ 97 w 171"/>
                      <a:gd name="T53" fmla="*/ 141 h 225"/>
                      <a:gd name="T54" fmla="*/ 78 w 171"/>
                      <a:gd name="T55" fmla="*/ 114 h 225"/>
                      <a:gd name="T56" fmla="*/ 93 w 171"/>
                      <a:gd name="T57" fmla="*/ 104 h 225"/>
                      <a:gd name="T58" fmla="*/ 105 w 171"/>
                      <a:gd name="T59" fmla="*/ 92 h 225"/>
                      <a:gd name="T60" fmla="*/ 124 w 171"/>
                      <a:gd name="T61" fmla="*/ 84 h 225"/>
                      <a:gd name="T62" fmla="*/ 126 w 171"/>
                      <a:gd name="T63" fmla="*/ 65 h 225"/>
                      <a:gd name="T64" fmla="*/ 103 w 171"/>
                      <a:gd name="T65" fmla="*/ 72 h 225"/>
                      <a:gd name="T66" fmla="*/ 61 w 171"/>
                      <a:gd name="T67" fmla="*/ 80 h 225"/>
                      <a:gd name="T68" fmla="*/ 60 w 171"/>
                      <a:gd name="T69" fmla="*/ 98 h 225"/>
                      <a:gd name="T70" fmla="*/ 42 w 171"/>
                      <a:gd name="T71" fmla="*/ 72 h 225"/>
                      <a:gd name="T72" fmla="*/ 52 w 171"/>
                      <a:gd name="T73" fmla="*/ 47 h 225"/>
                      <a:gd name="T74" fmla="*/ 157 w 171"/>
                      <a:gd name="T75" fmla="*/ 42 h 225"/>
                      <a:gd name="T76" fmla="*/ 166 w 171"/>
                      <a:gd name="T77" fmla="*/ 29 h 225"/>
                      <a:gd name="T78" fmla="*/ 171 w 171"/>
                      <a:gd name="T79" fmla="*/ 14 h 225"/>
                      <a:gd name="T80" fmla="*/ 166 w 171"/>
                      <a:gd name="T81"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25">
                        <a:moveTo>
                          <a:pt x="166" y="0"/>
                        </a:moveTo>
                        <a:cubicBezTo>
                          <a:pt x="161" y="4"/>
                          <a:pt x="159" y="8"/>
                          <a:pt x="154" y="11"/>
                        </a:cubicBezTo>
                        <a:cubicBezTo>
                          <a:pt x="149" y="18"/>
                          <a:pt x="140" y="22"/>
                          <a:pt x="133" y="26"/>
                        </a:cubicBezTo>
                        <a:cubicBezTo>
                          <a:pt x="110" y="25"/>
                          <a:pt x="100" y="26"/>
                          <a:pt x="81" y="18"/>
                        </a:cubicBezTo>
                        <a:cubicBezTo>
                          <a:pt x="72" y="19"/>
                          <a:pt x="63" y="18"/>
                          <a:pt x="55" y="21"/>
                        </a:cubicBezTo>
                        <a:cubicBezTo>
                          <a:pt x="49" y="23"/>
                          <a:pt x="40" y="30"/>
                          <a:pt x="40" y="30"/>
                        </a:cubicBezTo>
                        <a:cubicBezTo>
                          <a:pt x="31" y="41"/>
                          <a:pt x="35" y="46"/>
                          <a:pt x="33" y="62"/>
                        </a:cubicBezTo>
                        <a:cubicBezTo>
                          <a:pt x="32" y="67"/>
                          <a:pt x="17" y="88"/>
                          <a:pt x="13" y="93"/>
                        </a:cubicBezTo>
                        <a:cubicBezTo>
                          <a:pt x="12" y="108"/>
                          <a:pt x="15" y="122"/>
                          <a:pt x="3" y="131"/>
                        </a:cubicBezTo>
                        <a:cubicBezTo>
                          <a:pt x="0" y="141"/>
                          <a:pt x="0" y="145"/>
                          <a:pt x="6" y="153"/>
                        </a:cubicBezTo>
                        <a:cubicBezTo>
                          <a:pt x="7" y="160"/>
                          <a:pt x="14" y="161"/>
                          <a:pt x="21" y="162"/>
                        </a:cubicBezTo>
                        <a:cubicBezTo>
                          <a:pt x="25" y="168"/>
                          <a:pt x="27" y="173"/>
                          <a:pt x="28" y="180"/>
                        </a:cubicBezTo>
                        <a:cubicBezTo>
                          <a:pt x="27" y="196"/>
                          <a:pt x="28" y="201"/>
                          <a:pt x="22" y="213"/>
                        </a:cubicBezTo>
                        <a:cubicBezTo>
                          <a:pt x="24" y="223"/>
                          <a:pt x="24" y="223"/>
                          <a:pt x="33" y="225"/>
                        </a:cubicBezTo>
                        <a:cubicBezTo>
                          <a:pt x="46" y="223"/>
                          <a:pt x="43" y="202"/>
                          <a:pt x="45" y="191"/>
                        </a:cubicBezTo>
                        <a:cubicBezTo>
                          <a:pt x="45" y="167"/>
                          <a:pt x="35" y="144"/>
                          <a:pt x="54" y="131"/>
                        </a:cubicBezTo>
                        <a:cubicBezTo>
                          <a:pt x="66" y="132"/>
                          <a:pt x="62" y="132"/>
                          <a:pt x="66" y="141"/>
                        </a:cubicBezTo>
                        <a:cubicBezTo>
                          <a:pt x="64" y="152"/>
                          <a:pt x="62" y="152"/>
                          <a:pt x="58" y="161"/>
                        </a:cubicBezTo>
                        <a:cubicBezTo>
                          <a:pt x="62" y="169"/>
                          <a:pt x="64" y="170"/>
                          <a:pt x="72" y="173"/>
                        </a:cubicBezTo>
                        <a:cubicBezTo>
                          <a:pt x="81" y="180"/>
                          <a:pt x="78" y="185"/>
                          <a:pt x="79" y="198"/>
                        </a:cubicBezTo>
                        <a:cubicBezTo>
                          <a:pt x="88" y="197"/>
                          <a:pt x="90" y="196"/>
                          <a:pt x="97" y="191"/>
                        </a:cubicBezTo>
                        <a:cubicBezTo>
                          <a:pt x="110" y="193"/>
                          <a:pt x="95" y="199"/>
                          <a:pt x="90" y="203"/>
                        </a:cubicBezTo>
                        <a:cubicBezTo>
                          <a:pt x="91" y="211"/>
                          <a:pt x="91" y="214"/>
                          <a:pt x="99" y="216"/>
                        </a:cubicBezTo>
                        <a:cubicBezTo>
                          <a:pt x="107" y="220"/>
                          <a:pt x="111" y="219"/>
                          <a:pt x="118" y="212"/>
                        </a:cubicBezTo>
                        <a:cubicBezTo>
                          <a:pt x="121" y="204"/>
                          <a:pt x="119" y="196"/>
                          <a:pt x="115" y="188"/>
                        </a:cubicBezTo>
                        <a:cubicBezTo>
                          <a:pt x="112" y="172"/>
                          <a:pt x="110" y="170"/>
                          <a:pt x="97" y="162"/>
                        </a:cubicBezTo>
                        <a:cubicBezTo>
                          <a:pt x="95" y="153"/>
                          <a:pt x="95" y="150"/>
                          <a:pt x="97" y="141"/>
                        </a:cubicBezTo>
                        <a:cubicBezTo>
                          <a:pt x="96" y="133"/>
                          <a:pt x="85" y="119"/>
                          <a:pt x="78" y="114"/>
                        </a:cubicBezTo>
                        <a:cubicBezTo>
                          <a:pt x="74" y="106"/>
                          <a:pt x="87" y="105"/>
                          <a:pt x="93" y="104"/>
                        </a:cubicBezTo>
                        <a:cubicBezTo>
                          <a:pt x="98" y="100"/>
                          <a:pt x="100" y="96"/>
                          <a:pt x="105" y="92"/>
                        </a:cubicBezTo>
                        <a:cubicBezTo>
                          <a:pt x="107" y="83"/>
                          <a:pt x="115" y="85"/>
                          <a:pt x="124" y="84"/>
                        </a:cubicBezTo>
                        <a:cubicBezTo>
                          <a:pt x="133" y="79"/>
                          <a:pt x="135" y="72"/>
                          <a:pt x="126" y="65"/>
                        </a:cubicBezTo>
                        <a:cubicBezTo>
                          <a:pt x="117" y="66"/>
                          <a:pt x="111" y="70"/>
                          <a:pt x="103" y="72"/>
                        </a:cubicBezTo>
                        <a:cubicBezTo>
                          <a:pt x="91" y="81"/>
                          <a:pt x="75" y="79"/>
                          <a:pt x="61" y="80"/>
                        </a:cubicBezTo>
                        <a:cubicBezTo>
                          <a:pt x="60" y="86"/>
                          <a:pt x="61" y="92"/>
                          <a:pt x="60" y="98"/>
                        </a:cubicBezTo>
                        <a:cubicBezTo>
                          <a:pt x="45" y="95"/>
                          <a:pt x="44" y="86"/>
                          <a:pt x="42" y="72"/>
                        </a:cubicBezTo>
                        <a:cubicBezTo>
                          <a:pt x="43" y="59"/>
                          <a:pt x="39" y="49"/>
                          <a:pt x="52" y="47"/>
                        </a:cubicBezTo>
                        <a:cubicBezTo>
                          <a:pt x="82" y="35"/>
                          <a:pt x="151" y="42"/>
                          <a:pt x="157" y="42"/>
                        </a:cubicBezTo>
                        <a:cubicBezTo>
                          <a:pt x="163" y="37"/>
                          <a:pt x="162" y="35"/>
                          <a:pt x="166" y="29"/>
                        </a:cubicBezTo>
                        <a:cubicBezTo>
                          <a:pt x="168" y="24"/>
                          <a:pt x="169" y="19"/>
                          <a:pt x="171" y="14"/>
                        </a:cubicBezTo>
                        <a:cubicBezTo>
                          <a:pt x="168" y="4"/>
                          <a:pt x="170" y="8"/>
                          <a:pt x="166" y="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2" name="Freeform 18"/>
                  <p:cNvSpPr>
                    <a:spLocks/>
                  </p:cNvSpPr>
                  <p:nvPr/>
                </p:nvSpPr>
                <p:spPr bwMode="auto">
                  <a:xfrm>
                    <a:off x="4740" y="2947"/>
                    <a:ext cx="173" cy="70"/>
                  </a:xfrm>
                  <a:custGeom>
                    <a:avLst/>
                    <a:gdLst>
                      <a:gd name="T0" fmla="*/ 0 w 260"/>
                      <a:gd name="T1" fmla="*/ 35 h 105"/>
                      <a:gd name="T2" fmla="*/ 39 w 260"/>
                      <a:gd name="T3" fmla="*/ 14 h 105"/>
                      <a:gd name="T4" fmla="*/ 68 w 260"/>
                      <a:gd name="T5" fmla="*/ 25 h 105"/>
                      <a:gd name="T6" fmla="*/ 86 w 260"/>
                      <a:gd name="T7" fmla="*/ 31 h 105"/>
                      <a:gd name="T8" fmla="*/ 95 w 260"/>
                      <a:gd name="T9" fmla="*/ 41 h 105"/>
                      <a:gd name="T10" fmla="*/ 119 w 260"/>
                      <a:gd name="T11" fmla="*/ 46 h 105"/>
                      <a:gd name="T12" fmla="*/ 132 w 260"/>
                      <a:gd name="T13" fmla="*/ 35 h 105"/>
                      <a:gd name="T14" fmla="*/ 155 w 260"/>
                      <a:gd name="T15" fmla="*/ 31 h 105"/>
                      <a:gd name="T16" fmla="*/ 182 w 260"/>
                      <a:gd name="T17" fmla="*/ 44 h 105"/>
                      <a:gd name="T18" fmla="*/ 207 w 260"/>
                      <a:gd name="T19" fmla="*/ 43 h 105"/>
                      <a:gd name="T20" fmla="*/ 213 w 260"/>
                      <a:gd name="T21" fmla="*/ 44 h 105"/>
                      <a:gd name="T22" fmla="*/ 189 w 260"/>
                      <a:gd name="T23" fmla="*/ 53 h 105"/>
                      <a:gd name="T24" fmla="*/ 222 w 260"/>
                      <a:gd name="T25" fmla="*/ 65 h 105"/>
                      <a:gd name="T26" fmla="*/ 237 w 260"/>
                      <a:gd name="T27" fmla="*/ 79 h 105"/>
                      <a:gd name="T28" fmla="*/ 260 w 260"/>
                      <a:gd name="T29" fmla="*/ 88 h 105"/>
                      <a:gd name="T30" fmla="*/ 237 w 260"/>
                      <a:gd name="T31" fmla="*/ 91 h 105"/>
                      <a:gd name="T32" fmla="*/ 225 w 260"/>
                      <a:gd name="T33" fmla="*/ 98 h 105"/>
                      <a:gd name="T34" fmla="*/ 201 w 260"/>
                      <a:gd name="T35" fmla="*/ 88 h 105"/>
                      <a:gd name="T36" fmla="*/ 149 w 260"/>
                      <a:gd name="T37" fmla="*/ 80 h 105"/>
                      <a:gd name="T38" fmla="*/ 126 w 260"/>
                      <a:gd name="T39" fmla="*/ 73 h 105"/>
                      <a:gd name="T40" fmla="*/ 104 w 260"/>
                      <a:gd name="T41" fmla="*/ 64 h 105"/>
                      <a:gd name="T42" fmla="*/ 30 w 260"/>
                      <a:gd name="T43" fmla="*/ 58 h 105"/>
                      <a:gd name="T44" fmla="*/ 0 w 260"/>
                      <a:gd name="T45" fmla="*/ 3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105">
                        <a:moveTo>
                          <a:pt x="0" y="35"/>
                        </a:moveTo>
                        <a:cubicBezTo>
                          <a:pt x="10" y="15"/>
                          <a:pt x="15" y="16"/>
                          <a:pt x="39" y="14"/>
                        </a:cubicBezTo>
                        <a:cubicBezTo>
                          <a:pt x="50" y="0"/>
                          <a:pt x="59" y="19"/>
                          <a:pt x="68" y="25"/>
                        </a:cubicBezTo>
                        <a:cubicBezTo>
                          <a:pt x="73" y="28"/>
                          <a:pt x="80" y="29"/>
                          <a:pt x="86" y="31"/>
                        </a:cubicBezTo>
                        <a:cubicBezTo>
                          <a:pt x="81" y="41"/>
                          <a:pt x="81" y="40"/>
                          <a:pt x="95" y="41"/>
                        </a:cubicBezTo>
                        <a:cubicBezTo>
                          <a:pt x="113" y="45"/>
                          <a:pt x="105" y="43"/>
                          <a:pt x="119" y="46"/>
                        </a:cubicBezTo>
                        <a:cubicBezTo>
                          <a:pt x="131" y="44"/>
                          <a:pt x="147" y="44"/>
                          <a:pt x="132" y="35"/>
                        </a:cubicBezTo>
                        <a:cubicBezTo>
                          <a:pt x="137" y="25"/>
                          <a:pt x="143" y="30"/>
                          <a:pt x="155" y="31"/>
                        </a:cubicBezTo>
                        <a:cubicBezTo>
                          <a:pt x="163" y="35"/>
                          <a:pt x="173" y="42"/>
                          <a:pt x="182" y="44"/>
                        </a:cubicBezTo>
                        <a:cubicBezTo>
                          <a:pt x="190" y="44"/>
                          <a:pt x="199" y="43"/>
                          <a:pt x="207" y="43"/>
                        </a:cubicBezTo>
                        <a:cubicBezTo>
                          <a:pt x="209" y="43"/>
                          <a:pt x="212" y="42"/>
                          <a:pt x="213" y="44"/>
                        </a:cubicBezTo>
                        <a:cubicBezTo>
                          <a:pt x="215" y="49"/>
                          <a:pt x="190" y="53"/>
                          <a:pt x="189" y="53"/>
                        </a:cubicBezTo>
                        <a:cubicBezTo>
                          <a:pt x="178" y="71"/>
                          <a:pt x="217" y="65"/>
                          <a:pt x="222" y="65"/>
                        </a:cubicBezTo>
                        <a:cubicBezTo>
                          <a:pt x="231" y="69"/>
                          <a:pt x="230" y="75"/>
                          <a:pt x="237" y="79"/>
                        </a:cubicBezTo>
                        <a:cubicBezTo>
                          <a:pt x="252" y="77"/>
                          <a:pt x="257" y="73"/>
                          <a:pt x="260" y="88"/>
                        </a:cubicBezTo>
                        <a:cubicBezTo>
                          <a:pt x="256" y="105"/>
                          <a:pt x="248" y="93"/>
                          <a:pt x="237" y="91"/>
                        </a:cubicBezTo>
                        <a:cubicBezTo>
                          <a:pt x="222" y="93"/>
                          <a:pt x="238" y="96"/>
                          <a:pt x="225" y="98"/>
                        </a:cubicBezTo>
                        <a:cubicBezTo>
                          <a:pt x="214" y="96"/>
                          <a:pt x="211" y="90"/>
                          <a:pt x="201" y="88"/>
                        </a:cubicBezTo>
                        <a:cubicBezTo>
                          <a:pt x="184" y="80"/>
                          <a:pt x="169" y="81"/>
                          <a:pt x="149" y="80"/>
                        </a:cubicBezTo>
                        <a:cubicBezTo>
                          <a:pt x="141" y="79"/>
                          <a:pt x="134" y="74"/>
                          <a:pt x="126" y="73"/>
                        </a:cubicBezTo>
                        <a:cubicBezTo>
                          <a:pt x="119" y="68"/>
                          <a:pt x="112" y="65"/>
                          <a:pt x="104" y="64"/>
                        </a:cubicBezTo>
                        <a:cubicBezTo>
                          <a:pt x="82" y="55"/>
                          <a:pt x="50" y="58"/>
                          <a:pt x="30" y="58"/>
                        </a:cubicBezTo>
                        <a:cubicBezTo>
                          <a:pt x="14" y="50"/>
                          <a:pt x="26" y="35"/>
                          <a:pt x="0" y="35"/>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3" name="Freeform 19"/>
                  <p:cNvSpPr>
                    <a:spLocks/>
                  </p:cNvSpPr>
                  <p:nvPr/>
                </p:nvSpPr>
                <p:spPr bwMode="auto">
                  <a:xfrm>
                    <a:off x="4916" y="2997"/>
                    <a:ext cx="59" cy="21"/>
                  </a:xfrm>
                  <a:custGeom>
                    <a:avLst/>
                    <a:gdLst>
                      <a:gd name="T0" fmla="*/ 0 w 88"/>
                      <a:gd name="T1" fmla="*/ 16 h 32"/>
                      <a:gd name="T2" fmla="*/ 9 w 88"/>
                      <a:gd name="T3" fmla="*/ 4 h 32"/>
                      <a:gd name="T4" fmla="*/ 27 w 88"/>
                      <a:gd name="T5" fmla="*/ 8 h 32"/>
                      <a:gd name="T6" fmla="*/ 51 w 88"/>
                      <a:gd name="T7" fmla="*/ 1 h 32"/>
                      <a:gd name="T8" fmla="*/ 79 w 88"/>
                      <a:gd name="T9" fmla="*/ 8 h 32"/>
                      <a:gd name="T10" fmla="*/ 46 w 88"/>
                      <a:gd name="T11" fmla="*/ 26 h 32"/>
                      <a:gd name="T12" fmla="*/ 28 w 88"/>
                      <a:gd name="T13" fmla="*/ 32 h 32"/>
                      <a:gd name="T14" fmla="*/ 0 w 88"/>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2">
                        <a:moveTo>
                          <a:pt x="0" y="16"/>
                        </a:moveTo>
                        <a:cubicBezTo>
                          <a:pt x="1" y="9"/>
                          <a:pt x="3" y="8"/>
                          <a:pt x="9" y="4"/>
                        </a:cubicBezTo>
                        <a:cubicBezTo>
                          <a:pt x="15" y="5"/>
                          <a:pt x="21" y="7"/>
                          <a:pt x="27" y="8"/>
                        </a:cubicBezTo>
                        <a:cubicBezTo>
                          <a:pt x="36" y="7"/>
                          <a:pt x="42" y="2"/>
                          <a:pt x="51" y="1"/>
                        </a:cubicBezTo>
                        <a:cubicBezTo>
                          <a:pt x="65" y="2"/>
                          <a:pt x="69" y="0"/>
                          <a:pt x="79" y="8"/>
                        </a:cubicBezTo>
                        <a:cubicBezTo>
                          <a:pt x="88" y="31"/>
                          <a:pt x="61" y="24"/>
                          <a:pt x="46" y="26"/>
                        </a:cubicBezTo>
                        <a:cubicBezTo>
                          <a:pt x="40" y="29"/>
                          <a:pt x="34" y="31"/>
                          <a:pt x="28" y="32"/>
                        </a:cubicBezTo>
                        <a:cubicBezTo>
                          <a:pt x="13" y="31"/>
                          <a:pt x="2" y="32"/>
                          <a:pt x="0" y="16"/>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4" name="Freeform 20"/>
                  <p:cNvSpPr>
                    <a:spLocks/>
                  </p:cNvSpPr>
                  <p:nvPr/>
                </p:nvSpPr>
                <p:spPr bwMode="auto">
                  <a:xfrm>
                    <a:off x="4983" y="2995"/>
                    <a:ext cx="97" cy="20"/>
                  </a:xfrm>
                  <a:custGeom>
                    <a:avLst/>
                    <a:gdLst>
                      <a:gd name="T0" fmla="*/ 2 w 146"/>
                      <a:gd name="T1" fmla="*/ 12 h 29"/>
                      <a:gd name="T2" fmla="*/ 16 w 146"/>
                      <a:gd name="T3" fmla="*/ 3 h 29"/>
                      <a:gd name="T4" fmla="*/ 34 w 146"/>
                      <a:gd name="T5" fmla="*/ 13 h 29"/>
                      <a:gd name="T6" fmla="*/ 82 w 146"/>
                      <a:gd name="T7" fmla="*/ 0 h 29"/>
                      <a:gd name="T8" fmla="*/ 106 w 146"/>
                      <a:gd name="T9" fmla="*/ 6 h 29"/>
                      <a:gd name="T10" fmla="*/ 143 w 146"/>
                      <a:gd name="T11" fmla="*/ 4 h 29"/>
                      <a:gd name="T12" fmla="*/ 128 w 146"/>
                      <a:gd name="T13" fmla="*/ 13 h 29"/>
                      <a:gd name="T14" fmla="*/ 94 w 146"/>
                      <a:gd name="T15" fmla="*/ 16 h 29"/>
                      <a:gd name="T16" fmla="*/ 55 w 146"/>
                      <a:gd name="T17" fmla="*/ 25 h 29"/>
                      <a:gd name="T18" fmla="*/ 22 w 146"/>
                      <a:gd name="T19" fmla="*/ 27 h 29"/>
                      <a:gd name="T20" fmla="*/ 5 w 146"/>
                      <a:gd name="T21" fmla="*/ 22 h 29"/>
                      <a:gd name="T22" fmla="*/ 2 w 146"/>
                      <a:gd name="T2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29">
                        <a:moveTo>
                          <a:pt x="2" y="12"/>
                        </a:moveTo>
                        <a:cubicBezTo>
                          <a:pt x="9" y="8"/>
                          <a:pt x="8" y="4"/>
                          <a:pt x="16" y="3"/>
                        </a:cubicBezTo>
                        <a:cubicBezTo>
                          <a:pt x="25" y="4"/>
                          <a:pt x="25" y="11"/>
                          <a:pt x="34" y="13"/>
                        </a:cubicBezTo>
                        <a:cubicBezTo>
                          <a:pt x="87" y="12"/>
                          <a:pt x="57" y="15"/>
                          <a:pt x="82" y="0"/>
                        </a:cubicBezTo>
                        <a:cubicBezTo>
                          <a:pt x="93" y="1"/>
                          <a:pt x="97" y="1"/>
                          <a:pt x="106" y="6"/>
                        </a:cubicBezTo>
                        <a:cubicBezTo>
                          <a:pt x="120" y="5"/>
                          <a:pt x="130" y="3"/>
                          <a:pt x="143" y="4"/>
                        </a:cubicBezTo>
                        <a:cubicBezTo>
                          <a:pt x="146" y="12"/>
                          <a:pt x="135" y="12"/>
                          <a:pt x="128" y="13"/>
                        </a:cubicBezTo>
                        <a:cubicBezTo>
                          <a:pt x="110" y="18"/>
                          <a:pt x="132" y="13"/>
                          <a:pt x="94" y="16"/>
                        </a:cubicBezTo>
                        <a:cubicBezTo>
                          <a:pt x="81" y="17"/>
                          <a:pt x="68" y="23"/>
                          <a:pt x="55" y="25"/>
                        </a:cubicBezTo>
                        <a:cubicBezTo>
                          <a:pt x="44" y="29"/>
                          <a:pt x="34" y="28"/>
                          <a:pt x="22" y="27"/>
                        </a:cubicBezTo>
                        <a:cubicBezTo>
                          <a:pt x="16" y="25"/>
                          <a:pt x="11" y="24"/>
                          <a:pt x="5" y="22"/>
                        </a:cubicBezTo>
                        <a:cubicBezTo>
                          <a:pt x="0" y="17"/>
                          <a:pt x="1" y="20"/>
                          <a:pt x="2" y="12"/>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5" name="Freeform 21"/>
                  <p:cNvSpPr>
                    <a:spLocks/>
                  </p:cNvSpPr>
                  <p:nvPr/>
                </p:nvSpPr>
                <p:spPr bwMode="auto">
                  <a:xfrm>
                    <a:off x="4964" y="3020"/>
                    <a:ext cx="32" cy="23"/>
                  </a:xfrm>
                  <a:custGeom>
                    <a:avLst/>
                    <a:gdLst>
                      <a:gd name="T0" fmla="*/ 16 w 49"/>
                      <a:gd name="T1" fmla="*/ 3 h 35"/>
                      <a:gd name="T2" fmla="*/ 49 w 49"/>
                      <a:gd name="T3" fmla="*/ 14 h 35"/>
                      <a:gd name="T4" fmla="*/ 28 w 49"/>
                      <a:gd name="T5" fmla="*/ 20 h 35"/>
                      <a:gd name="T6" fmla="*/ 10 w 49"/>
                      <a:gd name="T7" fmla="*/ 17 h 35"/>
                      <a:gd name="T8" fmla="*/ 16 w 49"/>
                      <a:gd name="T9" fmla="*/ 3 h 35"/>
                    </a:gdLst>
                    <a:ahLst/>
                    <a:cxnLst>
                      <a:cxn ang="0">
                        <a:pos x="T0" y="T1"/>
                      </a:cxn>
                      <a:cxn ang="0">
                        <a:pos x="T2" y="T3"/>
                      </a:cxn>
                      <a:cxn ang="0">
                        <a:pos x="T4" y="T5"/>
                      </a:cxn>
                      <a:cxn ang="0">
                        <a:pos x="T6" y="T7"/>
                      </a:cxn>
                      <a:cxn ang="0">
                        <a:pos x="T8" y="T9"/>
                      </a:cxn>
                    </a:cxnLst>
                    <a:rect l="0" t="0" r="r" b="b"/>
                    <a:pathLst>
                      <a:path w="49" h="35">
                        <a:moveTo>
                          <a:pt x="16" y="3"/>
                        </a:moveTo>
                        <a:cubicBezTo>
                          <a:pt x="34" y="5"/>
                          <a:pt x="35" y="7"/>
                          <a:pt x="49" y="14"/>
                        </a:cubicBezTo>
                        <a:cubicBezTo>
                          <a:pt x="46" y="35"/>
                          <a:pt x="41" y="29"/>
                          <a:pt x="28" y="20"/>
                        </a:cubicBezTo>
                        <a:cubicBezTo>
                          <a:pt x="23" y="17"/>
                          <a:pt x="15" y="17"/>
                          <a:pt x="10" y="17"/>
                        </a:cubicBezTo>
                        <a:cubicBezTo>
                          <a:pt x="0" y="0"/>
                          <a:pt x="16" y="10"/>
                          <a:pt x="16" y="3"/>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6" name="Freeform 22"/>
                  <p:cNvSpPr>
                    <a:spLocks/>
                  </p:cNvSpPr>
                  <p:nvPr/>
                </p:nvSpPr>
                <p:spPr bwMode="auto">
                  <a:xfrm>
                    <a:off x="5112" y="2785"/>
                    <a:ext cx="36" cy="80"/>
                  </a:xfrm>
                  <a:custGeom>
                    <a:avLst/>
                    <a:gdLst>
                      <a:gd name="T0" fmla="*/ 39 w 54"/>
                      <a:gd name="T1" fmla="*/ 0 h 121"/>
                      <a:gd name="T2" fmla="*/ 26 w 54"/>
                      <a:gd name="T3" fmla="*/ 10 h 121"/>
                      <a:gd name="T4" fmla="*/ 18 w 54"/>
                      <a:gd name="T5" fmla="*/ 24 h 121"/>
                      <a:gd name="T6" fmla="*/ 21 w 54"/>
                      <a:gd name="T7" fmla="*/ 48 h 121"/>
                      <a:gd name="T8" fmla="*/ 9 w 54"/>
                      <a:gd name="T9" fmla="*/ 84 h 121"/>
                      <a:gd name="T10" fmla="*/ 21 w 54"/>
                      <a:gd name="T11" fmla="*/ 108 h 121"/>
                      <a:gd name="T12" fmla="*/ 32 w 54"/>
                      <a:gd name="T13" fmla="*/ 97 h 121"/>
                      <a:gd name="T14" fmla="*/ 30 w 54"/>
                      <a:gd name="T15" fmla="*/ 90 h 121"/>
                      <a:gd name="T16" fmla="*/ 32 w 54"/>
                      <a:gd name="T17" fmla="*/ 75 h 121"/>
                      <a:gd name="T18" fmla="*/ 51 w 54"/>
                      <a:gd name="T19" fmla="*/ 73 h 121"/>
                      <a:gd name="T20" fmla="*/ 45 w 54"/>
                      <a:gd name="T21" fmla="*/ 66 h 121"/>
                      <a:gd name="T22" fmla="*/ 45 w 54"/>
                      <a:gd name="T23" fmla="*/ 48 h 121"/>
                      <a:gd name="T24" fmla="*/ 27 w 54"/>
                      <a:gd name="T25" fmla="*/ 36 h 121"/>
                      <a:gd name="T26" fmla="*/ 44 w 54"/>
                      <a:gd name="T27" fmla="*/ 19 h 121"/>
                      <a:gd name="T28" fmla="*/ 39 w 54"/>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121">
                        <a:moveTo>
                          <a:pt x="39" y="0"/>
                        </a:moveTo>
                        <a:cubicBezTo>
                          <a:pt x="35" y="4"/>
                          <a:pt x="31" y="7"/>
                          <a:pt x="26" y="10"/>
                        </a:cubicBezTo>
                        <a:cubicBezTo>
                          <a:pt x="23" y="15"/>
                          <a:pt x="20" y="19"/>
                          <a:pt x="18" y="24"/>
                        </a:cubicBezTo>
                        <a:cubicBezTo>
                          <a:pt x="17" y="33"/>
                          <a:pt x="16" y="40"/>
                          <a:pt x="21" y="48"/>
                        </a:cubicBezTo>
                        <a:cubicBezTo>
                          <a:pt x="26" y="67"/>
                          <a:pt x="31" y="80"/>
                          <a:pt x="9" y="84"/>
                        </a:cubicBezTo>
                        <a:cubicBezTo>
                          <a:pt x="0" y="96"/>
                          <a:pt x="11" y="103"/>
                          <a:pt x="21" y="108"/>
                        </a:cubicBezTo>
                        <a:cubicBezTo>
                          <a:pt x="31" y="121"/>
                          <a:pt x="33" y="107"/>
                          <a:pt x="32" y="97"/>
                        </a:cubicBezTo>
                        <a:cubicBezTo>
                          <a:pt x="32" y="95"/>
                          <a:pt x="31" y="92"/>
                          <a:pt x="30" y="90"/>
                        </a:cubicBezTo>
                        <a:cubicBezTo>
                          <a:pt x="31" y="85"/>
                          <a:pt x="28" y="78"/>
                          <a:pt x="32" y="75"/>
                        </a:cubicBezTo>
                        <a:cubicBezTo>
                          <a:pt x="37" y="71"/>
                          <a:pt x="45" y="76"/>
                          <a:pt x="51" y="73"/>
                        </a:cubicBezTo>
                        <a:cubicBezTo>
                          <a:pt x="54" y="72"/>
                          <a:pt x="48" y="67"/>
                          <a:pt x="45" y="66"/>
                        </a:cubicBezTo>
                        <a:cubicBezTo>
                          <a:pt x="35" y="58"/>
                          <a:pt x="33" y="57"/>
                          <a:pt x="45" y="48"/>
                        </a:cubicBezTo>
                        <a:cubicBezTo>
                          <a:pt x="51" y="34"/>
                          <a:pt x="40" y="37"/>
                          <a:pt x="27" y="36"/>
                        </a:cubicBezTo>
                        <a:cubicBezTo>
                          <a:pt x="25" y="27"/>
                          <a:pt x="37" y="23"/>
                          <a:pt x="44" y="19"/>
                        </a:cubicBezTo>
                        <a:cubicBezTo>
                          <a:pt x="42" y="2"/>
                          <a:pt x="45" y="8"/>
                          <a:pt x="39" y="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7" name="Freeform 23"/>
                  <p:cNvSpPr>
                    <a:spLocks/>
                  </p:cNvSpPr>
                  <p:nvPr/>
                </p:nvSpPr>
                <p:spPr bwMode="auto">
                  <a:xfrm>
                    <a:off x="5097" y="2897"/>
                    <a:ext cx="20" cy="18"/>
                  </a:xfrm>
                  <a:custGeom>
                    <a:avLst/>
                    <a:gdLst>
                      <a:gd name="T0" fmla="*/ 24 w 30"/>
                      <a:gd name="T1" fmla="*/ 9 h 28"/>
                      <a:gd name="T2" fmla="*/ 13 w 30"/>
                      <a:gd name="T3" fmla="*/ 0 h 28"/>
                      <a:gd name="T4" fmla="*/ 0 w 30"/>
                      <a:gd name="T5" fmla="*/ 11 h 28"/>
                      <a:gd name="T6" fmla="*/ 15 w 30"/>
                      <a:gd name="T7" fmla="*/ 24 h 28"/>
                      <a:gd name="T8" fmla="*/ 30 w 30"/>
                      <a:gd name="T9" fmla="*/ 15 h 28"/>
                      <a:gd name="T10" fmla="*/ 24 w 30"/>
                      <a:gd name="T11" fmla="*/ 9 h 28"/>
                    </a:gdLst>
                    <a:ahLst/>
                    <a:cxnLst>
                      <a:cxn ang="0">
                        <a:pos x="T0" y="T1"/>
                      </a:cxn>
                      <a:cxn ang="0">
                        <a:pos x="T2" y="T3"/>
                      </a:cxn>
                      <a:cxn ang="0">
                        <a:pos x="T4" y="T5"/>
                      </a:cxn>
                      <a:cxn ang="0">
                        <a:pos x="T6" y="T7"/>
                      </a:cxn>
                      <a:cxn ang="0">
                        <a:pos x="T8" y="T9"/>
                      </a:cxn>
                      <a:cxn ang="0">
                        <a:pos x="T10" y="T11"/>
                      </a:cxn>
                    </a:cxnLst>
                    <a:rect l="0" t="0" r="r" b="b"/>
                    <a:pathLst>
                      <a:path w="30" h="28">
                        <a:moveTo>
                          <a:pt x="24" y="9"/>
                        </a:moveTo>
                        <a:cubicBezTo>
                          <a:pt x="21" y="4"/>
                          <a:pt x="18" y="3"/>
                          <a:pt x="13" y="0"/>
                        </a:cubicBezTo>
                        <a:cubicBezTo>
                          <a:pt x="4" y="2"/>
                          <a:pt x="2" y="2"/>
                          <a:pt x="0" y="11"/>
                        </a:cubicBezTo>
                        <a:cubicBezTo>
                          <a:pt x="4" y="19"/>
                          <a:pt x="6" y="22"/>
                          <a:pt x="15" y="24"/>
                        </a:cubicBezTo>
                        <a:cubicBezTo>
                          <a:pt x="23" y="28"/>
                          <a:pt x="26" y="21"/>
                          <a:pt x="30" y="15"/>
                        </a:cubicBezTo>
                        <a:cubicBezTo>
                          <a:pt x="26" y="10"/>
                          <a:pt x="28" y="12"/>
                          <a:pt x="24" y="9"/>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8" name="Freeform 24"/>
                  <p:cNvSpPr>
                    <a:spLocks/>
                  </p:cNvSpPr>
                  <p:nvPr/>
                </p:nvSpPr>
                <p:spPr bwMode="auto">
                  <a:xfrm>
                    <a:off x="5133" y="2889"/>
                    <a:ext cx="47" cy="31"/>
                  </a:xfrm>
                  <a:custGeom>
                    <a:avLst/>
                    <a:gdLst>
                      <a:gd name="T0" fmla="*/ 0 w 70"/>
                      <a:gd name="T1" fmla="*/ 11 h 47"/>
                      <a:gd name="T2" fmla="*/ 33 w 70"/>
                      <a:gd name="T3" fmla="*/ 5 h 47"/>
                      <a:gd name="T4" fmla="*/ 60 w 70"/>
                      <a:gd name="T5" fmla="*/ 8 h 47"/>
                      <a:gd name="T6" fmla="*/ 69 w 70"/>
                      <a:gd name="T7" fmla="*/ 21 h 47"/>
                      <a:gd name="T8" fmla="*/ 67 w 70"/>
                      <a:gd name="T9" fmla="*/ 39 h 47"/>
                      <a:gd name="T10" fmla="*/ 48 w 70"/>
                      <a:gd name="T11" fmla="*/ 26 h 47"/>
                      <a:gd name="T12" fmla="*/ 19 w 70"/>
                      <a:gd name="T13" fmla="*/ 24 h 47"/>
                      <a:gd name="T14" fmla="*/ 0 w 70"/>
                      <a:gd name="T15" fmla="*/ 1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7">
                        <a:moveTo>
                          <a:pt x="0" y="11"/>
                        </a:moveTo>
                        <a:cubicBezTo>
                          <a:pt x="10" y="6"/>
                          <a:pt x="22" y="7"/>
                          <a:pt x="33" y="5"/>
                        </a:cubicBezTo>
                        <a:cubicBezTo>
                          <a:pt x="42" y="0"/>
                          <a:pt x="52" y="3"/>
                          <a:pt x="60" y="8"/>
                        </a:cubicBezTo>
                        <a:cubicBezTo>
                          <a:pt x="64" y="13"/>
                          <a:pt x="67" y="14"/>
                          <a:pt x="69" y="21"/>
                        </a:cubicBezTo>
                        <a:cubicBezTo>
                          <a:pt x="68" y="27"/>
                          <a:pt x="70" y="34"/>
                          <a:pt x="67" y="39"/>
                        </a:cubicBezTo>
                        <a:cubicBezTo>
                          <a:pt x="62" y="47"/>
                          <a:pt x="52" y="27"/>
                          <a:pt x="48" y="26"/>
                        </a:cubicBezTo>
                        <a:cubicBezTo>
                          <a:pt x="38" y="25"/>
                          <a:pt x="29" y="25"/>
                          <a:pt x="19" y="24"/>
                        </a:cubicBezTo>
                        <a:cubicBezTo>
                          <a:pt x="11" y="23"/>
                          <a:pt x="0" y="21"/>
                          <a:pt x="0" y="11"/>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49" name="Freeform 25"/>
                  <p:cNvSpPr>
                    <a:spLocks/>
                  </p:cNvSpPr>
                  <p:nvPr/>
                </p:nvSpPr>
                <p:spPr bwMode="auto">
                  <a:xfrm>
                    <a:off x="5182" y="2846"/>
                    <a:ext cx="172" cy="172"/>
                  </a:xfrm>
                  <a:custGeom>
                    <a:avLst/>
                    <a:gdLst>
                      <a:gd name="T0" fmla="*/ 85 w 259"/>
                      <a:gd name="T1" fmla="*/ 19 h 259"/>
                      <a:gd name="T2" fmla="*/ 58 w 259"/>
                      <a:gd name="T3" fmla="*/ 6 h 259"/>
                      <a:gd name="T4" fmla="*/ 44 w 259"/>
                      <a:gd name="T5" fmla="*/ 0 h 259"/>
                      <a:gd name="T6" fmla="*/ 8 w 259"/>
                      <a:gd name="T7" fmla="*/ 12 h 259"/>
                      <a:gd name="T8" fmla="*/ 13 w 259"/>
                      <a:gd name="T9" fmla="*/ 31 h 259"/>
                      <a:gd name="T10" fmla="*/ 25 w 259"/>
                      <a:gd name="T11" fmla="*/ 43 h 259"/>
                      <a:gd name="T12" fmla="*/ 73 w 259"/>
                      <a:gd name="T13" fmla="*/ 57 h 259"/>
                      <a:gd name="T14" fmla="*/ 52 w 259"/>
                      <a:gd name="T15" fmla="*/ 64 h 259"/>
                      <a:gd name="T16" fmla="*/ 44 w 259"/>
                      <a:gd name="T17" fmla="*/ 72 h 259"/>
                      <a:gd name="T18" fmla="*/ 31 w 259"/>
                      <a:gd name="T19" fmla="*/ 73 h 259"/>
                      <a:gd name="T20" fmla="*/ 44 w 259"/>
                      <a:gd name="T21" fmla="*/ 82 h 259"/>
                      <a:gd name="T22" fmla="*/ 58 w 259"/>
                      <a:gd name="T23" fmla="*/ 117 h 259"/>
                      <a:gd name="T24" fmla="*/ 64 w 259"/>
                      <a:gd name="T25" fmla="*/ 99 h 259"/>
                      <a:gd name="T26" fmla="*/ 80 w 259"/>
                      <a:gd name="T27" fmla="*/ 108 h 259"/>
                      <a:gd name="T28" fmla="*/ 101 w 259"/>
                      <a:gd name="T29" fmla="*/ 117 h 259"/>
                      <a:gd name="T30" fmla="*/ 118 w 259"/>
                      <a:gd name="T31" fmla="*/ 121 h 259"/>
                      <a:gd name="T32" fmla="*/ 142 w 259"/>
                      <a:gd name="T33" fmla="*/ 130 h 259"/>
                      <a:gd name="T34" fmla="*/ 181 w 259"/>
                      <a:gd name="T35" fmla="*/ 156 h 259"/>
                      <a:gd name="T36" fmla="*/ 196 w 259"/>
                      <a:gd name="T37" fmla="*/ 178 h 259"/>
                      <a:gd name="T38" fmla="*/ 199 w 259"/>
                      <a:gd name="T39" fmla="*/ 210 h 259"/>
                      <a:gd name="T40" fmla="*/ 184 w 259"/>
                      <a:gd name="T41" fmla="*/ 208 h 259"/>
                      <a:gd name="T42" fmla="*/ 167 w 259"/>
                      <a:gd name="T43" fmla="*/ 228 h 259"/>
                      <a:gd name="T44" fmla="*/ 172 w 259"/>
                      <a:gd name="T45" fmla="*/ 241 h 259"/>
                      <a:gd name="T46" fmla="*/ 193 w 259"/>
                      <a:gd name="T47" fmla="*/ 231 h 259"/>
                      <a:gd name="T48" fmla="*/ 232 w 259"/>
                      <a:gd name="T49" fmla="*/ 232 h 259"/>
                      <a:gd name="T50" fmla="*/ 235 w 259"/>
                      <a:gd name="T51" fmla="*/ 243 h 259"/>
                      <a:gd name="T52" fmla="*/ 247 w 259"/>
                      <a:gd name="T53" fmla="*/ 255 h 259"/>
                      <a:gd name="T54" fmla="*/ 250 w 259"/>
                      <a:gd name="T55" fmla="*/ 259 h 259"/>
                      <a:gd name="T56" fmla="*/ 256 w 259"/>
                      <a:gd name="T57" fmla="*/ 192 h 259"/>
                      <a:gd name="T58" fmla="*/ 247 w 259"/>
                      <a:gd name="T59" fmla="*/ 186 h 259"/>
                      <a:gd name="T60" fmla="*/ 259 w 259"/>
                      <a:gd name="T61" fmla="*/ 166 h 259"/>
                      <a:gd name="T62" fmla="*/ 259 w 259"/>
                      <a:gd name="T63" fmla="*/ 64 h 259"/>
                      <a:gd name="T64" fmla="*/ 212 w 259"/>
                      <a:gd name="T65" fmla="*/ 57 h 259"/>
                      <a:gd name="T66" fmla="*/ 200 w 259"/>
                      <a:gd name="T67" fmla="*/ 48 h 259"/>
                      <a:gd name="T68" fmla="*/ 185 w 259"/>
                      <a:gd name="T69" fmla="*/ 36 h 259"/>
                      <a:gd name="T70" fmla="*/ 167 w 259"/>
                      <a:gd name="T71" fmla="*/ 34 h 259"/>
                      <a:gd name="T72" fmla="*/ 158 w 259"/>
                      <a:gd name="T73" fmla="*/ 46 h 259"/>
                      <a:gd name="T74" fmla="*/ 140 w 259"/>
                      <a:gd name="T75" fmla="*/ 55 h 259"/>
                      <a:gd name="T76" fmla="*/ 119 w 259"/>
                      <a:gd name="T77" fmla="*/ 81 h 259"/>
                      <a:gd name="T78" fmla="*/ 103 w 259"/>
                      <a:gd name="T79" fmla="*/ 82 h 259"/>
                      <a:gd name="T80" fmla="*/ 94 w 259"/>
                      <a:gd name="T81" fmla="*/ 54 h 259"/>
                      <a:gd name="T82" fmla="*/ 83 w 259"/>
                      <a:gd name="T83" fmla="*/ 64 h 259"/>
                      <a:gd name="T84" fmla="*/ 85 w 259"/>
                      <a:gd name="T85" fmla="*/ 40 h 259"/>
                      <a:gd name="T86" fmla="*/ 85 w 259"/>
                      <a:gd name="T87" fmla="*/ 1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9" h="259">
                        <a:moveTo>
                          <a:pt x="85" y="19"/>
                        </a:moveTo>
                        <a:cubicBezTo>
                          <a:pt x="81" y="5"/>
                          <a:pt x="72" y="7"/>
                          <a:pt x="58" y="6"/>
                        </a:cubicBezTo>
                        <a:cubicBezTo>
                          <a:pt x="53" y="4"/>
                          <a:pt x="50" y="1"/>
                          <a:pt x="44" y="0"/>
                        </a:cubicBezTo>
                        <a:cubicBezTo>
                          <a:pt x="30" y="1"/>
                          <a:pt x="22" y="10"/>
                          <a:pt x="8" y="12"/>
                        </a:cubicBezTo>
                        <a:cubicBezTo>
                          <a:pt x="0" y="20"/>
                          <a:pt x="1" y="29"/>
                          <a:pt x="13" y="31"/>
                        </a:cubicBezTo>
                        <a:cubicBezTo>
                          <a:pt x="24" y="36"/>
                          <a:pt x="20" y="32"/>
                          <a:pt x="25" y="43"/>
                        </a:cubicBezTo>
                        <a:cubicBezTo>
                          <a:pt x="27" y="66"/>
                          <a:pt x="54" y="55"/>
                          <a:pt x="73" y="57"/>
                        </a:cubicBezTo>
                        <a:cubicBezTo>
                          <a:pt x="75" y="71"/>
                          <a:pt x="75" y="58"/>
                          <a:pt x="52" y="64"/>
                        </a:cubicBezTo>
                        <a:cubicBezTo>
                          <a:pt x="48" y="65"/>
                          <a:pt x="47" y="70"/>
                          <a:pt x="44" y="72"/>
                        </a:cubicBezTo>
                        <a:cubicBezTo>
                          <a:pt x="40" y="71"/>
                          <a:pt x="16" y="70"/>
                          <a:pt x="31" y="73"/>
                        </a:cubicBezTo>
                        <a:cubicBezTo>
                          <a:pt x="35" y="76"/>
                          <a:pt x="40" y="79"/>
                          <a:pt x="44" y="82"/>
                        </a:cubicBezTo>
                        <a:cubicBezTo>
                          <a:pt x="49" y="94"/>
                          <a:pt x="44" y="112"/>
                          <a:pt x="58" y="117"/>
                        </a:cubicBezTo>
                        <a:cubicBezTo>
                          <a:pt x="59" y="111"/>
                          <a:pt x="61" y="105"/>
                          <a:pt x="64" y="99"/>
                        </a:cubicBezTo>
                        <a:cubicBezTo>
                          <a:pt x="78" y="100"/>
                          <a:pt x="71" y="101"/>
                          <a:pt x="80" y="108"/>
                        </a:cubicBezTo>
                        <a:cubicBezTo>
                          <a:pt x="97" y="104"/>
                          <a:pt x="90" y="110"/>
                          <a:pt x="101" y="117"/>
                        </a:cubicBezTo>
                        <a:cubicBezTo>
                          <a:pt x="105" y="120"/>
                          <a:pt x="113" y="120"/>
                          <a:pt x="118" y="121"/>
                        </a:cubicBezTo>
                        <a:cubicBezTo>
                          <a:pt x="125" y="125"/>
                          <a:pt x="134" y="129"/>
                          <a:pt x="142" y="130"/>
                        </a:cubicBezTo>
                        <a:cubicBezTo>
                          <a:pt x="154" y="139"/>
                          <a:pt x="168" y="148"/>
                          <a:pt x="181" y="156"/>
                        </a:cubicBezTo>
                        <a:cubicBezTo>
                          <a:pt x="186" y="163"/>
                          <a:pt x="190" y="171"/>
                          <a:pt x="196" y="178"/>
                        </a:cubicBezTo>
                        <a:cubicBezTo>
                          <a:pt x="194" y="189"/>
                          <a:pt x="193" y="200"/>
                          <a:pt x="199" y="210"/>
                        </a:cubicBezTo>
                        <a:cubicBezTo>
                          <a:pt x="193" y="211"/>
                          <a:pt x="189" y="211"/>
                          <a:pt x="184" y="208"/>
                        </a:cubicBezTo>
                        <a:cubicBezTo>
                          <a:pt x="169" y="211"/>
                          <a:pt x="174" y="216"/>
                          <a:pt x="167" y="228"/>
                        </a:cubicBezTo>
                        <a:cubicBezTo>
                          <a:pt x="166" y="235"/>
                          <a:pt x="164" y="239"/>
                          <a:pt x="172" y="241"/>
                        </a:cubicBezTo>
                        <a:cubicBezTo>
                          <a:pt x="179" y="237"/>
                          <a:pt x="185" y="233"/>
                          <a:pt x="193" y="231"/>
                        </a:cubicBezTo>
                        <a:cubicBezTo>
                          <a:pt x="206" y="231"/>
                          <a:pt x="219" y="230"/>
                          <a:pt x="232" y="232"/>
                        </a:cubicBezTo>
                        <a:cubicBezTo>
                          <a:pt x="236" y="233"/>
                          <a:pt x="233" y="240"/>
                          <a:pt x="235" y="243"/>
                        </a:cubicBezTo>
                        <a:cubicBezTo>
                          <a:pt x="241" y="252"/>
                          <a:pt x="240" y="251"/>
                          <a:pt x="247" y="255"/>
                        </a:cubicBezTo>
                        <a:cubicBezTo>
                          <a:pt x="248" y="256"/>
                          <a:pt x="250" y="259"/>
                          <a:pt x="250" y="259"/>
                        </a:cubicBezTo>
                        <a:lnTo>
                          <a:pt x="256" y="192"/>
                        </a:lnTo>
                        <a:lnTo>
                          <a:pt x="247" y="186"/>
                        </a:lnTo>
                        <a:lnTo>
                          <a:pt x="259" y="166"/>
                        </a:lnTo>
                        <a:lnTo>
                          <a:pt x="259" y="64"/>
                        </a:lnTo>
                        <a:cubicBezTo>
                          <a:pt x="239" y="63"/>
                          <a:pt x="230" y="60"/>
                          <a:pt x="212" y="57"/>
                        </a:cubicBezTo>
                        <a:cubicBezTo>
                          <a:pt x="207" y="53"/>
                          <a:pt x="207" y="49"/>
                          <a:pt x="200" y="48"/>
                        </a:cubicBezTo>
                        <a:cubicBezTo>
                          <a:pt x="198" y="44"/>
                          <a:pt x="188" y="37"/>
                          <a:pt x="185" y="36"/>
                        </a:cubicBezTo>
                        <a:cubicBezTo>
                          <a:pt x="177" y="30"/>
                          <a:pt x="176" y="32"/>
                          <a:pt x="167" y="34"/>
                        </a:cubicBezTo>
                        <a:cubicBezTo>
                          <a:pt x="162" y="37"/>
                          <a:pt x="161" y="41"/>
                          <a:pt x="158" y="46"/>
                        </a:cubicBezTo>
                        <a:cubicBezTo>
                          <a:pt x="156" y="56"/>
                          <a:pt x="150" y="54"/>
                          <a:pt x="140" y="55"/>
                        </a:cubicBezTo>
                        <a:cubicBezTo>
                          <a:pt x="135" y="63"/>
                          <a:pt x="127" y="76"/>
                          <a:pt x="119" y="81"/>
                        </a:cubicBezTo>
                        <a:cubicBezTo>
                          <a:pt x="113" y="88"/>
                          <a:pt x="110" y="87"/>
                          <a:pt x="103" y="82"/>
                        </a:cubicBezTo>
                        <a:cubicBezTo>
                          <a:pt x="98" y="73"/>
                          <a:pt x="103" y="61"/>
                          <a:pt x="94" y="54"/>
                        </a:cubicBezTo>
                        <a:cubicBezTo>
                          <a:pt x="90" y="59"/>
                          <a:pt x="90" y="63"/>
                          <a:pt x="83" y="64"/>
                        </a:cubicBezTo>
                        <a:cubicBezTo>
                          <a:pt x="77" y="56"/>
                          <a:pt x="81" y="48"/>
                          <a:pt x="85" y="40"/>
                        </a:cubicBezTo>
                        <a:cubicBezTo>
                          <a:pt x="87" y="29"/>
                          <a:pt x="86" y="36"/>
                          <a:pt x="85" y="19"/>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grpSp>
            <p:grpSp>
              <p:nvGrpSpPr>
                <p:cNvPr id="658" name="Group 26"/>
                <p:cNvGrpSpPr>
                  <a:grpSpLocks/>
                </p:cNvGrpSpPr>
                <p:nvPr/>
              </p:nvGrpSpPr>
              <p:grpSpPr bwMode="auto">
                <a:xfrm>
                  <a:off x="1389282" y="1643813"/>
                  <a:ext cx="2098881" cy="1066801"/>
                  <a:chOff x="1445" y="2042"/>
                  <a:chExt cx="2040" cy="1066"/>
                </a:xfrm>
                <a:grpFill/>
              </p:grpSpPr>
              <p:sp>
                <p:nvSpPr>
                  <p:cNvPr id="902" name="Freeform 27"/>
                  <p:cNvSpPr>
                    <a:spLocks/>
                  </p:cNvSpPr>
                  <p:nvPr/>
                </p:nvSpPr>
                <p:spPr bwMode="auto">
                  <a:xfrm>
                    <a:off x="1466" y="2226"/>
                    <a:ext cx="1673" cy="882"/>
                  </a:xfrm>
                  <a:custGeom>
                    <a:avLst/>
                    <a:gdLst>
                      <a:gd name="T0" fmla="*/ 832 w 1673"/>
                      <a:gd name="T1" fmla="*/ 692 h 882"/>
                      <a:gd name="T2" fmla="*/ 925 w 1673"/>
                      <a:gd name="T3" fmla="*/ 695 h 882"/>
                      <a:gd name="T4" fmla="*/ 1021 w 1673"/>
                      <a:gd name="T5" fmla="*/ 806 h 882"/>
                      <a:gd name="T6" fmla="*/ 942 w 1673"/>
                      <a:gd name="T7" fmla="*/ 834 h 882"/>
                      <a:gd name="T8" fmla="*/ 1005 w 1673"/>
                      <a:gd name="T9" fmla="*/ 836 h 882"/>
                      <a:gd name="T10" fmla="*/ 1221 w 1673"/>
                      <a:gd name="T11" fmla="*/ 788 h 882"/>
                      <a:gd name="T12" fmla="*/ 1327 w 1673"/>
                      <a:gd name="T13" fmla="*/ 771 h 882"/>
                      <a:gd name="T14" fmla="*/ 1357 w 1673"/>
                      <a:gd name="T15" fmla="*/ 795 h 882"/>
                      <a:gd name="T16" fmla="*/ 1401 w 1673"/>
                      <a:gd name="T17" fmla="*/ 806 h 882"/>
                      <a:gd name="T18" fmla="*/ 1506 w 1673"/>
                      <a:gd name="T19" fmla="*/ 759 h 882"/>
                      <a:gd name="T20" fmla="*/ 1444 w 1673"/>
                      <a:gd name="T21" fmla="*/ 767 h 882"/>
                      <a:gd name="T22" fmla="*/ 1405 w 1673"/>
                      <a:gd name="T23" fmla="*/ 707 h 882"/>
                      <a:gd name="T24" fmla="*/ 1378 w 1673"/>
                      <a:gd name="T25" fmla="*/ 666 h 882"/>
                      <a:gd name="T26" fmla="*/ 1258 w 1673"/>
                      <a:gd name="T27" fmla="*/ 732 h 882"/>
                      <a:gd name="T28" fmla="*/ 1371 w 1673"/>
                      <a:gd name="T29" fmla="*/ 662 h 882"/>
                      <a:gd name="T30" fmla="*/ 1563 w 1673"/>
                      <a:gd name="T31" fmla="*/ 629 h 882"/>
                      <a:gd name="T32" fmla="*/ 1663 w 1673"/>
                      <a:gd name="T33" fmla="*/ 581 h 882"/>
                      <a:gd name="T34" fmla="*/ 1573 w 1673"/>
                      <a:gd name="T35" fmla="*/ 551 h 882"/>
                      <a:gd name="T36" fmla="*/ 1606 w 1673"/>
                      <a:gd name="T37" fmla="*/ 494 h 882"/>
                      <a:gd name="T38" fmla="*/ 1581 w 1673"/>
                      <a:gd name="T39" fmla="*/ 357 h 882"/>
                      <a:gd name="T40" fmla="*/ 1468 w 1673"/>
                      <a:gd name="T41" fmla="*/ 369 h 882"/>
                      <a:gd name="T42" fmla="*/ 1444 w 1673"/>
                      <a:gd name="T43" fmla="*/ 315 h 882"/>
                      <a:gd name="T44" fmla="*/ 1330 w 1673"/>
                      <a:gd name="T45" fmla="*/ 327 h 882"/>
                      <a:gd name="T46" fmla="*/ 1269 w 1673"/>
                      <a:gd name="T47" fmla="*/ 398 h 882"/>
                      <a:gd name="T48" fmla="*/ 1174 w 1673"/>
                      <a:gd name="T49" fmla="*/ 507 h 882"/>
                      <a:gd name="T50" fmla="*/ 1093 w 1673"/>
                      <a:gd name="T51" fmla="*/ 590 h 882"/>
                      <a:gd name="T52" fmla="*/ 1114 w 1673"/>
                      <a:gd name="T53" fmla="*/ 518 h 882"/>
                      <a:gd name="T54" fmla="*/ 1009 w 1673"/>
                      <a:gd name="T55" fmla="*/ 458 h 882"/>
                      <a:gd name="T56" fmla="*/ 948 w 1673"/>
                      <a:gd name="T57" fmla="*/ 425 h 882"/>
                      <a:gd name="T58" fmla="*/ 990 w 1673"/>
                      <a:gd name="T59" fmla="*/ 338 h 882"/>
                      <a:gd name="T60" fmla="*/ 1086 w 1673"/>
                      <a:gd name="T61" fmla="*/ 284 h 882"/>
                      <a:gd name="T62" fmla="*/ 1170 w 1673"/>
                      <a:gd name="T63" fmla="*/ 254 h 882"/>
                      <a:gd name="T64" fmla="*/ 1189 w 1673"/>
                      <a:gd name="T65" fmla="*/ 224 h 882"/>
                      <a:gd name="T66" fmla="*/ 1269 w 1673"/>
                      <a:gd name="T67" fmla="*/ 191 h 882"/>
                      <a:gd name="T68" fmla="*/ 1368 w 1673"/>
                      <a:gd name="T69" fmla="*/ 167 h 882"/>
                      <a:gd name="T70" fmla="*/ 1362 w 1673"/>
                      <a:gd name="T71" fmla="*/ 108 h 882"/>
                      <a:gd name="T72" fmla="*/ 1257 w 1673"/>
                      <a:gd name="T73" fmla="*/ 176 h 882"/>
                      <a:gd name="T74" fmla="*/ 1231 w 1673"/>
                      <a:gd name="T75" fmla="*/ 138 h 882"/>
                      <a:gd name="T76" fmla="*/ 1222 w 1673"/>
                      <a:gd name="T77" fmla="*/ 90 h 882"/>
                      <a:gd name="T78" fmla="*/ 1326 w 1673"/>
                      <a:gd name="T79" fmla="*/ 26 h 882"/>
                      <a:gd name="T80" fmla="*/ 1210 w 1673"/>
                      <a:gd name="T81" fmla="*/ 42 h 882"/>
                      <a:gd name="T82" fmla="*/ 1153 w 1673"/>
                      <a:gd name="T83" fmla="*/ 129 h 882"/>
                      <a:gd name="T84" fmla="*/ 1089 w 1673"/>
                      <a:gd name="T85" fmla="*/ 167 h 882"/>
                      <a:gd name="T86" fmla="*/ 1134 w 1673"/>
                      <a:gd name="T87" fmla="*/ 120 h 882"/>
                      <a:gd name="T88" fmla="*/ 1059 w 1673"/>
                      <a:gd name="T89" fmla="*/ 147 h 882"/>
                      <a:gd name="T90" fmla="*/ 943 w 1673"/>
                      <a:gd name="T91" fmla="*/ 153 h 882"/>
                      <a:gd name="T92" fmla="*/ 858 w 1673"/>
                      <a:gd name="T93" fmla="*/ 143 h 882"/>
                      <a:gd name="T94" fmla="*/ 744 w 1673"/>
                      <a:gd name="T95" fmla="*/ 152 h 882"/>
                      <a:gd name="T96" fmla="*/ 664 w 1673"/>
                      <a:gd name="T97" fmla="*/ 116 h 882"/>
                      <a:gd name="T98" fmla="*/ 589 w 1673"/>
                      <a:gd name="T99" fmla="*/ 108 h 882"/>
                      <a:gd name="T100" fmla="*/ 510 w 1673"/>
                      <a:gd name="T101" fmla="*/ 107 h 882"/>
                      <a:gd name="T102" fmla="*/ 385 w 1673"/>
                      <a:gd name="T103" fmla="*/ 114 h 882"/>
                      <a:gd name="T104" fmla="*/ 304 w 1673"/>
                      <a:gd name="T105" fmla="*/ 111 h 882"/>
                      <a:gd name="T106" fmla="*/ 69 w 1673"/>
                      <a:gd name="T107" fmla="*/ 377 h 882"/>
                      <a:gd name="T108" fmla="*/ 78 w 1673"/>
                      <a:gd name="T109" fmla="*/ 503 h 882"/>
                      <a:gd name="T110" fmla="*/ 45 w 1673"/>
                      <a:gd name="T111" fmla="*/ 584 h 882"/>
                      <a:gd name="T112" fmla="*/ 82 w 1673"/>
                      <a:gd name="T113" fmla="*/ 65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73" h="882">
                        <a:moveTo>
                          <a:pt x="102" y="671"/>
                        </a:moveTo>
                        <a:lnTo>
                          <a:pt x="729" y="674"/>
                        </a:lnTo>
                        <a:lnTo>
                          <a:pt x="739" y="660"/>
                        </a:lnTo>
                        <a:lnTo>
                          <a:pt x="754" y="678"/>
                        </a:lnTo>
                        <a:lnTo>
                          <a:pt x="832" y="692"/>
                        </a:lnTo>
                        <a:lnTo>
                          <a:pt x="847" y="693"/>
                        </a:lnTo>
                        <a:lnTo>
                          <a:pt x="868" y="696"/>
                        </a:lnTo>
                        <a:lnTo>
                          <a:pt x="909" y="675"/>
                        </a:lnTo>
                        <a:lnTo>
                          <a:pt x="925" y="678"/>
                        </a:lnTo>
                        <a:lnTo>
                          <a:pt x="925" y="695"/>
                        </a:lnTo>
                        <a:lnTo>
                          <a:pt x="957" y="695"/>
                        </a:lnTo>
                        <a:lnTo>
                          <a:pt x="942" y="740"/>
                        </a:lnTo>
                        <a:lnTo>
                          <a:pt x="1020" y="758"/>
                        </a:lnTo>
                        <a:lnTo>
                          <a:pt x="1032" y="786"/>
                        </a:lnTo>
                        <a:lnTo>
                          <a:pt x="1021" y="806"/>
                        </a:lnTo>
                        <a:lnTo>
                          <a:pt x="991" y="776"/>
                        </a:lnTo>
                        <a:lnTo>
                          <a:pt x="993" y="797"/>
                        </a:lnTo>
                        <a:lnTo>
                          <a:pt x="975" y="807"/>
                        </a:lnTo>
                        <a:lnTo>
                          <a:pt x="957" y="836"/>
                        </a:lnTo>
                        <a:lnTo>
                          <a:pt x="942" y="834"/>
                        </a:lnTo>
                        <a:lnTo>
                          <a:pt x="910" y="882"/>
                        </a:lnTo>
                        <a:lnTo>
                          <a:pt x="958" y="851"/>
                        </a:lnTo>
                        <a:lnTo>
                          <a:pt x="1035" y="851"/>
                        </a:lnTo>
                        <a:lnTo>
                          <a:pt x="1020" y="836"/>
                        </a:lnTo>
                        <a:lnTo>
                          <a:pt x="1005" y="836"/>
                        </a:lnTo>
                        <a:lnTo>
                          <a:pt x="1021" y="819"/>
                        </a:lnTo>
                        <a:lnTo>
                          <a:pt x="1084" y="821"/>
                        </a:lnTo>
                        <a:lnTo>
                          <a:pt x="1111" y="803"/>
                        </a:lnTo>
                        <a:lnTo>
                          <a:pt x="1143" y="786"/>
                        </a:lnTo>
                        <a:lnTo>
                          <a:pt x="1221" y="788"/>
                        </a:lnTo>
                        <a:lnTo>
                          <a:pt x="1252" y="773"/>
                        </a:lnTo>
                        <a:lnTo>
                          <a:pt x="1306" y="723"/>
                        </a:lnTo>
                        <a:lnTo>
                          <a:pt x="1329" y="723"/>
                        </a:lnTo>
                        <a:lnTo>
                          <a:pt x="1312" y="773"/>
                        </a:lnTo>
                        <a:lnTo>
                          <a:pt x="1327" y="771"/>
                        </a:lnTo>
                        <a:lnTo>
                          <a:pt x="1329" y="783"/>
                        </a:lnTo>
                        <a:cubicBezTo>
                          <a:pt x="1347" y="782"/>
                          <a:pt x="1352" y="778"/>
                          <a:pt x="1368" y="776"/>
                        </a:cubicBezTo>
                        <a:cubicBezTo>
                          <a:pt x="1373" y="773"/>
                          <a:pt x="1377" y="773"/>
                          <a:pt x="1383" y="774"/>
                        </a:cubicBezTo>
                        <a:cubicBezTo>
                          <a:pt x="1402" y="783"/>
                          <a:pt x="1388" y="784"/>
                          <a:pt x="1374" y="786"/>
                        </a:cubicBezTo>
                        <a:cubicBezTo>
                          <a:pt x="1367" y="789"/>
                          <a:pt x="1365" y="793"/>
                          <a:pt x="1357" y="795"/>
                        </a:cubicBezTo>
                        <a:cubicBezTo>
                          <a:pt x="1352" y="799"/>
                          <a:pt x="1348" y="800"/>
                          <a:pt x="1342" y="801"/>
                        </a:cubicBezTo>
                        <a:cubicBezTo>
                          <a:pt x="1340" y="813"/>
                          <a:pt x="1336" y="822"/>
                          <a:pt x="1350" y="827"/>
                        </a:cubicBezTo>
                        <a:cubicBezTo>
                          <a:pt x="1356" y="824"/>
                          <a:pt x="1362" y="823"/>
                          <a:pt x="1369" y="822"/>
                        </a:cubicBezTo>
                        <a:cubicBezTo>
                          <a:pt x="1374" y="816"/>
                          <a:pt x="1372" y="813"/>
                          <a:pt x="1380" y="812"/>
                        </a:cubicBezTo>
                        <a:cubicBezTo>
                          <a:pt x="1386" y="809"/>
                          <a:pt x="1394" y="807"/>
                          <a:pt x="1401" y="806"/>
                        </a:cubicBezTo>
                        <a:cubicBezTo>
                          <a:pt x="1407" y="803"/>
                          <a:pt x="1412" y="798"/>
                          <a:pt x="1419" y="797"/>
                        </a:cubicBezTo>
                        <a:cubicBezTo>
                          <a:pt x="1425" y="796"/>
                          <a:pt x="1438" y="794"/>
                          <a:pt x="1438" y="794"/>
                        </a:cubicBezTo>
                        <a:cubicBezTo>
                          <a:pt x="1450" y="787"/>
                          <a:pt x="1452" y="786"/>
                          <a:pt x="1467" y="785"/>
                        </a:cubicBezTo>
                        <a:cubicBezTo>
                          <a:pt x="1475" y="772"/>
                          <a:pt x="1480" y="771"/>
                          <a:pt x="1495" y="770"/>
                        </a:cubicBezTo>
                        <a:cubicBezTo>
                          <a:pt x="1501" y="767"/>
                          <a:pt x="1503" y="765"/>
                          <a:pt x="1506" y="759"/>
                        </a:cubicBezTo>
                        <a:cubicBezTo>
                          <a:pt x="1500" y="751"/>
                          <a:pt x="1498" y="746"/>
                          <a:pt x="1503" y="737"/>
                        </a:cubicBezTo>
                        <a:cubicBezTo>
                          <a:pt x="1495" y="732"/>
                          <a:pt x="1491" y="736"/>
                          <a:pt x="1483" y="738"/>
                        </a:cubicBezTo>
                        <a:cubicBezTo>
                          <a:pt x="1478" y="742"/>
                          <a:pt x="1477" y="747"/>
                          <a:pt x="1474" y="752"/>
                        </a:cubicBezTo>
                        <a:cubicBezTo>
                          <a:pt x="1473" y="759"/>
                          <a:pt x="1473" y="763"/>
                          <a:pt x="1467" y="767"/>
                        </a:cubicBezTo>
                        <a:cubicBezTo>
                          <a:pt x="1443" y="762"/>
                          <a:pt x="1477" y="768"/>
                          <a:pt x="1444" y="767"/>
                        </a:cubicBezTo>
                        <a:cubicBezTo>
                          <a:pt x="1438" y="767"/>
                          <a:pt x="1426" y="764"/>
                          <a:pt x="1426" y="764"/>
                        </a:cubicBezTo>
                        <a:cubicBezTo>
                          <a:pt x="1420" y="761"/>
                          <a:pt x="1414" y="759"/>
                          <a:pt x="1408" y="758"/>
                        </a:cubicBezTo>
                        <a:cubicBezTo>
                          <a:pt x="1402" y="754"/>
                          <a:pt x="1402" y="751"/>
                          <a:pt x="1401" y="744"/>
                        </a:cubicBezTo>
                        <a:cubicBezTo>
                          <a:pt x="1402" y="732"/>
                          <a:pt x="1400" y="728"/>
                          <a:pt x="1408" y="722"/>
                        </a:cubicBezTo>
                        <a:cubicBezTo>
                          <a:pt x="1412" y="715"/>
                          <a:pt x="1416" y="709"/>
                          <a:pt x="1405" y="707"/>
                        </a:cubicBezTo>
                        <a:cubicBezTo>
                          <a:pt x="1396" y="708"/>
                          <a:pt x="1392" y="706"/>
                          <a:pt x="1384" y="704"/>
                        </a:cubicBezTo>
                        <a:cubicBezTo>
                          <a:pt x="1387" y="692"/>
                          <a:pt x="1386" y="697"/>
                          <a:pt x="1395" y="699"/>
                        </a:cubicBezTo>
                        <a:cubicBezTo>
                          <a:pt x="1416" y="698"/>
                          <a:pt x="1416" y="692"/>
                          <a:pt x="1432" y="689"/>
                        </a:cubicBezTo>
                        <a:cubicBezTo>
                          <a:pt x="1439" y="672"/>
                          <a:pt x="1431" y="669"/>
                          <a:pt x="1419" y="660"/>
                        </a:cubicBezTo>
                        <a:cubicBezTo>
                          <a:pt x="1404" y="661"/>
                          <a:pt x="1392" y="664"/>
                          <a:pt x="1378" y="666"/>
                        </a:cubicBezTo>
                        <a:cubicBezTo>
                          <a:pt x="1372" y="669"/>
                          <a:pt x="1367" y="674"/>
                          <a:pt x="1360" y="675"/>
                        </a:cubicBezTo>
                        <a:cubicBezTo>
                          <a:pt x="1355" y="679"/>
                          <a:pt x="1348" y="683"/>
                          <a:pt x="1342" y="684"/>
                        </a:cubicBezTo>
                        <a:cubicBezTo>
                          <a:pt x="1334" y="688"/>
                          <a:pt x="1324" y="694"/>
                          <a:pt x="1315" y="696"/>
                        </a:cubicBezTo>
                        <a:cubicBezTo>
                          <a:pt x="1305" y="703"/>
                          <a:pt x="1294" y="709"/>
                          <a:pt x="1284" y="716"/>
                        </a:cubicBezTo>
                        <a:cubicBezTo>
                          <a:pt x="1277" y="730"/>
                          <a:pt x="1274" y="731"/>
                          <a:pt x="1258" y="732"/>
                        </a:cubicBezTo>
                        <a:cubicBezTo>
                          <a:pt x="1247" y="738"/>
                          <a:pt x="1261" y="723"/>
                          <a:pt x="1270" y="722"/>
                        </a:cubicBezTo>
                        <a:cubicBezTo>
                          <a:pt x="1275" y="720"/>
                          <a:pt x="1284" y="713"/>
                          <a:pt x="1284" y="713"/>
                        </a:cubicBezTo>
                        <a:cubicBezTo>
                          <a:pt x="1288" y="707"/>
                          <a:pt x="1289" y="705"/>
                          <a:pt x="1296" y="704"/>
                        </a:cubicBezTo>
                        <a:cubicBezTo>
                          <a:pt x="1308" y="698"/>
                          <a:pt x="1303" y="701"/>
                          <a:pt x="1311" y="696"/>
                        </a:cubicBezTo>
                        <a:cubicBezTo>
                          <a:pt x="1323" y="680"/>
                          <a:pt x="1352" y="664"/>
                          <a:pt x="1371" y="662"/>
                        </a:cubicBezTo>
                        <a:cubicBezTo>
                          <a:pt x="1381" y="655"/>
                          <a:pt x="1378" y="649"/>
                          <a:pt x="1392" y="647"/>
                        </a:cubicBezTo>
                        <a:cubicBezTo>
                          <a:pt x="1398" y="644"/>
                          <a:pt x="1404" y="641"/>
                          <a:pt x="1410" y="639"/>
                        </a:cubicBezTo>
                        <a:cubicBezTo>
                          <a:pt x="1418" y="628"/>
                          <a:pt x="1446" y="636"/>
                          <a:pt x="1456" y="636"/>
                        </a:cubicBezTo>
                        <a:cubicBezTo>
                          <a:pt x="1486" y="640"/>
                          <a:pt x="1518" y="641"/>
                          <a:pt x="1548" y="635"/>
                        </a:cubicBezTo>
                        <a:cubicBezTo>
                          <a:pt x="1553" y="631"/>
                          <a:pt x="1557" y="630"/>
                          <a:pt x="1563" y="629"/>
                        </a:cubicBezTo>
                        <a:cubicBezTo>
                          <a:pt x="1571" y="625"/>
                          <a:pt x="1573" y="619"/>
                          <a:pt x="1584" y="617"/>
                        </a:cubicBezTo>
                        <a:cubicBezTo>
                          <a:pt x="1593" y="613"/>
                          <a:pt x="1583" y="617"/>
                          <a:pt x="1597" y="614"/>
                        </a:cubicBezTo>
                        <a:cubicBezTo>
                          <a:pt x="1607" y="612"/>
                          <a:pt x="1613" y="604"/>
                          <a:pt x="1623" y="602"/>
                        </a:cubicBezTo>
                        <a:cubicBezTo>
                          <a:pt x="1629" y="598"/>
                          <a:pt x="1641" y="590"/>
                          <a:pt x="1641" y="590"/>
                        </a:cubicBezTo>
                        <a:cubicBezTo>
                          <a:pt x="1643" y="579"/>
                          <a:pt x="1652" y="582"/>
                          <a:pt x="1663" y="581"/>
                        </a:cubicBezTo>
                        <a:cubicBezTo>
                          <a:pt x="1673" y="575"/>
                          <a:pt x="1671" y="572"/>
                          <a:pt x="1672" y="560"/>
                        </a:cubicBezTo>
                        <a:cubicBezTo>
                          <a:pt x="1671" y="550"/>
                          <a:pt x="1672" y="546"/>
                          <a:pt x="1666" y="539"/>
                        </a:cubicBezTo>
                        <a:cubicBezTo>
                          <a:pt x="1661" y="535"/>
                          <a:pt x="1656" y="528"/>
                          <a:pt x="1647" y="527"/>
                        </a:cubicBezTo>
                        <a:cubicBezTo>
                          <a:pt x="1638" y="526"/>
                          <a:pt x="1626" y="532"/>
                          <a:pt x="1614" y="536"/>
                        </a:cubicBezTo>
                        <a:cubicBezTo>
                          <a:pt x="1602" y="540"/>
                          <a:pt x="1576" y="552"/>
                          <a:pt x="1573" y="551"/>
                        </a:cubicBezTo>
                        <a:cubicBezTo>
                          <a:pt x="1570" y="550"/>
                          <a:pt x="1579" y="540"/>
                          <a:pt x="1594" y="533"/>
                        </a:cubicBezTo>
                        <a:cubicBezTo>
                          <a:pt x="1609" y="526"/>
                          <a:pt x="1654" y="513"/>
                          <a:pt x="1662" y="509"/>
                        </a:cubicBezTo>
                        <a:cubicBezTo>
                          <a:pt x="1660" y="508"/>
                          <a:pt x="1643" y="505"/>
                          <a:pt x="1644" y="506"/>
                        </a:cubicBezTo>
                        <a:cubicBezTo>
                          <a:pt x="1640" y="506"/>
                          <a:pt x="1635" y="510"/>
                          <a:pt x="1627" y="503"/>
                        </a:cubicBezTo>
                        <a:cubicBezTo>
                          <a:pt x="1619" y="500"/>
                          <a:pt x="1613" y="498"/>
                          <a:pt x="1606" y="494"/>
                        </a:cubicBezTo>
                        <a:cubicBezTo>
                          <a:pt x="1602" y="488"/>
                          <a:pt x="1599" y="481"/>
                          <a:pt x="1593" y="477"/>
                        </a:cubicBezTo>
                        <a:cubicBezTo>
                          <a:pt x="1588" y="468"/>
                          <a:pt x="1587" y="465"/>
                          <a:pt x="1593" y="456"/>
                        </a:cubicBezTo>
                        <a:cubicBezTo>
                          <a:pt x="1595" y="440"/>
                          <a:pt x="1599" y="426"/>
                          <a:pt x="1591" y="410"/>
                        </a:cubicBezTo>
                        <a:cubicBezTo>
                          <a:pt x="1590" y="400"/>
                          <a:pt x="1590" y="386"/>
                          <a:pt x="1585" y="377"/>
                        </a:cubicBezTo>
                        <a:cubicBezTo>
                          <a:pt x="1584" y="370"/>
                          <a:pt x="1582" y="364"/>
                          <a:pt x="1581" y="357"/>
                        </a:cubicBezTo>
                        <a:cubicBezTo>
                          <a:pt x="1575" y="359"/>
                          <a:pt x="1571" y="359"/>
                          <a:pt x="1566" y="363"/>
                        </a:cubicBezTo>
                        <a:cubicBezTo>
                          <a:pt x="1558" y="376"/>
                          <a:pt x="1537" y="405"/>
                          <a:pt x="1522" y="408"/>
                        </a:cubicBezTo>
                        <a:cubicBezTo>
                          <a:pt x="1510" y="414"/>
                          <a:pt x="1500" y="411"/>
                          <a:pt x="1485" y="410"/>
                        </a:cubicBezTo>
                        <a:cubicBezTo>
                          <a:pt x="1474" y="405"/>
                          <a:pt x="1473" y="396"/>
                          <a:pt x="1464" y="389"/>
                        </a:cubicBezTo>
                        <a:cubicBezTo>
                          <a:pt x="1462" y="379"/>
                          <a:pt x="1460" y="375"/>
                          <a:pt x="1468" y="369"/>
                        </a:cubicBezTo>
                        <a:cubicBezTo>
                          <a:pt x="1472" y="360"/>
                          <a:pt x="1476" y="355"/>
                          <a:pt x="1485" y="351"/>
                        </a:cubicBezTo>
                        <a:cubicBezTo>
                          <a:pt x="1490" y="345"/>
                          <a:pt x="1492" y="342"/>
                          <a:pt x="1483" y="341"/>
                        </a:cubicBezTo>
                        <a:cubicBezTo>
                          <a:pt x="1477" y="338"/>
                          <a:pt x="1471" y="336"/>
                          <a:pt x="1465" y="335"/>
                        </a:cubicBezTo>
                        <a:cubicBezTo>
                          <a:pt x="1461" y="332"/>
                          <a:pt x="1456" y="330"/>
                          <a:pt x="1452" y="327"/>
                        </a:cubicBezTo>
                        <a:cubicBezTo>
                          <a:pt x="1449" y="321"/>
                          <a:pt x="1450" y="319"/>
                          <a:pt x="1444" y="315"/>
                        </a:cubicBezTo>
                        <a:cubicBezTo>
                          <a:pt x="1440" y="309"/>
                          <a:pt x="1434" y="306"/>
                          <a:pt x="1428" y="302"/>
                        </a:cubicBezTo>
                        <a:cubicBezTo>
                          <a:pt x="1420" y="304"/>
                          <a:pt x="1412" y="306"/>
                          <a:pt x="1405" y="308"/>
                        </a:cubicBezTo>
                        <a:cubicBezTo>
                          <a:pt x="1388" y="306"/>
                          <a:pt x="1374" y="300"/>
                          <a:pt x="1356" y="299"/>
                        </a:cubicBezTo>
                        <a:cubicBezTo>
                          <a:pt x="1344" y="296"/>
                          <a:pt x="1343" y="299"/>
                          <a:pt x="1333" y="305"/>
                        </a:cubicBezTo>
                        <a:cubicBezTo>
                          <a:pt x="1337" y="313"/>
                          <a:pt x="1335" y="320"/>
                          <a:pt x="1330" y="327"/>
                        </a:cubicBezTo>
                        <a:cubicBezTo>
                          <a:pt x="1328" y="336"/>
                          <a:pt x="1324" y="337"/>
                          <a:pt x="1317" y="342"/>
                        </a:cubicBezTo>
                        <a:cubicBezTo>
                          <a:pt x="1315" y="345"/>
                          <a:pt x="1311" y="347"/>
                          <a:pt x="1309" y="350"/>
                        </a:cubicBezTo>
                        <a:cubicBezTo>
                          <a:pt x="1308" y="353"/>
                          <a:pt x="1309" y="357"/>
                          <a:pt x="1308" y="360"/>
                        </a:cubicBezTo>
                        <a:cubicBezTo>
                          <a:pt x="1306" y="372"/>
                          <a:pt x="1293" y="382"/>
                          <a:pt x="1282" y="384"/>
                        </a:cubicBezTo>
                        <a:cubicBezTo>
                          <a:pt x="1276" y="388"/>
                          <a:pt x="1275" y="395"/>
                          <a:pt x="1269" y="398"/>
                        </a:cubicBezTo>
                        <a:cubicBezTo>
                          <a:pt x="1266" y="405"/>
                          <a:pt x="1272" y="409"/>
                          <a:pt x="1275" y="416"/>
                        </a:cubicBezTo>
                        <a:cubicBezTo>
                          <a:pt x="1281" y="453"/>
                          <a:pt x="1269" y="459"/>
                          <a:pt x="1245" y="477"/>
                        </a:cubicBezTo>
                        <a:cubicBezTo>
                          <a:pt x="1242" y="485"/>
                          <a:pt x="1233" y="490"/>
                          <a:pt x="1225" y="492"/>
                        </a:cubicBezTo>
                        <a:cubicBezTo>
                          <a:pt x="1219" y="495"/>
                          <a:pt x="1213" y="497"/>
                          <a:pt x="1207" y="498"/>
                        </a:cubicBezTo>
                        <a:cubicBezTo>
                          <a:pt x="1197" y="503"/>
                          <a:pt x="1185" y="505"/>
                          <a:pt x="1174" y="507"/>
                        </a:cubicBezTo>
                        <a:cubicBezTo>
                          <a:pt x="1173" y="513"/>
                          <a:pt x="1170" y="516"/>
                          <a:pt x="1168" y="521"/>
                        </a:cubicBezTo>
                        <a:cubicBezTo>
                          <a:pt x="1172" y="539"/>
                          <a:pt x="1166" y="550"/>
                          <a:pt x="1158" y="564"/>
                        </a:cubicBezTo>
                        <a:cubicBezTo>
                          <a:pt x="1155" y="597"/>
                          <a:pt x="1152" y="600"/>
                          <a:pt x="1120" y="606"/>
                        </a:cubicBezTo>
                        <a:cubicBezTo>
                          <a:pt x="1114" y="609"/>
                          <a:pt x="1111" y="609"/>
                          <a:pt x="1105" y="608"/>
                        </a:cubicBezTo>
                        <a:cubicBezTo>
                          <a:pt x="1104" y="601"/>
                          <a:pt x="1097" y="596"/>
                          <a:pt x="1093" y="590"/>
                        </a:cubicBezTo>
                        <a:cubicBezTo>
                          <a:pt x="1092" y="584"/>
                          <a:pt x="1089" y="581"/>
                          <a:pt x="1087" y="576"/>
                        </a:cubicBezTo>
                        <a:cubicBezTo>
                          <a:pt x="1086" y="563"/>
                          <a:pt x="1083" y="565"/>
                          <a:pt x="1093" y="557"/>
                        </a:cubicBezTo>
                        <a:cubicBezTo>
                          <a:pt x="1096" y="552"/>
                          <a:pt x="1099" y="548"/>
                          <a:pt x="1101" y="543"/>
                        </a:cubicBezTo>
                        <a:cubicBezTo>
                          <a:pt x="1103" y="539"/>
                          <a:pt x="1107" y="531"/>
                          <a:pt x="1107" y="531"/>
                        </a:cubicBezTo>
                        <a:cubicBezTo>
                          <a:pt x="1108" y="524"/>
                          <a:pt x="1109" y="522"/>
                          <a:pt x="1114" y="518"/>
                        </a:cubicBezTo>
                        <a:cubicBezTo>
                          <a:pt x="1117" y="513"/>
                          <a:pt x="1119" y="510"/>
                          <a:pt x="1120" y="504"/>
                        </a:cubicBezTo>
                        <a:cubicBezTo>
                          <a:pt x="1114" y="496"/>
                          <a:pt x="1111" y="498"/>
                          <a:pt x="1101" y="497"/>
                        </a:cubicBezTo>
                        <a:cubicBezTo>
                          <a:pt x="1088" y="494"/>
                          <a:pt x="1076" y="493"/>
                          <a:pt x="1063" y="491"/>
                        </a:cubicBezTo>
                        <a:cubicBezTo>
                          <a:pt x="1058" y="488"/>
                          <a:pt x="1054" y="486"/>
                          <a:pt x="1048" y="485"/>
                        </a:cubicBezTo>
                        <a:cubicBezTo>
                          <a:pt x="1034" y="478"/>
                          <a:pt x="1023" y="466"/>
                          <a:pt x="1009" y="458"/>
                        </a:cubicBezTo>
                        <a:cubicBezTo>
                          <a:pt x="1004" y="450"/>
                          <a:pt x="999" y="447"/>
                          <a:pt x="990" y="446"/>
                        </a:cubicBezTo>
                        <a:cubicBezTo>
                          <a:pt x="984" y="443"/>
                          <a:pt x="979" y="441"/>
                          <a:pt x="973" y="440"/>
                        </a:cubicBezTo>
                        <a:cubicBezTo>
                          <a:pt x="967" y="437"/>
                          <a:pt x="959" y="440"/>
                          <a:pt x="952" y="441"/>
                        </a:cubicBezTo>
                        <a:cubicBezTo>
                          <a:pt x="947" y="443"/>
                          <a:pt x="930" y="445"/>
                          <a:pt x="942" y="438"/>
                        </a:cubicBezTo>
                        <a:cubicBezTo>
                          <a:pt x="945" y="434"/>
                          <a:pt x="946" y="430"/>
                          <a:pt x="948" y="425"/>
                        </a:cubicBezTo>
                        <a:cubicBezTo>
                          <a:pt x="949" y="419"/>
                          <a:pt x="951" y="414"/>
                          <a:pt x="952" y="408"/>
                        </a:cubicBezTo>
                        <a:cubicBezTo>
                          <a:pt x="950" y="397"/>
                          <a:pt x="949" y="398"/>
                          <a:pt x="937" y="396"/>
                        </a:cubicBezTo>
                        <a:cubicBezTo>
                          <a:pt x="926" y="387"/>
                          <a:pt x="944" y="371"/>
                          <a:pt x="948" y="362"/>
                        </a:cubicBezTo>
                        <a:cubicBezTo>
                          <a:pt x="950" y="351"/>
                          <a:pt x="959" y="349"/>
                          <a:pt x="969" y="347"/>
                        </a:cubicBezTo>
                        <a:cubicBezTo>
                          <a:pt x="980" y="339"/>
                          <a:pt x="979" y="339"/>
                          <a:pt x="990" y="338"/>
                        </a:cubicBezTo>
                        <a:cubicBezTo>
                          <a:pt x="1000" y="330"/>
                          <a:pt x="1004" y="321"/>
                          <a:pt x="1011" y="320"/>
                        </a:cubicBezTo>
                        <a:cubicBezTo>
                          <a:pt x="1015" y="313"/>
                          <a:pt x="1025" y="310"/>
                          <a:pt x="1033" y="308"/>
                        </a:cubicBezTo>
                        <a:cubicBezTo>
                          <a:pt x="1040" y="305"/>
                          <a:pt x="1047" y="301"/>
                          <a:pt x="1053" y="299"/>
                        </a:cubicBezTo>
                        <a:cubicBezTo>
                          <a:pt x="1065" y="293"/>
                          <a:pt x="1059" y="295"/>
                          <a:pt x="1068" y="293"/>
                        </a:cubicBezTo>
                        <a:cubicBezTo>
                          <a:pt x="1074" y="290"/>
                          <a:pt x="1079" y="285"/>
                          <a:pt x="1086" y="284"/>
                        </a:cubicBezTo>
                        <a:cubicBezTo>
                          <a:pt x="1091" y="281"/>
                          <a:pt x="1095" y="279"/>
                          <a:pt x="1101" y="278"/>
                        </a:cubicBezTo>
                        <a:cubicBezTo>
                          <a:pt x="1106" y="274"/>
                          <a:pt x="1110" y="273"/>
                          <a:pt x="1116" y="272"/>
                        </a:cubicBezTo>
                        <a:cubicBezTo>
                          <a:pt x="1124" y="268"/>
                          <a:pt x="1127" y="260"/>
                          <a:pt x="1135" y="258"/>
                        </a:cubicBezTo>
                        <a:cubicBezTo>
                          <a:pt x="1143" y="253"/>
                          <a:pt x="1150" y="258"/>
                          <a:pt x="1159" y="257"/>
                        </a:cubicBezTo>
                        <a:cubicBezTo>
                          <a:pt x="1163" y="256"/>
                          <a:pt x="1167" y="256"/>
                          <a:pt x="1170" y="254"/>
                        </a:cubicBezTo>
                        <a:cubicBezTo>
                          <a:pt x="1171" y="253"/>
                          <a:pt x="1170" y="250"/>
                          <a:pt x="1171" y="249"/>
                        </a:cubicBezTo>
                        <a:cubicBezTo>
                          <a:pt x="1173" y="248"/>
                          <a:pt x="1175" y="248"/>
                          <a:pt x="1177" y="248"/>
                        </a:cubicBezTo>
                        <a:cubicBezTo>
                          <a:pt x="1182" y="246"/>
                          <a:pt x="1189" y="246"/>
                          <a:pt x="1194" y="243"/>
                        </a:cubicBezTo>
                        <a:cubicBezTo>
                          <a:pt x="1197" y="241"/>
                          <a:pt x="1203" y="236"/>
                          <a:pt x="1203" y="236"/>
                        </a:cubicBezTo>
                        <a:cubicBezTo>
                          <a:pt x="1205" y="227"/>
                          <a:pt x="1197" y="225"/>
                          <a:pt x="1189" y="224"/>
                        </a:cubicBezTo>
                        <a:cubicBezTo>
                          <a:pt x="1184" y="220"/>
                          <a:pt x="1180" y="219"/>
                          <a:pt x="1174" y="218"/>
                        </a:cubicBezTo>
                        <a:cubicBezTo>
                          <a:pt x="1174" y="218"/>
                          <a:pt x="1163" y="212"/>
                          <a:pt x="1174" y="212"/>
                        </a:cubicBezTo>
                        <a:cubicBezTo>
                          <a:pt x="1177" y="212"/>
                          <a:pt x="1185" y="219"/>
                          <a:pt x="1188" y="221"/>
                        </a:cubicBezTo>
                        <a:cubicBezTo>
                          <a:pt x="1209" y="220"/>
                          <a:pt x="1220" y="222"/>
                          <a:pt x="1236" y="213"/>
                        </a:cubicBezTo>
                        <a:cubicBezTo>
                          <a:pt x="1248" y="196"/>
                          <a:pt x="1247" y="195"/>
                          <a:pt x="1269" y="191"/>
                        </a:cubicBezTo>
                        <a:cubicBezTo>
                          <a:pt x="1274" y="198"/>
                          <a:pt x="1282" y="211"/>
                          <a:pt x="1290" y="213"/>
                        </a:cubicBezTo>
                        <a:cubicBezTo>
                          <a:pt x="1295" y="206"/>
                          <a:pt x="1291" y="200"/>
                          <a:pt x="1299" y="195"/>
                        </a:cubicBezTo>
                        <a:cubicBezTo>
                          <a:pt x="1310" y="199"/>
                          <a:pt x="1316" y="198"/>
                          <a:pt x="1329" y="197"/>
                        </a:cubicBezTo>
                        <a:cubicBezTo>
                          <a:pt x="1339" y="192"/>
                          <a:pt x="1344" y="184"/>
                          <a:pt x="1356" y="182"/>
                        </a:cubicBezTo>
                        <a:cubicBezTo>
                          <a:pt x="1363" y="179"/>
                          <a:pt x="1364" y="173"/>
                          <a:pt x="1368" y="167"/>
                        </a:cubicBezTo>
                        <a:cubicBezTo>
                          <a:pt x="1364" y="146"/>
                          <a:pt x="1370" y="147"/>
                          <a:pt x="1389" y="144"/>
                        </a:cubicBezTo>
                        <a:cubicBezTo>
                          <a:pt x="1394" y="140"/>
                          <a:pt x="1396" y="138"/>
                          <a:pt x="1398" y="132"/>
                        </a:cubicBezTo>
                        <a:cubicBezTo>
                          <a:pt x="1396" y="125"/>
                          <a:pt x="1398" y="121"/>
                          <a:pt x="1390" y="119"/>
                        </a:cubicBezTo>
                        <a:cubicBezTo>
                          <a:pt x="1385" y="115"/>
                          <a:pt x="1381" y="114"/>
                          <a:pt x="1375" y="113"/>
                        </a:cubicBezTo>
                        <a:cubicBezTo>
                          <a:pt x="1371" y="111"/>
                          <a:pt x="1366" y="110"/>
                          <a:pt x="1362" y="108"/>
                        </a:cubicBezTo>
                        <a:cubicBezTo>
                          <a:pt x="1352" y="109"/>
                          <a:pt x="1338" y="105"/>
                          <a:pt x="1333" y="113"/>
                        </a:cubicBezTo>
                        <a:cubicBezTo>
                          <a:pt x="1325" y="125"/>
                          <a:pt x="1332" y="134"/>
                          <a:pt x="1312" y="138"/>
                        </a:cubicBezTo>
                        <a:cubicBezTo>
                          <a:pt x="1304" y="144"/>
                          <a:pt x="1294" y="150"/>
                          <a:pt x="1285" y="155"/>
                        </a:cubicBezTo>
                        <a:cubicBezTo>
                          <a:pt x="1283" y="145"/>
                          <a:pt x="1276" y="150"/>
                          <a:pt x="1272" y="156"/>
                        </a:cubicBezTo>
                        <a:cubicBezTo>
                          <a:pt x="1270" y="170"/>
                          <a:pt x="1268" y="170"/>
                          <a:pt x="1257" y="176"/>
                        </a:cubicBezTo>
                        <a:cubicBezTo>
                          <a:pt x="1238" y="173"/>
                          <a:pt x="1246" y="176"/>
                          <a:pt x="1240" y="164"/>
                        </a:cubicBezTo>
                        <a:cubicBezTo>
                          <a:pt x="1245" y="150"/>
                          <a:pt x="1243" y="150"/>
                          <a:pt x="1261" y="149"/>
                        </a:cubicBezTo>
                        <a:cubicBezTo>
                          <a:pt x="1264" y="143"/>
                          <a:pt x="1265" y="140"/>
                          <a:pt x="1261" y="134"/>
                        </a:cubicBezTo>
                        <a:cubicBezTo>
                          <a:pt x="1260" y="127"/>
                          <a:pt x="1256" y="128"/>
                          <a:pt x="1249" y="126"/>
                        </a:cubicBezTo>
                        <a:cubicBezTo>
                          <a:pt x="1234" y="130"/>
                          <a:pt x="1240" y="136"/>
                          <a:pt x="1231" y="138"/>
                        </a:cubicBezTo>
                        <a:cubicBezTo>
                          <a:pt x="1229" y="149"/>
                          <a:pt x="1223" y="145"/>
                          <a:pt x="1216" y="141"/>
                        </a:cubicBezTo>
                        <a:cubicBezTo>
                          <a:pt x="1218" y="136"/>
                          <a:pt x="1219" y="131"/>
                          <a:pt x="1221" y="126"/>
                        </a:cubicBezTo>
                        <a:cubicBezTo>
                          <a:pt x="1222" y="117"/>
                          <a:pt x="1215" y="118"/>
                          <a:pt x="1207" y="116"/>
                        </a:cubicBezTo>
                        <a:cubicBezTo>
                          <a:pt x="1205" y="105"/>
                          <a:pt x="1216" y="105"/>
                          <a:pt x="1224" y="102"/>
                        </a:cubicBezTo>
                        <a:cubicBezTo>
                          <a:pt x="1230" y="97"/>
                          <a:pt x="1226" y="96"/>
                          <a:pt x="1222" y="90"/>
                        </a:cubicBezTo>
                        <a:cubicBezTo>
                          <a:pt x="1224" y="84"/>
                          <a:pt x="1226" y="81"/>
                          <a:pt x="1231" y="77"/>
                        </a:cubicBezTo>
                        <a:cubicBezTo>
                          <a:pt x="1230" y="70"/>
                          <a:pt x="1228" y="69"/>
                          <a:pt x="1222" y="65"/>
                        </a:cubicBezTo>
                        <a:cubicBezTo>
                          <a:pt x="1225" y="57"/>
                          <a:pt x="1230" y="54"/>
                          <a:pt x="1239" y="53"/>
                        </a:cubicBezTo>
                        <a:cubicBezTo>
                          <a:pt x="1243" y="32"/>
                          <a:pt x="1282" y="39"/>
                          <a:pt x="1297" y="38"/>
                        </a:cubicBezTo>
                        <a:cubicBezTo>
                          <a:pt x="1306" y="34"/>
                          <a:pt x="1316" y="28"/>
                          <a:pt x="1326" y="26"/>
                        </a:cubicBezTo>
                        <a:cubicBezTo>
                          <a:pt x="1331" y="20"/>
                          <a:pt x="1334" y="22"/>
                          <a:pt x="1338" y="15"/>
                        </a:cubicBezTo>
                        <a:cubicBezTo>
                          <a:pt x="1331" y="11"/>
                          <a:pt x="1323" y="9"/>
                          <a:pt x="1315" y="8"/>
                        </a:cubicBezTo>
                        <a:cubicBezTo>
                          <a:pt x="1299" y="0"/>
                          <a:pt x="1281" y="6"/>
                          <a:pt x="1264" y="9"/>
                        </a:cubicBezTo>
                        <a:cubicBezTo>
                          <a:pt x="1256" y="13"/>
                          <a:pt x="1237" y="15"/>
                          <a:pt x="1237" y="15"/>
                        </a:cubicBezTo>
                        <a:cubicBezTo>
                          <a:pt x="1231" y="26"/>
                          <a:pt x="1218" y="32"/>
                          <a:pt x="1210" y="42"/>
                        </a:cubicBezTo>
                        <a:cubicBezTo>
                          <a:pt x="1208" y="62"/>
                          <a:pt x="1188" y="69"/>
                          <a:pt x="1170" y="72"/>
                        </a:cubicBezTo>
                        <a:cubicBezTo>
                          <a:pt x="1164" y="76"/>
                          <a:pt x="1161" y="78"/>
                          <a:pt x="1153" y="80"/>
                        </a:cubicBezTo>
                        <a:cubicBezTo>
                          <a:pt x="1147" y="85"/>
                          <a:pt x="1145" y="90"/>
                          <a:pt x="1141" y="96"/>
                        </a:cubicBezTo>
                        <a:cubicBezTo>
                          <a:pt x="1138" y="110"/>
                          <a:pt x="1139" y="114"/>
                          <a:pt x="1155" y="117"/>
                        </a:cubicBezTo>
                        <a:cubicBezTo>
                          <a:pt x="1168" y="123"/>
                          <a:pt x="1166" y="126"/>
                          <a:pt x="1153" y="129"/>
                        </a:cubicBezTo>
                        <a:cubicBezTo>
                          <a:pt x="1149" y="136"/>
                          <a:pt x="1152" y="138"/>
                          <a:pt x="1153" y="146"/>
                        </a:cubicBezTo>
                        <a:cubicBezTo>
                          <a:pt x="1147" y="147"/>
                          <a:pt x="1143" y="149"/>
                          <a:pt x="1137" y="150"/>
                        </a:cubicBezTo>
                        <a:cubicBezTo>
                          <a:pt x="1129" y="153"/>
                          <a:pt x="1120" y="155"/>
                          <a:pt x="1111" y="156"/>
                        </a:cubicBezTo>
                        <a:cubicBezTo>
                          <a:pt x="1103" y="162"/>
                          <a:pt x="1103" y="172"/>
                          <a:pt x="1093" y="174"/>
                        </a:cubicBezTo>
                        <a:cubicBezTo>
                          <a:pt x="1086" y="178"/>
                          <a:pt x="1085" y="172"/>
                          <a:pt x="1089" y="167"/>
                        </a:cubicBezTo>
                        <a:cubicBezTo>
                          <a:pt x="1090" y="160"/>
                          <a:pt x="1093" y="162"/>
                          <a:pt x="1099" y="159"/>
                        </a:cubicBezTo>
                        <a:cubicBezTo>
                          <a:pt x="1103" y="151"/>
                          <a:pt x="1100" y="150"/>
                          <a:pt x="1092" y="149"/>
                        </a:cubicBezTo>
                        <a:cubicBezTo>
                          <a:pt x="1089" y="148"/>
                          <a:pt x="1084" y="142"/>
                          <a:pt x="1087" y="141"/>
                        </a:cubicBezTo>
                        <a:cubicBezTo>
                          <a:pt x="1099" y="139"/>
                          <a:pt x="1112" y="140"/>
                          <a:pt x="1125" y="140"/>
                        </a:cubicBezTo>
                        <a:cubicBezTo>
                          <a:pt x="1126" y="124"/>
                          <a:pt x="1128" y="131"/>
                          <a:pt x="1134" y="120"/>
                        </a:cubicBezTo>
                        <a:cubicBezTo>
                          <a:pt x="1127" y="116"/>
                          <a:pt x="1111" y="114"/>
                          <a:pt x="1111" y="114"/>
                        </a:cubicBezTo>
                        <a:cubicBezTo>
                          <a:pt x="1103" y="108"/>
                          <a:pt x="1098" y="115"/>
                          <a:pt x="1090" y="117"/>
                        </a:cubicBezTo>
                        <a:cubicBezTo>
                          <a:pt x="1072" y="126"/>
                          <a:pt x="1082" y="128"/>
                          <a:pt x="1056" y="131"/>
                        </a:cubicBezTo>
                        <a:cubicBezTo>
                          <a:pt x="1061" y="135"/>
                          <a:pt x="1068" y="136"/>
                          <a:pt x="1074" y="140"/>
                        </a:cubicBezTo>
                        <a:cubicBezTo>
                          <a:pt x="1071" y="146"/>
                          <a:pt x="1066" y="146"/>
                          <a:pt x="1059" y="147"/>
                        </a:cubicBezTo>
                        <a:cubicBezTo>
                          <a:pt x="1048" y="151"/>
                          <a:pt x="1058" y="158"/>
                          <a:pt x="1065" y="159"/>
                        </a:cubicBezTo>
                        <a:cubicBezTo>
                          <a:pt x="1059" y="163"/>
                          <a:pt x="1035" y="161"/>
                          <a:pt x="1030" y="161"/>
                        </a:cubicBezTo>
                        <a:cubicBezTo>
                          <a:pt x="1019" y="156"/>
                          <a:pt x="1006" y="162"/>
                          <a:pt x="994" y="162"/>
                        </a:cubicBezTo>
                        <a:cubicBezTo>
                          <a:pt x="983" y="165"/>
                          <a:pt x="972" y="163"/>
                          <a:pt x="961" y="161"/>
                        </a:cubicBezTo>
                        <a:cubicBezTo>
                          <a:pt x="955" y="156"/>
                          <a:pt x="951" y="155"/>
                          <a:pt x="943" y="153"/>
                        </a:cubicBezTo>
                        <a:cubicBezTo>
                          <a:pt x="938" y="150"/>
                          <a:pt x="936" y="146"/>
                          <a:pt x="931" y="143"/>
                        </a:cubicBezTo>
                        <a:cubicBezTo>
                          <a:pt x="928" y="139"/>
                          <a:pt x="925" y="135"/>
                          <a:pt x="922" y="132"/>
                        </a:cubicBezTo>
                        <a:cubicBezTo>
                          <a:pt x="919" y="131"/>
                          <a:pt x="920" y="136"/>
                          <a:pt x="913" y="137"/>
                        </a:cubicBezTo>
                        <a:cubicBezTo>
                          <a:pt x="906" y="134"/>
                          <a:pt x="884" y="138"/>
                          <a:pt x="879" y="138"/>
                        </a:cubicBezTo>
                        <a:cubicBezTo>
                          <a:pt x="872" y="141"/>
                          <a:pt x="865" y="140"/>
                          <a:pt x="858" y="143"/>
                        </a:cubicBezTo>
                        <a:cubicBezTo>
                          <a:pt x="849" y="154"/>
                          <a:pt x="862" y="180"/>
                          <a:pt x="847" y="183"/>
                        </a:cubicBezTo>
                        <a:cubicBezTo>
                          <a:pt x="845" y="169"/>
                          <a:pt x="841" y="161"/>
                          <a:pt x="826" y="158"/>
                        </a:cubicBezTo>
                        <a:cubicBezTo>
                          <a:pt x="809" y="159"/>
                          <a:pt x="794" y="164"/>
                          <a:pt x="777" y="165"/>
                        </a:cubicBezTo>
                        <a:cubicBezTo>
                          <a:pt x="762" y="165"/>
                          <a:pt x="738" y="176"/>
                          <a:pt x="733" y="162"/>
                        </a:cubicBezTo>
                        <a:cubicBezTo>
                          <a:pt x="730" y="154"/>
                          <a:pt x="740" y="153"/>
                          <a:pt x="744" y="152"/>
                        </a:cubicBezTo>
                        <a:cubicBezTo>
                          <a:pt x="757" y="146"/>
                          <a:pt x="753" y="153"/>
                          <a:pt x="759" y="140"/>
                        </a:cubicBezTo>
                        <a:cubicBezTo>
                          <a:pt x="756" y="129"/>
                          <a:pt x="756" y="133"/>
                          <a:pt x="747" y="129"/>
                        </a:cubicBezTo>
                        <a:cubicBezTo>
                          <a:pt x="733" y="130"/>
                          <a:pt x="722" y="132"/>
                          <a:pt x="709" y="131"/>
                        </a:cubicBezTo>
                        <a:cubicBezTo>
                          <a:pt x="701" y="127"/>
                          <a:pt x="691" y="124"/>
                          <a:pt x="682" y="122"/>
                        </a:cubicBezTo>
                        <a:cubicBezTo>
                          <a:pt x="676" y="119"/>
                          <a:pt x="670" y="117"/>
                          <a:pt x="664" y="116"/>
                        </a:cubicBezTo>
                        <a:cubicBezTo>
                          <a:pt x="657" y="112"/>
                          <a:pt x="647" y="111"/>
                          <a:pt x="639" y="110"/>
                        </a:cubicBezTo>
                        <a:cubicBezTo>
                          <a:pt x="630" y="111"/>
                          <a:pt x="624" y="115"/>
                          <a:pt x="616" y="117"/>
                        </a:cubicBezTo>
                        <a:cubicBezTo>
                          <a:pt x="611" y="120"/>
                          <a:pt x="609" y="124"/>
                          <a:pt x="601" y="119"/>
                        </a:cubicBezTo>
                        <a:cubicBezTo>
                          <a:pt x="599" y="118"/>
                          <a:pt x="609" y="108"/>
                          <a:pt x="610" y="107"/>
                        </a:cubicBezTo>
                        <a:cubicBezTo>
                          <a:pt x="603" y="102"/>
                          <a:pt x="597" y="107"/>
                          <a:pt x="589" y="108"/>
                        </a:cubicBezTo>
                        <a:cubicBezTo>
                          <a:pt x="583" y="112"/>
                          <a:pt x="578" y="116"/>
                          <a:pt x="571" y="119"/>
                        </a:cubicBezTo>
                        <a:cubicBezTo>
                          <a:pt x="562" y="116"/>
                          <a:pt x="568" y="104"/>
                          <a:pt x="561" y="95"/>
                        </a:cubicBezTo>
                        <a:cubicBezTo>
                          <a:pt x="555" y="96"/>
                          <a:pt x="550" y="98"/>
                          <a:pt x="544" y="99"/>
                        </a:cubicBezTo>
                        <a:cubicBezTo>
                          <a:pt x="538" y="102"/>
                          <a:pt x="532" y="104"/>
                          <a:pt x="526" y="105"/>
                        </a:cubicBezTo>
                        <a:cubicBezTo>
                          <a:pt x="520" y="108"/>
                          <a:pt x="517" y="108"/>
                          <a:pt x="510" y="107"/>
                        </a:cubicBezTo>
                        <a:cubicBezTo>
                          <a:pt x="512" y="106"/>
                          <a:pt x="513" y="101"/>
                          <a:pt x="511" y="101"/>
                        </a:cubicBezTo>
                        <a:cubicBezTo>
                          <a:pt x="507" y="100"/>
                          <a:pt x="502" y="102"/>
                          <a:pt x="498" y="102"/>
                        </a:cubicBezTo>
                        <a:cubicBezTo>
                          <a:pt x="488" y="105"/>
                          <a:pt x="477" y="107"/>
                          <a:pt x="466" y="108"/>
                        </a:cubicBezTo>
                        <a:cubicBezTo>
                          <a:pt x="454" y="114"/>
                          <a:pt x="439" y="112"/>
                          <a:pt x="426" y="114"/>
                        </a:cubicBezTo>
                        <a:cubicBezTo>
                          <a:pt x="408" y="113"/>
                          <a:pt x="401" y="111"/>
                          <a:pt x="385" y="114"/>
                        </a:cubicBezTo>
                        <a:cubicBezTo>
                          <a:pt x="380" y="118"/>
                          <a:pt x="375" y="122"/>
                          <a:pt x="369" y="125"/>
                        </a:cubicBezTo>
                        <a:cubicBezTo>
                          <a:pt x="365" y="132"/>
                          <a:pt x="359" y="131"/>
                          <a:pt x="352" y="132"/>
                        </a:cubicBezTo>
                        <a:cubicBezTo>
                          <a:pt x="344" y="131"/>
                          <a:pt x="339" y="129"/>
                          <a:pt x="331" y="128"/>
                        </a:cubicBezTo>
                        <a:cubicBezTo>
                          <a:pt x="326" y="124"/>
                          <a:pt x="326" y="120"/>
                          <a:pt x="319" y="119"/>
                        </a:cubicBezTo>
                        <a:cubicBezTo>
                          <a:pt x="314" y="116"/>
                          <a:pt x="309" y="113"/>
                          <a:pt x="304" y="111"/>
                        </a:cubicBezTo>
                        <a:cubicBezTo>
                          <a:pt x="299" y="115"/>
                          <a:pt x="295" y="116"/>
                          <a:pt x="289" y="117"/>
                        </a:cubicBezTo>
                        <a:cubicBezTo>
                          <a:pt x="239" y="158"/>
                          <a:pt x="47" y="314"/>
                          <a:pt x="3" y="354"/>
                        </a:cubicBezTo>
                        <a:cubicBezTo>
                          <a:pt x="0" y="372"/>
                          <a:pt x="10" y="359"/>
                          <a:pt x="24" y="360"/>
                        </a:cubicBezTo>
                        <a:cubicBezTo>
                          <a:pt x="35" y="365"/>
                          <a:pt x="30" y="395"/>
                          <a:pt x="30" y="395"/>
                        </a:cubicBezTo>
                        <a:lnTo>
                          <a:pt x="69" y="377"/>
                        </a:lnTo>
                        <a:lnTo>
                          <a:pt x="100" y="371"/>
                        </a:lnTo>
                        <a:lnTo>
                          <a:pt x="99" y="401"/>
                        </a:lnTo>
                        <a:lnTo>
                          <a:pt x="91" y="456"/>
                        </a:lnTo>
                        <a:lnTo>
                          <a:pt x="100" y="477"/>
                        </a:lnTo>
                        <a:lnTo>
                          <a:pt x="78" y="503"/>
                        </a:lnTo>
                        <a:lnTo>
                          <a:pt x="57" y="519"/>
                        </a:lnTo>
                        <a:lnTo>
                          <a:pt x="31" y="539"/>
                        </a:lnTo>
                        <a:lnTo>
                          <a:pt x="39" y="555"/>
                        </a:lnTo>
                        <a:lnTo>
                          <a:pt x="46" y="567"/>
                        </a:lnTo>
                        <a:lnTo>
                          <a:pt x="45" y="584"/>
                        </a:lnTo>
                        <a:lnTo>
                          <a:pt x="36" y="599"/>
                        </a:lnTo>
                        <a:lnTo>
                          <a:pt x="39" y="612"/>
                        </a:lnTo>
                        <a:lnTo>
                          <a:pt x="58" y="621"/>
                        </a:lnTo>
                        <a:lnTo>
                          <a:pt x="72" y="633"/>
                        </a:lnTo>
                        <a:lnTo>
                          <a:pt x="82" y="650"/>
                        </a:lnTo>
                        <a:lnTo>
                          <a:pt x="102" y="67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3" name="Freeform 28"/>
                  <p:cNvSpPr>
                    <a:spLocks/>
                  </p:cNvSpPr>
                  <p:nvPr/>
                </p:nvSpPr>
                <p:spPr bwMode="auto">
                  <a:xfrm>
                    <a:off x="1445" y="2750"/>
                    <a:ext cx="41" cy="63"/>
                  </a:xfrm>
                  <a:custGeom>
                    <a:avLst/>
                    <a:gdLst>
                      <a:gd name="T0" fmla="*/ 37 w 41"/>
                      <a:gd name="T1" fmla="*/ 3 h 63"/>
                      <a:gd name="T2" fmla="*/ 10 w 41"/>
                      <a:gd name="T3" fmla="*/ 6 h 63"/>
                      <a:gd name="T4" fmla="*/ 0 w 41"/>
                      <a:gd name="T5" fmla="*/ 27 h 63"/>
                      <a:gd name="T6" fmla="*/ 9 w 41"/>
                      <a:gd name="T7" fmla="*/ 63 h 63"/>
                      <a:gd name="T8" fmla="*/ 30 w 41"/>
                      <a:gd name="T9" fmla="*/ 24 h 63"/>
                      <a:gd name="T10" fmla="*/ 37 w 41"/>
                      <a:gd name="T11" fmla="*/ 3 h 63"/>
                    </a:gdLst>
                    <a:ahLst/>
                    <a:cxnLst>
                      <a:cxn ang="0">
                        <a:pos x="T0" y="T1"/>
                      </a:cxn>
                      <a:cxn ang="0">
                        <a:pos x="T2" y="T3"/>
                      </a:cxn>
                      <a:cxn ang="0">
                        <a:pos x="T4" y="T5"/>
                      </a:cxn>
                      <a:cxn ang="0">
                        <a:pos x="T6" y="T7"/>
                      </a:cxn>
                      <a:cxn ang="0">
                        <a:pos x="T8" y="T9"/>
                      </a:cxn>
                      <a:cxn ang="0">
                        <a:pos x="T10" y="T11"/>
                      </a:cxn>
                    </a:cxnLst>
                    <a:rect l="0" t="0" r="r" b="b"/>
                    <a:pathLst>
                      <a:path w="41" h="63">
                        <a:moveTo>
                          <a:pt x="37" y="3"/>
                        </a:moveTo>
                        <a:cubicBezTo>
                          <a:pt x="30" y="0"/>
                          <a:pt x="17" y="5"/>
                          <a:pt x="10" y="6"/>
                        </a:cubicBezTo>
                        <a:cubicBezTo>
                          <a:pt x="4" y="14"/>
                          <a:pt x="2" y="17"/>
                          <a:pt x="0" y="27"/>
                        </a:cubicBezTo>
                        <a:cubicBezTo>
                          <a:pt x="1" y="37"/>
                          <a:pt x="0" y="58"/>
                          <a:pt x="9" y="63"/>
                        </a:cubicBezTo>
                        <a:cubicBezTo>
                          <a:pt x="16" y="51"/>
                          <a:pt x="13" y="27"/>
                          <a:pt x="30" y="24"/>
                        </a:cubicBezTo>
                        <a:cubicBezTo>
                          <a:pt x="33" y="18"/>
                          <a:pt x="41" y="9"/>
                          <a:pt x="37" y="3"/>
                        </a:cubicBezTo>
                        <a:close/>
                      </a:path>
                    </a:pathLst>
                  </a:custGeom>
                  <a:grpFill/>
                  <a:ln w="6350" cap="flat" cmpd="sng">
                    <a:solidFill>
                      <a:srgbClr val="FFFFFF"/>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4" name="Freeform 29"/>
                  <p:cNvSpPr>
                    <a:spLocks/>
                  </p:cNvSpPr>
                  <p:nvPr/>
                </p:nvSpPr>
                <p:spPr bwMode="auto">
                  <a:xfrm>
                    <a:off x="1475" y="2846"/>
                    <a:ext cx="84" cy="75"/>
                  </a:xfrm>
                  <a:custGeom>
                    <a:avLst/>
                    <a:gdLst>
                      <a:gd name="T0" fmla="*/ 72 w 84"/>
                      <a:gd name="T1" fmla="*/ 72 h 75"/>
                      <a:gd name="T2" fmla="*/ 84 w 84"/>
                      <a:gd name="T3" fmla="*/ 57 h 75"/>
                      <a:gd name="T4" fmla="*/ 67 w 84"/>
                      <a:gd name="T5" fmla="*/ 36 h 75"/>
                      <a:gd name="T6" fmla="*/ 60 w 84"/>
                      <a:gd name="T7" fmla="*/ 6 h 75"/>
                      <a:gd name="T8" fmla="*/ 45 w 84"/>
                      <a:gd name="T9" fmla="*/ 1 h 75"/>
                      <a:gd name="T10" fmla="*/ 31 w 84"/>
                      <a:gd name="T11" fmla="*/ 6 h 75"/>
                      <a:gd name="T12" fmla="*/ 16 w 84"/>
                      <a:gd name="T13" fmla="*/ 0 h 75"/>
                      <a:gd name="T14" fmla="*/ 1 w 84"/>
                      <a:gd name="T15" fmla="*/ 7 h 75"/>
                      <a:gd name="T16" fmla="*/ 7 w 84"/>
                      <a:gd name="T17" fmla="*/ 19 h 75"/>
                      <a:gd name="T18" fmla="*/ 18 w 84"/>
                      <a:gd name="T19" fmla="*/ 34 h 75"/>
                      <a:gd name="T20" fmla="*/ 22 w 84"/>
                      <a:gd name="T21" fmla="*/ 37 h 75"/>
                      <a:gd name="T22" fmla="*/ 33 w 84"/>
                      <a:gd name="T23" fmla="*/ 75 h 75"/>
                      <a:gd name="T24" fmla="*/ 42 w 84"/>
                      <a:gd name="T25" fmla="*/ 70 h 75"/>
                      <a:gd name="T26" fmla="*/ 72 w 84"/>
                      <a:gd name="T2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5">
                        <a:moveTo>
                          <a:pt x="72" y="72"/>
                        </a:moveTo>
                        <a:cubicBezTo>
                          <a:pt x="81" y="68"/>
                          <a:pt x="80" y="65"/>
                          <a:pt x="84" y="57"/>
                        </a:cubicBezTo>
                        <a:cubicBezTo>
                          <a:pt x="76" y="52"/>
                          <a:pt x="73" y="43"/>
                          <a:pt x="67" y="36"/>
                        </a:cubicBezTo>
                        <a:cubicBezTo>
                          <a:pt x="65" y="27"/>
                          <a:pt x="69" y="10"/>
                          <a:pt x="60" y="6"/>
                        </a:cubicBezTo>
                        <a:cubicBezTo>
                          <a:pt x="56" y="1"/>
                          <a:pt x="50" y="4"/>
                          <a:pt x="45" y="1"/>
                        </a:cubicBezTo>
                        <a:cubicBezTo>
                          <a:pt x="41" y="8"/>
                          <a:pt x="39" y="7"/>
                          <a:pt x="31" y="6"/>
                        </a:cubicBezTo>
                        <a:cubicBezTo>
                          <a:pt x="26" y="2"/>
                          <a:pt x="22" y="1"/>
                          <a:pt x="16" y="0"/>
                        </a:cubicBezTo>
                        <a:cubicBezTo>
                          <a:pt x="9" y="1"/>
                          <a:pt x="5" y="1"/>
                          <a:pt x="1" y="7"/>
                        </a:cubicBezTo>
                        <a:cubicBezTo>
                          <a:pt x="0" y="14"/>
                          <a:pt x="2" y="15"/>
                          <a:pt x="7" y="19"/>
                        </a:cubicBezTo>
                        <a:cubicBezTo>
                          <a:pt x="10" y="31"/>
                          <a:pt x="7" y="25"/>
                          <a:pt x="18" y="34"/>
                        </a:cubicBezTo>
                        <a:cubicBezTo>
                          <a:pt x="19" y="35"/>
                          <a:pt x="22" y="37"/>
                          <a:pt x="22" y="37"/>
                        </a:cubicBezTo>
                        <a:cubicBezTo>
                          <a:pt x="26" y="47"/>
                          <a:pt x="33" y="65"/>
                          <a:pt x="33" y="75"/>
                        </a:cubicBezTo>
                        <a:lnTo>
                          <a:pt x="42" y="70"/>
                        </a:lnTo>
                        <a:lnTo>
                          <a:pt x="72" y="72"/>
                        </a:lnTo>
                        <a:close/>
                      </a:path>
                    </a:pathLst>
                  </a:custGeom>
                  <a:grpFill/>
                  <a:ln w="6350" cap="flat" cmpd="sng">
                    <a:solidFill>
                      <a:srgbClr val="FFFFFF"/>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5" name="Freeform 30"/>
                  <p:cNvSpPr>
                    <a:spLocks/>
                  </p:cNvSpPr>
                  <p:nvPr/>
                </p:nvSpPr>
                <p:spPr bwMode="auto">
                  <a:xfrm>
                    <a:off x="3008" y="2823"/>
                    <a:ext cx="151" cy="144"/>
                  </a:xfrm>
                  <a:custGeom>
                    <a:avLst/>
                    <a:gdLst>
                      <a:gd name="T0" fmla="*/ 0 w 151"/>
                      <a:gd name="T1" fmla="*/ 117 h 144"/>
                      <a:gd name="T2" fmla="*/ 18 w 151"/>
                      <a:gd name="T3" fmla="*/ 96 h 144"/>
                      <a:gd name="T4" fmla="*/ 6 w 151"/>
                      <a:gd name="T5" fmla="*/ 87 h 144"/>
                      <a:gd name="T6" fmla="*/ 18 w 151"/>
                      <a:gd name="T7" fmla="*/ 80 h 144"/>
                      <a:gd name="T8" fmla="*/ 36 w 151"/>
                      <a:gd name="T9" fmla="*/ 74 h 144"/>
                      <a:gd name="T10" fmla="*/ 57 w 151"/>
                      <a:gd name="T11" fmla="*/ 50 h 144"/>
                      <a:gd name="T12" fmla="*/ 87 w 151"/>
                      <a:gd name="T13" fmla="*/ 14 h 144"/>
                      <a:gd name="T14" fmla="*/ 103 w 151"/>
                      <a:gd name="T15" fmla="*/ 2 h 144"/>
                      <a:gd name="T16" fmla="*/ 118 w 151"/>
                      <a:gd name="T17" fmla="*/ 3 h 144"/>
                      <a:gd name="T18" fmla="*/ 100 w 151"/>
                      <a:gd name="T19" fmla="*/ 24 h 144"/>
                      <a:gd name="T20" fmla="*/ 79 w 151"/>
                      <a:gd name="T21" fmla="*/ 45 h 144"/>
                      <a:gd name="T22" fmla="*/ 72 w 151"/>
                      <a:gd name="T23" fmla="*/ 56 h 144"/>
                      <a:gd name="T24" fmla="*/ 93 w 151"/>
                      <a:gd name="T25" fmla="*/ 48 h 144"/>
                      <a:gd name="T26" fmla="*/ 97 w 151"/>
                      <a:gd name="T27" fmla="*/ 59 h 144"/>
                      <a:gd name="T28" fmla="*/ 111 w 151"/>
                      <a:gd name="T29" fmla="*/ 68 h 144"/>
                      <a:gd name="T30" fmla="*/ 124 w 151"/>
                      <a:gd name="T31" fmla="*/ 59 h 144"/>
                      <a:gd name="T32" fmla="*/ 138 w 151"/>
                      <a:gd name="T33" fmla="*/ 71 h 144"/>
                      <a:gd name="T34" fmla="*/ 147 w 151"/>
                      <a:gd name="T35" fmla="*/ 89 h 144"/>
                      <a:gd name="T36" fmla="*/ 133 w 151"/>
                      <a:gd name="T37" fmla="*/ 102 h 144"/>
                      <a:gd name="T38" fmla="*/ 141 w 151"/>
                      <a:gd name="T39" fmla="*/ 113 h 144"/>
                      <a:gd name="T40" fmla="*/ 136 w 151"/>
                      <a:gd name="T41" fmla="*/ 138 h 144"/>
                      <a:gd name="T42" fmla="*/ 121 w 151"/>
                      <a:gd name="T43" fmla="*/ 144 h 144"/>
                      <a:gd name="T44" fmla="*/ 106 w 151"/>
                      <a:gd name="T45" fmla="*/ 137 h 144"/>
                      <a:gd name="T46" fmla="*/ 112 w 151"/>
                      <a:gd name="T47" fmla="*/ 126 h 144"/>
                      <a:gd name="T48" fmla="*/ 109 w 151"/>
                      <a:gd name="T49" fmla="*/ 116 h 144"/>
                      <a:gd name="T50" fmla="*/ 93 w 151"/>
                      <a:gd name="T51" fmla="*/ 122 h 144"/>
                      <a:gd name="T52" fmla="*/ 72 w 151"/>
                      <a:gd name="T53" fmla="*/ 137 h 144"/>
                      <a:gd name="T54" fmla="*/ 66 w 151"/>
                      <a:gd name="T55" fmla="*/ 135 h 144"/>
                      <a:gd name="T56" fmla="*/ 79 w 151"/>
                      <a:gd name="T57" fmla="*/ 119 h 144"/>
                      <a:gd name="T58" fmla="*/ 61 w 151"/>
                      <a:gd name="T59" fmla="*/ 114 h 144"/>
                      <a:gd name="T60" fmla="*/ 28 w 151"/>
                      <a:gd name="T61" fmla="*/ 116 h 144"/>
                      <a:gd name="T62" fmla="*/ 9 w 151"/>
                      <a:gd name="T63" fmla="*/ 114 h 144"/>
                      <a:gd name="T64" fmla="*/ 0 w 151"/>
                      <a:gd name="T65" fmla="*/ 11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144">
                        <a:moveTo>
                          <a:pt x="0" y="117"/>
                        </a:moveTo>
                        <a:cubicBezTo>
                          <a:pt x="1" y="105"/>
                          <a:pt x="7" y="100"/>
                          <a:pt x="18" y="96"/>
                        </a:cubicBezTo>
                        <a:cubicBezTo>
                          <a:pt x="15" y="88"/>
                          <a:pt x="13" y="91"/>
                          <a:pt x="6" y="87"/>
                        </a:cubicBezTo>
                        <a:cubicBezTo>
                          <a:pt x="10" y="82"/>
                          <a:pt x="12" y="81"/>
                          <a:pt x="18" y="80"/>
                        </a:cubicBezTo>
                        <a:cubicBezTo>
                          <a:pt x="24" y="77"/>
                          <a:pt x="30" y="75"/>
                          <a:pt x="36" y="74"/>
                        </a:cubicBezTo>
                        <a:cubicBezTo>
                          <a:pt x="37" y="63"/>
                          <a:pt x="47" y="56"/>
                          <a:pt x="57" y="50"/>
                        </a:cubicBezTo>
                        <a:cubicBezTo>
                          <a:pt x="60" y="37"/>
                          <a:pt x="73" y="16"/>
                          <a:pt x="87" y="14"/>
                        </a:cubicBezTo>
                        <a:cubicBezTo>
                          <a:pt x="95" y="10"/>
                          <a:pt x="94" y="3"/>
                          <a:pt x="103" y="2"/>
                        </a:cubicBezTo>
                        <a:cubicBezTo>
                          <a:pt x="108" y="2"/>
                          <a:pt x="114" y="0"/>
                          <a:pt x="118" y="3"/>
                        </a:cubicBezTo>
                        <a:cubicBezTo>
                          <a:pt x="129" y="12"/>
                          <a:pt x="104" y="23"/>
                          <a:pt x="100" y="24"/>
                        </a:cubicBezTo>
                        <a:cubicBezTo>
                          <a:pt x="91" y="31"/>
                          <a:pt x="91" y="43"/>
                          <a:pt x="79" y="45"/>
                        </a:cubicBezTo>
                        <a:cubicBezTo>
                          <a:pt x="73" y="49"/>
                          <a:pt x="69" y="48"/>
                          <a:pt x="72" y="56"/>
                        </a:cubicBezTo>
                        <a:cubicBezTo>
                          <a:pt x="79" y="51"/>
                          <a:pt x="85" y="51"/>
                          <a:pt x="93" y="48"/>
                        </a:cubicBezTo>
                        <a:cubicBezTo>
                          <a:pt x="98" y="56"/>
                          <a:pt x="90" y="56"/>
                          <a:pt x="97" y="59"/>
                        </a:cubicBezTo>
                        <a:cubicBezTo>
                          <a:pt x="101" y="64"/>
                          <a:pt x="105" y="66"/>
                          <a:pt x="111" y="68"/>
                        </a:cubicBezTo>
                        <a:cubicBezTo>
                          <a:pt x="118" y="66"/>
                          <a:pt x="119" y="63"/>
                          <a:pt x="124" y="59"/>
                        </a:cubicBezTo>
                        <a:cubicBezTo>
                          <a:pt x="132" y="61"/>
                          <a:pt x="135" y="63"/>
                          <a:pt x="138" y="71"/>
                        </a:cubicBezTo>
                        <a:cubicBezTo>
                          <a:pt x="134" y="87"/>
                          <a:pt x="131" y="85"/>
                          <a:pt x="147" y="89"/>
                        </a:cubicBezTo>
                        <a:cubicBezTo>
                          <a:pt x="143" y="96"/>
                          <a:pt x="141" y="100"/>
                          <a:pt x="133" y="102"/>
                        </a:cubicBezTo>
                        <a:cubicBezTo>
                          <a:pt x="126" y="114"/>
                          <a:pt x="119" y="108"/>
                          <a:pt x="141" y="113"/>
                        </a:cubicBezTo>
                        <a:cubicBezTo>
                          <a:pt x="151" y="120"/>
                          <a:pt x="148" y="136"/>
                          <a:pt x="136" y="138"/>
                        </a:cubicBezTo>
                        <a:cubicBezTo>
                          <a:pt x="131" y="142"/>
                          <a:pt x="127" y="143"/>
                          <a:pt x="121" y="144"/>
                        </a:cubicBezTo>
                        <a:cubicBezTo>
                          <a:pt x="114" y="143"/>
                          <a:pt x="112" y="140"/>
                          <a:pt x="106" y="137"/>
                        </a:cubicBezTo>
                        <a:cubicBezTo>
                          <a:pt x="105" y="130"/>
                          <a:pt x="106" y="129"/>
                          <a:pt x="112" y="126"/>
                        </a:cubicBezTo>
                        <a:cubicBezTo>
                          <a:pt x="115" y="119"/>
                          <a:pt x="118" y="117"/>
                          <a:pt x="109" y="116"/>
                        </a:cubicBezTo>
                        <a:cubicBezTo>
                          <a:pt x="103" y="117"/>
                          <a:pt x="98" y="118"/>
                          <a:pt x="93" y="122"/>
                        </a:cubicBezTo>
                        <a:cubicBezTo>
                          <a:pt x="89" y="130"/>
                          <a:pt x="79" y="132"/>
                          <a:pt x="72" y="137"/>
                        </a:cubicBezTo>
                        <a:cubicBezTo>
                          <a:pt x="70" y="136"/>
                          <a:pt x="67" y="137"/>
                          <a:pt x="66" y="135"/>
                        </a:cubicBezTo>
                        <a:cubicBezTo>
                          <a:pt x="65" y="133"/>
                          <a:pt x="77" y="121"/>
                          <a:pt x="79" y="119"/>
                        </a:cubicBezTo>
                        <a:cubicBezTo>
                          <a:pt x="83" y="108"/>
                          <a:pt x="69" y="113"/>
                          <a:pt x="61" y="114"/>
                        </a:cubicBezTo>
                        <a:cubicBezTo>
                          <a:pt x="49" y="118"/>
                          <a:pt x="43" y="117"/>
                          <a:pt x="28" y="116"/>
                        </a:cubicBezTo>
                        <a:cubicBezTo>
                          <a:pt x="21" y="112"/>
                          <a:pt x="17" y="113"/>
                          <a:pt x="9" y="114"/>
                        </a:cubicBezTo>
                        <a:cubicBezTo>
                          <a:pt x="3" y="118"/>
                          <a:pt x="6" y="117"/>
                          <a:pt x="0" y="117"/>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6" name="Freeform 31"/>
                  <p:cNvSpPr>
                    <a:spLocks/>
                  </p:cNvSpPr>
                  <p:nvPr/>
                </p:nvSpPr>
                <p:spPr bwMode="auto">
                  <a:xfrm>
                    <a:off x="2742" y="2234"/>
                    <a:ext cx="465" cy="307"/>
                  </a:xfrm>
                  <a:custGeom>
                    <a:avLst/>
                    <a:gdLst>
                      <a:gd name="T0" fmla="*/ 225 w 465"/>
                      <a:gd name="T1" fmla="*/ 184 h 307"/>
                      <a:gd name="T2" fmla="*/ 207 w 465"/>
                      <a:gd name="T3" fmla="*/ 208 h 307"/>
                      <a:gd name="T4" fmla="*/ 179 w 465"/>
                      <a:gd name="T5" fmla="*/ 217 h 307"/>
                      <a:gd name="T6" fmla="*/ 108 w 465"/>
                      <a:gd name="T7" fmla="*/ 220 h 307"/>
                      <a:gd name="T8" fmla="*/ 99 w 465"/>
                      <a:gd name="T9" fmla="*/ 238 h 307"/>
                      <a:gd name="T10" fmla="*/ 144 w 465"/>
                      <a:gd name="T11" fmla="*/ 241 h 307"/>
                      <a:gd name="T12" fmla="*/ 200 w 465"/>
                      <a:gd name="T13" fmla="*/ 250 h 307"/>
                      <a:gd name="T14" fmla="*/ 203 w 465"/>
                      <a:gd name="T15" fmla="*/ 270 h 307"/>
                      <a:gd name="T16" fmla="*/ 246 w 465"/>
                      <a:gd name="T17" fmla="*/ 289 h 307"/>
                      <a:gd name="T18" fmla="*/ 287 w 465"/>
                      <a:gd name="T19" fmla="*/ 307 h 307"/>
                      <a:gd name="T20" fmla="*/ 284 w 465"/>
                      <a:gd name="T21" fmla="*/ 279 h 307"/>
                      <a:gd name="T22" fmla="*/ 284 w 465"/>
                      <a:gd name="T23" fmla="*/ 261 h 307"/>
                      <a:gd name="T24" fmla="*/ 329 w 465"/>
                      <a:gd name="T25" fmla="*/ 286 h 307"/>
                      <a:gd name="T26" fmla="*/ 359 w 465"/>
                      <a:gd name="T27" fmla="*/ 270 h 307"/>
                      <a:gd name="T28" fmla="*/ 345 w 465"/>
                      <a:gd name="T29" fmla="*/ 228 h 307"/>
                      <a:gd name="T30" fmla="*/ 327 w 465"/>
                      <a:gd name="T31" fmla="*/ 204 h 307"/>
                      <a:gd name="T32" fmla="*/ 348 w 465"/>
                      <a:gd name="T33" fmla="*/ 189 h 307"/>
                      <a:gd name="T34" fmla="*/ 371 w 465"/>
                      <a:gd name="T35" fmla="*/ 208 h 307"/>
                      <a:gd name="T36" fmla="*/ 387 w 465"/>
                      <a:gd name="T37" fmla="*/ 228 h 307"/>
                      <a:gd name="T38" fmla="*/ 410 w 465"/>
                      <a:gd name="T39" fmla="*/ 205 h 307"/>
                      <a:gd name="T40" fmla="*/ 461 w 465"/>
                      <a:gd name="T41" fmla="*/ 189 h 307"/>
                      <a:gd name="T42" fmla="*/ 435 w 465"/>
                      <a:gd name="T43" fmla="*/ 162 h 307"/>
                      <a:gd name="T44" fmla="*/ 405 w 465"/>
                      <a:gd name="T45" fmla="*/ 150 h 307"/>
                      <a:gd name="T46" fmla="*/ 366 w 465"/>
                      <a:gd name="T47" fmla="*/ 135 h 307"/>
                      <a:gd name="T48" fmla="*/ 383 w 465"/>
                      <a:gd name="T49" fmla="*/ 123 h 307"/>
                      <a:gd name="T50" fmla="*/ 387 w 465"/>
                      <a:gd name="T51" fmla="*/ 105 h 307"/>
                      <a:gd name="T52" fmla="*/ 378 w 465"/>
                      <a:gd name="T53" fmla="*/ 94 h 307"/>
                      <a:gd name="T54" fmla="*/ 365 w 465"/>
                      <a:gd name="T55" fmla="*/ 79 h 307"/>
                      <a:gd name="T56" fmla="*/ 345 w 465"/>
                      <a:gd name="T57" fmla="*/ 55 h 307"/>
                      <a:gd name="T58" fmla="*/ 303 w 465"/>
                      <a:gd name="T59" fmla="*/ 45 h 307"/>
                      <a:gd name="T60" fmla="*/ 287 w 465"/>
                      <a:gd name="T61" fmla="*/ 30 h 307"/>
                      <a:gd name="T62" fmla="*/ 276 w 465"/>
                      <a:gd name="T63" fmla="*/ 9 h 307"/>
                      <a:gd name="T64" fmla="*/ 230 w 465"/>
                      <a:gd name="T65" fmla="*/ 25 h 307"/>
                      <a:gd name="T66" fmla="*/ 251 w 465"/>
                      <a:gd name="T67" fmla="*/ 39 h 307"/>
                      <a:gd name="T68" fmla="*/ 218 w 465"/>
                      <a:gd name="T69" fmla="*/ 40 h 307"/>
                      <a:gd name="T70" fmla="*/ 207 w 465"/>
                      <a:gd name="T71" fmla="*/ 36 h 307"/>
                      <a:gd name="T72" fmla="*/ 215 w 465"/>
                      <a:gd name="T73" fmla="*/ 7 h 307"/>
                      <a:gd name="T74" fmla="*/ 144 w 465"/>
                      <a:gd name="T75" fmla="*/ 19 h 307"/>
                      <a:gd name="T76" fmla="*/ 114 w 465"/>
                      <a:gd name="T77" fmla="*/ 37 h 307"/>
                      <a:gd name="T78" fmla="*/ 101 w 465"/>
                      <a:gd name="T79" fmla="*/ 61 h 307"/>
                      <a:gd name="T80" fmla="*/ 105 w 465"/>
                      <a:gd name="T81" fmla="*/ 28 h 307"/>
                      <a:gd name="T82" fmla="*/ 153 w 465"/>
                      <a:gd name="T83" fmla="*/ 7 h 307"/>
                      <a:gd name="T84" fmla="*/ 102 w 465"/>
                      <a:gd name="T85" fmla="*/ 13 h 307"/>
                      <a:gd name="T86" fmla="*/ 62 w 465"/>
                      <a:gd name="T87" fmla="*/ 25 h 307"/>
                      <a:gd name="T88" fmla="*/ 38 w 465"/>
                      <a:gd name="T89" fmla="*/ 37 h 307"/>
                      <a:gd name="T90" fmla="*/ 17 w 465"/>
                      <a:gd name="T91" fmla="*/ 55 h 307"/>
                      <a:gd name="T92" fmla="*/ 50 w 465"/>
                      <a:gd name="T93" fmla="*/ 67 h 307"/>
                      <a:gd name="T94" fmla="*/ 12 w 465"/>
                      <a:gd name="T95" fmla="*/ 75 h 307"/>
                      <a:gd name="T96" fmla="*/ 36 w 465"/>
                      <a:gd name="T97" fmla="*/ 96 h 307"/>
                      <a:gd name="T98" fmla="*/ 101 w 465"/>
                      <a:gd name="T99" fmla="*/ 97 h 307"/>
                      <a:gd name="T100" fmla="*/ 134 w 465"/>
                      <a:gd name="T101" fmla="*/ 99 h 307"/>
                      <a:gd name="T102" fmla="*/ 188 w 465"/>
                      <a:gd name="T103" fmla="*/ 100 h 307"/>
                      <a:gd name="T104" fmla="*/ 219 w 465"/>
                      <a:gd name="T105" fmla="*/ 108 h 307"/>
                      <a:gd name="T106" fmla="*/ 212 w 465"/>
                      <a:gd name="T107" fmla="*/ 129 h 307"/>
                      <a:gd name="T108" fmla="*/ 246 w 465"/>
                      <a:gd name="T109" fmla="*/ 130 h 307"/>
                      <a:gd name="T110" fmla="*/ 231 w 465"/>
                      <a:gd name="T111" fmla="*/ 17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5" h="307">
                        <a:moveTo>
                          <a:pt x="243" y="178"/>
                        </a:moveTo>
                        <a:cubicBezTo>
                          <a:pt x="240" y="179"/>
                          <a:pt x="230" y="182"/>
                          <a:pt x="225" y="184"/>
                        </a:cubicBezTo>
                        <a:cubicBezTo>
                          <a:pt x="219" y="186"/>
                          <a:pt x="215" y="189"/>
                          <a:pt x="210" y="192"/>
                        </a:cubicBezTo>
                        <a:cubicBezTo>
                          <a:pt x="205" y="199"/>
                          <a:pt x="201" y="199"/>
                          <a:pt x="207" y="208"/>
                        </a:cubicBezTo>
                        <a:cubicBezTo>
                          <a:pt x="201" y="219"/>
                          <a:pt x="206" y="213"/>
                          <a:pt x="185" y="216"/>
                        </a:cubicBezTo>
                        <a:cubicBezTo>
                          <a:pt x="183" y="216"/>
                          <a:pt x="179" y="217"/>
                          <a:pt x="179" y="217"/>
                        </a:cubicBezTo>
                        <a:cubicBezTo>
                          <a:pt x="164" y="216"/>
                          <a:pt x="150" y="215"/>
                          <a:pt x="135" y="213"/>
                        </a:cubicBezTo>
                        <a:cubicBezTo>
                          <a:pt x="123" y="214"/>
                          <a:pt x="119" y="218"/>
                          <a:pt x="108" y="220"/>
                        </a:cubicBezTo>
                        <a:cubicBezTo>
                          <a:pt x="105" y="234"/>
                          <a:pt x="110" y="216"/>
                          <a:pt x="102" y="228"/>
                        </a:cubicBezTo>
                        <a:cubicBezTo>
                          <a:pt x="100" y="231"/>
                          <a:pt x="101" y="235"/>
                          <a:pt x="99" y="238"/>
                        </a:cubicBezTo>
                        <a:cubicBezTo>
                          <a:pt x="102" y="245"/>
                          <a:pt x="106" y="246"/>
                          <a:pt x="113" y="247"/>
                        </a:cubicBezTo>
                        <a:cubicBezTo>
                          <a:pt x="124" y="246"/>
                          <a:pt x="133" y="244"/>
                          <a:pt x="144" y="241"/>
                        </a:cubicBezTo>
                        <a:cubicBezTo>
                          <a:pt x="153" y="236"/>
                          <a:pt x="163" y="240"/>
                          <a:pt x="171" y="234"/>
                        </a:cubicBezTo>
                        <a:cubicBezTo>
                          <a:pt x="184" y="236"/>
                          <a:pt x="187" y="248"/>
                          <a:pt x="200" y="250"/>
                        </a:cubicBezTo>
                        <a:cubicBezTo>
                          <a:pt x="204" y="257"/>
                          <a:pt x="207" y="255"/>
                          <a:pt x="213" y="259"/>
                        </a:cubicBezTo>
                        <a:cubicBezTo>
                          <a:pt x="206" y="262"/>
                          <a:pt x="204" y="262"/>
                          <a:pt x="203" y="270"/>
                        </a:cubicBezTo>
                        <a:cubicBezTo>
                          <a:pt x="205" y="285"/>
                          <a:pt x="219" y="282"/>
                          <a:pt x="233" y="283"/>
                        </a:cubicBezTo>
                        <a:cubicBezTo>
                          <a:pt x="238" y="285"/>
                          <a:pt x="242" y="286"/>
                          <a:pt x="246" y="289"/>
                        </a:cubicBezTo>
                        <a:cubicBezTo>
                          <a:pt x="249" y="295"/>
                          <a:pt x="250" y="297"/>
                          <a:pt x="257" y="298"/>
                        </a:cubicBezTo>
                        <a:cubicBezTo>
                          <a:pt x="266" y="303"/>
                          <a:pt x="277" y="305"/>
                          <a:pt x="287" y="307"/>
                        </a:cubicBezTo>
                        <a:cubicBezTo>
                          <a:pt x="297" y="306"/>
                          <a:pt x="314" y="302"/>
                          <a:pt x="297" y="295"/>
                        </a:cubicBezTo>
                        <a:cubicBezTo>
                          <a:pt x="295" y="286"/>
                          <a:pt x="291" y="284"/>
                          <a:pt x="284" y="279"/>
                        </a:cubicBezTo>
                        <a:cubicBezTo>
                          <a:pt x="281" y="274"/>
                          <a:pt x="277" y="272"/>
                          <a:pt x="273" y="267"/>
                        </a:cubicBezTo>
                        <a:cubicBezTo>
                          <a:pt x="271" y="258"/>
                          <a:pt x="276" y="259"/>
                          <a:pt x="284" y="261"/>
                        </a:cubicBezTo>
                        <a:cubicBezTo>
                          <a:pt x="290" y="265"/>
                          <a:pt x="295" y="270"/>
                          <a:pt x="302" y="271"/>
                        </a:cubicBezTo>
                        <a:cubicBezTo>
                          <a:pt x="307" y="277"/>
                          <a:pt x="321" y="284"/>
                          <a:pt x="329" y="286"/>
                        </a:cubicBezTo>
                        <a:cubicBezTo>
                          <a:pt x="340" y="284"/>
                          <a:pt x="333" y="281"/>
                          <a:pt x="338" y="273"/>
                        </a:cubicBezTo>
                        <a:cubicBezTo>
                          <a:pt x="342" y="267"/>
                          <a:pt x="352" y="270"/>
                          <a:pt x="359" y="270"/>
                        </a:cubicBezTo>
                        <a:cubicBezTo>
                          <a:pt x="360" y="264"/>
                          <a:pt x="360" y="260"/>
                          <a:pt x="357" y="255"/>
                        </a:cubicBezTo>
                        <a:cubicBezTo>
                          <a:pt x="355" y="245"/>
                          <a:pt x="356" y="230"/>
                          <a:pt x="345" y="228"/>
                        </a:cubicBezTo>
                        <a:cubicBezTo>
                          <a:pt x="342" y="226"/>
                          <a:pt x="338" y="226"/>
                          <a:pt x="336" y="223"/>
                        </a:cubicBezTo>
                        <a:cubicBezTo>
                          <a:pt x="332" y="218"/>
                          <a:pt x="331" y="210"/>
                          <a:pt x="327" y="204"/>
                        </a:cubicBezTo>
                        <a:cubicBezTo>
                          <a:pt x="333" y="190"/>
                          <a:pt x="324" y="207"/>
                          <a:pt x="335" y="198"/>
                        </a:cubicBezTo>
                        <a:cubicBezTo>
                          <a:pt x="340" y="194"/>
                          <a:pt x="332" y="191"/>
                          <a:pt x="348" y="189"/>
                        </a:cubicBezTo>
                        <a:cubicBezTo>
                          <a:pt x="356" y="186"/>
                          <a:pt x="355" y="191"/>
                          <a:pt x="362" y="195"/>
                        </a:cubicBezTo>
                        <a:cubicBezTo>
                          <a:pt x="366" y="201"/>
                          <a:pt x="365" y="203"/>
                          <a:pt x="371" y="208"/>
                        </a:cubicBezTo>
                        <a:cubicBezTo>
                          <a:pt x="373" y="217"/>
                          <a:pt x="377" y="218"/>
                          <a:pt x="384" y="223"/>
                        </a:cubicBezTo>
                        <a:cubicBezTo>
                          <a:pt x="385" y="225"/>
                          <a:pt x="385" y="228"/>
                          <a:pt x="387" y="228"/>
                        </a:cubicBezTo>
                        <a:cubicBezTo>
                          <a:pt x="392" y="229"/>
                          <a:pt x="401" y="225"/>
                          <a:pt x="401" y="225"/>
                        </a:cubicBezTo>
                        <a:cubicBezTo>
                          <a:pt x="402" y="218"/>
                          <a:pt x="406" y="211"/>
                          <a:pt x="410" y="205"/>
                        </a:cubicBezTo>
                        <a:cubicBezTo>
                          <a:pt x="421" y="207"/>
                          <a:pt x="430" y="208"/>
                          <a:pt x="440" y="202"/>
                        </a:cubicBezTo>
                        <a:cubicBezTo>
                          <a:pt x="442" y="187"/>
                          <a:pt x="444" y="190"/>
                          <a:pt x="461" y="189"/>
                        </a:cubicBezTo>
                        <a:cubicBezTo>
                          <a:pt x="462" y="184"/>
                          <a:pt x="464" y="180"/>
                          <a:pt x="465" y="175"/>
                        </a:cubicBezTo>
                        <a:cubicBezTo>
                          <a:pt x="455" y="168"/>
                          <a:pt x="447" y="164"/>
                          <a:pt x="435" y="162"/>
                        </a:cubicBezTo>
                        <a:cubicBezTo>
                          <a:pt x="430" y="158"/>
                          <a:pt x="426" y="157"/>
                          <a:pt x="419" y="156"/>
                        </a:cubicBezTo>
                        <a:cubicBezTo>
                          <a:pt x="414" y="153"/>
                          <a:pt x="411" y="151"/>
                          <a:pt x="405" y="150"/>
                        </a:cubicBezTo>
                        <a:cubicBezTo>
                          <a:pt x="397" y="146"/>
                          <a:pt x="389" y="143"/>
                          <a:pt x="381" y="141"/>
                        </a:cubicBezTo>
                        <a:cubicBezTo>
                          <a:pt x="376" y="137"/>
                          <a:pt x="372" y="136"/>
                          <a:pt x="366" y="135"/>
                        </a:cubicBezTo>
                        <a:cubicBezTo>
                          <a:pt x="363" y="134"/>
                          <a:pt x="358" y="135"/>
                          <a:pt x="357" y="132"/>
                        </a:cubicBezTo>
                        <a:cubicBezTo>
                          <a:pt x="353" y="123"/>
                          <a:pt x="376" y="124"/>
                          <a:pt x="383" y="123"/>
                        </a:cubicBezTo>
                        <a:cubicBezTo>
                          <a:pt x="388" y="121"/>
                          <a:pt x="393" y="120"/>
                          <a:pt x="398" y="118"/>
                        </a:cubicBezTo>
                        <a:cubicBezTo>
                          <a:pt x="400" y="109"/>
                          <a:pt x="396" y="107"/>
                          <a:pt x="387" y="105"/>
                        </a:cubicBezTo>
                        <a:cubicBezTo>
                          <a:pt x="394" y="103"/>
                          <a:pt x="398" y="104"/>
                          <a:pt x="399" y="97"/>
                        </a:cubicBezTo>
                        <a:cubicBezTo>
                          <a:pt x="393" y="88"/>
                          <a:pt x="388" y="93"/>
                          <a:pt x="378" y="94"/>
                        </a:cubicBezTo>
                        <a:cubicBezTo>
                          <a:pt x="379" y="91"/>
                          <a:pt x="384" y="91"/>
                          <a:pt x="384" y="88"/>
                        </a:cubicBezTo>
                        <a:cubicBezTo>
                          <a:pt x="385" y="82"/>
                          <a:pt x="368" y="80"/>
                          <a:pt x="365" y="79"/>
                        </a:cubicBezTo>
                        <a:cubicBezTo>
                          <a:pt x="360" y="72"/>
                          <a:pt x="357" y="69"/>
                          <a:pt x="350" y="64"/>
                        </a:cubicBezTo>
                        <a:cubicBezTo>
                          <a:pt x="349" y="63"/>
                          <a:pt x="346" y="55"/>
                          <a:pt x="345" y="55"/>
                        </a:cubicBezTo>
                        <a:cubicBezTo>
                          <a:pt x="339" y="53"/>
                          <a:pt x="321" y="60"/>
                          <a:pt x="315" y="61"/>
                        </a:cubicBezTo>
                        <a:cubicBezTo>
                          <a:pt x="313" y="52"/>
                          <a:pt x="311" y="50"/>
                          <a:pt x="303" y="45"/>
                        </a:cubicBezTo>
                        <a:cubicBezTo>
                          <a:pt x="300" y="30"/>
                          <a:pt x="287" y="33"/>
                          <a:pt x="273" y="31"/>
                        </a:cubicBezTo>
                        <a:cubicBezTo>
                          <a:pt x="280" y="30"/>
                          <a:pt x="281" y="27"/>
                          <a:pt x="287" y="30"/>
                        </a:cubicBezTo>
                        <a:cubicBezTo>
                          <a:pt x="290" y="29"/>
                          <a:pt x="294" y="30"/>
                          <a:pt x="297" y="28"/>
                        </a:cubicBezTo>
                        <a:cubicBezTo>
                          <a:pt x="309" y="22"/>
                          <a:pt x="280" y="10"/>
                          <a:pt x="276" y="9"/>
                        </a:cubicBezTo>
                        <a:cubicBezTo>
                          <a:pt x="263" y="2"/>
                          <a:pt x="233" y="7"/>
                          <a:pt x="222" y="7"/>
                        </a:cubicBezTo>
                        <a:cubicBezTo>
                          <a:pt x="221" y="14"/>
                          <a:pt x="227" y="18"/>
                          <a:pt x="230" y="25"/>
                        </a:cubicBezTo>
                        <a:cubicBezTo>
                          <a:pt x="232" y="33"/>
                          <a:pt x="235" y="30"/>
                          <a:pt x="242" y="33"/>
                        </a:cubicBezTo>
                        <a:cubicBezTo>
                          <a:pt x="250" y="31"/>
                          <a:pt x="265" y="32"/>
                          <a:pt x="251" y="39"/>
                        </a:cubicBezTo>
                        <a:cubicBezTo>
                          <a:pt x="246" y="46"/>
                          <a:pt x="247" y="48"/>
                          <a:pt x="237" y="49"/>
                        </a:cubicBezTo>
                        <a:cubicBezTo>
                          <a:pt x="227" y="48"/>
                          <a:pt x="226" y="44"/>
                          <a:pt x="218" y="40"/>
                        </a:cubicBezTo>
                        <a:cubicBezTo>
                          <a:pt x="213" y="42"/>
                          <a:pt x="209" y="45"/>
                          <a:pt x="204" y="48"/>
                        </a:cubicBezTo>
                        <a:cubicBezTo>
                          <a:pt x="193" y="45"/>
                          <a:pt x="199" y="37"/>
                          <a:pt x="207" y="36"/>
                        </a:cubicBezTo>
                        <a:cubicBezTo>
                          <a:pt x="213" y="34"/>
                          <a:pt x="215" y="32"/>
                          <a:pt x="218" y="27"/>
                        </a:cubicBezTo>
                        <a:cubicBezTo>
                          <a:pt x="220" y="19"/>
                          <a:pt x="219" y="14"/>
                          <a:pt x="215" y="7"/>
                        </a:cubicBezTo>
                        <a:cubicBezTo>
                          <a:pt x="201" y="9"/>
                          <a:pt x="188" y="11"/>
                          <a:pt x="174" y="13"/>
                        </a:cubicBezTo>
                        <a:cubicBezTo>
                          <a:pt x="166" y="17"/>
                          <a:pt x="154" y="17"/>
                          <a:pt x="144" y="19"/>
                        </a:cubicBezTo>
                        <a:cubicBezTo>
                          <a:pt x="138" y="22"/>
                          <a:pt x="132" y="25"/>
                          <a:pt x="126" y="27"/>
                        </a:cubicBezTo>
                        <a:cubicBezTo>
                          <a:pt x="122" y="33"/>
                          <a:pt x="122" y="36"/>
                          <a:pt x="114" y="37"/>
                        </a:cubicBezTo>
                        <a:cubicBezTo>
                          <a:pt x="109" y="45"/>
                          <a:pt x="102" y="48"/>
                          <a:pt x="113" y="54"/>
                        </a:cubicBezTo>
                        <a:cubicBezTo>
                          <a:pt x="110" y="63"/>
                          <a:pt x="110" y="64"/>
                          <a:pt x="101" y="61"/>
                        </a:cubicBezTo>
                        <a:cubicBezTo>
                          <a:pt x="98" y="58"/>
                          <a:pt x="95" y="48"/>
                          <a:pt x="96" y="43"/>
                        </a:cubicBezTo>
                        <a:cubicBezTo>
                          <a:pt x="97" y="38"/>
                          <a:pt x="98" y="32"/>
                          <a:pt x="105" y="28"/>
                        </a:cubicBezTo>
                        <a:cubicBezTo>
                          <a:pt x="114" y="21"/>
                          <a:pt x="125" y="20"/>
                          <a:pt x="137" y="18"/>
                        </a:cubicBezTo>
                        <a:cubicBezTo>
                          <a:pt x="145" y="14"/>
                          <a:pt x="146" y="12"/>
                          <a:pt x="153" y="7"/>
                        </a:cubicBezTo>
                        <a:cubicBezTo>
                          <a:pt x="143" y="0"/>
                          <a:pt x="131" y="5"/>
                          <a:pt x="120" y="7"/>
                        </a:cubicBezTo>
                        <a:cubicBezTo>
                          <a:pt x="114" y="10"/>
                          <a:pt x="108" y="12"/>
                          <a:pt x="102" y="13"/>
                        </a:cubicBezTo>
                        <a:cubicBezTo>
                          <a:pt x="95" y="16"/>
                          <a:pt x="86" y="18"/>
                          <a:pt x="78" y="19"/>
                        </a:cubicBezTo>
                        <a:cubicBezTo>
                          <a:pt x="72" y="22"/>
                          <a:pt x="69" y="24"/>
                          <a:pt x="62" y="25"/>
                        </a:cubicBezTo>
                        <a:cubicBezTo>
                          <a:pt x="57" y="27"/>
                          <a:pt x="55" y="33"/>
                          <a:pt x="50" y="34"/>
                        </a:cubicBezTo>
                        <a:cubicBezTo>
                          <a:pt x="42" y="36"/>
                          <a:pt x="46" y="35"/>
                          <a:pt x="38" y="37"/>
                        </a:cubicBezTo>
                        <a:cubicBezTo>
                          <a:pt x="33" y="40"/>
                          <a:pt x="29" y="47"/>
                          <a:pt x="24" y="49"/>
                        </a:cubicBezTo>
                        <a:cubicBezTo>
                          <a:pt x="21" y="52"/>
                          <a:pt x="17" y="52"/>
                          <a:pt x="17" y="55"/>
                        </a:cubicBezTo>
                        <a:cubicBezTo>
                          <a:pt x="17" y="58"/>
                          <a:pt x="18" y="67"/>
                          <a:pt x="23" y="69"/>
                        </a:cubicBezTo>
                        <a:cubicBezTo>
                          <a:pt x="33" y="66"/>
                          <a:pt x="38" y="66"/>
                          <a:pt x="50" y="67"/>
                        </a:cubicBezTo>
                        <a:cubicBezTo>
                          <a:pt x="52" y="76"/>
                          <a:pt x="49" y="76"/>
                          <a:pt x="41" y="75"/>
                        </a:cubicBezTo>
                        <a:cubicBezTo>
                          <a:pt x="32" y="71"/>
                          <a:pt x="24" y="67"/>
                          <a:pt x="12" y="75"/>
                        </a:cubicBezTo>
                        <a:cubicBezTo>
                          <a:pt x="0" y="83"/>
                          <a:pt x="20" y="90"/>
                          <a:pt x="23" y="91"/>
                        </a:cubicBezTo>
                        <a:cubicBezTo>
                          <a:pt x="27" y="93"/>
                          <a:pt x="32" y="94"/>
                          <a:pt x="36" y="96"/>
                        </a:cubicBezTo>
                        <a:cubicBezTo>
                          <a:pt x="51" y="94"/>
                          <a:pt x="62" y="95"/>
                          <a:pt x="77" y="97"/>
                        </a:cubicBezTo>
                        <a:cubicBezTo>
                          <a:pt x="85" y="93"/>
                          <a:pt x="92" y="95"/>
                          <a:pt x="101" y="97"/>
                        </a:cubicBezTo>
                        <a:cubicBezTo>
                          <a:pt x="108" y="101"/>
                          <a:pt x="110" y="98"/>
                          <a:pt x="113" y="106"/>
                        </a:cubicBezTo>
                        <a:cubicBezTo>
                          <a:pt x="128" y="105"/>
                          <a:pt x="122" y="101"/>
                          <a:pt x="134" y="99"/>
                        </a:cubicBezTo>
                        <a:cubicBezTo>
                          <a:pt x="142" y="100"/>
                          <a:pt x="147" y="103"/>
                          <a:pt x="153" y="108"/>
                        </a:cubicBezTo>
                        <a:cubicBezTo>
                          <a:pt x="164" y="104"/>
                          <a:pt x="176" y="102"/>
                          <a:pt x="188" y="100"/>
                        </a:cubicBezTo>
                        <a:cubicBezTo>
                          <a:pt x="192" y="92"/>
                          <a:pt x="191" y="90"/>
                          <a:pt x="201" y="91"/>
                        </a:cubicBezTo>
                        <a:cubicBezTo>
                          <a:pt x="209" y="96"/>
                          <a:pt x="211" y="104"/>
                          <a:pt x="219" y="108"/>
                        </a:cubicBezTo>
                        <a:cubicBezTo>
                          <a:pt x="223" y="113"/>
                          <a:pt x="223" y="117"/>
                          <a:pt x="230" y="118"/>
                        </a:cubicBezTo>
                        <a:cubicBezTo>
                          <a:pt x="232" y="127"/>
                          <a:pt x="219" y="124"/>
                          <a:pt x="212" y="129"/>
                        </a:cubicBezTo>
                        <a:cubicBezTo>
                          <a:pt x="219" y="130"/>
                          <a:pt x="220" y="127"/>
                          <a:pt x="227" y="126"/>
                        </a:cubicBezTo>
                        <a:cubicBezTo>
                          <a:pt x="234" y="127"/>
                          <a:pt x="239" y="129"/>
                          <a:pt x="246" y="130"/>
                        </a:cubicBezTo>
                        <a:cubicBezTo>
                          <a:pt x="254" y="135"/>
                          <a:pt x="258" y="145"/>
                          <a:pt x="266" y="151"/>
                        </a:cubicBezTo>
                        <a:cubicBezTo>
                          <a:pt x="269" y="167"/>
                          <a:pt x="245" y="178"/>
                          <a:pt x="231" y="178"/>
                        </a:cubicBezTo>
                        <a:cubicBezTo>
                          <a:pt x="231" y="178"/>
                          <a:pt x="243" y="178"/>
                          <a:pt x="243" y="178"/>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7" name="Freeform 32"/>
                  <p:cNvSpPr>
                    <a:spLocks/>
                  </p:cNvSpPr>
                  <p:nvPr/>
                </p:nvSpPr>
                <p:spPr bwMode="auto">
                  <a:xfrm>
                    <a:off x="2646" y="2427"/>
                    <a:ext cx="135" cy="81"/>
                  </a:xfrm>
                  <a:custGeom>
                    <a:avLst/>
                    <a:gdLst>
                      <a:gd name="T0" fmla="*/ 135 w 135"/>
                      <a:gd name="T1" fmla="*/ 60 h 81"/>
                      <a:gd name="T2" fmla="*/ 117 w 135"/>
                      <a:gd name="T3" fmla="*/ 57 h 81"/>
                      <a:gd name="T4" fmla="*/ 99 w 135"/>
                      <a:gd name="T5" fmla="*/ 32 h 81"/>
                      <a:gd name="T6" fmla="*/ 86 w 135"/>
                      <a:gd name="T7" fmla="*/ 23 h 81"/>
                      <a:gd name="T8" fmla="*/ 81 w 135"/>
                      <a:gd name="T9" fmla="*/ 21 h 81"/>
                      <a:gd name="T10" fmla="*/ 77 w 135"/>
                      <a:gd name="T11" fmla="*/ 23 h 81"/>
                      <a:gd name="T12" fmla="*/ 87 w 135"/>
                      <a:gd name="T13" fmla="*/ 12 h 81"/>
                      <a:gd name="T14" fmla="*/ 75 w 135"/>
                      <a:gd name="T15" fmla="*/ 6 h 81"/>
                      <a:gd name="T16" fmla="*/ 60 w 135"/>
                      <a:gd name="T17" fmla="*/ 20 h 81"/>
                      <a:gd name="T18" fmla="*/ 48 w 135"/>
                      <a:gd name="T19" fmla="*/ 26 h 81"/>
                      <a:gd name="T20" fmla="*/ 36 w 135"/>
                      <a:gd name="T21" fmla="*/ 35 h 81"/>
                      <a:gd name="T22" fmla="*/ 12 w 135"/>
                      <a:gd name="T23" fmla="*/ 60 h 81"/>
                      <a:gd name="T24" fmla="*/ 0 w 135"/>
                      <a:gd name="T25" fmla="*/ 69 h 81"/>
                      <a:gd name="T26" fmla="*/ 18 w 135"/>
                      <a:gd name="T27" fmla="*/ 68 h 81"/>
                      <a:gd name="T28" fmla="*/ 21 w 135"/>
                      <a:gd name="T29" fmla="*/ 75 h 81"/>
                      <a:gd name="T30" fmla="*/ 50 w 135"/>
                      <a:gd name="T31" fmla="*/ 74 h 81"/>
                      <a:gd name="T32" fmla="*/ 65 w 135"/>
                      <a:gd name="T33" fmla="*/ 68 h 81"/>
                      <a:gd name="T34" fmla="*/ 74 w 135"/>
                      <a:gd name="T35" fmla="*/ 65 h 81"/>
                      <a:gd name="T36" fmla="*/ 84 w 135"/>
                      <a:gd name="T37" fmla="*/ 53 h 81"/>
                      <a:gd name="T38" fmla="*/ 95 w 135"/>
                      <a:gd name="T39" fmla="*/ 68 h 81"/>
                      <a:gd name="T40" fmla="*/ 119 w 135"/>
                      <a:gd name="T41" fmla="*/ 74 h 81"/>
                      <a:gd name="T42" fmla="*/ 135 w 135"/>
                      <a:gd name="T43" fmla="*/ 6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5" h="81">
                        <a:moveTo>
                          <a:pt x="135" y="60"/>
                        </a:moveTo>
                        <a:cubicBezTo>
                          <a:pt x="129" y="56"/>
                          <a:pt x="124" y="56"/>
                          <a:pt x="117" y="57"/>
                        </a:cubicBezTo>
                        <a:cubicBezTo>
                          <a:pt x="125" y="42"/>
                          <a:pt x="113" y="34"/>
                          <a:pt x="99" y="32"/>
                        </a:cubicBezTo>
                        <a:cubicBezTo>
                          <a:pt x="97" y="24"/>
                          <a:pt x="94" y="24"/>
                          <a:pt x="86" y="23"/>
                        </a:cubicBezTo>
                        <a:cubicBezTo>
                          <a:pt x="84" y="22"/>
                          <a:pt x="83" y="21"/>
                          <a:pt x="81" y="21"/>
                        </a:cubicBezTo>
                        <a:cubicBezTo>
                          <a:pt x="80" y="21"/>
                          <a:pt x="78" y="24"/>
                          <a:pt x="77" y="23"/>
                        </a:cubicBezTo>
                        <a:cubicBezTo>
                          <a:pt x="73" y="19"/>
                          <a:pt x="85" y="13"/>
                          <a:pt x="87" y="12"/>
                        </a:cubicBezTo>
                        <a:cubicBezTo>
                          <a:pt x="93" y="0"/>
                          <a:pt x="82" y="5"/>
                          <a:pt x="75" y="6"/>
                        </a:cubicBezTo>
                        <a:cubicBezTo>
                          <a:pt x="67" y="10"/>
                          <a:pt x="66" y="16"/>
                          <a:pt x="60" y="20"/>
                        </a:cubicBezTo>
                        <a:cubicBezTo>
                          <a:pt x="56" y="23"/>
                          <a:pt x="48" y="26"/>
                          <a:pt x="48" y="26"/>
                        </a:cubicBezTo>
                        <a:cubicBezTo>
                          <a:pt x="44" y="31"/>
                          <a:pt x="41" y="32"/>
                          <a:pt x="36" y="35"/>
                        </a:cubicBezTo>
                        <a:cubicBezTo>
                          <a:pt x="27" y="47"/>
                          <a:pt x="29" y="57"/>
                          <a:pt x="12" y="60"/>
                        </a:cubicBezTo>
                        <a:cubicBezTo>
                          <a:pt x="7" y="62"/>
                          <a:pt x="5" y="66"/>
                          <a:pt x="0" y="69"/>
                        </a:cubicBezTo>
                        <a:cubicBezTo>
                          <a:pt x="7" y="72"/>
                          <a:pt x="11" y="69"/>
                          <a:pt x="18" y="68"/>
                        </a:cubicBezTo>
                        <a:cubicBezTo>
                          <a:pt x="27" y="65"/>
                          <a:pt x="25" y="70"/>
                          <a:pt x="21" y="75"/>
                        </a:cubicBezTo>
                        <a:cubicBezTo>
                          <a:pt x="31" y="81"/>
                          <a:pt x="40" y="76"/>
                          <a:pt x="50" y="74"/>
                        </a:cubicBezTo>
                        <a:cubicBezTo>
                          <a:pt x="55" y="71"/>
                          <a:pt x="59" y="69"/>
                          <a:pt x="65" y="68"/>
                        </a:cubicBezTo>
                        <a:cubicBezTo>
                          <a:pt x="68" y="67"/>
                          <a:pt x="71" y="67"/>
                          <a:pt x="74" y="65"/>
                        </a:cubicBezTo>
                        <a:cubicBezTo>
                          <a:pt x="78" y="62"/>
                          <a:pt x="80" y="56"/>
                          <a:pt x="84" y="53"/>
                        </a:cubicBezTo>
                        <a:cubicBezTo>
                          <a:pt x="92" y="55"/>
                          <a:pt x="90" y="62"/>
                          <a:pt x="95" y="68"/>
                        </a:cubicBezTo>
                        <a:cubicBezTo>
                          <a:pt x="99" y="74"/>
                          <a:pt x="114" y="73"/>
                          <a:pt x="119" y="74"/>
                        </a:cubicBezTo>
                        <a:cubicBezTo>
                          <a:pt x="133" y="72"/>
                          <a:pt x="135" y="73"/>
                          <a:pt x="135" y="6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8" name="Freeform 33"/>
                  <p:cNvSpPr>
                    <a:spLocks/>
                  </p:cNvSpPr>
                  <p:nvPr/>
                </p:nvSpPr>
                <p:spPr bwMode="auto">
                  <a:xfrm>
                    <a:off x="2686" y="2507"/>
                    <a:ext cx="51" cy="31"/>
                  </a:xfrm>
                  <a:custGeom>
                    <a:avLst/>
                    <a:gdLst>
                      <a:gd name="T0" fmla="*/ 49 w 51"/>
                      <a:gd name="T1" fmla="*/ 3 h 31"/>
                      <a:gd name="T2" fmla="*/ 32 w 51"/>
                      <a:gd name="T3" fmla="*/ 1 h 31"/>
                      <a:gd name="T4" fmla="*/ 13 w 51"/>
                      <a:gd name="T5" fmla="*/ 7 h 31"/>
                      <a:gd name="T6" fmla="*/ 2 w 51"/>
                      <a:gd name="T7" fmla="*/ 18 h 31"/>
                      <a:gd name="T8" fmla="*/ 16 w 51"/>
                      <a:gd name="T9" fmla="*/ 21 h 31"/>
                      <a:gd name="T10" fmla="*/ 40 w 51"/>
                      <a:gd name="T11" fmla="*/ 15 h 31"/>
                      <a:gd name="T12" fmla="*/ 49 w 51"/>
                      <a:gd name="T13" fmla="*/ 10 h 31"/>
                      <a:gd name="T14" fmla="*/ 49 w 51"/>
                      <a:gd name="T15" fmla="*/ 3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1">
                        <a:moveTo>
                          <a:pt x="49" y="3"/>
                        </a:moveTo>
                        <a:cubicBezTo>
                          <a:pt x="43" y="0"/>
                          <a:pt x="39" y="0"/>
                          <a:pt x="32" y="1"/>
                        </a:cubicBezTo>
                        <a:cubicBezTo>
                          <a:pt x="26" y="4"/>
                          <a:pt x="19" y="6"/>
                          <a:pt x="13" y="7"/>
                        </a:cubicBezTo>
                        <a:cubicBezTo>
                          <a:pt x="5" y="10"/>
                          <a:pt x="9" y="14"/>
                          <a:pt x="2" y="18"/>
                        </a:cubicBezTo>
                        <a:cubicBezTo>
                          <a:pt x="0" y="31"/>
                          <a:pt x="9" y="22"/>
                          <a:pt x="16" y="21"/>
                        </a:cubicBezTo>
                        <a:cubicBezTo>
                          <a:pt x="23" y="18"/>
                          <a:pt x="32" y="17"/>
                          <a:pt x="40" y="15"/>
                        </a:cubicBezTo>
                        <a:cubicBezTo>
                          <a:pt x="41" y="14"/>
                          <a:pt x="49" y="11"/>
                          <a:pt x="49" y="10"/>
                        </a:cubicBezTo>
                        <a:cubicBezTo>
                          <a:pt x="51" y="1"/>
                          <a:pt x="41" y="6"/>
                          <a:pt x="49" y="3"/>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9" name="Freeform 34"/>
                  <p:cNvSpPr>
                    <a:spLocks/>
                  </p:cNvSpPr>
                  <p:nvPr/>
                </p:nvSpPr>
                <p:spPr bwMode="auto">
                  <a:xfrm>
                    <a:off x="2745" y="2522"/>
                    <a:ext cx="35" cy="23"/>
                  </a:xfrm>
                  <a:custGeom>
                    <a:avLst/>
                    <a:gdLst>
                      <a:gd name="T0" fmla="*/ 27 w 35"/>
                      <a:gd name="T1" fmla="*/ 0 h 23"/>
                      <a:gd name="T2" fmla="*/ 8 w 35"/>
                      <a:gd name="T3" fmla="*/ 7 h 23"/>
                      <a:gd name="T4" fmla="*/ 11 w 35"/>
                      <a:gd name="T5" fmla="*/ 21 h 23"/>
                      <a:gd name="T6" fmla="*/ 32 w 35"/>
                      <a:gd name="T7" fmla="*/ 12 h 23"/>
                      <a:gd name="T8" fmla="*/ 27 w 35"/>
                      <a:gd name="T9" fmla="*/ 0 h 23"/>
                    </a:gdLst>
                    <a:ahLst/>
                    <a:cxnLst>
                      <a:cxn ang="0">
                        <a:pos x="T0" y="T1"/>
                      </a:cxn>
                      <a:cxn ang="0">
                        <a:pos x="T2" y="T3"/>
                      </a:cxn>
                      <a:cxn ang="0">
                        <a:pos x="T4" y="T5"/>
                      </a:cxn>
                      <a:cxn ang="0">
                        <a:pos x="T6" y="T7"/>
                      </a:cxn>
                      <a:cxn ang="0">
                        <a:pos x="T8" y="T9"/>
                      </a:cxn>
                    </a:cxnLst>
                    <a:rect l="0" t="0" r="r" b="b"/>
                    <a:pathLst>
                      <a:path w="35" h="23">
                        <a:moveTo>
                          <a:pt x="27" y="0"/>
                        </a:moveTo>
                        <a:cubicBezTo>
                          <a:pt x="34" y="10"/>
                          <a:pt x="13" y="7"/>
                          <a:pt x="8" y="7"/>
                        </a:cubicBezTo>
                        <a:cubicBezTo>
                          <a:pt x="5" y="13"/>
                          <a:pt x="0" y="23"/>
                          <a:pt x="11" y="21"/>
                        </a:cubicBezTo>
                        <a:cubicBezTo>
                          <a:pt x="18" y="16"/>
                          <a:pt x="28" y="21"/>
                          <a:pt x="32" y="12"/>
                        </a:cubicBezTo>
                        <a:cubicBezTo>
                          <a:pt x="33" y="2"/>
                          <a:pt x="35" y="5"/>
                          <a:pt x="27" y="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0" name="Freeform 35"/>
                  <p:cNvSpPr>
                    <a:spLocks/>
                  </p:cNvSpPr>
                  <p:nvPr/>
                </p:nvSpPr>
                <p:spPr bwMode="auto">
                  <a:xfrm>
                    <a:off x="2800" y="2490"/>
                    <a:ext cx="40" cy="18"/>
                  </a:xfrm>
                  <a:custGeom>
                    <a:avLst/>
                    <a:gdLst>
                      <a:gd name="T0" fmla="*/ 32 w 40"/>
                      <a:gd name="T1" fmla="*/ 8 h 18"/>
                      <a:gd name="T2" fmla="*/ 19 w 40"/>
                      <a:gd name="T3" fmla="*/ 18 h 18"/>
                      <a:gd name="T4" fmla="*/ 29 w 40"/>
                      <a:gd name="T5" fmla="*/ 17 h 18"/>
                      <a:gd name="T6" fmla="*/ 32 w 40"/>
                      <a:gd name="T7" fmla="*/ 8 h 18"/>
                    </a:gdLst>
                    <a:ahLst/>
                    <a:cxnLst>
                      <a:cxn ang="0">
                        <a:pos x="T0" y="T1"/>
                      </a:cxn>
                      <a:cxn ang="0">
                        <a:pos x="T2" y="T3"/>
                      </a:cxn>
                      <a:cxn ang="0">
                        <a:pos x="T4" y="T5"/>
                      </a:cxn>
                      <a:cxn ang="0">
                        <a:pos x="T6" y="T7"/>
                      </a:cxn>
                    </a:cxnLst>
                    <a:rect l="0" t="0" r="r" b="b"/>
                    <a:pathLst>
                      <a:path w="40" h="18">
                        <a:moveTo>
                          <a:pt x="32" y="8"/>
                        </a:moveTo>
                        <a:cubicBezTo>
                          <a:pt x="17" y="0"/>
                          <a:pt x="0" y="15"/>
                          <a:pt x="19" y="18"/>
                        </a:cubicBezTo>
                        <a:cubicBezTo>
                          <a:pt x="22" y="18"/>
                          <a:pt x="26" y="18"/>
                          <a:pt x="29" y="17"/>
                        </a:cubicBezTo>
                        <a:cubicBezTo>
                          <a:pt x="40" y="12"/>
                          <a:pt x="23" y="8"/>
                          <a:pt x="32" y="8"/>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1" name="Freeform 36"/>
                  <p:cNvSpPr>
                    <a:spLocks/>
                  </p:cNvSpPr>
                  <p:nvPr/>
                </p:nvSpPr>
                <p:spPr bwMode="auto">
                  <a:xfrm>
                    <a:off x="2837" y="2491"/>
                    <a:ext cx="15" cy="13"/>
                  </a:xfrm>
                  <a:custGeom>
                    <a:avLst/>
                    <a:gdLst>
                      <a:gd name="T0" fmla="*/ 15 w 15"/>
                      <a:gd name="T1" fmla="*/ 9 h 13"/>
                      <a:gd name="T2" fmla="*/ 0 w 15"/>
                      <a:gd name="T3" fmla="*/ 4 h 13"/>
                      <a:gd name="T4" fmla="*/ 15 w 15"/>
                      <a:gd name="T5" fmla="*/ 9 h 13"/>
                    </a:gdLst>
                    <a:ahLst/>
                    <a:cxnLst>
                      <a:cxn ang="0">
                        <a:pos x="T0" y="T1"/>
                      </a:cxn>
                      <a:cxn ang="0">
                        <a:pos x="T2" y="T3"/>
                      </a:cxn>
                      <a:cxn ang="0">
                        <a:pos x="T4" y="T5"/>
                      </a:cxn>
                    </a:cxnLst>
                    <a:rect l="0" t="0" r="r" b="b"/>
                    <a:pathLst>
                      <a:path w="15" h="13">
                        <a:moveTo>
                          <a:pt x="15" y="9"/>
                        </a:moveTo>
                        <a:cubicBezTo>
                          <a:pt x="13" y="0"/>
                          <a:pt x="8" y="3"/>
                          <a:pt x="0" y="4"/>
                        </a:cubicBezTo>
                        <a:cubicBezTo>
                          <a:pt x="4" y="13"/>
                          <a:pt x="6" y="12"/>
                          <a:pt x="15" y="9"/>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2" name="Freeform 37"/>
                  <p:cNvSpPr>
                    <a:spLocks/>
                  </p:cNvSpPr>
                  <p:nvPr/>
                </p:nvSpPr>
                <p:spPr bwMode="auto">
                  <a:xfrm>
                    <a:off x="2832" y="2476"/>
                    <a:ext cx="9" cy="16"/>
                  </a:xfrm>
                  <a:custGeom>
                    <a:avLst/>
                    <a:gdLst>
                      <a:gd name="T0" fmla="*/ 9 w 9"/>
                      <a:gd name="T1" fmla="*/ 9 h 16"/>
                      <a:gd name="T2" fmla="*/ 0 w 9"/>
                      <a:gd name="T3" fmla="*/ 10 h 16"/>
                      <a:gd name="T4" fmla="*/ 9 w 9"/>
                      <a:gd name="T5" fmla="*/ 9 h 16"/>
                    </a:gdLst>
                    <a:ahLst/>
                    <a:cxnLst>
                      <a:cxn ang="0">
                        <a:pos x="T0" y="T1"/>
                      </a:cxn>
                      <a:cxn ang="0">
                        <a:pos x="T2" y="T3"/>
                      </a:cxn>
                      <a:cxn ang="0">
                        <a:pos x="T4" y="T5"/>
                      </a:cxn>
                    </a:cxnLst>
                    <a:rect l="0" t="0" r="r" b="b"/>
                    <a:pathLst>
                      <a:path w="9" h="16">
                        <a:moveTo>
                          <a:pt x="9" y="9"/>
                        </a:moveTo>
                        <a:cubicBezTo>
                          <a:pt x="7" y="0"/>
                          <a:pt x="3" y="4"/>
                          <a:pt x="0" y="10"/>
                        </a:cubicBezTo>
                        <a:cubicBezTo>
                          <a:pt x="2" y="11"/>
                          <a:pt x="9" y="16"/>
                          <a:pt x="9" y="9"/>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3" name="Freeform 38"/>
                  <p:cNvSpPr>
                    <a:spLocks/>
                  </p:cNvSpPr>
                  <p:nvPr/>
                </p:nvSpPr>
                <p:spPr bwMode="auto">
                  <a:xfrm>
                    <a:off x="2554" y="2778"/>
                    <a:ext cx="35" cy="18"/>
                  </a:xfrm>
                  <a:custGeom>
                    <a:avLst/>
                    <a:gdLst>
                      <a:gd name="T0" fmla="*/ 20 w 35"/>
                      <a:gd name="T1" fmla="*/ 0 h 18"/>
                      <a:gd name="T2" fmla="*/ 25 w 35"/>
                      <a:gd name="T3" fmla="*/ 15 h 18"/>
                      <a:gd name="T4" fmla="*/ 31 w 35"/>
                      <a:gd name="T5" fmla="*/ 6 h 18"/>
                      <a:gd name="T6" fmla="*/ 20 w 35"/>
                      <a:gd name="T7" fmla="*/ 0 h 18"/>
                    </a:gdLst>
                    <a:ahLst/>
                    <a:cxnLst>
                      <a:cxn ang="0">
                        <a:pos x="T0" y="T1"/>
                      </a:cxn>
                      <a:cxn ang="0">
                        <a:pos x="T2" y="T3"/>
                      </a:cxn>
                      <a:cxn ang="0">
                        <a:pos x="T4" y="T5"/>
                      </a:cxn>
                      <a:cxn ang="0">
                        <a:pos x="T6" y="T7"/>
                      </a:cxn>
                    </a:cxnLst>
                    <a:rect l="0" t="0" r="r" b="b"/>
                    <a:pathLst>
                      <a:path w="35" h="18">
                        <a:moveTo>
                          <a:pt x="20" y="0"/>
                        </a:moveTo>
                        <a:cubicBezTo>
                          <a:pt x="0" y="4"/>
                          <a:pt x="12" y="13"/>
                          <a:pt x="25" y="15"/>
                        </a:cubicBezTo>
                        <a:cubicBezTo>
                          <a:pt x="31" y="18"/>
                          <a:pt x="35" y="12"/>
                          <a:pt x="31" y="6"/>
                        </a:cubicBezTo>
                        <a:cubicBezTo>
                          <a:pt x="30" y="5"/>
                          <a:pt x="21" y="0"/>
                          <a:pt x="20" y="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4" name="Freeform 39"/>
                  <p:cNvSpPr>
                    <a:spLocks/>
                  </p:cNvSpPr>
                  <p:nvPr/>
                </p:nvSpPr>
                <p:spPr bwMode="auto">
                  <a:xfrm>
                    <a:off x="2651" y="2680"/>
                    <a:ext cx="36" cy="23"/>
                  </a:xfrm>
                  <a:custGeom>
                    <a:avLst/>
                    <a:gdLst>
                      <a:gd name="T0" fmla="*/ 33 w 36"/>
                      <a:gd name="T1" fmla="*/ 10 h 23"/>
                      <a:gd name="T2" fmla="*/ 16 w 36"/>
                      <a:gd name="T3" fmla="*/ 4 h 23"/>
                      <a:gd name="T4" fmla="*/ 3 w 36"/>
                      <a:gd name="T5" fmla="*/ 11 h 23"/>
                      <a:gd name="T6" fmla="*/ 9 w 36"/>
                      <a:gd name="T7" fmla="*/ 23 h 23"/>
                      <a:gd name="T8" fmla="*/ 25 w 36"/>
                      <a:gd name="T9" fmla="*/ 16 h 23"/>
                      <a:gd name="T10" fmla="*/ 33 w 36"/>
                      <a:gd name="T11" fmla="*/ 10 h 23"/>
                    </a:gdLst>
                    <a:ahLst/>
                    <a:cxnLst>
                      <a:cxn ang="0">
                        <a:pos x="T0" y="T1"/>
                      </a:cxn>
                      <a:cxn ang="0">
                        <a:pos x="T2" y="T3"/>
                      </a:cxn>
                      <a:cxn ang="0">
                        <a:pos x="T4" y="T5"/>
                      </a:cxn>
                      <a:cxn ang="0">
                        <a:pos x="T6" y="T7"/>
                      </a:cxn>
                      <a:cxn ang="0">
                        <a:pos x="T8" y="T9"/>
                      </a:cxn>
                      <a:cxn ang="0">
                        <a:pos x="T10" y="T11"/>
                      </a:cxn>
                    </a:cxnLst>
                    <a:rect l="0" t="0" r="r" b="b"/>
                    <a:pathLst>
                      <a:path w="36" h="23">
                        <a:moveTo>
                          <a:pt x="33" y="10"/>
                        </a:moveTo>
                        <a:cubicBezTo>
                          <a:pt x="30" y="0"/>
                          <a:pt x="27" y="2"/>
                          <a:pt x="16" y="4"/>
                        </a:cubicBezTo>
                        <a:cubicBezTo>
                          <a:pt x="12" y="7"/>
                          <a:pt x="7" y="8"/>
                          <a:pt x="3" y="11"/>
                        </a:cubicBezTo>
                        <a:cubicBezTo>
                          <a:pt x="0" y="19"/>
                          <a:pt x="1" y="22"/>
                          <a:pt x="9" y="23"/>
                        </a:cubicBezTo>
                        <a:cubicBezTo>
                          <a:pt x="15" y="19"/>
                          <a:pt x="18" y="17"/>
                          <a:pt x="25" y="16"/>
                        </a:cubicBezTo>
                        <a:cubicBezTo>
                          <a:pt x="28" y="15"/>
                          <a:pt x="36" y="10"/>
                          <a:pt x="33" y="1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5" name="Freeform 40"/>
                  <p:cNvSpPr>
                    <a:spLocks/>
                  </p:cNvSpPr>
                  <p:nvPr/>
                </p:nvSpPr>
                <p:spPr bwMode="auto">
                  <a:xfrm>
                    <a:off x="2912" y="2372"/>
                    <a:ext cx="55" cy="30"/>
                  </a:xfrm>
                  <a:custGeom>
                    <a:avLst/>
                    <a:gdLst>
                      <a:gd name="T0" fmla="*/ 45 w 55"/>
                      <a:gd name="T1" fmla="*/ 24 h 30"/>
                      <a:gd name="T2" fmla="*/ 55 w 55"/>
                      <a:gd name="T3" fmla="*/ 10 h 30"/>
                      <a:gd name="T4" fmla="*/ 40 w 55"/>
                      <a:gd name="T5" fmla="*/ 0 h 30"/>
                      <a:gd name="T6" fmla="*/ 16 w 55"/>
                      <a:gd name="T7" fmla="*/ 9 h 30"/>
                      <a:gd name="T8" fmla="*/ 3 w 55"/>
                      <a:gd name="T9" fmla="*/ 16 h 30"/>
                      <a:gd name="T10" fmla="*/ 7 w 55"/>
                      <a:gd name="T11" fmla="*/ 30 h 30"/>
                      <a:gd name="T12" fmla="*/ 39 w 55"/>
                      <a:gd name="T13" fmla="*/ 24 h 30"/>
                      <a:gd name="T14" fmla="*/ 45 w 55"/>
                      <a:gd name="T15" fmla="*/ 24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30">
                        <a:moveTo>
                          <a:pt x="45" y="24"/>
                        </a:moveTo>
                        <a:cubicBezTo>
                          <a:pt x="53" y="13"/>
                          <a:pt x="50" y="18"/>
                          <a:pt x="55" y="10"/>
                        </a:cubicBezTo>
                        <a:cubicBezTo>
                          <a:pt x="54" y="2"/>
                          <a:pt x="48" y="2"/>
                          <a:pt x="40" y="0"/>
                        </a:cubicBezTo>
                        <a:cubicBezTo>
                          <a:pt x="33" y="5"/>
                          <a:pt x="24" y="6"/>
                          <a:pt x="16" y="9"/>
                        </a:cubicBezTo>
                        <a:cubicBezTo>
                          <a:pt x="12" y="12"/>
                          <a:pt x="7" y="13"/>
                          <a:pt x="3" y="16"/>
                        </a:cubicBezTo>
                        <a:cubicBezTo>
                          <a:pt x="0" y="22"/>
                          <a:pt x="0" y="27"/>
                          <a:pt x="7" y="30"/>
                        </a:cubicBezTo>
                        <a:cubicBezTo>
                          <a:pt x="21" y="27"/>
                          <a:pt x="23" y="25"/>
                          <a:pt x="39" y="24"/>
                        </a:cubicBezTo>
                        <a:cubicBezTo>
                          <a:pt x="45" y="25"/>
                          <a:pt x="45" y="27"/>
                          <a:pt x="45" y="24"/>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6" name="Freeform 41"/>
                  <p:cNvSpPr>
                    <a:spLocks/>
                  </p:cNvSpPr>
                  <p:nvPr/>
                </p:nvSpPr>
                <p:spPr bwMode="auto">
                  <a:xfrm>
                    <a:off x="2964" y="2375"/>
                    <a:ext cx="35" cy="12"/>
                  </a:xfrm>
                  <a:custGeom>
                    <a:avLst/>
                    <a:gdLst>
                      <a:gd name="T0" fmla="*/ 15 w 35"/>
                      <a:gd name="T1" fmla="*/ 0 h 12"/>
                      <a:gd name="T2" fmla="*/ 12 w 35"/>
                      <a:gd name="T3" fmla="*/ 12 h 12"/>
                      <a:gd name="T4" fmla="*/ 35 w 35"/>
                      <a:gd name="T5" fmla="*/ 10 h 12"/>
                      <a:gd name="T6" fmla="*/ 15 w 35"/>
                      <a:gd name="T7" fmla="*/ 0 h 12"/>
                    </a:gdLst>
                    <a:ahLst/>
                    <a:cxnLst>
                      <a:cxn ang="0">
                        <a:pos x="T0" y="T1"/>
                      </a:cxn>
                      <a:cxn ang="0">
                        <a:pos x="T2" y="T3"/>
                      </a:cxn>
                      <a:cxn ang="0">
                        <a:pos x="T4" y="T5"/>
                      </a:cxn>
                      <a:cxn ang="0">
                        <a:pos x="T6" y="T7"/>
                      </a:cxn>
                    </a:cxnLst>
                    <a:rect l="0" t="0" r="r" b="b"/>
                    <a:pathLst>
                      <a:path w="35" h="12">
                        <a:moveTo>
                          <a:pt x="15" y="0"/>
                        </a:moveTo>
                        <a:cubicBezTo>
                          <a:pt x="9" y="4"/>
                          <a:pt x="0" y="6"/>
                          <a:pt x="12" y="12"/>
                        </a:cubicBezTo>
                        <a:cubicBezTo>
                          <a:pt x="19" y="9"/>
                          <a:pt x="27" y="11"/>
                          <a:pt x="35" y="10"/>
                        </a:cubicBezTo>
                        <a:cubicBezTo>
                          <a:pt x="29" y="2"/>
                          <a:pt x="21" y="6"/>
                          <a:pt x="15" y="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7" name="Freeform 42"/>
                  <p:cNvSpPr>
                    <a:spLocks/>
                  </p:cNvSpPr>
                  <p:nvPr/>
                </p:nvSpPr>
                <p:spPr bwMode="auto">
                  <a:xfrm>
                    <a:off x="2933" y="2345"/>
                    <a:ext cx="26" cy="8"/>
                  </a:xfrm>
                  <a:custGeom>
                    <a:avLst/>
                    <a:gdLst>
                      <a:gd name="T0" fmla="*/ 21 w 26"/>
                      <a:gd name="T1" fmla="*/ 0 h 8"/>
                      <a:gd name="T2" fmla="*/ 21 w 26"/>
                      <a:gd name="T3" fmla="*/ 6 h 8"/>
                      <a:gd name="T4" fmla="*/ 21 w 26"/>
                      <a:gd name="T5" fmla="*/ 0 h 8"/>
                    </a:gdLst>
                    <a:ahLst/>
                    <a:cxnLst>
                      <a:cxn ang="0">
                        <a:pos x="T0" y="T1"/>
                      </a:cxn>
                      <a:cxn ang="0">
                        <a:pos x="T2" y="T3"/>
                      </a:cxn>
                      <a:cxn ang="0">
                        <a:pos x="T4" y="T5"/>
                      </a:cxn>
                    </a:cxnLst>
                    <a:rect l="0" t="0" r="r" b="b"/>
                    <a:pathLst>
                      <a:path w="26" h="8">
                        <a:moveTo>
                          <a:pt x="21" y="0"/>
                        </a:moveTo>
                        <a:cubicBezTo>
                          <a:pt x="13" y="2"/>
                          <a:pt x="0" y="8"/>
                          <a:pt x="21" y="6"/>
                        </a:cubicBezTo>
                        <a:cubicBezTo>
                          <a:pt x="25" y="0"/>
                          <a:pt x="26" y="2"/>
                          <a:pt x="21" y="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8" name="Freeform 43"/>
                  <p:cNvSpPr>
                    <a:spLocks/>
                  </p:cNvSpPr>
                  <p:nvPr/>
                </p:nvSpPr>
                <p:spPr bwMode="auto">
                  <a:xfrm>
                    <a:off x="2899" y="2336"/>
                    <a:ext cx="41" cy="25"/>
                  </a:xfrm>
                  <a:custGeom>
                    <a:avLst/>
                    <a:gdLst>
                      <a:gd name="T0" fmla="*/ 4 w 41"/>
                      <a:gd name="T1" fmla="*/ 25 h 25"/>
                      <a:gd name="T2" fmla="*/ 17 w 41"/>
                      <a:gd name="T3" fmla="*/ 19 h 25"/>
                      <a:gd name="T4" fmla="*/ 38 w 41"/>
                      <a:gd name="T5" fmla="*/ 10 h 25"/>
                      <a:gd name="T6" fmla="*/ 32 w 41"/>
                      <a:gd name="T7" fmla="*/ 0 h 25"/>
                      <a:gd name="T8" fmla="*/ 11 w 41"/>
                      <a:gd name="T9" fmla="*/ 13 h 25"/>
                      <a:gd name="T10" fmla="*/ 4 w 41"/>
                      <a:gd name="T11" fmla="*/ 25 h 25"/>
                    </a:gdLst>
                    <a:ahLst/>
                    <a:cxnLst>
                      <a:cxn ang="0">
                        <a:pos x="T0" y="T1"/>
                      </a:cxn>
                      <a:cxn ang="0">
                        <a:pos x="T2" y="T3"/>
                      </a:cxn>
                      <a:cxn ang="0">
                        <a:pos x="T4" y="T5"/>
                      </a:cxn>
                      <a:cxn ang="0">
                        <a:pos x="T6" y="T7"/>
                      </a:cxn>
                      <a:cxn ang="0">
                        <a:pos x="T8" y="T9"/>
                      </a:cxn>
                      <a:cxn ang="0">
                        <a:pos x="T10" y="T11"/>
                      </a:cxn>
                    </a:cxnLst>
                    <a:rect l="0" t="0" r="r" b="b"/>
                    <a:pathLst>
                      <a:path w="41" h="25">
                        <a:moveTo>
                          <a:pt x="4" y="25"/>
                        </a:moveTo>
                        <a:cubicBezTo>
                          <a:pt x="8" y="22"/>
                          <a:pt x="12" y="21"/>
                          <a:pt x="17" y="19"/>
                        </a:cubicBezTo>
                        <a:cubicBezTo>
                          <a:pt x="20" y="12"/>
                          <a:pt x="38" y="10"/>
                          <a:pt x="38" y="10"/>
                        </a:cubicBezTo>
                        <a:cubicBezTo>
                          <a:pt x="41" y="3"/>
                          <a:pt x="39" y="1"/>
                          <a:pt x="32" y="0"/>
                        </a:cubicBezTo>
                        <a:cubicBezTo>
                          <a:pt x="21" y="2"/>
                          <a:pt x="20" y="11"/>
                          <a:pt x="11" y="13"/>
                        </a:cubicBezTo>
                        <a:cubicBezTo>
                          <a:pt x="0" y="18"/>
                          <a:pt x="8" y="21"/>
                          <a:pt x="4" y="25"/>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19" name="Freeform 44"/>
                  <p:cNvSpPr>
                    <a:spLocks/>
                  </p:cNvSpPr>
                  <p:nvPr/>
                </p:nvSpPr>
                <p:spPr bwMode="auto">
                  <a:xfrm>
                    <a:off x="2898" y="2361"/>
                    <a:ext cx="9" cy="9"/>
                  </a:xfrm>
                  <a:custGeom>
                    <a:avLst/>
                    <a:gdLst>
                      <a:gd name="T0" fmla="*/ 0 w 9"/>
                      <a:gd name="T1" fmla="*/ 6 h 9"/>
                      <a:gd name="T2" fmla="*/ 8 w 9"/>
                      <a:gd name="T3" fmla="*/ 0 h 9"/>
                      <a:gd name="T4" fmla="*/ 0 w 9"/>
                      <a:gd name="T5" fmla="*/ 6 h 9"/>
                    </a:gdLst>
                    <a:ahLst/>
                    <a:cxnLst>
                      <a:cxn ang="0">
                        <a:pos x="T0" y="T1"/>
                      </a:cxn>
                      <a:cxn ang="0">
                        <a:pos x="T2" y="T3"/>
                      </a:cxn>
                      <a:cxn ang="0">
                        <a:pos x="T4" y="T5"/>
                      </a:cxn>
                    </a:cxnLst>
                    <a:rect l="0" t="0" r="r" b="b"/>
                    <a:pathLst>
                      <a:path w="9" h="9">
                        <a:moveTo>
                          <a:pt x="0" y="6"/>
                        </a:moveTo>
                        <a:cubicBezTo>
                          <a:pt x="7" y="9"/>
                          <a:pt x="9" y="8"/>
                          <a:pt x="8" y="0"/>
                        </a:cubicBezTo>
                        <a:cubicBezTo>
                          <a:pt x="1" y="3"/>
                          <a:pt x="4" y="1"/>
                          <a:pt x="0" y="6"/>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0" name="Freeform 45"/>
                  <p:cNvSpPr>
                    <a:spLocks/>
                  </p:cNvSpPr>
                  <p:nvPr/>
                </p:nvSpPr>
                <p:spPr bwMode="auto">
                  <a:xfrm>
                    <a:off x="2889" y="2369"/>
                    <a:ext cx="11" cy="10"/>
                  </a:xfrm>
                  <a:custGeom>
                    <a:avLst/>
                    <a:gdLst>
                      <a:gd name="T0" fmla="*/ 0 w 11"/>
                      <a:gd name="T1" fmla="*/ 10 h 10"/>
                      <a:gd name="T2" fmla="*/ 0 w 11"/>
                      <a:gd name="T3" fmla="*/ 10 h 10"/>
                    </a:gdLst>
                    <a:ahLst/>
                    <a:cxnLst>
                      <a:cxn ang="0">
                        <a:pos x="T0" y="T1"/>
                      </a:cxn>
                      <a:cxn ang="0">
                        <a:pos x="T2" y="T3"/>
                      </a:cxn>
                    </a:cxnLst>
                    <a:rect l="0" t="0" r="r" b="b"/>
                    <a:pathLst>
                      <a:path w="11" h="10">
                        <a:moveTo>
                          <a:pt x="0" y="10"/>
                        </a:moveTo>
                        <a:cubicBezTo>
                          <a:pt x="11" y="8"/>
                          <a:pt x="0" y="0"/>
                          <a:pt x="0" y="1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1" name="Freeform 46"/>
                  <p:cNvSpPr>
                    <a:spLocks/>
                  </p:cNvSpPr>
                  <p:nvPr/>
                </p:nvSpPr>
                <p:spPr bwMode="auto">
                  <a:xfrm>
                    <a:off x="2199" y="2247"/>
                    <a:ext cx="352" cy="129"/>
                  </a:xfrm>
                  <a:custGeom>
                    <a:avLst/>
                    <a:gdLst>
                      <a:gd name="T0" fmla="*/ 66 w 352"/>
                      <a:gd name="T1" fmla="*/ 20 h 129"/>
                      <a:gd name="T2" fmla="*/ 144 w 352"/>
                      <a:gd name="T3" fmla="*/ 2 h 129"/>
                      <a:gd name="T4" fmla="*/ 153 w 352"/>
                      <a:gd name="T5" fmla="*/ 8 h 129"/>
                      <a:gd name="T6" fmla="*/ 146 w 352"/>
                      <a:gd name="T7" fmla="*/ 23 h 129"/>
                      <a:gd name="T8" fmla="*/ 167 w 352"/>
                      <a:gd name="T9" fmla="*/ 20 h 129"/>
                      <a:gd name="T10" fmla="*/ 176 w 352"/>
                      <a:gd name="T11" fmla="*/ 9 h 129"/>
                      <a:gd name="T12" fmla="*/ 191 w 352"/>
                      <a:gd name="T13" fmla="*/ 12 h 129"/>
                      <a:gd name="T14" fmla="*/ 203 w 352"/>
                      <a:gd name="T15" fmla="*/ 26 h 129"/>
                      <a:gd name="T16" fmla="*/ 218 w 352"/>
                      <a:gd name="T17" fmla="*/ 15 h 129"/>
                      <a:gd name="T18" fmla="*/ 236 w 352"/>
                      <a:gd name="T19" fmla="*/ 17 h 129"/>
                      <a:gd name="T20" fmla="*/ 233 w 352"/>
                      <a:gd name="T21" fmla="*/ 30 h 129"/>
                      <a:gd name="T22" fmla="*/ 234 w 352"/>
                      <a:gd name="T23" fmla="*/ 44 h 129"/>
                      <a:gd name="T24" fmla="*/ 252 w 352"/>
                      <a:gd name="T25" fmla="*/ 33 h 129"/>
                      <a:gd name="T26" fmla="*/ 260 w 352"/>
                      <a:gd name="T27" fmla="*/ 14 h 129"/>
                      <a:gd name="T28" fmla="*/ 272 w 352"/>
                      <a:gd name="T29" fmla="*/ 5 h 129"/>
                      <a:gd name="T30" fmla="*/ 293 w 352"/>
                      <a:gd name="T31" fmla="*/ 9 h 129"/>
                      <a:gd name="T32" fmla="*/ 306 w 352"/>
                      <a:gd name="T33" fmla="*/ 14 h 129"/>
                      <a:gd name="T34" fmla="*/ 306 w 352"/>
                      <a:gd name="T35" fmla="*/ 0 h 129"/>
                      <a:gd name="T36" fmla="*/ 326 w 352"/>
                      <a:gd name="T37" fmla="*/ 9 h 129"/>
                      <a:gd name="T38" fmla="*/ 300 w 352"/>
                      <a:gd name="T39" fmla="*/ 26 h 129"/>
                      <a:gd name="T40" fmla="*/ 281 w 352"/>
                      <a:gd name="T41" fmla="*/ 59 h 129"/>
                      <a:gd name="T42" fmla="*/ 296 w 352"/>
                      <a:gd name="T43" fmla="*/ 75 h 129"/>
                      <a:gd name="T44" fmla="*/ 311 w 352"/>
                      <a:gd name="T45" fmla="*/ 81 h 129"/>
                      <a:gd name="T46" fmla="*/ 315 w 352"/>
                      <a:gd name="T47" fmla="*/ 92 h 129"/>
                      <a:gd name="T48" fmla="*/ 285 w 352"/>
                      <a:gd name="T49" fmla="*/ 93 h 129"/>
                      <a:gd name="T50" fmla="*/ 284 w 352"/>
                      <a:gd name="T51" fmla="*/ 107 h 129"/>
                      <a:gd name="T52" fmla="*/ 263 w 352"/>
                      <a:gd name="T53" fmla="*/ 116 h 129"/>
                      <a:gd name="T54" fmla="*/ 240 w 352"/>
                      <a:gd name="T55" fmla="*/ 117 h 129"/>
                      <a:gd name="T56" fmla="*/ 216 w 352"/>
                      <a:gd name="T57" fmla="*/ 113 h 129"/>
                      <a:gd name="T58" fmla="*/ 201 w 352"/>
                      <a:gd name="T59" fmla="*/ 107 h 129"/>
                      <a:gd name="T60" fmla="*/ 192 w 352"/>
                      <a:gd name="T61" fmla="*/ 104 h 129"/>
                      <a:gd name="T62" fmla="*/ 189 w 352"/>
                      <a:gd name="T63" fmla="*/ 101 h 129"/>
                      <a:gd name="T64" fmla="*/ 167 w 352"/>
                      <a:gd name="T65" fmla="*/ 108 h 129"/>
                      <a:gd name="T66" fmla="*/ 99 w 352"/>
                      <a:gd name="T67" fmla="*/ 119 h 129"/>
                      <a:gd name="T68" fmla="*/ 48 w 352"/>
                      <a:gd name="T69" fmla="*/ 122 h 129"/>
                      <a:gd name="T70" fmla="*/ 42 w 352"/>
                      <a:gd name="T71" fmla="*/ 104 h 129"/>
                      <a:gd name="T72" fmla="*/ 12 w 352"/>
                      <a:gd name="T73" fmla="*/ 98 h 129"/>
                      <a:gd name="T74" fmla="*/ 0 w 352"/>
                      <a:gd name="T75" fmla="*/ 90 h 129"/>
                      <a:gd name="T76" fmla="*/ 20 w 352"/>
                      <a:gd name="T77" fmla="*/ 80 h 129"/>
                      <a:gd name="T78" fmla="*/ 101 w 352"/>
                      <a:gd name="T79" fmla="*/ 84 h 129"/>
                      <a:gd name="T80" fmla="*/ 120 w 352"/>
                      <a:gd name="T81" fmla="*/ 80 h 129"/>
                      <a:gd name="T82" fmla="*/ 99 w 352"/>
                      <a:gd name="T83" fmla="*/ 68 h 129"/>
                      <a:gd name="T84" fmla="*/ 57 w 352"/>
                      <a:gd name="T85" fmla="*/ 72 h 129"/>
                      <a:gd name="T86" fmla="*/ 24 w 352"/>
                      <a:gd name="T87" fmla="*/ 71 h 129"/>
                      <a:gd name="T88" fmla="*/ 35 w 352"/>
                      <a:gd name="T89" fmla="*/ 59 h 129"/>
                      <a:gd name="T90" fmla="*/ 66 w 352"/>
                      <a:gd name="T91" fmla="*/ 54 h 129"/>
                      <a:gd name="T92" fmla="*/ 51 w 352"/>
                      <a:gd name="T93" fmla="*/ 47 h 129"/>
                      <a:gd name="T94" fmla="*/ 35 w 352"/>
                      <a:gd name="T95" fmla="*/ 39 h 129"/>
                      <a:gd name="T96" fmla="*/ 56 w 352"/>
                      <a:gd name="T97" fmla="*/ 33 h 129"/>
                      <a:gd name="T98" fmla="*/ 66 w 352"/>
                      <a:gd name="T99" fmla="*/ 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2" h="129">
                        <a:moveTo>
                          <a:pt x="66" y="20"/>
                        </a:moveTo>
                        <a:lnTo>
                          <a:pt x="144" y="2"/>
                        </a:lnTo>
                        <a:cubicBezTo>
                          <a:pt x="167" y="3"/>
                          <a:pt x="166" y="3"/>
                          <a:pt x="153" y="8"/>
                        </a:cubicBezTo>
                        <a:cubicBezTo>
                          <a:pt x="149" y="13"/>
                          <a:pt x="147" y="16"/>
                          <a:pt x="146" y="23"/>
                        </a:cubicBezTo>
                        <a:cubicBezTo>
                          <a:pt x="154" y="24"/>
                          <a:pt x="159" y="22"/>
                          <a:pt x="167" y="20"/>
                        </a:cubicBezTo>
                        <a:cubicBezTo>
                          <a:pt x="168" y="13"/>
                          <a:pt x="170" y="12"/>
                          <a:pt x="176" y="9"/>
                        </a:cubicBezTo>
                        <a:cubicBezTo>
                          <a:pt x="181" y="10"/>
                          <a:pt x="190" y="7"/>
                          <a:pt x="191" y="12"/>
                        </a:cubicBezTo>
                        <a:cubicBezTo>
                          <a:pt x="193" y="22"/>
                          <a:pt x="192" y="23"/>
                          <a:pt x="203" y="26"/>
                        </a:cubicBezTo>
                        <a:cubicBezTo>
                          <a:pt x="227" y="23"/>
                          <a:pt x="221" y="28"/>
                          <a:pt x="218" y="15"/>
                        </a:cubicBezTo>
                        <a:cubicBezTo>
                          <a:pt x="223" y="8"/>
                          <a:pt x="230" y="13"/>
                          <a:pt x="236" y="17"/>
                        </a:cubicBezTo>
                        <a:cubicBezTo>
                          <a:pt x="241" y="23"/>
                          <a:pt x="238" y="25"/>
                          <a:pt x="233" y="30"/>
                        </a:cubicBezTo>
                        <a:cubicBezTo>
                          <a:pt x="230" y="36"/>
                          <a:pt x="228" y="39"/>
                          <a:pt x="234" y="44"/>
                        </a:cubicBezTo>
                        <a:cubicBezTo>
                          <a:pt x="243" y="41"/>
                          <a:pt x="244" y="39"/>
                          <a:pt x="252" y="33"/>
                        </a:cubicBezTo>
                        <a:cubicBezTo>
                          <a:pt x="254" y="27"/>
                          <a:pt x="257" y="20"/>
                          <a:pt x="260" y="14"/>
                        </a:cubicBezTo>
                        <a:cubicBezTo>
                          <a:pt x="262" y="6"/>
                          <a:pt x="265" y="6"/>
                          <a:pt x="272" y="5"/>
                        </a:cubicBezTo>
                        <a:cubicBezTo>
                          <a:pt x="280" y="6"/>
                          <a:pt x="284" y="8"/>
                          <a:pt x="293" y="9"/>
                        </a:cubicBezTo>
                        <a:cubicBezTo>
                          <a:pt x="297" y="11"/>
                          <a:pt x="302" y="12"/>
                          <a:pt x="306" y="14"/>
                        </a:cubicBezTo>
                        <a:cubicBezTo>
                          <a:pt x="304" y="6"/>
                          <a:pt x="295" y="5"/>
                          <a:pt x="306" y="0"/>
                        </a:cubicBezTo>
                        <a:cubicBezTo>
                          <a:pt x="335" y="2"/>
                          <a:pt x="352" y="5"/>
                          <a:pt x="326" y="9"/>
                        </a:cubicBezTo>
                        <a:cubicBezTo>
                          <a:pt x="316" y="13"/>
                          <a:pt x="310" y="22"/>
                          <a:pt x="300" y="26"/>
                        </a:cubicBezTo>
                        <a:cubicBezTo>
                          <a:pt x="289" y="37"/>
                          <a:pt x="296" y="52"/>
                          <a:pt x="281" y="59"/>
                        </a:cubicBezTo>
                        <a:cubicBezTo>
                          <a:pt x="277" y="68"/>
                          <a:pt x="288" y="73"/>
                          <a:pt x="296" y="75"/>
                        </a:cubicBezTo>
                        <a:cubicBezTo>
                          <a:pt x="308" y="81"/>
                          <a:pt x="302" y="79"/>
                          <a:pt x="311" y="81"/>
                        </a:cubicBezTo>
                        <a:cubicBezTo>
                          <a:pt x="312" y="82"/>
                          <a:pt x="323" y="90"/>
                          <a:pt x="315" y="92"/>
                        </a:cubicBezTo>
                        <a:cubicBezTo>
                          <a:pt x="305" y="94"/>
                          <a:pt x="295" y="93"/>
                          <a:pt x="285" y="93"/>
                        </a:cubicBezTo>
                        <a:cubicBezTo>
                          <a:pt x="284" y="100"/>
                          <a:pt x="281" y="101"/>
                          <a:pt x="284" y="107"/>
                        </a:cubicBezTo>
                        <a:cubicBezTo>
                          <a:pt x="277" y="111"/>
                          <a:pt x="271" y="113"/>
                          <a:pt x="263" y="116"/>
                        </a:cubicBezTo>
                        <a:cubicBezTo>
                          <a:pt x="255" y="111"/>
                          <a:pt x="249" y="116"/>
                          <a:pt x="240" y="117"/>
                        </a:cubicBezTo>
                        <a:cubicBezTo>
                          <a:pt x="228" y="116"/>
                          <a:pt x="226" y="115"/>
                          <a:pt x="216" y="113"/>
                        </a:cubicBezTo>
                        <a:cubicBezTo>
                          <a:pt x="211" y="109"/>
                          <a:pt x="207" y="108"/>
                          <a:pt x="201" y="107"/>
                        </a:cubicBezTo>
                        <a:cubicBezTo>
                          <a:pt x="198" y="106"/>
                          <a:pt x="193" y="107"/>
                          <a:pt x="192" y="104"/>
                        </a:cubicBezTo>
                        <a:cubicBezTo>
                          <a:pt x="190" y="99"/>
                          <a:pt x="203" y="96"/>
                          <a:pt x="189" y="101"/>
                        </a:cubicBezTo>
                        <a:cubicBezTo>
                          <a:pt x="183" y="106"/>
                          <a:pt x="175" y="107"/>
                          <a:pt x="167" y="108"/>
                        </a:cubicBezTo>
                        <a:cubicBezTo>
                          <a:pt x="158" y="112"/>
                          <a:pt x="113" y="117"/>
                          <a:pt x="99" y="119"/>
                        </a:cubicBezTo>
                        <a:cubicBezTo>
                          <a:pt x="85" y="129"/>
                          <a:pt x="64" y="123"/>
                          <a:pt x="48" y="122"/>
                        </a:cubicBezTo>
                        <a:cubicBezTo>
                          <a:pt x="54" y="112"/>
                          <a:pt x="57" y="106"/>
                          <a:pt x="42" y="104"/>
                        </a:cubicBezTo>
                        <a:cubicBezTo>
                          <a:pt x="32" y="99"/>
                          <a:pt x="24" y="99"/>
                          <a:pt x="12" y="98"/>
                        </a:cubicBezTo>
                        <a:cubicBezTo>
                          <a:pt x="6" y="95"/>
                          <a:pt x="4" y="96"/>
                          <a:pt x="0" y="90"/>
                        </a:cubicBezTo>
                        <a:cubicBezTo>
                          <a:pt x="3" y="81"/>
                          <a:pt x="11" y="81"/>
                          <a:pt x="20" y="80"/>
                        </a:cubicBezTo>
                        <a:cubicBezTo>
                          <a:pt x="46" y="67"/>
                          <a:pt x="75" y="80"/>
                          <a:pt x="101" y="84"/>
                        </a:cubicBezTo>
                        <a:cubicBezTo>
                          <a:pt x="108" y="83"/>
                          <a:pt x="113" y="81"/>
                          <a:pt x="120" y="80"/>
                        </a:cubicBezTo>
                        <a:cubicBezTo>
                          <a:pt x="132" y="75"/>
                          <a:pt x="105" y="69"/>
                          <a:pt x="99" y="68"/>
                        </a:cubicBezTo>
                        <a:cubicBezTo>
                          <a:pt x="74" y="69"/>
                          <a:pt x="74" y="70"/>
                          <a:pt x="57" y="72"/>
                        </a:cubicBezTo>
                        <a:cubicBezTo>
                          <a:pt x="46" y="72"/>
                          <a:pt x="35" y="73"/>
                          <a:pt x="24" y="71"/>
                        </a:cubicBezTo>
                        <a:cubicBezTo>
                          <a:pt x="11" y="69"/>
                          <a:pt x="34" y="59"/>
                          <a:pt x="35" y="59"/>
                        </a:cubicBezTo>
                        <a:cubicBezTo>
                          <a:pt x="45" y="54"/>
                          <a:pt x="55" y="55"/>
                          <a:pt x="66" y="54"/>
                        </a:cubicBezTo>
                        <a:cubicBezTo>
                          <a:pt x="73" y="45"/>
                          <a:pt x="58" y="47"/>
                          <a:pt x="51" y="47"/>
                        </a:cubicBezTo>
                        <a:cubicBezTo>
                          <a:pt x="44" y="43"/>
                          <a:pt x="37" y="48"/>
                          <a:pt x="35" y="39"/>
                        </a:cubicBezTo>
                        <a:cubicBezTo>
                          <a:pt x="41" y="34"/>
                          <a:pt x="48" y="34"/>
                          <a:pt x="56" y="33"/>
                        </a:cubicBezTo>
                        <a:cubicBezTo>
                          <a:pt x="63" y="28"/>
                          <a:pt x="65" y="29"/>
                          <a:pt x="66" y="20"/>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2" name="Freeform 47"/>
                  <p:cNvSpPr>
                    <a:spLocks/>
                  </p:cNvSpPr>
                  <p:nvPr/>
                </p:nvSpPr>
                <p:spPr bwMode="auto">
                  <a:xfrm>
                    <a:off x="2104" y="2219"/>
                    <a:ext cx="245" cy="90"/>
                  </a:xfrm>
                  <a:custGeom>
                    <a:avLst/>
                    <a:gdLst>
                      <a:gd name="T0" fmla="*/ 161 w 245"/>
                      <a:gd name="T1" fmla="*/ 48 h 90"/>
                      <a:gd name="T2" fmla="*/ 233 w 245"/>
                      <a:gd name="T3" fmla="*/ 31 h 90"/>
                      <a:gd name="T4" fmla="*/ 233 w 245"/>
                      <a:gd name="T5" fmla="*/ 16 h 90"/>
                      <a:gd name="T6" fmla="*/ 220 w 245"/>
                      <a:gd name="T7" fmla="*/ 12 h 90"/>
                      <a:gd name="T8" fmla="*/ 176 w 245"/>
                      <a:gd name="T9" fmla="*/ 6 h 90"/>
                      <a:gd name="T10" fmla="*/ 152 w 245"/>
                      <a:gd name="T11" fmla="*/ 4 h 90"/>
                      <a:gd name="T12" fmla="*/ 103 w 245"/>
                      <a:gd name="T13" fmla="*/ 10 h 90"/>
                      <a:gd name="T14" fmla="*/ 71 w 245"/>
                      <a:gd name="T15" fmla="*/ 36 h 90"/>
                      <a:gd name="T16" fmla="*/ 47 w 245"/>
                      <a:gd name="T17" fmla="*/ 43 h 90"/>
                      <a:gd name="T18" fmla="*/ 5 w 245"/>
                      <a:gd name="T19" fmla="*/ 58 h 90"/>
                      <a:gd name="T20" fmla="*/ 17 w 245"/>
                      <a:gd name="T21" fmla="*/ 70 h 90"/>
                      <a:gd name="T22" fmla="*/ 35 w 245"/>
                      <a:gd name="T23" fmla="*/ 90 h 90"/>
                      <a:gd name="T24" fmla="*/ 64 w 245"/>
                      <a:gd name="T25" fmla="*/ 82 h 90"/>
                      <a:gd name="T26" fmla="*/ 82 w 245"/>
                      <a:gd name="T27" fmla="*/ 75 h 90"/>
                      <a:gd name="T28" fmla="*/ 97 w 245"/>
                      <a:gd name="T29" fmla="*/ 70 h 90"/>
                      <a:gd name="T30" fmla="*/ 124 w 245"/>
                      <a:gd name="T31" fmla="*/ 61 h 90"/>
                      <a:gd name="T32" fmla="*/ 151 w 245"/>
                      <a:gd name="T33" fmla="*/ 49 h 90"/>
                      <a:gd name="T34" fmla="*/ 161 w 245"/>
                      <a:gd name="T35" fmla="*/ 4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90">
                        <a:moveTo>
                          <a:pt x="161" y="48"/>
                        </a:moveTo>
                        <a:cubicBezTo>
                          <a:pt x="173" y="47"/>
                          <a:pt x="221" y="36"/>
                          <a:pt x="233" y="31"/>
                        </a:cubicBezTo>
                        <a:cubicBezTo>
                          <a:pt x="245" y="26"/>
                          <a:pt x="235" y="19"/>
                          <a:pt x="233" y="16"/>
                        </a:cubicBezTo>
                        <a:cubicBezTo>
                          <a:pt x="228" y="3"/>
                          <a:pt x="233" y="10"/>
                          <a:pt x="220" y="12"/>
                        </a:cubicBezTo>
                        <a:cubicBezTo>
                          <a:pt x="202" y="11"/>
                          <a:pt x="192" y="9"/>
                          <a:pt x="176" y="6"/>
                        </a:cubicBezTo>
                        <a:cubicBezTo>
                          <a:pt x="167" y="0"/>
                          <a:pt x="162" y="2"/>
                          <a:pt x="152" y="4"/>
                        </a:cubicBezTo>
                        <a:cubicBezTo>
                          <a:pt x="139" y="10"/>
                          <a:pt x="115" y="10"/>
                          <a:pt x="103" y="10"/>
                        </a:cubicBezTo>
                        <a:cubicBezTo>
                          <a:pt x="89" y="24"/>
                          <a:pt x="96" y="31"/>
                          <a:pt x="71" y="36"/>
                        </a:cubicBezTo>
                        <a:cubicBezTo>
                          <a:pt x="64" y="41"/>
                          <a:pt x="56" y="42"/>
                          <a:pt x="47" y="43"/>
                        </a:cubicBezTo>
                        <a:cubicBezTo>
                          <a:pt x="33" y="50"/>
                          <a:pt x="20" y="55"/>
                          <a:pt x="5" y="58"/>
                        </a:cubicBezTo>
                        <a:cubicBezTo>
                          <a:pt x="0" y="66"/>
                          <a:pt x="9" y="69"/>
                          <a:pt x="17" y="70"/>
                        </a:cubicBezTo>
                        <a:cubicBezTo>
                          <a:pt x="29" y="75"/>
                          <a:pt x="25" y="85"/>
                          <a:pt x="35" y="90"/>
                        </a:cubicBezTo>
                        <a:cubicBezTo>
                          <a:pt x="46" y="86"/>
                          <a:pt x="51" y="84"/>
                          <a:pt x="64" y="82"/>
                        </a:cubicBezTo>
                        <a:cubicBezTo>
                          <a:pt x="69" y="78"/>
                          <a:pt x="76" y="76"/>
                          <a:pt x="82" y="75"/>
                        </a:cubicBezTo>
                        <a:cubicBezTo>
                          <a:pt x="87" y="73"/>
                          <a:pt x="92" y="72"/>
                          <a:pt x="97" y="70"/>
                        </a:cubicBezTo>
                        <a:cubicBezTo>
                          <a:pt x="105" y="64"/>
                          <a:pt x="115" y="64"/>
                          <a:pt x="124" y="61"/>
                        </a:cubicBezTo>
                        <a:cubicBezTo>
                          <a:pt x="131" y="56"/>
                          <a:pt x="143" y="49"/>
                          <a:pt x="151" y="49"/>
                        </a:cubicBezTo>
                        <a:cubicBezTo>
                          <a:pt x="151" y="49"/>
                          <a:pt x="161" y="48"/>
                          <a:pt x="161" y="48"/>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3" name="Freeform 48"/>
                  <p:cNvSpPr>
                    <a:spLocks/>
                  </p:cNvSpPr>
                  <p:nvPr/>
                </p:nvSpPr>
                <p:spPr bwMode="auto">
                  <a:xfrm>
                    <a:off x="2292" y="2153"/>
                    <a:ext cx="169" cy="40"/>
                  </a:xfrm>
                  <a:custGeom>
                    <a:avLst/>
                    <a:gdLst>
                      <a:gd name="T0" fmla="*/ 119 w 169"/>
                      <a:gd name="T1" fmla="*/ 28 h 40"/>
                      <a:gd name="T2" fmla="*/ 134 w 169"/>
                      <a:gd name="T3" fmla="*/ 21 h 40"/>
                      <a:gd name="T4" fmla="*/ 149 w 169"/>
                      <a:gd name="T5" fmla="*/ 19 h 40"/>
                      <a:gd name="T6" fmla="*/ 165 w 169"/>
                      <a:gd name="T7" fmla="*/ 13 h 40"/>
                      <a:gd name="T8" fmla="*/ 165 w 169"/>
                      <a:gd name="T9" fmla="*/ 0 h 40"/>
                      <a:gd name="T10" fmla="*/ 135 w 169"/>
                      <a:gd name="T11" fmla="*/ 4 h 40"/>
                      <a:gd name="T12" fmla="*/ 93 w 169"/>
                      <a:gd name="T13" fmla="*/ 10 h 40"/>
                      <a:gd name="T14" fmla="*/ 77 w 169"/>
                      <a:gd name="T15" fmla="*/ 16 h 40"/>
                      <a:gd name="T16" fmla="*/ 51 w 169"/>
                      <a:gd name="T17" fmla="*/ 25 h 40"/>
                      <a:gd name="T18" fmla="*/ 11 w 169"/>
                      <a:gd name="T19" fmla="*/ 31 h 40"/>
                      <a:gd name="T20" fmla="*/ 23 w 169"/>
                      <a:gd name="T21" fmla="*/ 40 h 40"/>
                      <a:gd name="T22" fmla="*/ 47 w 169"/>
                      <a:gd name="T23" fmla="*/ 36 h 40"/>
                      <a:gd name="T24" fmla="*/ 74 w 169"/>
                      <a:gd name="T25" fmla="*/ 36 h 40"/>
                      <a:gd name="T26" fmla="*/ 96 w 169"/>
                      <a:gd name="T27" fmla="*/ 30 h 40"/>
                      <a:gd name="T28" fmla="*/ 119 w 169"/>
                      <a:gd name="T29" fmla="*/ 31 h 40"/>
                      <a:gd name="T30" fmla="*/ 119 w 169"/>
                      <a:gd name="T3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 h="40">
                        <a:moveTo>
                          <a:pt x="119" y="28"/>
                        </a:moveTo>
                        <a:cubicBezTo>
                          <a:pt x="124" y="24"/>
                          <a:pt x="127" y="22"/>
                          <a:pt x="134" y="21"/>
                        </a:cubicBezTo>
                        <a:cubicBezTo>
                          <a:pt x="140" y="18"/>
                          <a:pt x="143" y="18"/>
                          <a:pt x="149" y="19"/>
                        </a:cubicBezTo>
                        <a:cubicBezTo>
                          <a:pt x="156" y="18"/>
                          <a:pt x="160" y="17"/>
                          <a:pt x="165" y="13"/>
                        </a:cubicBezTo>
                        <a:cubicBezTo>
                          <a:pt x="168" y="7"/>
                          <a:pt x="169" y="5"/>
                          <a:pt x="165" y="0"/>
                        </a:cubicBezTo>
                        <a:cubicBezTo>
                          <a:pt x="153" y="2"/>
                          <a:pt x="151" y="3"/>
                          <a:pt x="135" y="4"/>
                        </a:cubicBezTo>
                        <a:cubicBezTo>
                          <a:pt x="121" y="6"/>
                          <a:pt x="107" y="7"/>
                          <a:pt x="93" y="10"/>
                        </a:cubicBezTo>
                        <a:cubicBezTo>
                          <a:pt x="88" y="14"/>
                          <a:pt x="83" y="15"/>
                          <a:pt x="77" y="16"/>
                        </a:cubicBezTo>
                        <a:cubicBezTo>
                          <a:pt x="69" y="19"/>
                          <a:pt x="60" y="24"/>
                          <a:pt x="51" y="25"/>
                        </a:cubicBezTo>
                        <a:cubicBezTo>
                          <a:pt x="41" y="30"/>
                          <a:pt x="23" y="30"/>
                          <a:pt x="11" y="31"/>
                        </a:cubicBezTo>
                        <a:cubicBezTo>
                          <a:pt x="0" y="36"/>
                          <a:pt x="18" y="39"/>
                          <a:pt x="23" y="40"/>
                        </a:cubicBezTo>
                        <a:cubicBezTo>
                          <a:pt x="32" y="39"/>
                          <a:pt x="38" y="37"/>
                          <a:pt x="47" y="36"/>
                        </a:cubicBezTo>
                        <a:cubicBezTo>
                          <a:pt x="57" y="38"/>
                          <a:pt x="63" y="38"/>
                          <a:pt x="74" y="36"/>
                        </a:cubicBezTo>
                        <a:cubicBezTo>
                          <a:pt x="82" y="30"/>
                          <a:pt x="85" y="31"/>
                          <a:pt x="96" y="30"/>
                        </a:cubicBezTo>
                        <a:cubicBezTo>
                          <a:pt x="106" y="32"/>
                          <a:pt x="108" y="33"/>
                          <a:pt x="119" y="31"/>
                        </a:cubicBezTo>
                        <a:cubicBezTo>
                          <a:pt x="124" y="27"/>
                          <a:pt x="125" y="28"/>
                          <a:pt x="119" y="28"/>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4" name="Freeform 49"/>
                  <p:cNvSpPr>
                    <a:spLocks/>
                  </p:cNvSpPr>
                  <p:nvPr/>
                </p:nvSpPr>
                <p:spPr bwMode="auto">
                  <a:xfrm>
                    <a:off x="2361" y="2171"/>
                    <a:ext cx="231" cy="61"/>
                  </a:xfrm>
                  <a:custGeom>
                    <a:avLst/>
                    <a:gdLst>
                      <a:gd name="T0" fmla="*/ 6 w 231"/>
                      <a:gd name="T1" fmla="*/ 34 h 61"/>
                      <a:gd name="T2" fmla="*/ 23 w 231"/>
                      <a:gd name="T3" fmla="*/ 39 h 61"/>
                      <a:gd name="T4" fmla="*/ 78 w 231"/>
                      <a:gd name="T5" fmla="*/ 37 h 61"/>
                      <a:gd name="T6" fmla="*/ 60 w 231"/>
                      <a:gd name="T7" fmla="*/ 43 h 61"/>
                      <a:gd name="T8" fmla="*/ 47 w 231"/>
                      <a:gd name="T9" fmla="*/ 51 h 61"/>
                      <a:gd name="T10" fmla="*/ 74 w 231"/>
                      <a:gd name="T11" fmla="*/ 54 h 61"/>
                      <a:gd name="T12" fmla="*/ 104 w 231"/>
                      <a:gd name="T13" fmla="*/ 49 h 61"/>
                      <a:gd name="T14" fmla="*/ 128 w 231"/>
                      <a:gd name="T15" fmla="*/ 42 h 61"/>
                      <a:gd name="T16" fmla="*/ 185 w 231"/>
                      <a:gd name="T17" fmla="*/ 45 h 61"/>
                      <a:gd name="T18" fmla="*/ 215 w 231"/>
                      <a:gd name="T19" fmla="*/ 36 h 61"/>
                      <a:gd name="T20" fmla="*/ 231 w 231"/>
                      <a:gd name="T21" fmla="*/ 28 h 61"/>
                      <a:gd name="T22" fmla="*/ 198 w 231"/>
                      <a:gd name="T23" fmla="*/ 18 h 61"/>
                      <a:gd name="T24" fmla="*/ 192 w 231"/>
                      <a:gd name="T25" fmla="*/ 0 h 61"/>
                      <a:gd name="T26" fmla="*/ 171 w 231"/>
                      <a:gd name="T27" fmla="*/ 9 h 61"/>
                      <a:gd name="T28" fmla="*/ 155 w 231"/>
                      <a:gd name="T29" fmla="*/ 30 h 61"/>
                      <a:gd name="T30" fmla="*/ 117 w 231"/>
                      <a:gd name="T31" fmla="*/ 21 h 61"/>
                      <a:gd name="T32" fmla="*/ 95 w 231"/>
                      <a:gd name="T33" fmla="*/ 12 h 61"/>
                      <a:gd name="T34" fmla="*/ 60 w 231"/>
                      <a:gd name="T35" fmla="*/ 13 h 61"/>
                      <a:gd name="T36" fmla="*/ 56 w 231"/>
                      <a:gd name="T37" fmla="*/ 15 h 61"/>
                      <a:gd name="T38" fmla="*/ 41 w 231"/>
                      <a:gd name="T39" fmla="*/ 16 h 61"/>
                      <a:gd name="T40" fmla="*/ 38 w 231"/>
                      <a:gd name="T41" fmla="*/ 21 h 61"/>
                      <a:gd name="T42" fmla="*/ 33 w 231"/>
                      <a:gd name="T43" fmla="*/ 22 h 61"/>
                      <a:gd name="T44" fmla="*/ 9 w 231"/>
                      <a:gd name="T45" fmla="*/ 27 h 61"/>
                      <a:gd name="T46" fmla="*/ 6 w 231"/>
                      <a:gd name="T47"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1" h="61">
                        <a:moveTo>
                          <a:pt x="6" y="34"/>
                        </a:moveTo>
                        <a:cubicBezTo>
                          <a:pt x="12" y="36"/>
                          <a:pt x="17" y="37"/>
                          <a:pt x="23" y="39"/>
                        </a:cubicBezTo>
                        <a:cubicBezTo>
                          <a:pt x="40" y="38"/>
                          <a:pt x="60" y="35"/>
                          <a:pt x="78" y="37"/>
                        </a:cubicBezTo>
                        <a:cubicBezTo>
                          <a:pt x="72" y="41"/>
                          <a:pt x="67" y="42"/>
                          <a:pt x="60" y="43"/>
                        </a:cubicBezTo>
                        <a:cubicBezTo>
                          <a:pt x="56" y="46"/>
                          <a:pt x="51" y="48"/>
                          <a:pt x="47" y="51"/>
                        </a:cubicBezTo>
                        <a:cubicBezTo>
                          <a:pt x="54" y="61"/>
                          <a:pt x="64" y="55"/>
                          <a:pt x="74" y="54"/>
                        </a:cubicBezTo>
                        <a:cubicBezTo>
                          <a:pt x="82" y="50"/>
                          <a:pt x="95" y="50"/>
                          <a:pt x="104" y="49"/>
                        </a:cubicBezTo>
                        <a:cubicBezTo>
                          <a:pt x="113" y="42"/>
                          <a:pt x="115" y="43"/>
                          <a:pt x="128" y="42"/>
                        </a:cubicBezTo>
                        <a:cubicBezTo>
                          <a:pt x="141" y="32"/>
                          <a:pt x="169" y="43"/>
                          <a:pt x="185" y="45"/>
                        </a:cubicBezTo>
                        <a:cubicBezTo>
                          <a:pt x="196" y="43"/>
                          <a:pt x="205" y="38"/>
                          <a:pt x="215" y="36"/>
                        </a:cubicBezTo>
                        <a:cubicBezTo>
                          <a:pt x="222" y="32"/>
                          <a:pt x="227" y="35"/>
                          <a:pt x="231" y="28"/>
                        </a:cubicBezTo>
                        <a:cubicBezTo>
                          <a:pt x="228" y="12"/>
                          <a:pt x="213" y="19"/>
                          <a:pt x="198" y="18"/>
                        </a:cubicBezTo>
                        <a:cubicBezTo>
                          <a:pt x="204" y="7"/>
                          <a:pt x="205" y="2"/>
                          <a:pt x="192" y="0"/>
                        </a:cubicBezTo>
                        <a:cubicBezTo>
                          <a:pt x="186" y="6"/>
                          <a:pt x="179" y="6"/>
                          <a:pt x="171" y="9"/>
                        </a:cubicBezTo>
                        <a:cubicBezTo>
                          <a:pt x="164" y="19"/>
                          <a:pt x="165" y="22"/>
                          <a:pt x="155" y="30"/>
                        </a:cubicBezTo>
                        <a:cubicBezTo>
                          <a:pt x="141" y="29"/>
                          <a:pt x="126" y="32"/>
                          <a:pt x="117" y="21"/>
                        </a:cubicBezTo>
                        <a:cubicBezTo>
                          <a:pt x="115" y="12"/>
                          <a:pt x="103" y="13"/>
                          <a:pt x="95" y="12"/>
                        </a:cubicBezTo>
                        <a:cubicBezTo>
                          <a:pt x="84" y="7"/>
                          <a:pt x="72" y="11"/>
                          <a:pt x="60" y="13"/>
                        </a:cubicBezTo>
                        <a:cubicBezTo>
                          <a:pt x="59" y="14"/>
                          <a:pt x="57" y="15"/>
                          <a:pt x="56" y="15"/>
                        </a:cubicBezTo>
                        <a:cubicBezTo>
                          <a:pt x="51" y="16"/>
                          <a:pt x="46" y="14"/>
                          <a:pt x="41" y="16"/>
                        </a:cubicBezTo>
                        <a:cubicBezTo>
                          <a:pt x="39" y="17"/>
                          <a:pt x="40" y="20"/>
                          <a:pt x="38" y="21"/>
                        </a:cubicBezTo>
                        <a:cubicBezTo>
                          <a:pt x="37" y="22"/>
                          <a:pt x="35" y="22"/>
                          <a:pt x="33" y="22"/>
                        </a:cubicBezTo>
                        <a:cubicBezTo>
                          <a:pt x="25" y="26"/>
                          <a:pt x="18" y="26"/>
                          <a:pt x="9" y="27"/>
                        </a:cubicBezTo>
                        <a:cubicBezTo>
                          <a:pt x="0" y="34"/>
                          <a:pt x="12" y="34"/>
                          <a:pt x="6" y="34"/>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5" name="Freeform 50"/>
                  <p:cNvSpPr>
                    <a:spLocks/>
                  </p:cNvSpPr>
                  <p:nvPr/>
                </p:nvSpPr>
                <p:spPr bwMode="auto">
                  <a:xfrm>
                    <a:off x="2346" y="2187"/>
                    <a:ext cx="38" cy="14"/>
                  </a:xfrm>
                  <a:custGeom>
                    <a:avLst/>
                    <a:gdLst>
                      <a:gd name="T0" fmla="*/ 0 w 38"/>
                      <a:gd name="T1" fmla="*/ 11 h 14"/>
                      <a:gd name="T2" fmla="*/ 23 w 38"/>
                      <a:gd name="T3" fmla="*/ 5 h 14"/>
                      <a:gd name="T4" fmla="*/ 38 w 38"/>
                      <a:gd name="T5" fmla="*/ 0 h 14"/>
                      <a:gd name="T6" fmla="*/ 18 w 38"/>
                      <a:gd name="T7" fmla="*/ 9 h 14"/>
                      <a:gd name="T8" fmla="*/ 5 w 38"/>
                      <a:gd name="T9" fmla="*/ 14 h 14"/>
                      <a:gd name="T10" fmla="*/ 0 w 38"/>
                      <a:gd name="T11" fmla="*/ 11 h 14"/>
                    </a:gdLst>
                    <a:ahLst/>
                    <a:cxnLst>
                      <a:cxn ang="0">
                        <a:pos x="T0" y="T1"/>
                      </a:cxn>
                      <a:cxn ang="0">
                        <a:pos x="T2" y="T3"/>
                      </a:cxn>
                      <a:cxn ang="0">
                        <a:pos x="T4" y="T5"/>
                      </a:cxn>
                      <a:cxn ang="0">
                        <a:pos x="T6" y="T7"/>
                      </a:cxn>
                      <a:cxn ang="0">
                        <a:pos x="T8" y="T9"/>
                      </a:cxn>
                      <a:cxn ang="0">
                        <a:pos x="T10" y="T11"/>
                      </a:cxn>
                    </a:cxnLst>
                    <a:rect l="0" t="0" r="r" b="b"/>
                    <a:pathLst>
                      <a:path w="38" h="14">
                        <a:moveTo>
                          <a:pt x="0" y="11"/>
                        </a:moveTo>
                        <a:cubicBezTo>
                          <a:pt x="7" y="8"/>
                          <a:pt x="15" y="6"/>
                          <a:pt x="23" y="5"/>
                        </a:cubicBezTo>
                        <a:cubicBezTo>
                          <a:pt x="28" y="3"/>
                          <a:pt x="33" y="2"/>
                          <a:pt x="38" y="0"/>
                        </a:cubicBezTo>
                        <a:cubicBezTo>
                          <a:pt x="34" y="7"/>
                          <a:pt x="26" y="8"/>
                          <a:pt x="18" y="9"/>
                        </a:cubicBezTo>
                        <a:cubicBezTo>
                          <a:pt x="14" y="11"/>
                          <a:pt x="9" y="12"/>
                          <a:pt x="5" y="14"/>
                        </a:cubicBezTo>
                        <a:cubicBezTo>
                          <a:pt x="3" y="13"/>
                          <a:pt x="0" y="11"/>
                          <a:pt x="0" y="11"/>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6" name="Freeform 51"/>
                  <p:cNvSpPr>
                    <a:spLocks/>
                  </p:cNvSpPr>
                  <p:nvPr/>
                </p:nvSpPr>
                <p:spPr bwMode="auto">
                  <a:xfrm>
                    <a:off x="2520" y="2129"/>
                    <a:ext cx="95" cy="38"/>
                  </a:xfrm>
                  <a:custGeom>
                    <a:avLst/>
                    <a:gdLst>
                      <a:gd name="T0" fmla="*/ 5 w 95"/>
                      <a:gd name="T1" fmla="*/ 31 h 38"/>
                      <a:gd name="T2" fmla="*/ 9 w 95"/>
                      <a:gd name="T3" fmla="*/ 13 h 38"/>
                      <a:gd name="T4" fmla="*/ 41 w 95"/>
                      <a:gd name="T5" fmla="*/ 15 h 38"/>
                      <a:gd name="T6" fmla="*/ 32 w 95"/>
                      <a:gd name="T7" fmla="*/ 6 h 38"/>
                      <a:gd name="T8" fmla="*/ 74 w 95"/>
                      <a:gd name="T9" fmla="*/ 0 h 38"/>
                      <a:gd name="T10" fmla="*/ 95 w 95"/>
                      <a:gd name="T11" fmla="*/ 7 h 38"/>
                      <a:gd name="T12" fmla="*/ 66 w 95"/>
                      <a:gd name="T13" fmla="*/ 16 h 38"/>
                      <a:gd name="T14" fmla="*/ 45 w 95"/>
                      <a:gd name="T15" fmla="*/ 22 h 38"/>
                      <a:gd name="T16" fmla="*/ 27 w 95"/>
                      <a:gd name="T17" fmla="*/ 31 h 38"/>
                      <a:gd name="T18" fmla="*/ 5 w 95"/>
                      <a:gd name="T19"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8">
                        <a:moveTo>
                          <a:pt x="5" y="31"/>
                        </a:moveTo>
                        <a:cubicBezTo>
                          <a:pt x="0" y="24"/>
                          <a:pt x="3" y="18"/>
                          <a:pt x="9" y="13"/>
                        </a:cubicBezTo>
                        <a:cubicBezTo>
                          <a:pt x="31" y="17"/>
                          <a:pt x="20" y="16"/>
                          <a:pt x="41" y="15"/>
                        </a:cubicBezTo>
                        <a:cubicBezTo>
                          <a:pt x="43" y="7"/>
                          <a:pt x="38" y="10"/>
                          <a:pt x="32" y="6"/>
                        </a:cubicBezTo>
                        <a:cubicBezTo>
                          <a:pt x="46" y="3"/>
                          <a:pt x="74" y="0"/>
                          <a:pt x="74" y="0"/>
                        </a:cubicBezTo>
                        <a:cubicBezTo>
                          <a:pt x="82" y="1"/>
                          <a:pt x="87" y="5"/>
                          <a:pt x="95" y="7"/>
                        </a:cubicBezTo>
                        <a:cubicBezTo>
                          <a:pt x="86" y="10"/>
                          <a:pt x="75" y="14"/>
                          <a:pt x="66" y="16"/>
                        </a:cubicBezTo>
                        <a:cubicBezTo>
                          <a:pt x="60" y="19"/>
                          <a:pt x="52" y="21"/>
                          <a:pt x="45" y="22"/>
                        </a:cubicBezTo>
                        <a:cubicBezTo>
                          <a:pt x="43" y="30"/>
                          <a:pt x="34" y="30"/>
                          <a:pt x="27" y="31"/>
                        </a:cubicBezTo>
                        <a:cubicBezTo>
                          <a:pt x="21" y="34"/>
                          <a:pt x="9" y="38"/>
                          <a:pt x="5" y="31"/>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7" name="Freeform 52"/>
                  <p:cNvSpPr>
                    <a:spLocks/>
                  </p:cNvSpPr>
                  <p:nvPr/>
                </p:nvSpPr>
                <p:spPr bwMode="auto">
                  <a:xfrm>
                    <a:off x="2459" y="2165"/>
                    <a:ext cx="27" cy="12"/>
                  </a:xfrm>
                  <a:custGeom>
                    <a:avLst/>
                    <a:gdLst>
                      <a:gd name="T0" fmla="*/ 27 w 27"/>
                      <a:gd name="T1" fmla="*/ 6 h 12"/>
                      <a:gd name="T2" fmla="*/ 10 w 27"/>
                      <a:gd name="T3" fmla="*/ 0 h 12"/>
                      <a:gd name="T4" fmla="*/ 10 w 27"/>
                      <a:gd name="T5" fmla="*/ 12 h 12"/>
                      <a:gd name="T6" fmla="*/ 27 w 27"/>
                      <a:gd name="T7" fmla="*/ 6 h 12"/>
                    </a:gdLst>
                    <a:ahLst/>
                    <a:cxnLst>
                      <a:cxn ang="0">
                        <a:pos x="T0" y="T1"/>
                      </a:cxn>
                      <a:cxn ang="0">
                        <a:pos x="T2" y="T3"/>
                      </a:cxn>
                      <a:cxn ang="0">
                        <a:pos x="T4" y="T5"/>
                      </a:cxn>
                      <a:cxn ang="0">
                        <a:pos x="T6" y="T7"/>
                      </a:cxn>
                    </a:cxnLst>
                    <a:rect l="0" t="0" r="r" b="b"/>
                    <a:pathLst>
                      <a:path w="27" h="12">
                        <a:moveTo>
                          <a:pt x="27" y="6"/>
                        </a:moveTo>
                        <a:cubicBezTo>
                          <a:pt x="20" y="2"/>
                          <a:pt x="18" y="1"/>
                          <a:pt x="10" y="0"/>
                        </a:cubicBezTo>
                        <a:cubicBezTo>
                          <a:pt x="0" y="2"/>
                          <a:pt x="2" y="8"/>
                          <a:pt x="10" y="12"/>
                        </a:cubicBezTo>
                        <a:cubicBezTo>
                          <a:pt x="17" y="11"/>
                          <a:pt x="22" y="6"/>
                          <a:pt x="27" y="6"/>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8" name="Freeform 53"/>
                  <p:cNvSpPr>
                    <a:spLocks/>
                  </p:cNvSpPr>
                  <p:nvPr/>
                </p:nvSpPr>
                <p:spPr bwMode="auto">
                  <a:xfrm>
                    <a:off x="2555" y="2231"/>
                    <a:ext cx="133" cy="75"/>
                  </a:xfrm>
                  <a:custGeom>
                    <a:avLst/>
                    <a:gdLst>
                      <a:gd name="T0" fmla="*/ 31 w 133"/>
                      <a:gd name="T1" fmla="*/ 66 h 75"/>
                      <a:gd name="T2" fmla="*/ 0 w 133"/>
                      <a:gd name="T3" fmla="*/ 40 h 75"/>
                      <a:gd name="T4" fmla="*/ 15 w 133"/>
                      <a:gd name="T5" fmla="*/ 31 h 75"/>
                      <a:gd name="T6" fmla="*/ 39 w 133"/>
                      <a:gd name="T7" fmla="*/ 37 h 75"/>
                      <a:gd name="T8" fmla="*/ 52 w 133"/>
                      <a:gd name="T9" fmla="*/ 28 h 75"/>
                      <a:gd name="T10" fmla="*/ 43 w 133"/>
                      <a:gd name="T11" fmla="*/ 18 h 75"/>
                      <a:gd name="T12" fmla="*/ 96 w 133"/>
                      <a:gd name="T13" fmla="*/ 6 h 75"/>
                      <a:gd name="T14" fmla="*/ 123 w 133"/>
                      <a:gd name="T15" fmla="*/ 6 h 75"/>
                      <a:gd name="T16" fmla="*/ 100 w 133"/>
                      <a:gd name="T17" fmla="*/ 24 h 75"/>
                      <a:gd name="T18" fmla="*/ 102 w 133"/>
                      <a:gd name="T19" fmla="*/ 40 h 75"/>
                      <a:gd name="T20" fmla="*/ 90 w 133"/>
                      <a:gd name="T21" fmla="*/ 55 h 75"/>
                      <a:gd name="T22" fmla="*/ 51 w 133"/>
                      <a:gd name="T23" fmla="*/ 63 h 75"/>
                      <a:gd name="T24" fmla="*/ 31 w 133"/>
                      <a:gd name="T25"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 h="75">
                        <a:moveTo>
                          <a:pt x="31" y="66"/>
                        </a:moveTo>
                        <a:cubicBezTo>
                          <a:pt x="29" y="54"/>
                          <a:pt x="11" y="45"/>
                          <a:pt x="0" y="40"/>
                        </a:cubicBezTo>
                        <a:cubicBezTo>
                          <a:pt x="2" y="31"/>
                          <a:pt x="6" y="33"/>
                          <a:pt x="15" y="31"/>
                        </a:cubicBezTo>
                        <a:cubicBezTo>
                          <a:pt x="23" y="33"/>
                          <a:pt x="31" y="36"/>
                          <a:pt x="39" y="37"/>
                        </a:cubicBezTo>
                        <a:cubicBezTo>
                          <a:pt x="47" y="36"/>
                          <a:pt x="46" y="32"/>
                          <a:pt x="52" y="28"/>
                        </a:cubicBezTo>
                        <a:cubicBezTo>
                          <a:pt x="49" y="24"/>
                          <a:pt x="45" y="23"/>
                          <a:pt x="43" y="18"/>
                        </a:cubicBezTo>
                        <a:cubicBezTo>
                          <a:pt x="61" y="7"/>
                          <a:pt x="73" y="7"/>
                          <a:pt x="96" y="6"/>
                        </a:cubicBezTo>
                        <a:cubicBezTo>
                          <a:pt x="104" y="0"/>
                          <a:pt x="114" y="2"/>
                          <a:pt x="123" y="6"/>
                        </a:cubicBezTo>
                        <a:cubicBezTo>
                          <a:pt x="133" y="20"/>
                          <a:pt x="107" y="23"/>
                          <a:pt x="100" y="24"/>
                        </a:cubicBezTo>
                        <a:cubicBezTo>
                          <a:pt x="99" y="30"/>
                          <a:pt x="99" y="34"/>
                          <a:pt x="102" y="40"/>
                        </a:cubicBezTo>
                        <a:cubicBezTo>
                          <a:pt x="104" y="49"/>
                          <a:pt x="96" y="50"/>
                          <a:pt x="90" y="55"/>
                        </a:cubicBezTo>
                        <a:cubicBezTo>
                          <a:pt x="82" y="69"/>
                          <a:pt x="64" y="56"/>
                          <a:pt x="51" y="63"/>
                        </a:cubicBezTo>
                        <a:cubicBezTo>
                          <a:pt x="47" y="71"/>
                          <a:pt x="37" y="75"/>
                          <a:pt x="31" y="66"/>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29" name="Freeform 54"/>
                  <p:cNvSpPr>
                    <a:spLocks/>
                  </p:cNvSpPr>
                  <p:nvPr/>
                </p:nvSpPr>
                <p:spPr bwMode="auto">
                  <a:xfrm>
                    <a:off x="2637" y="2153"/>
                    <a:ext cx="18" cy="15"/>
                  </a:xfrm>
                  <a:custGeom>
                    <a:avLst/>
                    <a:gdLst>
                      <a:gd name="T0" fmla="*/ 18 w 18"/>
                      <a:gd name="T1" fmla="*/ 12 h 15"/>
                      <a:gd name="T2" fmla="*/ 0 w 18"/>
                      <a:gd name="T3" fmla="*/ 7 h 15"/>
                      <a:gd name="T4" fmla="*/ 14 w 18"/>
                      <a:gd name="T5" fmla="*/ 1 h 15"/>
                      <a:gd name="T6" fmla="*/ 18 w 18"/>
                      <a:gd name="T7" fmla="*/ 12 h 15"/>
                    </a:gdLst>
                    <a:ahLst/>
                    <a:cxnLst>
                      <a:cxn ang="0">
                        <a:pos x="T0" y="T1"/>
                      </a:cxn>
                      <a:cxn ang="0">
                        <a:pos x="T2" y="T3"/>
                      </a:cxn>
                      <a:cxn ang="0">
                        <a:pos x="T4" y="T5"/>
                      </a:cxn>
                      <a:cxn ang="0">
                        <a:pos x="T6" y="T7"/>
                      </a:cxn>
                    </a:cxnLst>
                    <a:rect l="0" t="0" r="r" b="b"/>
                    <a:pathLst>
                      <a:path w="18" h="15">
                        <a:moveTo>
                          <a:pt x="18" y="12"/>
                        </a:moveTo>
                        <a:cubicBezTo>
                          <a:pt x="10" y="13"/>
                          <a:pt x="5" y="15"/>
                          <a:pt x="0" y="7"/>
                        </a:cubicBezTo>
                        <a:cubicBezTo>
                          <a:pt x="5" y="1"/>
                          <a:pt x="6" y="0"/>
                          <a:pt x="14" y="1"/>
                        </a:cubicBezTo>
                        <a:cubicBezTo>
                          <a:pt x="15" y="5"/>
                          <a:pt x="16" y="8"/>
                          <a:pt x="18" y="12"/>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0" name="Freeform 55"/>
                  <p:cNvSpPr>
                    <a:spLocks/>
                  </p:cNvSpPr>
                  <p:nvPr/>
                </p:nvSpPr>
                <p:spPr bwMode="auto">
                  <a:xfrm>
                    <a:off x="2621" y="2171"/>
                    <a:ext cx="121" cy="50"/>
                  </a:xfrm>
                  <a:custGeom>
                    <a:avLst/>
                    <a:gdLst>
                      <a:gd name="T0" fmla="*/ 16 w 121"/>
                      <a:gd name="T1" fmla="*/ 28 h 50"/>
                      <a:gd name="T2" fmla="*/ 1 w 121"/>
                      <a:gd name="T3" fmla="*/ 22 h 50"/>
                      <a:gd name="T4" fmla="*/ 7 w 121"/>
                      <a:gd name="T5" fmla="*/ 9 h 50"/>
                      <a:gd name="T6" fmla="*/ 24 w 121"/>
                      <a:gd name="T7" fmla="*/ 10 h 50"/>
                      <a:gd name="T8" fmla="*/ 36 w 121"/>
                      <a:gd name="T9" fmla="*/ 19 h 50"/>
                      <a:gd name="T10" fmla="*/ 52 w 121"/>
                      <a:gd name="T11" fmla="*/ 13 h 50"/>
                      <a:gd name="T12" fmla="*/ 66 w 121"/>
                      <a:gd name="T13" fmla="*/ 18 h 50"/>
                      <a:gd name="T14" fmla="*/ 84 w 121"/>
                      <a:gd name="T15" fmla="*/ 3 h 50"/>
                      <a:gd name="T16" fmla="*/ 105 w 121"/>
                      <a:gd name="T17" fmla="*/ 4 h 50"/>
                      <a:gd name="T18" fmla="*/ 121 w 121"/>
                      <a:gd name="T19" fmla="*/ 10 h 50"/>
                      <a:gd name="T20" fmla="*/ 106 w 121"/>
                      <a:gd name="T21" fmla="*/ 22 h 50"/>
                      <a:gd name="T22" fmla="*/ 85 w 121"/>
                      <a:gd name="T23" fmla="*/ 36 h 50"/>
                      <a:gd name="T24" fmla="*/ 42 w 121"/>
                      <a:gd name="T25" fmla="*/ 40 h 50"/>
                      <a:gd name="T26" fmla="*/ 31 w 121"/>
                      <a:gd name="T27" fmla="*/ 27 h 50"/>
                      <a:gd name="T28" fmla="*/ 16 w 121"/>
                      <a:gd name="T29" fmla="*/ 2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0">
                        <a:moveTo>
                          <a:pt x="16" y="28"/>
                        </a:moveTo>
                        <a:cubicBezTo>
                          <a:pt x="10" y="27"/>
                          <a:pt x="7" y="25"/>
                          <a:pt x="1" y="22"/>
                        </a:cubicBezTo>
                        <a:cubicBezTo>
                          <a:pt x="0" y="14"/>
                          <a:pt x="1" y="13"/>
                          <a:pt x="7" y="9"/>
                        </a:cubicBezTo>
                        <a:cubicBezTo>
                          <a:pt x="13" y="9"/>
                          <a:pt x="18" y="9"/>
                          <a:pt x="24" y="10"/>
                        </a:cubicBezTo>
                        <a:cubicBezTo>
                          <a:pt x="31" y="11"/>
                          <a:pt x="27" y="18"/>
                          <a:pt x="36" y="19"/>
                        </a:cubicBezTo>
                        <a:cubicBezTo>
                          <a:pt x="44" y="25"/>
                          <a:pt x="45" y="16"/>
                          <a:pt x="52" y="13"/>
                        </a:cubicBezTo>
                        <a:cubicBezTo>
                          <a:pt x="59" y="16"/>
                          <a:pt x="58" y="19"/>
                          <a:pt x="66" y="18"/>
                        </a:cubicBezTo>
                        <a:cubicBezTo>
                          <a:pt x="74" y="14"/>
                          <a:pt x="74" y="5"/>
                          <a:pt x="84" y="3"/>
                        </a:cubicBezTo>
                        <a:cubicBezTo>
                          <a:pt x="90" y="0"/>
                          <a:pt x="105" y="4"/>
                          <a:pt x="105" y="4"/>
                        </a:cubicBezTo>
                        <a:cubicBezTo>
                          <a:pt x="117" y="10"/>
                          <a:pt x="111" y="8"/>
                          <a:pt x="121" y="10"/>
                        </a:cubicBezTo>
                        <a:cubicBezTo>
                          <a:pt x="120" y="17"/>
                          <a:pt x="113" y="21"/>
                          <a:pt x="106" y="22"/>
                        </a:cubicBezTo>
                        <a:cubicBezTo>
                          <a:pt x="97" y="26"/>
                          <a:pt x="94" y="31"/>
                          <a:pt x="85" y="36"/>
                        </a:cubicBezTo>
                        <a:cubicBezTo>
                          <a:pt x="75" y="50"/>
                          <a:pt x="62" y="41"/>
                          <a:pt x="42" y="40"/>
                        </a:cubicBezTo>
                        <a:cubicBezTo>
                          <a:pt x="44" y="31"/>
                          <a:pt x="40" y="29"/>
                          <a:pt x="31" y="27"/>
                        </a:cubicBezTo>
                        <a:cubicBezTo>
                          <a:pt x="19" y="28"/>
                          <a:pt x="24" y="28"/>
                          <a:pt x="16" y="28"/>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1" name="Freeform 56"/>
                  <p:cNvSpPr>
                    <a:spLocks/>
                  </p:cNvSpPr>
                  <p:nvPr/>
                </p:nvSpPr>
                <p:spPr bwMode="auto">
                  <a:xfrm>
                    <a:off x="2583" y="2201"/>
                    <a:ext cx="28" cy="13"/>
                  </a:xfrm>
                  <a:custGeom>
                    <a:avLst/>
                    <a:gdLst>
                      <a:gd name="T0" fmla="*/ 12 w 28"/>
                      <a:gd name="T1" fmla="*/ 13 h 13"/>
                      <a:gd name="T2" fmla="*/ 3 w 28"/>
                      <a:gd name="T3" fmla="*/ 9 h 13"/>
                      <a:gd name="T4" fmla="*/ 14 w 28"/>
                      <a:gd name="T5" fmla="*/ 0 h 13"/>
                      <a:gd name="T6" fmla="*/ 12 w 28"/>
                      <a:gd name="T7" fmla="*/ 13 h 13"/>
                    </a:gdLst>
                    <a:ahLst/>
                    <a:cxnLst>
                      <a:cxn ang="0">
                        <a:pos x="T0" y="T1"/>
                      </a:cxn>
                      <a:cxn ang="0">
                        <a:pos x="T2" y="T3"/>
                      </a:cxn>
                      <a:cxn ang="0">
                        <a:pos x="T4" y="T5"/>
                      </a:cxn>
                      <a:cxn ang="0">
                        <a:pos x="T6" y="T7"/>
                      </a:cxn>
                    </a:cxnLst>
                    <a:rect l="0" t="0" r="r" b="b"/>
                    <a:pathLst>
                      <a:path w="28" h="13">
                        <a:moveTo>
                          <a:pt x="12" y="13"/>
                        </a:moveTo>
                        <a:cubicBezTo>
                          <a:pt x="9" y="11"/>
                          <a:pt x="4" y="12"/>
                          <a:pt x="3" y="9"/>
                        </a:cubicBezTo>
                        <a:cubicBezTo>
                          <a:pt x="0" y="3"/>
                          <a:pt x="11" y="1"/>
                          <a:pt x="14" y="0"/>
                        </a:cubicBezTo>
                        <a:cubicBezTo>
                          <a:pt x="28" y="2"/>
                          <a:pt x="20" y="9"/>
                          <a:pt x="12" y="13"/>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2" name="Freeform 57"/>
                  <p:cNvSpPr>
                    <a:spLocks/>
                  </p:cNvSpPr>
                  <p:nvPr/>
                </p:nvSpPr>
                <p:spPr bwMode="auto">
                  <a:xfrm>
                    <a:off x="2724" y="2195"/>
                    <a:ext cx="61" cy="28"/>
                  </a:xfrm>
                  <a:custGeom>
                    <a:avLst/>
                    <a:gdLst>
                      <a:gd name="T0" fmla="*/ 39 w 61"/>
                      <a:gd name="T1" fmla="*/ 27 h 28"/>
                      <a:gd name="T2" fmla="*/ 14 w 61"/>
                      <a:gd name="T3" fmla="*/ 21 h 28"/>
                      <a:gd name="T4" fmla="*/ 0 w 61"/>
                      <a:gd name="T5" fmla="*/ 13 h 28"/>
                      <a:gd name="T6" fmla="*/ 20 w 61"/>
                      <a:gd name="T7" fmla="*/ 6 h 28"/>
                      <a:gd name="T8" fmla="*/ 38 w 61"/>
                      <a:gd name="T9" fmla="*/ 0 h 28"/>
                      <a:gd name="T10" fmla="*/ 53 w 61"/>
                      <a:gd name="T11" fmla="*/ 4 h 28"/>
                      <a:gd name="T12" fmla="*/ 39 w 61"/>
                      <a:gd name="T13" fmla="*/ 25 h 28"/>
                      <a:gd name="T14" fmla="*/ 39 w 61"/>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8">
                        <a:moveTo>
                          <a:pt x="39" y="27"/>
                        </a:moveTo>
                        <a:cubicBezTo>
                          <a:pt x="30" y="25"/>
                          <a:pt x="22" y="22"/>
                          <a:pt x="14" y="21"/>
                        </a:cubicBezTo>
                        <a:cubicBezTo>
                          <a:pt x="7" y="18"/>
                          <a:pt x="4" y="20"/>
                          <a:pt x="0" y="13"/>
                        </a:cubicBezTo>
                        <a:cubicBezTo>
                          <a:pt x="6" y="9"/>
                          <a:pt x="13" y="7"/>
                          <a:pt x="20" y="6"/>
                        </a:cubicBezTo>
                        <a:cubicBezTo>
                          <a:pt x="26" y="3"/>
                          <a:pt x="32" y="1"/>
                          <a:pt x="38" y="0"/>
                        </a:cubicBezTo>
                        <a:cubicBezTo>
                          <a:pt x="43" y="1"/>
                          <a:pt x="48" y="3"/>
                          <a:pt x="53" y="4"/>
                        </a:cubicBezTo>
                        <a:cubicBezTo>
                          <a:pt x="61" y="17"/>
                          <a:pt x="51" y="23"/>
                          <a:pt x="39" y="25"/>
                        </a:cubicBezTo>
                        <a:cubicBezTo>
                          <a:pt x="34" y="28"/>
                          <a:pt x="34" y="27"/>
                          <a:pt x="39" y="27"/>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3" name="Freeform 58"/>
                  <p:cNvSpPr>
                    <a:spLocks/>
                  </p:cNvSpPr>
                  <p:nvPr/>
                </p:nvSpPr>
                <p:spPr bwMode="auto">
                  <a:xfrm>
                    <a:off x="2692" y="2117"/>
                    <a:ext cx="74" cy="38"/>
                  </a:xfrm>
                  <a:custGeom>
                    <a:avLst/>
                    <a:gdLst>
                      <a:gd name="T0" fmla="*/ 55 w 74"/>
                      <a:gd name="T1" fmla="*/ 27 h 38"/>
                      <a:gd name="T2" fmla="*/ 41 w 74"/>
                      <a:gd name="T3" fmla="*/ 21 h 38"/>
                      <a:gd name="T4" fmla="*/ 23 w 74"/>
                      <a:gd name="T5" fmla="*/ 25 h 38"/>
                      <a:gd name="T6" fmla="*/ 4 w 74"/>
                      <a:gd name="T7" fmla="*/ 13 h 38"/>
                      <a:gd name="T8" fmla="*/ 13 w 74"/>
                      <a:gd name="T9" fmla="*/ 0 h 38"/>
                      <a:gd name="T10" fmla="*/ 55 w 74"/>
                      <a:gd name="T11" fmla="*/ 7 h 38"/>
                      <a:gd name="T12" fmla="*/ 70 w 74"/>
                      <a:gd name="T13" fmla="*/ 15 h 38"/>
                      <a:gd name="T14" fmla="*/ 74 w 74"/>
                      <a:gd name="T15" fmla="*/ 30 h 38"/>
                      <a:gd name="T16" fmla="*/ 55 w 74"/>
                      <a:gd name="T1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8">
                        <a:moveTo>
                          <a:pt x="55" y="27"/>
                        </a:moveTo>
                        <a:cubicBezTo>
                          <a:pt x="50" y="24"/>
                          <a:pt x="47" y="22"/>
                          <a:pt x="41" y="21"/>
                        </a:cubicBezTo>
                        <a:cubicBezTo>
                          <a:pt x="34" y="22"/>
                          <a:pt x="30" y="24"/>
                          <a:pt x="23" y="25"/>
                        </a:cubicBezTo>
                        <a:cubicBezTo>
                          <a:pt x="15" y="24"/>
                          <a:pt x="10" y="18"/>
                          <a:pt x="4" y="13"/>
                        </a:cubicBezTo>
                        <a:cubicBezTo>
                          <a:pt x="0" y="5"/>
                          <a:pt x="6" y="1"/>
                          <a:pt x="13" y="0"/>
                        </a:cubicBezTo>
                        <a:cubicBezTo>
                          <a:pt x="28" y="3"/>
                          <a:pt x="38" y="6"/>
                          <a:pt x="55" y="7"/>
                        </a:cubicBezTo>
                        <a:cubicBezTo>
                          <a:pt x="62" y="10"/>
                          <a:pt x="66" y="8"/>
                          <a:pt x="70" y="15"/>
                        </a:cubicBezTo>
                        <a:cubicBezTo>
                          <a:pt x="71" y="20"/>
                          <a:pt x="73" y="25"/>
                          <a:pt x="74" y="30"/>
                        </a:cubicBezTo>
                        <a:cubicBezTo>
                          <a:pt x="68" y="38"/>
                          <a:pt x="49" y="29"/>
                          <a:pt x="55" y="27"/>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4" name="Freeform 59"/>
                  <p:cNvSpPr>
                    <a:spLocks/>
                  </p:cNvSpPr>
                  <p:nvPr/>
                </p:nvSpPr>
                <p:spPr bwMode="auto">
                  <a:xfrm>
                    <a:off x="2790" y="2130"/>
                    <a:ext cx="48" cy="29"/>
                  </a:xfrm>
                  <a:custGeom>
                    <a:avLst/>
                    <a:gdLst>
                      <a:gd name="T0" fmla="*/ 26 w 48"/>
                      <a:gd name="T1" fmla="*/ 24 h 29"/>
                      <a:gd name="T2" fmla="*/ 8 w 48"/>
                      <a:gd name="T3" fmla="*/ 18 h 29"/>
                      <a:gd name="T4" fmla="*/ 17 w 48"/>
                      <a:gd name="T5" fmla="*/ 0 h 29"/>
                      <a:gd name="T6" fmla="*/ 42 w 48"/>
                      <a:gd name="T7" fmla="*/ 6 h 29"/>
                      <a:gd name="T8" fmla="*/ 45 w 48"/>
                      <a:gd name="T9" fmla="*/ 29 h 29"/>
                      <a:gd name="T10" fmla="*/ 26 w 48"/>
                      <a:gd name="T11" fmla="*/ 24 h 29"/>
                    </a:gdLst>
                    <a:ahLst/>
                    <a:cxnLst>
                      <a:cxn ang="0">
                        <a:pos x="T0" y="T1"/>
                      </a:cxn>
                      <a:cxn ang="0">
                        <a:pos x="T2" y="T3"/>
                      </a:cxn>
                      <a:cxn ang="0">
                        <a:pos x="T4" y="T5"/>
                      </a:cxn>
                      <a:cxn ang="0">
                        <a:pos x="T6" y="T7"/>
                      </a:cxn>
                      <a:cxn ang="0">
                        <a:pos x="T8" y="T9"/>
                      </a:cxn>
                      <a:cxn ang="0">
                        <a:pos x="T10" y="T11"/>
                      </a:cxn>
                    </a:cxnLst>
                    <a:rect l="0" t="0" r="r" b="b"/>
                    <a:pathLst>
                      <a:path w="48" h="29">
                        <a:moveTo>
                          <a:pt x="26" y="24"/>
                        </a:moveTo>
                        <a:cubicBezTo>
                          <a:pt x="20" y="23"/>
                          <a:pt x="8" y="18"/>
                          <a:pt x="8" y="18"/>
                        </a:cubicBezTo>
                        <a:cubicBezTo>
                          <a:pt x="0" y="8"/>
                          <a:pt x="7" y="2"/>
                          <a:pt x="17" y="0"/>
                        </a:cubicBezTo>
                        <a:cubicBezTo>
                          <a:pt x="26" y="1"/>
                          <a:pt x="35" y="1"/>
                          <a:pt x="42" y="6"/>
                        </a:cubicBezTo>
                        <a:cubicBezTo>
                          <a:pt x="48" y="16"/>
                          <a:pt x="47" y="15"/>
                          <a:pt x="45" y="29"/>
                        </a:cubicBezTo>
                        <a:cubicBezTo>
                          <a:pt x="39" y="28"/>
                          <a:pt x="33" y="24"/>
                          <a:pt x="26" y="24"/>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5" name="Freeform 60"/>
                  <p:cNvSpPr>
                    <a:spLocks/>
                  </p:cNvSpPr>
                  <p:nvPr/>
                </p:nvSpPr>
                <p:spPr bwMode="auto">
                  <a:xfrm>
                    <a:off x="2804" y="2098"/>
                    <a:ext cx="29" cy="11"/>
                  </a:xfrm>
                  <a:custGeom>
                    <a:avLst/>
                    <a:gdLst>
                      <a:gd name="T0" fmla="*/ 24 w 29"/>
                      <a:gd name="T1" fmla="*/ 11 h 11"/>
                      <a:gd name="T2" fmla="*/ 13 w 29"/>
                      <a:gd name="T3" fmla="*/ 1 h 11"/>
                      <a:gd name="T4" fmla="*/ 24 w 29"/>
                      <a:gd name="T5" fmla="*/ 11 h 11"/>
                    </a:gdLst>
                    <a:ahLst/>
                    <a:cxnLst>
                      <a:cxn ang="0">
                        <a:pos x="T0" y="T1"/>
                      </a:cxn>
                      <a:cxn ang="0">
                        <a:pos x="T2" y="T3"/>
                      </a:cxn>
                      <a:cxn ang="0">
                        <a:pos x="T4" y="T5"/>
                      </a:cxn>
                    </a:cxnLst>
                    <a:rect l="0" t="0" r="r" b="b"/>
                    <a:pathLst>
                      <a:path w="29" h="11">
                        <a:moveTo>
                          <a:pt x="24" y="11"/>
                        </a:moveTo>
                        <a:cubicBezTo>
                          <a:pt x="15" y="10"/>
                          <a:pt x="0" y="10"/>
                          <a:pt x="13" y="1"/>
                        </a:cubicBezTo>
                        <a:cubicBezTo>
                          <a:pt x="29" y="2"/>
                          <a:pt x="24" y="0"/>
                          <a:pt x="24" y="11"/>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6" name="Freeform 61"/>
                  <p:cNvSpPr>
                    <a:spLocks/>
                  </p:cNvSpPr>
                  <p:nvPr/>
                </p:nvSpPr>
                <p:spPr bwMode="auto">
                  <a:xfrm>
                    <a:off x="2773" y="2165"/>
                    <a:ext cx="254" cy="64"/>
                  </a:xfrm>
                  <a:custGeom>
                    <a:avLst/>
                    <a:gdLst>
                      <a:gd name="T0" fmla="*/ 37 w 254"/>
                      <a:gd name="T1" fmla="*/ 15 h 64"/>
                      <a:gd name="T2" fmla="*/ 17 w 254"/>
                      <a:gd name="T3" fmla="*/ 19 h 64"/>
                      <a:gd name="T4" fmla="*/ 2 w 254"/>
                      <a:gd name="T5" fmla="*/ 16 h 64"/>
                      <a:gd name="T6" fmla="*/ 13 w 254"/>
                      <a:gd name="T7" fmla="*/ 0 h 64"/>
                      <a:gd name="T8" fmla="*/ 47 w 254"/>
                      <a:gd name="T9" fmla="*/ 4 h 64"/>
                      <a:gd name="T10" fmla="*/ 86 w 254"/>
                      <a:gd name="T11" fmla="*/ 13 h 64"/>
                      <a:gd name="T12" fmla="*/ 94 w 254"/>
                      <a:gd name="T13" fmla="*/ 28 h 64"/>
                      <a:gd name="T14" fmla="*/ 118 w 254"/>
                      <a:gd name="T15" fmla="*/ 37 h 64"/>
                      <a:gd name="T16" fmla="*/ 134 w 254"/>
                      <a:gd name="T17" fmla="*/ 37 h 64"/>
                      <a:gd name="T18" fmla="*/ 152 w 254"/>
                      <a:gd name="T19" fmla="*/ 39 h 64"/>
                      <a:gd name="T20" fmla="*/ 191 w 254"/>
                      <a:gd name="T21" fmla="*/ 33 h 64"/>
                      <a:gd name="T22" fmla="*/ 233 w 254"/>
                      <a:gd name="T23" fmla="*/ 31 h 64"/>
                      <a:gd name="T24" fmla="*/ 251 w 254"/>
                      <a:gd name="T25" fmla="*/ 36 h 64"/>
                      <a:gd name="T26" fmla="*/ 239 w 254"/>
                      <a:gd name="T27" fmla="*/ 49 h 64"/>
                      <a:gd name="T28" fmla="*/ 193 w 254"/>
                      <a:gd name="T29" fmla="*/ 57 h 64"/>
                      <a:gd name="T30" fmla="*/ 152 w 254"/>
                      <a:gd name="T31" fmla="*/ 58 h 64"/>
                      <a:gd name="T32" fmla="*/ 115 w 254"/>
                      <a:gd name="T33" fmla="*/ 60 h 64"/>
                      <a:gd name="T34" fmla="*/ 88 w 254"/>
                      <a:gd name="T35" fmla="*/ 55 h 64"/>
                      <a:gd name="T36" fmla="*/ 50 w 254"/>
                      <a:gd name="T37" fmla="*/ 61 h 64"/>
                      <a:gd name="T38" fmla="*/ 28 w 254"/>
                      <a:gd name="T39" fmla="*/ 54 h 64"/>
                      <a:gd name="T40" fmla="*/ 43 w 254"/>
                      <a:gd name="T41" fmla="*/ 36 h 64"/>
                      <a:gd name="T42" fmla="*/ 52 w 254"/>
                      <a:gd name="T43" fmla="*/ 25 h 64"/>
                      <a:gd name="T44" fmla="*/ 37 w 254"/>
                      <a:gd name="T45"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4" h="64">
                        <a:moveTo>
                          <a:pt x="37" y="15"/>
                        </a:moveTo>
                        <a:cubicBezTo>
                          <a:pt x="29" y="17"/>
                          <a:pt x="26" y="18"/>
                          <a:pt x="17" y="19"/>
                        </a:cubicBezTo>
                        <a:cubicBezTo>
                          <a:pt x="9" y="22"/>
                          <a:pt x="9" y="19"/>
                          <a:pt x="2" y="16"/>
                        </a:cubicBezTo>
                        <a:cubicBezTo>
                          <a:pt x="0" y="5"/>
                          <a:pt x="2" y="2"/>
                          <a:pt x="13" y="0"/>
                        </a:cubicBezTo>
                        <a:cubicBezTo>
                          <a:pt x="25" y="1"/>
                          <a:pt x="35" y="3"/>
                          <a:pt x="47" y="4"/>
                        </a:cubicBezTo>
                        <a:cubicBezTo>
                          <a:pt x="63" y="13"/>
                          <a:pt x="62" y="12"/>
                          <a:pt x="86" y="13"/>
                        </a:cubicBezTo>
                        <a:cubicBezTo>
                          <a:pt x="98" y="17"/>
                          <a:pt x="88" y="12"/>
                          <a:pt x="94" y="28"/>
                        </a:cubicBezTo>
                        <a:cubicBezTo>
                          <a:pt x="97" y="35"/>
                          <a:pt x="111" y="36"/>
                          <a:pt x="118" y="37"/>
                        </a:cubicBezTo>
                        <a:cubicBezTo>
                          <a:pt x="124" y="40"/>
                          <a:pt x="127" y="36"/>
                          <a:pt x="134" y="37"/>
                        </a:cubicBezTo>
                        <a:cubicBezTo>
                          <a:pt x="141" y="40"/>
                          <a:pt x="145" y="40"/>
                          <a:pt x="152" y="39"/>
                        </a:cubicBezTo>
                        <a:cubicBezTo>
                          <a:pt x="164" y="34"/>
                          <a:pt x="178" y="34"/>
                          <a:pt x="191" y="33"/>
                        </a:cubicBezTo>
                        <a:cubicBezTo>
                          <a:pt x="204" y="28"/>
                          <a:pt x="219" y="30"/>
                          <a:pt x="233" y="31"/>
                        </a:cubicBezTo>
                        <a:cubicBezTo>
                          <a:pt x="239" y="33"/>
                          <a:pt x="245" y="34"/>
                          <a:pt x="251" y="36"/>
                        </a:cubicBezTo>
                        <a:cubicBezTo>
                          <a:pt x="254" y="42"/>
                          <a:pt x="245" y="48"/>
                          <a:pt x="239" y="49"/>
                        </a:cubicBezTo>
                        <a:cubicBezTo>
                          <a:pt x="226" y="56"/>
                          <a:pt x="207" y="56"/>
                          <a:pt x="193" y="57"/>
                        </a:cubicBezTo>
                        <a:cubicBezTo>
                          <a:pt x="179" y="54"/>
                          <a:pt x="166" y="56"/>
                          <a:pt x="152" y="58"/>
                        </a:cubicBezTo>
                        <a:cubicBezTo>
                          <a:pt x="140" y="64"/>
                          <a:pt x="130" y="61"/>
                          <a:pt x="115" y="60"/>
                        </a:cubicBezTo>
                        <a:cubicBezTo>
                          <a:pt x="106" y="58"/>
                          <a:pt x="88" y="55"/>
                          <a:pt x="88" y="55"/>
                        </a:cubicBezTo>
                        <a:cubicBezTo>
                          <a:pt x="72" y="56"/>
                          <a:pt x="64" y="58"/>
                          <a:pt x="50" y="61"/>
                        </a:cubicBezTo>
                        <a:cubicBezTo>
                          <a:pt x="44" y="53"/>
                          <a:pt x="40" y="55"/>
                          <a:pt x="28" y="54"/>
                        </a:cubicBezTo>
                        <a:cubicBezTo>
                          <a:pt x="23" y="41"/>
                          <a:pt x="33" y="38"/>
                          <a:pt x="43" y="36"/>
                        </a:cubicBezTo>
                        <a:cubicBezTo>
                          <a:pt x="48" y="33"/>
                          <a:pt x="50" y="31"/>
                          <a:pt x="52" y="25"/>
                        </a:cubicBezTo>
                        <a:cubicBezTo>
                          <a:pt x="48" y="18"/>
                          <a:pt x="45" y="18"/>
                          <a:pt x="37" y="15"/>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7" name="Freeform 62"/>
                  <p:cNvSpPr>
                    <a:spLocks/>
                  </p:cNvSpPr>
                  <p:nvPr/>
                </p:nvSpPr>
                <p:spPr bwMode="auto">
                  <a:xfrm>
                    <a:off x="2867" y="2042"/>
                    <a:ext cx="618" cy="146"/>
                  </a:xfrm>
                  <a:custGeom>
                    <a:avLst/>
                    <a:gdLst>
                      <a:gd name="T0" fmla="*/ 48 w 618"/>
                      <a:gd name="T1" fmla="*/ 138 h 146"/>
                      <a:gd name="T2" fmla="*/ 90 w 618"/>
                      <a:gd name="T3" fmla="*/ 138 h 146"/>
                      <a:gd name="T4" fmla="*/ 157 w 618"/>
                      <a:gd name="T5" fmla="*/ 138 h 146"/>
                      <a:gd name="T6" fmla="*/ 178 w 618"/>
                      <a:gd name="T7" fmla="*/ 145 h 146"/>
                      <a:gd name="T8" fmla="*/ 198 w 618"/>
                      <a:gd name="T9" fmla="*/ 141 h 146"/>
                      <a:gd name="T10" fmla="*/ 220 w 618"/>
                      <a:gd name="T11" fmla="*/ 135 h 146"/>
                      <a:gd name="T12" fmla="*/ 213 w 618"/>
                      <a:gd name="T13" fmla="*/ 124 h 146"/>
                      <a:gd name="T14" fmla="*/ 226 w 618"/>
                      <a:gd name="T15" fmla="*/ 114 h 146"/>
                      <a:gd name="T16" fmla="*/ 249 w 618"/>
                      <a:gd name="T17" fmla="*/ 111 h 146"/>
                      <a:gd name="T18" fmla="*/ 285 w 618"/>
                      <a:gd name="T19" fmla="*/ 102 h 146"/>
                      <a:gd name="T20" fmla="*/ 315 w 618"/>
                      <a:gd name="T21" fmla="*/ 96 h 146"/>
                      <a:gd name="T22" fmla="*/ 325 w 618"/>
                      <a:gd name="T23" fmla="*/ 85 h 146"/>
                      <a:gd name="T24" fmla="*/ 330 w 618"/>
                      <a:gd name="T25" fmla="*/ 73 h 146"/>
                      <a:gd name="T26" fmla="*/ 354 w 618"/>
                      <a:gd name="T27" fmla="*/ 78 h 146"/>
                      <a:gd name="T28" fmla="*/ 384 w 618"/>
                      <a:gd name="T29" fmla="*/ 72 h 146"/>
                      <a:gd name="T30" fmla="*/ 417 w 618"/>
                      <a:gd name="T31" fmla="*/ 63 h 146"/>
                      <a:gd name="T32" fmla="*/ 451 w 618"/>
                      <a:gd name="T33" fmla="*/ 51 h 146"/>
                      <a:gd name="T34" fmla="*/ 522 w 618"/>
                      <a:gd name="T35" fmla="*/ 42 h 146"/>
                      <a:gd name="T36" fmla="*/ 558 w 618"/>
                      <a:gd name="T37" fmla="*/ 34 h 146"/>
                      <a:gd name="T38" fmla="*/ 606 w 618"/>
                      <a:gd name="T39" fmla="*/ 24 h 146"/>
                      <a:gd name="T40" fmla="*/ 592 w 618"/>
                      <a:gd name="T41" fmla="*/ 9 h 146"/>
                      <a:gd name="T42" fmla="*/ 529 w 618"/>
                      <a:gd name="T43" fmla="*/ 3 h 146"/>
                      <a:gd name="T44" fmla="*/ 387 w 618"/>
                      <a:gd name="T45" fmla="*/ 7 h 146"/>
                      <a:gd name="T46" fmla="*/ 285 w 618"/>
                      <a:gd name="T47" fmla="*/ 12 h 146"/>
                      <a:gd name="T48" fmla="*/ 274 w 618"/>
                      <a:gd name="T49" fmla="*/ 22 h 146"/>
                      <a:gd name="T50" fmla="*/ 247 w 618"/>
                      <a:gd name="T51" fmla="*/ 18 h 146"/>
                      <a:gd name="T52" fmla="*/ 223 w 618"/>
                      <a:gd name="T53" fmla="*/ 19 h 146"/>
                      <a:gd name="T54" fmla="*/ 168 w 618"/>
                      <a:gd name="T55" fmla="*/ 25 h 146"/>
                      <a:gd name="T56" fmla="*/ 129 w 618"/>
                      <a:gd name="T57" fmla="*/ 27 h 146"/>
                      <a:gd name="T58" fmla="*/ 124 w 618"/>
                      <a:gd name="T59" fmla="*/ 28 h 146"/>
                      <a:gd name="T60" fmla="*/ 135 w 618"/>
                      <a:gd name="T61" fmla="*/ 31 h 146"/>
                      <a:gd name="T62" fmla="*/ 153 w 618"/>
                      <a:gd name="T63" fmla="*/ 46 h 146"/>
                      <a:gd name="T64" fmla="*/ 189 w 618"/>
                      <a:gd name="T65" fmla="*/ 51 h 146"/>
                      <a:gd name="T66" fmla="*/ 243 w 618"/>
                      <a:gd name="T67" fmla="*/ 45 h 146"/>
                      <a:gd name="T68" fmla="*/ 253 w 618"/>
                      <a:gd name="T69" fmla="*/ 49 h 146"/>
                      <a:gd name="T70" fmla="*/ 226 w 618"/>
                      <a:gd name="T71" fmla="*/ 55 h 146"/>
                      <a:gd name="T72" fmla="*/ 168 w 618"/>
                      <a:gd name="T73" fmla="*/ 58 h 146"/>
                      <a:gd name="T74" fmla="*/ 160 w 618"/>
                      <a:gd name="T75" fmla="*/ 70 h 146"/>
                      <a:gd name="T76" fmla="*/ 151 w 618"/>
                      <a:gd name="T77" fmla="*/ 61 h 146"/>
                      <a:gd name="T78" fmla="*/ 136 w 618"/>
                      <a:gd name="T79" fmla="*/ 54 h 146"/>
                      <a:gd name="T80" fmla="*/ 109 w 618"/>
                      <a:gd name="T81" fmla="*/ 48 h 146"/>
                      <a:gd name="T82" fmla="*/ 75 w 618"/>
                      <a:gd name="T83" fmla="*/ 34 h 146"/>
                      <a:gd name="T84" fmla="*/ 43 w 618"/>
                      <a:gd name="T85" fmla="*/ 40 h 146"/>
                      <a:gd name="T86" fmla="*/ 15 w 618"/>
                      <a:gd name="T87" fmla="*/ 55 h 146"/>
                      <a:gd name="T88" fmla="*/ 0 w 618"/>
                      <a:gd name="T89" fmla="*/ 61 h 146"/>
                      <a:gd name="T90" fmla="*/ 46 w 618"/>
                      <a:gd name="T91" fmla="*/ 75 h 146"/>
                      <a:gd name="T92" fmla="*/ 12 w 618"/>
                      <a:gd name="T93" fmla="*/ 82 h 146"/>
                      <a:gd name="T94" fmla="*/ 24 w 618"/>
                      <a:gd name="T95" fmla="*/ 94 h 146"/>
                      <a:gd name="T96" fmla="*/ 43 w 618"/>
                      <a:gd name="T97" fmla="*/ 102 h 146"/>
                      <a:gd name="T98" fmla="*/ 72 w 618"/>
                      <a:gd name="T99" fmla="*/ 96 h 146"/>
                      <a:gd name="T100" fmla="*/ 88 w 618"/>
                      <a:gd name="T101" fmla="*/ 91 h 146"/>
                      <a:gd name="T102" fmla="*/ 103 w 618"/>
                      <a:gd name="T103" fmla="*/ 88 h 146"/>
                      <a:gd name="T104" fmla="*/ 108 w 618"/>
                      <a:gd name="T105" fmla="*/ 87 h 146"/>
                      <a:gd name="T106" fmla="*/ 102 w 618"/>
                      <a:gd name="T107" fmla="*/ 99 h 146"/>
                      <a:gd name="T108" fmla="*/ 126 w 618"/>
                      <a:gd name="T109" fmla="*/ 106 h 146"/>
                      <a:gd name="T110" fmla="*/ 124 w 618"/>
                      <a:gd name="T111" fmla="*/ 118 h 146"/>
                      <a:gd name="T112" fmla="*/ 103 w 618"/>
                      <a:gd name="T113" fmla="*/ 111 h 146"/>
                      <a:gd name="T114" fmla="*/ 73 w 618"/>
                      <a:gd name="T115" fmla="*/ 112 h 146"/>
                      <a:gd name="T116" fmla="*/ 39 w 618"/>
                      <a:gd name="T117" fmla="*/ 127 h 146"/>
                      <a:gd name="T118" fmla="*/ 6 w 618"/>
                      <a:gd name="T119" fmla="*/ 133 h 146"/>
                      <a:gd name="T120" fmla="*/ 48 w 618"/>
                      <a:gd name="T121"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8" h="146">
                        <a:moveTo>
                          <a:pt x="48" y="138"/>
                        </a:moveTo>
                        <a:cubicBezTo>
                          <a:pt x="59" y="132"/>
                          <a:pt x="77" y="140"/>
                          <a:pt x="90" y="138"/>
                        </a:cubicBezTo>
                        <a:cubicBezTo>
                          <a:pt x="120" y="141"/>
                          <a:pt x="124" y="137"/>
                          <a:pt x="157" y="138"/>
                        </a:cubicBezTo>
                        <a:cubicBezTo>
                          <a:pt x="163" y="146"/>
                          <a:pt x="168" y="144"/>
                          <a:pt x="178" y="145"/>
                        </a:cubicBezTo>
                        <a:cubicBezTo>
                          <a:pt x="185" y="144"/>
                          <a:pt x="191" y="142"/>
                          <a:pt x="198" y="141"/>
                        </a:cubicBezTo>
                        <a:cubicBezTo>
                          <a:pt x="207" y="136"/>
                          <a:pt x="208" y="136"/>
                          <a:pt x="220" y="135"/>
                        </a:cubicBezTo>
                        <a:cubicBezTo>
                          <a:pt x="233" y="127"/>
                          <a:pt x="221" y="126"/>
                          <a:pt x="213" y="124"/>
                        </a:cubicBezTo>
                        <a:cubicBezTo>
                          <a:pt x="214" y="115"/>
                          <a:pt x="217" y="115"/>
                          <a:pt x="226" y="114"/>
                        </a:cubicBezTo>
                        <a:cubicBezTo>
                          <a:pt x="233" y="110"/>
                          <a:pt x="241" y="112"/>
                          <a:pt x="249" y="111"/>
                        </a:cubicBezTo>
                        <a:cubicBezTo>
                          <a:pt x="255" y="101"/>
                          <a:pt x="275" y="103"/>
                          <a:pt x="285" y="102"/>
                        </a:cubicBezTo>
                        <a:cubicBezTo>
                          <a:pt x="298" y="96"/>
                          <a:pt x="295" y="97"/>
                          <a:pt x="315" y="96"/>
                        </a:cubicBezTo>
                        <a:cubicBezTo>
                          <a:pt x="320" y="93"/>
                          <a:pt x="322" y="90"/>
                          <a:pt x="325" y="85"/>
                        </a:cubicBezTo>
                        <a:cubicBezTo>
                          <a:pt x="320" y="78"/>
                          <a:pt x="323" y="75"/>
                          <a:pt x="330" y="73"/>
                        </a:cubicBezTo>
                        <a:cubicBezTo>
                          <a:pt x="338" y="75"/>
                          <a:pt x="346" y="75"/>
                          <a:pt x="354" y="78"/>
                        </a:cubicBezTo>
                        <a:cubicBezTo>
                          <a:pt x="368" y="73"/>
                          <a:pt x="362" y="73"/>
                          <a:pt x="384" y="72"/>
                        </a:cubicBezTo>
                        <a:cubicBezTo>
                          <a:pt x="394" y="67"/>
                          <a:pt x="406" y="65"/>
                          <a:pt x="417" y="63"/>
                        </a:cubicBezTo>
                        <a:cubicBezTo>
                          <a:pt x="430" y="56"/>
                          <a:pt x="434" y="52"/>
                          <a:pt x="451" y="51"/>
                        </a:cubicBezTo>
                        <a:cubicBezTo>
                          <a:pt x="472" y="39"/>
                          <a:pt x="499" y="43"/>
                          <a:pt x="522" y="42"/>
                        </a:cubicBezTo>
                        <a:cubicBezTo>
                          <a:pt x="534" y="36"/>
                          <a:pt x="544" y="35"/>
                          <a:pt x="558" y="34"/>
                        </a:cubicBezTo>
                        <a:cubicBezTo>
                          <a:pt x="569" y="26"/>
                          <a:pt x="592" y="25"/>
                          <a:pt x="606" y="24"/>
                        </a:cubicBezTo>
                        <a:cubicBezTo>
                          <a:pt x="618" y="18"/>
                          <a:pt x="597" y="10"/>
                          <a:pt x="592" y="9"/>
                        </a:cubicBezTo>
                        <a:cubicBezTo>
                          <a:pt x="574" y="0"/>
                          <a:pt x="546" y="3"/>
                          <a:pt x="529" y="3"/>
                        </a:cubicBezTo>
                        <a:cubicBezTo>
                          <a:pt x="483" y="11"/>
                          <a:pt x="434" y="5"/>
                          <a:pt x="387" y="7"/>
                        </a:cubicBezTo>
                        <a:cubicBezTo>
                          <a:pt x="356" y="9"/>
                          <a:pt x="309" y="0"/>
                          <a:pt x="285" y="12"/>
                        </a:cubicBezTo>
                        <a:cubicBezTo>
                          <a:pt x="282" y="17"/>
                          <a:pt x="279" y="19"/>
                          <a:pt x="274" y="22"/>
                        </a:cubicBezTo>
                        <a:cubicBezTo>
                          <a:pt x="265" y="21"/>
                          <a:pt x="256" y="19"/>
                          <a:pt x="247" y="18"/>
                        </a:cubicBezTo>
                        <a:cubicBezTo>
                          <a:pt x="239" y="14"/>
                          <a:pt x="231" y="17"/>
                          <a:pt x="223" y="19"/>
                        </a:cubicBezTo>
                        <a:cubicBezTo>
                          <a:pt x="205" y="28"/>
                          <a:pt x="189" y="24"/>
                          <a:pt x="168" y="25"/>
                        </a:cubicBezTo>
                        <a:cubicBezTo>
                          <a:pt x="155" y="26"/>
                          <a:pt x="142" y="26"/>
                          <a:pt x="129" y="27"/>
                        </a:cubicBezTo>
                        <a:cubicBezTo>
                          <a:pt x="127" y="27"/>
                          <a:pt x="124" y="26"/>
                          <a:pt x="124" y="28"/>
                        </a:cubicBezTo>
                        <a:cubicBezTo>
                          <a:pt x="124" y="32"/>
                          <a:pt x="131" y="30"/>
                          <a:pt x="135" y="31"/>
                        </a:cubicBezTo>
                        <a:cubicBezTo>
                          <a:pt x="144" y="38"/>
                          <a:pt x="140" y="44"/>
                          <a:pt x="153" y="46"/>
                        </a:cubicBezTo>
                        <a:cubicBezTo>
                          <a:pt x="164" y="52"/>
                          <a:pt x="177" y="50"/>
                          <a:pt x="189" y="51"/>
                        </a:cubicBezTo>
                        <a:cubicBezTo>
                          <a:pt x="209" y="50"/>
                          <a:pt x="224" y="47"/>
                          <a:pt x="243" y="45"/>
                        </a:cubicBezTo>
                        <a:cubicBezTo>
                          <a:pt x="253" y="47"/>
                          <a:pt x="275" y="45"/>
                          <a:pt x="253" y="49"/>
                        </a:cubicBezTo>
                        <a:cubicBezTo>
                          <a:pt x="245" y="53"/>
                          <a:pt x="235" y="53"/>
                          <a:pt x="226" y="55"/>
                        </a:cubicBezTo>
                        <a:cubicBezTo>
                          <a:pt x="205" y="66"/>
                          <a:pt x="239" y="49"/>
                          <a:pt x="168" y="58"/>
                        </a:cubicBezTo>
                        <a:cubicBezTo>
                          <a:pt x="165" y="58"/>
                          <a:pt x="167" y="69"/>
                          <a:pt x="160" y="70"/>
                        </a:cubicBezTo>
                        <a:cubicBezTo>
                          <a:pt x="143" y="69"/>
                          <a:pt x="139" y="70"/>
                          <a:pt x="151" y="61"/>
                        </a:cubicBezTo>
                        <a:cubicBezTo>
                          <a:pt x="147" y="55"/>
                          <a:pt x="143" y="55"/>
                          <a:pt x="136" y="54"/>
                        </a:cubicBezTo>
                        <a:cubicBezTo>
                          <a:pt x="128" y="50"/>
                          <a:pt x="109" y="48"/>
                          <a:pt x="109" y="48"/>
                        </a:cubicBezTo>
                        <a:cubicBezTo>
                          <a:pt x="106" y="32"/>
                          <a:pt x="90" y="35"/>
                          <a:pt x="75" y="34"/>
                        </a:cubicBezTo>
                        <a:cubicBezTo>
                          <a:pt x="64" y="36"/>
                          <a:pt x="54" y="38"/>
                          <a:pt x="43" y="40"/>
                        </a:cubicBezTo>
                        <a:cubicBezTo>
                          <a:pt x="35" y="46"/>
                          <a:pt x="25" y="53"/>
                          <a:pt x="15" y="55"/>
                        </a:cubicBezTo>
                        <a:cubicBezTo>
                          <a:pt x="9" y="57"/>
                          <a:pt x="5" y="57"/>
                          <a:pt x="0" y="61"/>
                        </a:cubicBezTo>
                        <a:cubicBezTo>
                          <a:pt x="5" y="86"/>
                          <a:pt x="4" y="73"/>
                          <a:pt x="46" y="75"/>
                        </a:cubicBezTo>
                        <a:cubicBezTo>
                          <a:pt x="36" y="82"/>
                          <a:pt x="23" y="80"/>
                          <a:pt x="12" y="82"/>
                        </a:cubicBezTo>
                        <a:cubicBezTo>
                          <a:pt x="8" y="92"/>
                          <a:pt x="16" y="92"/>
                          <a:pt x="24" y="94"/>
                        </a:cubicBezTo>
                        <a:cubicBezTo>
                          <a:pt x="30" y="97"/>
                          <a:pt x="43" y="102"/>
                          <a:pt x="43" y="102"/>
                        </a:cubicBezTo>
                        <a:cubicBezTo>
                          <a:pt x="57" y="97"/>
                          <a:pt x="50" y="97"/>
                          <a:pt x="72" y="96"/>
                        </a:cubicBezTo>
                        <a:cubicBezTo>
                          <a:pt x="77" y="94"/>
                          <a:pt x="83" y="92"/>
                          <a:pt x="88" y="91"/>
                        </a:cubicBezTo>
                        <a:cubicBezTo>
                          <a:pt x="93" y="90"/>
                          <a:pt x="98" y="89"/>
                          <a:pt x="103" y="88"/>
                        </a:cubicBezTo>
                        <a:cubicBezTo>
                          <a:pt x="105" y="88"/>
                          <a:pt x="108" y="87"/>
                          <a:pt x="108" y="87"/>
                        </a:cubicBezTo>
                        <a:cubicBezTo>
                          <a:pt x="122" y="89"/>
                          <a:pt x="107" y="95"/>
                          <a:pt x="102" y="99"/>
                        </a:cubicBezTo>
                        <a:cubicBezTo>
                          <a:pt x="108" y="104"/>
                          <a:pt x="118" y="105"/>
                          <a:pt x="126" y="106"/>
                        </a:cubicBezTo>
                        <a:cubicBezTo>
                          <a:pt x="134" y="110"/>
                          <a:pt x="133" y="116"/>
                          <a:pt x="124" y="118"/>
                        </a:cubicBezTo>
                        <a:cubicBezTo>
                          <a:pt x="113" y="117"/>
                          <a:pt x="112" y="113"/>
                          <a:pt x="103" y="111"/>
                        </a:cubicBezTo>
                        <a:cubicBezTo>
                          <a:pt x="94" y="106"/>
                          <a:pt x="83" y="110"/>
                          <a:pt x="73" y="112"/>
                        </a:cubicBezTo>
                        <a:cubicBezTo>
                          <a:pt x="80" y="129"/>
                          <a:pt x="45" y="127"/>
                          <a:pt x="39" y="127"/>
                        </a:cubicBezTo>
                        <a:cubicBezTo>
                          <a:pt x="28" y="131"/>
                          <a:pt x="17" y="132"/>
                          <a:pt x="6" y="133"/>
                        </a:cubicBezTo>
                        <a:cubicBezTo>
                          <a:pt x="17" y="138"/>
                          <a:pt x="69" y="143"/>
                          <a:pt x="48" y="138"/>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38" name="Freeform 63"/>
                  <p:cNvSpPr>
                    <a:spLocks/>
                  </p:cNvSpPr>
                  <p:nvPr/>
                </p:nvSpPr>
                <p:spPr bwMode="auto">
                  <a:xfrm>
                    <a:off x="2879" y="2151"/>
                    <a:ext cx="29" cy="15"/>
                  </a:xfrm>
                  <a:custGeom>
                    <a:avLst/>
                    <a:gdLst>
                      <a:gd name="T0" fmla="*/ 3 w 29"/>
                      <a:gd name="T1" fmla="*/ 8 h 15"/>
                      <a:gd name="T2" fmla="*/ 13 w 29"/>
                      <a:gd name="T3" fmla="*/ 0 h 15"/>
                      <a:gd name="T4" fmla="*/ 10 w 29"/>
                      <a:gd name="T5" fmla="*/ 15 h 15"/>
                      <a:gd name="T6" fmla="*/ 0 w 29"/>
                      <a:gd name="T7" fmla="*/ 12 h 15"/>
                      <a:gd name="T8" fmla="*/ 3 w 29"/>
                      <a:gd name="T9" fmla="*/ 8 h 15"/>
                    </a:gdLst>
                    <a:ahLst/>
                    <a:cxnLst>
                      <a:cxn ang="0">
                        <a:pos x="T0" y="T1"/>
                      </a:cxn>
                      <a:cxn ang="0">
                        <a:pos x="T2" y="T3"/>
                      </a:cxn>
                      <a:cxn ang="0">
                        <a:pos x="T4" y="T5"/>
                      </a:cxn>
                      <a:cxn ang="0">
                        <a:pos x="T6" y="T7"/>
                      </a:cxn>
                      <a:cxn ang="0">
                        <a:pos x="T8" y="T9"/>
                      </a:cxn>
                    </a:cxnLst>
                    <a:rect l="0" t="0" r="r" b="b"/>
                    <a:pathLst>
                      <a:path w="29" h="15">
                        <a:moveTo>
                          <a:pt x="3" y="8"/>
                        </a:moveTo>
                        <a:cubicBezTo>
                          <a:pt x="4" y="1"/>
                          <a:pt x="7" y="3"/>
                          <a:pt x="13" y="0"/>
                        </a:cubicBezTo>
                        <a:cubicBezTo>
                          <a:pt x="29" y="4"/>
                          <a:pt x="23" y="13"/>
                          <a:pt x="10" y="15"/>
                        </a:cubicBezTo>
                        <a:cubicBezTo>
                          <a:pt x="10" y="15"/>
                          <a:pt x="0" y="14"/>
                          <a:pt x="0" y="12"/>
                        </a:cubicBezTo>
                        <a:cubicBezTo>
                          <a:pt x="0" y="10"/>
                          <a:pt x="3" y="8"/>
                          <a:pt x="3" y="8"/>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grpSp>
            <p:sp>
              <p:nvSpPr>
                <p:cNvPr id="659" name="Freeform 64"/>
                <p:cNvSpPr>
                  <a:spLocks/>
                </p:cNvSpPr>
                <p:nvPr/>
              </p:nvSpPr>
              <p:spPr bwMode="auto">
                <a:xfrm>
                  <a:off x="5574589" y="3054776"/>
                  <a:ext cx="44987" cy="43760"/>
                </a:xfrm>
                <a:custGeom>
                  <a:avLst/>
                  <a:gdLst>
                    <a:gd name="T0" fmla="*/ 35 w 44"/>
                    <a:gd name="T1" fmla="*/ 6 h 45"/>
                    <a:gd name="T2" fmla="*/ 17 w 44"/>
                    <a:gd name="T3" fmla="*/ 0 h 45"/>
                    <a:gd name="T4" fmla="*/ 2 w 44"/>
                    <a:gd name="T5" fmla="*/ 7 h 45"/>
                    <a:gd name="T6" fmla="*/ 0 w 44"/>
                    <a:gd name="T7" fmla="*/ 28 h 45"/>
                    <a:gd name="T8" fmla="*/ 20 w 44"/>
                    <a:gd name="T9" fmla="*/ 30 h 45"/>
                    <a:gd name="T10" fmla="*/ 23 w 44"/>
                    <a:gd name="T11" fmla="*/ 45 h 45"/>
                    <a:gd name="T12" fmla="*/ 44 w 44"/>
                    <a:gd name="T13" fmla="*/ 45 h 45"/>
                    <a:gd name="T14" fmla="*/ 39 w 44"/>
                    <a:gd name="T15" fmla="*/ 28 h 45"/>
                    <a:gd name="T16" fmla="*/ 30 w 44"/>
                    <a:gd name="T17" fmla="*/ 18 h 45"/>
                    <a:gd name="T18" fmla="*/ 35 w 44"/>
                    <a:gd name="T19"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35" y="6"/>
                      </a:moveTo>
                      <a:lnTo>
                        <a:pt x="17" y="0"/>
                      </a:lnTo>
                      <a:lnTo>
                        <a:pt x="2" y="7"/>
                      </a:lnTo>
                      <a:lnTo>
                        <a:pt x="0" y="28"/>
                      </a:lnTo>
                      <a:lnTo>
                        <a:pt x="20" y="30"/>
                      </a:lnTo>
                      <a:lnTo>
                        <a:pt x="23" y="45"/>
                      </a:lnTo>
                      <a:lnTo>
                        <a:pt x="44" y="45"/>
                      </a:lnTo>
                      <a:lnTo>
                        <a:pt x="39" y="28"/>
                      </a:lnTo>
                      <a:lnTo>
                        <a:pt x="30" y="18"/>
                      </a:lnTo>
                      <a:lnTo>
                        <a:pt x="35" y="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0" name="Freeform 65"/>
                <p:cNvSpPr>
                  <a:spLocks/>
                </p:cNvSpPr>
                <p:nvPr/>
              </p:nvSpPr>
              <p:spPr bwMode="auto">
                <a:xfrm>
                  <a:off x="7035882" y="3742865"/>
                  <a:ext cx="130306" cy="184094"/>
                </a:xfrm>
                <a:custGeom>
                  <a:avLst/>
                  <a:gdLst>
                    <a:gd name="T0" fmla="*/ 57 w 127"/>
                    <a:gd name="T1" fmla="*/ 15 h 185"/>
                    <a:gd name="T2" fmla="*/ 51 w 127"/>
                    <a:gd name="T3" fmla="*/ 32 h 185"/>
                    <a:gd name="T4" fmla="*/ 36 w 127"/>
                    <a:gd name="T5" fmla="*/ 26 h 185"/>
                    <a:gd name="T6" fmla="*/ 30 w 127"/>
                    <a:gd name="T7" fmla="*/ 36 h 185"/>
                    <a:gd name="T8" fmla="*/ 28 w 127"/>
                    <a:gd name="T9" fmla="*/ 15 h 185"/>
                    <a:gd name="T10" fmla="*/ 9 w 127"/>
                    <a:gd name="T11" fmla="*/ 0 h 185"/>
                    <a:gd name="T12" fmla="*/ 0 w 127"/>
                    <a:gd name="T13" fmla="*/ 5 h 185"/>
                    <a:gd name="T14" fmla="*/ 9 w 127"/>
                    <a:gd name="T15" fmla="*/ 23 h 185"/>
                    <a:gd name="T16" fmla="*/ 1 w 127"/>
                    <a:gd name="T17" fmla="*/ 42 h 185"/>
                    <a:gd name="T18" fmla="*/ 12 w 127"/>
                    <a:gd name="T19" fmla="*/ 51 h 185"/>
                    <a:gd name="T20" fmla="*/ 27 w 127"/>
                    <a:gd name="T21" fmla="*/ 89 h 185"/>
                    <a:gd name="T22" fmla="*/ 34 w 127"/>
                    <a:gd name="T23" fmla="*/ 101 h 185"/>
                    <a:gd name="T24" fmla="*/ 40 w 127"/>
                    <a:gd name="T25" fmla="*/ 116 h 185"/>
                    <a:gd name="T26" fmla="*/ 63 w 127"/>
                    <a:gd name="T27" fmla="*/ 138 h 185"/>
                    <a:gd name="T28" fmla="*/ 76 w 127"/>
                    <a:gd name="T29" fmla="*/ 150 h 185"/>
                    <a:gd name="T30" fmla="*/ 97 w 127"/>
                    <a:gd name="T31" fmla="*/ 165 h 185"/>
                    <a:gd name="T32" fmla="*/ 121 w 127"/>
                    <a:gd name="T33" fmla="*/ 185 h 185"/>
                    <a:gd name="T34" fmla="*/ 115 w 127"/>
                    <a:gd name="T35" fmla="*/ 165 h 185"/>
                    <a:gd name="T36" fmla="*/ 109 w 127"/>
                    <a:gd name="T37" fmla="*/ 134 h 185"/>
                    <a:gd name="T38" fmla="*/ 100 w 127"/>
                    <a:gd name="T39" fmla="*/ 123 h 185"/>
                    <a:gd name="T40" fmla="*/ 97 w 127"/>
                    <a:gd name="T41" fmla="*/ 101 h 185"/>
                    <a:gd name="T42" fmla="*/ 96 w 127"/>
                    <a:gd name="T43" fmla="*/ 60 h 185"/>
                    <a:gd name="T44" fmla="*/ 57 w 127"/>
                    <a:gd name="T45" fmla="*/ 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185">
                      <a:moveTo>
                        <a:pt x="57" y="15"/>
                      </a:moveTo>
                      <a:lnTo>
                        <a:pt x="51" y="32"/>
                      </a:lnTo>
                      <a:lnTo>
                        <a:pt x="36" y="26"/>
                      </a:lnTo>
                      <a:lnTo>
                        <a:pt x="30" y="36"/>
                      </a:lnTo>
                      <a:lnTo>
                        <a:pt x="28" y="15"/>
                      </a:lnTo>
                      <a:lnTo>
                        <a:pt x="9" y="0"/>
                      </a:lnTo>
                      <a:lnTo>
                        <a:pt x="0" y="5"/>
                      </a:lnTo>
                      <a:cubicBezTo>
                        <a:pt x="3" y="13"/>
                        <a:pt x="5" y="16"/>
                        <a:pt x="9" y="23"/>
                      </a:cubicBezTo>
                      <a:cubicBezTo>
                        <a:pt x="7" y="32"/>
                        <a:pt x="5" y="34"/>
                        <a:pt x="1" y="42"/>
                      </a:cubicBezTo>
                      <a:cubicBezTo>
                        <a:pt x="7" y="44"/>
                        <a:pt x="9" y="46"/>
                        <a:pt x="12" y="51"/>
                      </a:cubicBezTo>
                      <a:cubicBezTo>
                        <a:pt x="13" y="63"/>
                        <a:pt x="20" y="78"/>
                        <a:pt x="27" y="89"/>
                      </a:cubicBezTo>
                      <a:cubicBezTo>
                        <a:pt x="28" y="96"/>
                        <a:pt x="28" y="98"/>
                        <a:pt x="34" y="101"/>
                      </a:cubicBezTo>
                      <a:cubicBezTo>
                        <a:pt x="38" y="106"/>
                        <a:pt x="38" y="110"/>
                        <a:pt x="40" y="116"/>
                      </a:cubicBezTo>
                      <a:cubicBezTo>
                        <a:pt x="44" y="126"/>
                        <a:pt x="54" y="133"/>
                        <a:pt x="63" y="138"/>
                      </a:cubicBezTo>
                      <a:cubicBezTo>
                        <a:pt x="67" y="143"/>
                        <a:pt x="76" y="150"/>
                        <a:pt x="76" y="150"/>
                      </a:cubicBezTo>
                      <a:cubicBezTo>
                        <a:pt x="80" y="157"/>
                        <a:pt x="90" y="160"/>
                        <a:pt x="97" y="165"/>
                      </a:cubicBezTo>
                      <a:cubicBezTo>
                        <a:pt x="103" y="175"/>
                        <a:pt x="112" y="178"/>
                        <a:pt x="121" y="185"/>
                      </a:cubicBezTo>
                      <a:cubicBezTo>
                        <a:pt x="127" y="174"/>
                        <a:pt x="126" y="171"/>
                        <a:pt x="115" y="165"/>
                      </a:cubicBezTo>
                      <a:cubicBezTo>
                        <a:pt x="113" y="154"/>
                        <a:pt x="116" y="143"/>
                        <a:pt x="109" y="134"/>
                      </a:cubicBezTo>
                      <a:cubicBezTo>
                        <a:pt x="108" y="127"/>
                        <a:pt x="106" y="126"/>
                        <a:pt x="100" y="123"/>
                      </a:cubicBezTo>
                      <a:cubicBezTo>
                        <a:pt x="94" y="115"/>
                        <a:pt x="96" y="111"/>
                        <a:pt x="97" y="101"/>
                      </a:cubicBezTo>
                      <a:cubicBezTo>
                        <a:pt x="97" y="87"/>
                        <a:pt x="97" y="74"/>
                        <a:pt x="96" y="60"/>
                      </a:cubicBezTo>
                      <a:cubicBezTo>
                        <a:pt x="95" y="39"/>
                        <a:pt x="72" y="25"/>
                        <a:pt x="57" y="15"/>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1" name="Freeform 66"/>
                <p:cNvSpPr>
                  <a:spLocks/>
                </p:cNvSpPr>
                <p:nvPr/>
              </p:nvSpPr>
              <p:spPr bwMode="auto">
                <a:xfrm>
                  <a:off x="5937585" y="2837484"/>
                  <a:ext cx="403330" cy="411949"/>
                </a:xfrm>
                <a:custGeom>
                  <a:avLst/>
                  <a:gdLst>
                    <a:gd name="T0" fmla="*/ 339 w 393"/>
                    <a:gd name="T1" fmla="*/ 21 h 412"/>
                    <a:gd name="T2" fmla="*/ 370 w 393"/>
                    <a:gd name="T3" fmla="*/ 54 h 412"/>
                    <a:gd name="T4" fmla="*/ 369 w 393"/>
                    <a:gd name="T5" fmla="*/ 76 h 412"/>
                    <a:gd name="T6" fmla="*/ 303 w 393"/>
                    <a:gd name="T7" fmla="*/ 78 h 412"/>
                    <a:gd name="T8" fmla="*/ 319 w 393"/>
                    <a:gd name="T9" fmla="*/ 130 h 412"/>
                    <a:gd name="T10" fmla="*/ 333 w 393"/>
                    <a:gd name="T11" fmla="*/ 163 h 412"/>
                    <a:gd name="T12" fmla="*/ 325 w 393"/>
                    <a:gd name="T13" fmla="*/ 216 h 412"/>
                    <a:gd name="T14" fmla="*/ 292 w 393"/>
                    <a:gd name="T15" fmla="*/ 262 h 412"/>
                    <a:gd name="T16" fmla="*/ 259 w 393"/>
                    <a:gd name="T17" fmla="*/ 288 h 412"/>
                    <a:gd name="T18" fmla="*/ 238 w 393"/>
                    <a:gd name="T19" fmla="*/ 289 h 412"/>
                    <a:gd name="T20" fmla="*/ 247 w 393"/>
                    <a:gd name="T21" fmla="*/ 324 h 412"/>
                    <a:gd name="T22" fmla="*/ 279 w 393"/>
                    <a:gd name="T23" fmla="*/ 382 h 412"/>
                    <a:gd name="T24" fmla="*/ 225 w 393"/>
                    <a:gd name="T25" fmla="*/ 390 h 412"/>
                    <a:gd name="T26" fmla="*/ 184 w 393"/>
                    <a:gd name="T27" fmla="*/ 381 h 412"/>
                    <a:gd name="T28" fmla="*/ 139 w 393"/>
                    <a:gd name="T29" fmla="*/ 349 h 412"/>
                    <a:gd name="T30" fmla="*/ 85 w 393"/>
                    <a:gd name="T31" fmla="*/ 357 h 412"/>
                    <a:gd name="T32" fmla="*/ 34 w 393"/>
                    <a:gd name="T33" fmla="*/ 360 h 412"/>
                    <a:gd name="T34" fmla="*/ 57 w 393"/>
                    <a:gd name="T35" fmla="*/ 315 h 412"/>
                    <a:gd name="T36" fmla="*/ 70 w 393"/>
                    <a:gd name="T37" fmla="*/ 297 h 412"/>
                    <a:gd name="T38" fmla="*/ 55 w 393"/>
                    <a:gd name="T39" fmla="*/ 279 h 412"/>
                    <a:gd name="T40" fmla="*/ 27 w 393"/>
                    <a:gd name="T41" fmla="*/ 261 h 412"/>
                    <a:gd name="T42" fmla="*/ 19 w 393"/>
                    <a:gd name="T43" fmla="*/ 226 h 412"/>
                    <a:gd name="T44" fmla="*/ 96 w 393"/>
                    <a:gd name="T45" fmla="*/ 232 h 412"/>
                    <a:gd name="T46" fmla="*/ 132 w 393"/>
                    <a:gd name="T47" fmla="*/ 190 h 412"/>
                    <a:gd name="T48" fmla="*/ 162 w 393"/>
                    <a:gd name="T49" fmla="*/ 180 h 412"/>
                    <a:gd name="T50" fmla="*/ 196 w 393"/>
                    <a:gd name="T51" fmla="*/ 171 h 412"/>
                    <a:gd name="T52" fmla="*/ 199 w 393"/>
                    <a:gd name="T53" fmla="*/ 132 h 412"/>
                    <a:gd name="T54" fmla="*/ 202 w 393"/>
                    <a:gd name="T55" fmla="*/ 99 h 412"/>
                    <a:gd name="T56" fmla="*/ 234 w 393"/>
                    <a:gd name="T57" fmla="*/ 90 h 412"/>
                    <a:gd name="T58" fmla="*/ 240 w 393"/>
                    <a:gd name="T59" fmla="*/ 69 h 412"/>
                    <a:gd name="T60" fmla="*/ 225 w 393"/>
                    <a:gd name="T61" fmla="*/ 36 h 412"/>
                    <a:gd name="T62" fmla="*/ 291 w 393"/>
                    <a:gd name="T63" fmla="*/ 18 h 412"/>
                    <a:gd name="T64" fmla="*/ 310 w 393"/>
                    <a:gd name="T6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412">
                      <a:moveTo>
                        <a:pt x="310" y="0"/>
                      </a:moveTo>
                      <a:lnTo>
                        <a:pt x="339" y="21"/>
                      </a:lnTo>
                      <a:lnTo>
                        <a:pt x="339" y="39"/>
                      </a:lnTo>
                      <a:lnTo>
                        <a:pt x="370" y="54"/>
                      </a:lnTo>
                      <a:lnTo>
                        <a:pt x="393" y="52"/>
                      </a:lnTo>
                      <a:lnTo>
                        <a:pt x="369" y="76"/>
                      </a:lnTo>
                      <a:lnTo>
                        <a:pt x="346" y="85"/>
                      </a:lnTo>
                      <a:lnTo>
                        <a:pt x="303" y="78"/>
                      </a:lnTo>
                      <a:lnTo>
                        <a:pt x="298" y="94"/>
                      </a:lnTo>
                      <a:lnTo>
                        <a:pt x="319" y="130"/>
                      </a:lnTo>
                      <a:lnTo>
                        <a:pt x="354" y="156"/>
                      </a:lnTo>
                      <a:lnTo>
                        <a:pt x="333" y="163"/>
                      </a:lnTo>
                      <a:lnTo>
                        <a:pt x="334" y="193"/>
                      </a:lnTo>
                      <a:lnTo>
                        <a:pt x="325" y="216"/>
                      </a:lnTo>
                      <a:lnTo>
                        <a:pt x="307" y="247"/>
                      </a:lnTo>
                      <a:lnTo>
                        <a:pt x="292" y="262"/>
                      </a:lnTo>
                      <a:lnTo>
                        <a:pt x="282" y="283"/>
                      </a:lnTo>
                      <a:lnTo>
                        <a:pt x="259" y="288"/>
                      </a:lnTo>
                      <a:lnTo>
                        <a:pt x="250" y="274"/>
                      </a:lnTo>
                      <a:lnTo>
                        <a:pt x="238" y="289"/>
                      </a:lnTo>
                      <a:lnTo>
                        <a:pt x="228" y="309"/>
                      </a:lnTo>
                      <a:lnTo>
                        <a:pt x="247" y="324"/>
                      </a:lnTo>
                      <a:lnTo>
                        <a:pt x="262" y="352"/>
                      </a:lnTo>
                      <a:lnTo>
                        <a:pt x="279" y="382"/>
                      </a:lnTo>
                      <a:lnTo>
                        <a:pt x="264" y="391"/>
                      </a:lnTo>
                      <a:lnTo>
                        <a:pt x="225" y="390"/>
                      </a:lnTo>
                      <a:lnTo>
                        <a:pt x="207" y="412"/>
                      </a:lnTo>
                      <a:lnTo>
                        <a:pt x="184" y="381"/>
                      </a:lnTo>
                      <a:lnTo>
                        <a:pt x="166" y="355"/>
                      </a:lnTo>
                      <a:lnTo>
                        <a:pt x="139" y="349"/>
                      </a:lnTo>
                      <a:lnTo>
                        <a:pt x="112" y="360"/>
                      </a:lnTo>
                      <a:lnTo>
                        <a:pt x="85" y="357"/>
                      </a:lnTo>
                      <a:lnTo>
                        <a:pt x="63" y="360"/>
                      </a:lnTo>
                      <a:lnTo>
                        <a:pt x="34" y="360"/>
                      </a:lnTo>
                      <a:lnTo>
                        <a:pt x="40" y="328"/>
                      </a:lnTo>
                      <a:lnTo>
                        <a:pt x="57" y="315"/>
                      </a:lnTo>
                      <a:lnTo>
                        <a:pt x="75" y="310"/>
                      </a:lnTo>
                      <a:lnTo>
                        <a:pt x="70" y="297"/>
                      </a:lnTo>
                      <a:lnTo>
                        <a:pt x="60" y="298"/>
                      </a:lnTo>
                      <a:lnTo>
                        <a:pt x="55" y="279"/>
                      </a:lnTo>
                      <a:lnTo>
                        <a:pt x="48" y="262"/>
                      </a:lnTo>
                      <a:lnTo>
                        <a:pt x="27" y="261"/>
                      </a:lnTo>
                      <a:lnTo>
                        <a:pt x="0" y="226"/>
                      </a:lnTo>
                      <a:lnTo>
                        <a:pt x="19" y="226"/>
                      </a:lnTo>
                      <a:lnTo>
                        <a:pt x="58" y="237"/>
                      </a:lnTo>
                      <a:lnTo>
                        <a:pt x="96" y="232"/>
                      </a:lnTo>
                      <a:lnTo>
                        <a:pt x="135" y="220"/>
                      </a:lnTo>
                      <a:lnTo>
                        <a:pt x="132" y="190"/>
                      </a:lnTo>
                      <a:lnTo>
                        <a:pt x="145" y="178"/>
                      </a:lnTo>
                      <a:lnTo>
                        <a:pt x="162" y="180"/>
                      </a:lnTo>
                      <a:lnTo>
                        <a:pt x="183" y="163"/>
                      </a:lnTo>
                      <a:lnTo>
                        <a:pt x="196" y="171"/>
                      </a:lnTo>
                      <a:lnTo>
                        <a:pt x="204" y="162"/>
                      </a:lnTo>
                      <a:lnTo>
                        <a:pt x="199" y="132"/>
                      </a:lnTo>
                      <a:lnTo>
                        <a:pt x="222" y="118"/>
                      </a:lnTo>
                      <a:lnTo>
                        <a:pt x="202" y="99"/>
                      </a:lnTo>
                      <a:lnTo>
                        <a:pt x="226" y="100"/>
                      </a:lnTo>
                      <a:lnTo>
                        <a:pt x="234" y="90"/>
                      </a:lnTo>
                      <a:lnTo>
                        <a:pt x="228" y="81"/>
                      </a:lnTo>
                      <a:lnTo>
                        <a:pt x="240" y="69"/>
                      </a:lnTo>
                      <a:lnTo>
                        <a:pt x="237" y="49"/>
                      </a:lnTo>
                      <a:lnTo>
                        <a:pt x="225" y="36"/>
                      </a:lnTo>
                      <a:lnTo>
                        <a:pt x="253" y="18"/>
                      </a:lnTo>
                      <a:lnTo>
                        <a:pt x="291" y="18"/>
                      </a:lnTo>
                      <a:lnTo>
                        <a:pt x="300" y="10"/>
                      </a:lnTo>
                      <a:lnTo>
                        <a:pt x="31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2" name="Freeform 67"/>
                <p:cNvSpPr>
                  <a:spLocks/>
                </p:cNvSpPr>
                <p:nvPr/>
              </p:nvSpPr>
              <p:spPr bwMode="auto">
                <a:xfrm>
                  <a:off x="5718857" y="3170966"/>
                  <a:ext cx="119448" cy="99592"/>
                </a:xfrm>
                <a:custGeom>
                  <a:avLst/>
                  <a:gdLst>
                    <a:gd name="T0" fmla="*/ 89 w 116"/>
                    <a:gd name="T1" fmla="*/ 99 h 99"/>
                    <a:gd name="T2" fmla="*/ 21 w 116"/>
                    <a:gd name="T3" fmla="*/ 96 h 99"/>
                    <a:gd name="T4" fmla="*/ 0 w 116"/>
                    <a:gd name="T5" fmla="*/ 61 h 99"/>
                    <a:gd name="T6" fmla="*/ 18 w 116"/>
                    <a:gd name="T7" fmla="*/ 57 h 99"/>
                    <a:gd name="T8" fmla="*/ 60 w 116"/>
                    <a:gd name="T9" fmla="*/ 60 h 99"/>
                    <a:gd name="T10" fmla="*/ 72 w 116"/>
                    <a:gd name="T11" fmla="*/ 39 h 99"/>
                    <a:gd name="T12" fmla="*/ 83 w 116"/>
                    <a:gd name="T13" fmla="*/ 22 h 99"/>
                    <a:gd name="T14" fmla="*/ 108 w 116"/>
                    <a:gd name="T15" fmla="*/ 0 h 99"/>
                    <a:gd name="T16" fmla="*/ 116 w 116"/>
                    <a:gd name="T17" fmla="*/ 30 h 99"/>
                    <a:gd name="T18" fmla="*/ 105 w 116"/>
                    <a:gd name="T19" fmla="*/ 39 h 99"/>
                    <a:gd name="T20" fmla="*/ 104 w 116"/>
                    <a:gd name="T21" fmla="*/ 57 h 99"/>
                    <a:gd name="T22" fmla="*/ 96 w 116"/>
                    <a:gd name="T23" fmla="*/ 72 h 99"/>
                    <a:gd name="T24" fmla="*/ 89 w 116"/>
                    <a:gd name="T2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99">
                      <a:moveTo>
                        <a:pt x="89" y="99"/>
                      </a:moveTo>
                      <a:lnTo>
                        <a:pt x="21" y="96"/>
                      </a:lnTo>
                      <a:lnTo>
                        <a:pt x="0" y="61"/>
                      </a:lnTo>
                      <a:lnTo>
                        <a:pt x="18" y="57"/>
                      </a:lnTo>
                      <a:lnTo>
                        <a:pt x="60" y="60"/>
                      </a:lnTo>
                      <a:lnTo>
                        <a:pt x="72" y="39"/>
                      </a:lnTo>
                      <a:lnTo>
                        <a:pt x="83" y="22"/>
                      </a:lnTo>
                      <a:lnTo>
                        <a:pt x="108" y="0"/>
                      </a:lnTo>
                      <a:lnTo>
                        <a:pt x="116" y="30"/>
                      </a:lnTo>
                      <a:lnTo>
                        <a:pt x="105" y="39"/>
                      </a:lnTo>
                      <a:lnTo>
                        <a:pt x="104" y="57"/>
                      </a:lnTo>
                      <a:lnTo>
                        <a:pt x="96" y="72"/>
                      </a:lnTo>
                      <a:lnTo>
                        <a:pt x="89" y="9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3" name="Freeform 68"/>
                <p:cNvSpPr>
                  <a:spLocks/>
                </p:cNvSpPr>
                <p:nvPr/>
              </p:nvSpPr>
              <p:spPr bwMode="auto">
                <a:xfrm>
                  <a:off x="5495474" y="3379204"/>
                  <a:ext cx="274574" cy="188621"/>
                </a:xfrm>
                <a:custGeom>
                  <a:avLst/>
                  <a:gdLst>
                    <a:gd name="T0" fmla="*/ 0 w 267"/>
                    <a:gd name="T1" fmla="*/ 78 h 189"/>
                    <a:gd name="T2" fmla="*/ 3 w 267"/>
                    <a:gd name="T3" fmla="*/ 108 h 189"/>
                    <a:gd name="T4" fmla="*/ 7 w 267"/>
                    <a:gd name="T5" fmla="*/ 144 h 189"/>
                    <a:gd name="T6" fmla="*/ 21 w 267"/>
                    <a:gd name="T7" fmla="*/ 162 h 189"/>
                    <a:gd name="T8" fmla="*/ 16 w 267"/>
                    <a:gd name="T9" fmla="*/ 174 h 189"/>
                    <a:gd name="T10" fmla="*/ 24 w 267"/>
                    <a:gd name="T11" fmla="*/ 186 h 189"/>
                    <a:gd name="T12" fmla="*/ 48 w 267"/>
                    <a:gd name="T13" fmla="*/ 189 h 189"/>
                    <a:gd name="T14" fmla="*/ 66 w 267"/>
                    <a:gd name="T15" fmla="*/ 179 h 189"/>
                    <a:gd name="T16" fmla="*/ 76 w 267"/>
                    <a:gd name="T17" fmla="*/ 167 h 189"/>
                    <a:gd name="T18" fmla="*/ 99 w 267"/>
                    <a:gd name="T19" fmla="*/ 167 h 189"/>
                    <a:gd name="T20" fmla="*/ 124 w 267"/>
                    <a:gd name="T21" fmla="*/ 158 h 189"/>
                    <a:gd name="T22" fmla="*/ 141 w 267"/>
                    <a:gd name="T23" fmla="*/ 146 h 189"/>
                    <a:gd name="T24" fmla="*/ 157 w 267"/>
                    <a:gd name="T25" fmla="*/ 149 h 189"/>
                    <a:gd name="T26" fmla="*/ 163 w 267"/>
                    <a:gd name="T27" fmla="*/ 135 h 189"/>
                    <a:gd name="T28" fmla="*/ 204 w 267"/>
                    <a:gd name="T29" fmla="*/ 117 h 189"/>
                    <a:gd name="T30" fmla="*/ 219 w 267"/>
                    <a:gd name="T31" fmla="*/ 116 h 189"/>
                    <a:gd name="T32" fmla="*/ 247 w 267"/>
                    <a:gd name="T33" fmla="*/ 102 h 189"/>
                    <a:gd name="T34" fmla="*/ 246 w 267"/>
                    <a:gd name="T35" fmla="*/ 83 h 189"/>
                    <a:gd name="T36" fmla="*/ 267 w 267"/>
                    <a:gd name="T37" fmla="*/ 69 h 189"/>
                    <a:gd name="T38" fmla="*/ 234 w 267"/>
                    <a:gd name="T39" fmla="*/ 0 h 189"/>
                    <a:gd name="T40" fmla="*/ 205 w 267"/>
                    <a:gd name="T41" fmla="*/ 8 h 189"/>
                    <a:gd name="T42" fmla="*/ 163 w 267"/>
                    <a:gd name="T43" fmla="*/ 8 h 189"/>
                    <a:gd name="T44" fmla="*/ 136 w 267"/>
                    <a:gd name="T45" fmla="*/ 26 h 189"/>
                    <a:gd name="T46" fmla="*/ 112 w 267"/>
                    <a:gd name="T47" fmla="*/ 62 h 189"/>
                    <a:gd name="T48" fmla="*/ 102 w 267"/>
                    <a:gd name="T49" fmla="*/ 48 h 189"/>
                    <a:gd name="T50" fmla="*/ 79 w 267"/>
                    <a:gd name="T51" fmla="*/ 57 h 189"/>
                    <a:gd name="T52" fmla="*/ 54 w 267"/>
                    <a:gd name="T53" fmla="*/ 44 h 189"/>
                    <a:gd name="T54" fmla="*/ 25 w 267"/>
                    <a:gd name="T55" fmla="*/ 51 h 189"/>
                    <a:gd name="T56" fmla="*/ 16 w 267"/>
                    <a:gd name="T57" fmla="*/ 45 h 189"/>
                    <a:gd name="T58" fmla="*/ 9 w 267"/>
                    <a:gd name="T59" fmla="*/ 53 h 189"/>
                    <a:gd name="T60" fmla="*/ 12 w 267"/>
                    <a:gd name="T61" fmla="*/ 69 h 189"/>
                    <a:gd name="T62" fmla="*/ 0 w 267"/>
                    <a:gd name="T63" fmla="*/ 7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89">
                      <a:moveTo>
                        <a:pt x="0" y="78"/>
                      </a:moveTo>
                      <a:lnTo>
                        <a:pt x="3" y="108"/>
                      </a:lnTo>
                      <a:lnTo>
                        <a:pt x="7" y="144"/>
                      </a:lnTo>
                      <a:lnTo>
                        <a:pt x="21" y="162"/>
                      </a:lnTo>
                      <a:lnTo>
                        <a:pt x="16" y="174"/>
                      </a:lnTo>
                      <a:lnTo>
                        <a:pt x="24" y="186"/>
                      </a:lnTo>
                      <a:lnTo>
                        <a:pt x="48" y="189"/>
                      </a:lnTo>
                      <a:lnTo>
                        <a:pt x="66" y="179"/>
                      </a:lnTo>
                      <a:lnTo>
                        <a:pt x="76" y="167"/>
                      </a:lnTo>
                      <a:lnTo>
                        <a:pt x="99" y="167"/>
                      </a:lnTo>
                      <a:lnTo>
                        <a:pt x="124" y="158"/>
                      </a:lnTo>
                      <a:lnTo>
                        <a:pt x="141" y="146"/>
                      </a:lnTo>
                      <a:lnTo>
                        <a:pt x="157" y="149"/>
                      </a:lnTo>
                      <a:lnTo>
                        <a:pt x="163" y="135"/>
                      </a:lnTo>
                      <a:lnTo>
                        <a:pt x="204" y="117"/>
                      </a:lnTo>
                      <a:lnTo>
                        <a:pt x="219" y="116"/>
                      </a:lnTo>
                      <a:lnTo>
                        <a:pt x="247" y="102"/>
                      </a:lnTo>
                      <a:lnTo>
                        <a:pt x="246" y="83"/>
                      </a:lnTo>
                      <a:lnTo>
                        <a:pt x="267" y="69"/>
                      </a:lnTo>
                      <a:lnTo>
                        <a:pt x="234" y="0"/>
                      </a:lnTo>
                      <a:lnTo>
                        <a:pt x="205" y="8"/>
                      </a:lnTo>
                      <a:lnTo>
                        <a:pt x="163" y="8"/>
                      </a:lnTo>
                      <a:lnTo>
                        <a:pt x="136" y="26"/>
                      </a:lnTo>
                      <a:lnTo>
                        <a:pt x="112" y="62"/>
                      </a:lnTo>
                      <a:lnTo>
                        <a:pt x="102" y="48"/>
                      </a:lnTo>
                      <a:lnTo>
                        <a:pt x="79" y="57"/>
                      </a:lnTo>
                      <a:lnTo>
                        <a:pt x="54" y="44"/>
                      </a:lnTo>
                      <a:lnTo>
                        <a:pt x="25" y="51"/>
                      </a:lnTo>
                      <a:lnTo>
                        <a:pt x="16" y="45"/>
                      </a:lnTo>
                      <a:lnTo>
                        <a:pt x="9" y="53"/>
                      </a:lnTo>
                      <a:lnTo>
                        <a:pt x="12" y="69"/>
                      </a:lnTo>
                      <a:lnTo>
                        <a:pt x="0" y="7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4" name="Freeform 69"/>
                <p:cNvSpPr>
                  <a:spLocks/>
                </p:cNvSpPr>
                <p:nvPr/>
              </p:nvSpPr>
              <p:spPr bwMode="auto">
                <a:xfrm>
                  <a:off x="5732818" y="3201146"/>
                  <a:ext cx="201664" cy="247471"/>
                </a:xfrm>
                <a:custGeom>
                  <a:avLst/>
                  <a:gdLst>
                    <a:gd name="T0" fmla="*/ 102 w 196"/>
                    <a:gd name="T1" fmla="*/ 0 h 247"/>
                    <a:gd name="T2" fmla="*/ 91 w 196"/>
                    <a:gd name="T3" fmla="*/ 9 h 247"/>
                    <a:gd name="T4" fmla="*/ 90 w 196"/>
                    <a:gd name="T5" fmla="*/ 27 h 247"/>
                    <a:gd name="T6" fmla="*/ 79 w 196"/>
                    <a:gd name="T7" fmla="*/ 45 h 247"/>
                    <a:gd name="T8" fmla="*/ 73 w 196"/>
                    <a:gd name="T9" fmla="*/ 70 h 247"/>
                    <a:gd name="T10" fmla="*/ 91 w 196"/>
                    <a:gd name="T11" fmla="*/ 88 h 247"/>
                    <a:gd name="T12" fmla="*/ 75 w 196"/>
                    <a:gd name="T13" fmla="*/ 153 h 247"/>
                    <a:gd name="T14" fmla="*/ 0 w 196"/>
                    <a:gd name="T15" fmla="*/ 180 h 247"/>
                    <a:gd name="T16" fmla="*/ 37 w 196"/>
                    <a:gd name="T17" fmla="*/ 247 h 247"/>
                    <a:gd name="T18" fmla="*/ 64 w 196"/>
                    <a:gd name="T19" fmla="*/ 235 h 247"/>
                    <a:gd name="T20" fmla="*/ 82 w 196"/>
                    <a:gd name="T21" fmla="*/ 240 h 247"/>
                    <a:gd name="T22" fmla="*/ 111 w 196"/>
                    <a:gd name="T23" fmla="*/ 213 h 247"/>
                    <a:gd name="T24" fmla="*/ 141 w 196"/>
                    <a:gd name="T25" fmla="*/ 186 h 247"/>
                    <a:gd name="T26" fmla="*/ 156 w 196"/>
                    <a:gd name="T27" fmla="*/ 180 h 247"/>
                    <a:gd name="T28" fmla="*/ 157 w 196"/>
                    <a:gd name="T29" fmla="*/ 139 h 247"/>
                    <a:gd name="T30" fmla="*/ 183 w 196"/>
                    <a:gd name="T31" fmla="*/ 117 h 247"/>
                    <a:gd name="T32" fmla="*/ 192 w 196"/>
                    <a:gd name="T33" fmla="*/ 96 h 247"/>
                    <a:gd name="T34" fmla="*/ 178 w 196"/>
                    <a:gd name="T35" fmla="*/ 69 h 247"/>
                    <a:gd name="T36" fmla="*/ 153 w 196"/>
                    <a:gd name="T37" fmla="*/ 39 h 247"/>
                    <a:gd name="T38" fmla="*/ 121 w 196"/>
                    <a:gd name="T39" fmla="*/ 34 h 247"/>
                    <a:gd name="T40" fmla="*/ 102 w 196"/>
                    <a:gd name="T4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247">
                      <a:moveTo>
                        <a:pt x="102" y="0"/>
                      </a:moveTo>
                      <a:lnTo>
                        <a:pt x="91" y="9"/>
                      </a:lnTo>
                      <a:lnTo>
                        <a:pt x="90" y="27"/>
                      </a:lnTo>
                      <a:lnTo>
                        <a:pt x="79" y="45"/>
                      </a:lnTo>
                      <a:lnTo>
                        <a:pt x="73" y="70"/>
                      </a:lnTo>
                      <a:lnTo>
                        <a:pt x="91" y="88"/>
                      </a:lnTo>
                      <a:lnTo>
                        <a:pt x="75" y="153"/>
                      </a:lnTo>
                      <a:lnTo>
                        <a:pt x="0" y="180"/>
                      </a:lnTo>
                      <a:lnTo>
                        <a:pt x="37" y="247"/>
                      </a:lnTo>
                      <a:cubicBezTo>
                        <a:pt x="50" y="244"/>
                        <a:pt x="53" y="240"/>
                        <a:pt x="64" y="235"/>
                      </a:cubicBezTo>
                      <a:cubicBezTo>
                        <a:pt x="70" y="237"/>
                        <a:pt x="76" y="237"/>
                        <a:pt x="82" y="240"/>
                      </a:cubicBezTo>
                      <a:cubicBezTo>
                        <a:pt x="96" y="232"/>
                        <a:pt x="89" y="217"/>
                        <a:pt x="111" y="213"/>
                      </a:cubicBezTo>
                      <a:cubicBezTo>
                        <a:pt x="125" y="206"/>
                        <a:pt x="122" y="189"/>
                        <a:pt x="141" y="186"/>
                      </a:cubicBezTo>
                      <a:cubicBezTo>
                        <a:pt x="146" y="183"/>
                        <a:pt x="151" y="183"/>
                        <a:pt x="156" y="180"/>
                      </a:cubicBezTo>
                      <a:cubicBezTo>
                        <a:pt x="155" y="170"/>
                        <a:pt x="151" y="149"/>
                        <a:pt x="157" y="139"/>
                      </a:cubicBezTo>
                      <a:cubicBezTo>
                        <a:pt x="162" y="131"/>
                        <a:pt x="176" y="126"/>
                        <a:pt x="183" y="117"/>
                      </a:cubicBezTo>
                      <a:cubicBezTo>
                        <a:pt x="184" y="110"/>
                        <a:pt x="192" y="96"/>
                        <a:pt x="192" y="96"/>
                      </a:cubicBezTo>
                      <a:cubicBezTo>
                        <a:pt x="195" y="81"/>
                        <a:pt x="196" y="72"/>
                        <a:pt x="178" y="69"/>
                      </a:cubicBezTo>
                      <a:cubicBezTo>
                        <a:pt x="162" y="61"/>
                        <a:pt x="173" y="42"/>
                        <a:pt x="153" y="39"/>
                      </a:cubicBezTo>
                      <a:cubicBezTo>
                        <a:pt x="143" y="35"/>
                        <a:pt x="131" y="38"/>
                        <a:pt x="121" y="34"/>
                      </a:cubicBezTo>
                      <a:cubicBezTo>
                        <a:pt x="114" y="24"/>
                        <a:pt x="104" y="12"/>
                        <a:pt x="102"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5" name="Freeform 70"/>
                <p:cNvSpPr>
                  <a:spLocks/>
                </p:cNvSpPr>
                <p:nvPr/>
              </p:nvSpPr>
              <p:spPr bwMode="auto">
                <a:xfrm>
                  <a:off x="5678524" y="3155876"/>
                  <a:ext cx="18615" cy="18108"/>
                </a:xfrm>
                <a:custGeom>
                  <a:avLst/>
                  <a:gdLst>
                    <a:gd name="T0" fmla="*/ 2 w 18"/>
                    <a:gd name="T1" fmla="*/ 4 h 18"/>
                    <a:gd name="T2" fmla="*/ 6 w 18"/>
                    <a:gd name="T3" fmla="*/ 18 h 18"/>
                    <a:gd name="T4" fmla="*/ 18 w 18"/>
                    <a:gd name="T5" fmla="*/ 10 h 18"/>
                    <a:gd name="T6" fmla="*/ 2 w 18"/>
                    <a:gd name="T7" fmla="*/ 4 h 18"/>
                  </a:gdLst>
                  <a:ahLst/>
                  <a:cxnLst>
                    <a:cxn ang="0">
                      <a:pos x="T0" y="T1"/>
                    </a:cxn>
                    <a:cxn ang="0">
                      <a:pos x="T2" y="T3"/>
                    </a:cxn>
                    <a:cxn ang="0">
                      <a:pos x="T4" y="T5"/>
                    </a:cxn>
                    <a:cxn ang="0">
                      <a:pos x="T6" y="T7"/>
                    </a:cxn>
                  </a:cxnLst>
                  <a:rect l="0" t="0" r="r" b="b"/>
                  <a:pathLst>
                    <a:path w="18" h="18">
                      <a:moveTo>
                        <a:pt x="2" y="4"/>
                      </a:moveTo>
                      <a:cubicBezTo>
                        <a:pt x="3" y="11"/>
                        <a:pt x="0" y="14"/>
                        <a:pt x="6" y="18"/>
                      </a:cubicBezTo>
                      <a:cubicBezTo>
                        <a:pt x="13" y="15"/>
                        <a:pt x="16" y="18"/>
                        <a:pt x="18" y="10"/>
                      </a:cubicBezTo>
                      <a:cubicBezTo>
                        <a:pt x="15" y="7"/>
                        <a:pt x="6" y="0"/>
                        <a:pt x="2" y="4"/>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6" name="Freeform 71"/>
                <p:cNvSpPr>
                  <a:spLocks/>
                </p:cNvSpPr>
                <p:nvPr/>
              </p:nvSpPr>
              <p:spPr bwMode="auto">
                <a:xfrm>
                  <a:off x="7299597" y="3729284"/>
                  <a:ext cx="254407" cy="188621"/>
                </a:xfrm>
                <a:custGeom>
                  <a:avLst/>
                  <a:gdLst>
                    <a:gd name="T0" fmla="*/ 2 w 248"/>
                    <a:gd name="T1" fmla="*/ 151 h 189"/>
                    <a:gd name="T2" fmla="*/ 8 w 248"/>
                    <a:gd name="T3" fmla="*/ 159 h 189"/>
                    <a:gd name="T4" fmla="*/ 25 w 248"/>
                    <a:gd name="T5" fmla="*/ 165 h 189"/>
                    <a:gd name="T6" fmla="*/ 40 w 248"/>
                    <a:gd name="T7" fmla="*/ 157 h 189"/>
                    <a:gd name="T8" fmla="*/ 61 w 248"/>
                    <a:gd name="T9" fmla="*/ 129 h 189"/>
                    <a:gd name="T10" fmla="*/ 79 w 248"/>
                    <a:gd name="T11" fmla="*/ 123 h 189"/>
                    <a:gd name="T12" fmla="*/ 92 w 248"/>
                    <a:gd name="T13" fmla="*/ 115 h 189"/>
                    <a:gd name="T14" fmla="*/ 103 w 248"/>
                    <a:gd name="T15" fmla="*/ 91 h 189"/>
                    <a:gd name="T16" fmla="*/ 118 w 248"/>
                    <a:gd name="T17" fmla="*/ 82 h 189"/>
                    <a:gd name="T18" fmla="*/ 128 w 248"/>
                    <a:gd name="T19" fmla="*/ 88 h 189"/>
                    <a:gd name="T20" fmla="*/ 139 w 248"/>
                    <a:gd name="T21" fmla="*/ 72 h 189"/>
                    <a:gd name="T22" fmla="*/ 148 w 248"/>
                    <a:gd name="T23" fmla="*/ 54 h 189"/>
                    <a:gd name="T24" fmla="*/ 172 w 248"/>
                    <a:gd name="T25" fmla="*/ 21 h 189"/>
                    <a:gd name="T26" fmla="*/ 184 w 248"/>
                    <a:gd name="T27" fmla="*/ 3 h 189"/>
                    <a:gd name="T28" fmla="*/ 194 w 248"/>
                    <a:gd name="T29" fmla="*/ 16 h 189"/>
                    <a:gd name="T30" fmla="*/ 203 w 248"/>
                    <a:gd name="T31" fmla="*/ 22 h 189"/>
                    <a:gd name="T32" fmla="*/ 206 w 248"/>
                    <a:gd name="T33" fmla="*/ 40 h 189"/>
                    <a:gd name="T34" fmla="*/ 226 w 248"/>
                    <a:gd name="T35" fmla="*/ 43 h 189"/>
                    <a:gd name="T36" fmla="*/ 244 w 248"/>
                    <a:gd name="T37" fmla="*/ 52 h 189"/>
                    <a:gd name="T38" fmla="*/ 239 w 248"/>
                    <a:gd name="T39" fmla="*/ 64 h 189"/>
                    <a:gd name="T40" fmla="*/ 217 w 248"/>
                    <a:gd name="T41" fmla="*/ 70 h 189"/>
                    <a:gd name="T42" fmla="*/ 227 w 248"/>
                    <a:gd name="T43" fmla="*/ 81 h 189"/>
                    <a:gd name="T44" fmla="*/ 203 w 248"/>
                    <a:gd name="T45" fmla="*/ 96 h 189"/>
                    <a:gd name="T46" fmla="*/ 196 w 248"/>
                    <a:gd name="T47" fmla="*/ 84 h 189"/>
                    <a:gd name="T48" fmla="*/ 151 w 248"/>
                    <a:gd name="T49" fmla="*/ 84 h 189"/>
                    <a:gd name="T50" fmla="*/ 152 w 248"/>
                    <a:gd name="T51" fmla="*/ 118 h 189"/>
                    <a:gd name="T52" fmla="*/ 139 w 248"/>
                    <a:gd name="T53" fmla="*/ 132 h 189"/>
                    <a:gd name="T54" fmla="*/ 133 w 248"/>
                    <a:gd name="T55" fmla="*/ 168 h 189"/>
                    <a:gd name="T56" fmla="*/ 116 w 248"/>
                    <a:gd name="T57" fmla="*/ 169 h 189"/>
                    <a:gd name="T58" fmla="*/ 101 w 248"/>
                    <a:gd name="T59" fmla="*/ 178 h 189"/>
                    <a:gd name="T60" fmla="*/ 82 w 248"/>
                    <a:gd name="T61" fmla="*/ 168 h 189"/>
                    <a:gd name="T62" fmla="*/ 65 w 248"/>
                    <a:gd name="T63" fmla="*/ 169 h 189"/>
                    <a:gd name="T64" fmla="*/ 62 w 248"/>
                    <a:gd name="T65" fmla="*/ 183 h 189"/>
                    <a:gd name="T66" fmla="*/ 41 w 248"/>
                    <a:gd name="T67" fmla="*/ 181 h 189"/>
                    <a:gd name="T68" fmla="*/ 22 w 248"/>
                    <a:gd name="T69" fmla="*/ 189 h 189"/>
                    <a:gd name="T70" fmla="*/ 7 w 248"/>
                    <a:gd name="T71" fmla="*/ 175 h 189"/>
                    <a:gd name="T72" fmla="*/ 2 w 248"/>
                    <a:gd name="T73" fmla="*/ 15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8" h="189">
                      <a:moveTo>
                        <a:pt x="2" y="151"/>
                      </a:moveTo>
                      <a:cubicBezTo>
                        <a:pt x="16" y="160"/>
                        <a:pt x="0" y="148"/>
                        <a:pt x="8" y="159"/>
                      </a:cubicBezTo>
                      <a:cubicBezTo>
                        <a:pt x="11" y="163"/>
                        <a:pt x="20" y="163"/>
                        <a:pt x="25" y="165"/>
                      </a:cubicBezTo>
                      <a:cubicBezTo>
                        <a:pt x="33" y="171"/>
                        <a:pt x="36" y="164"/>
                        <a:pt x="40" y="157"/>
                      </a:cubicBezTo>
                      <a:cubicBezTo>
                        <a:pt x="41" y="137"/>
                        <a:pt x="42" y="132"/>
                        <a:pt x="61" y="129"/>
                      </a:cubicBezTo>
                      <a:cubicBezTo>
                        <a:pt x="67" y="126"/>
                        <a:pt x="73" y="124"/>
                        <a:pt x="79" y="123"/>
                      </a:cubicBezTo>
                      <a:cubicBezTo>
                        <a:pt x="84" y="121"/>
                        <a:pt x="88" y="118"/>
                        <a:pt x="92" y="115"/>
                      </a:cubicBezTo>
                      <a:cubicBezTo>
                        <a:pt x="96" y="107"/>
                        <a:pt x="98" y="99"/>
                        <a:pt x="103" y="91"/>
                      </a:cubicBezTo>
                      <a:cubicBezTo>
                        <a:pt x="105" y="80"/>
                        <a:pt x="106" y="81"/>
                        <a:pt x="118" y="82"/>
                      </a:cubicBezTo>
                      <a:cubicBezTo>
                        <a:pt x="122" y="88"/>
                        <a:pt x="122" y="93"/>
                        <a:pt x="128" y="88"/>
                      </a:cubicBezTo>
                      <a:cubicBezTo>
                        <a:pt x="132" y="80"/>
                        <a:pt x="129" y="74"/>
                        <a:pt x="139" y="72"/>
                      </a:cubicBezTo>
                      <a:cubicBezTo>
                        <a:pt x="147" y="68"/>
                        <a:pt x="143" y="61"/>
                        <a:pt x="148" y="54"/>
                      </a:cubicBezTo>
                      <a:cubicBezTo>
                        <a:pt x="155" y="44"/>
                        <a:pt x="162" y="29"/>
                        <a:pt x="172" y="21"/>
                      </a:cubicBezTo>
                      <a:cubicBezTo>
                        <a:pt x="173" y="14"/>
                        <a:pt x="180" y="9"/>
                        <a:pt x="184" y="3"/>
                      </a:cubicBezTo>
                      <a:cubicBezTo>
                        <a:pt x="201" y="5"/>
                        <a:pt x="188" y="0"/>
                        <a:pt x="194" y="16"/>
                      </a:cubicBezTo>
                      <a:cubicBezTo>
                        <a:pt x="195" y="19"/>
                        <a:pt x="200" y="20"/>
                        <a:pt x="203" y="22"/>
                      </a:cubicBezTo>
                      <a:cubicBezTo>
                        <a:pt x="205" y="25"/>
                        <a:pt x="204" y="39"/>
                        <a:pt x="206" y="40"/>
                      </a:cubicBezTo>
                      <a:cubicBezTo>
                        <a:pt x="212" y="43"/>
                        <a:pt x="219" y="42"/>
                        <a:pt x="226" y="43"/>
                      </a:cubicBezTo>
                      <a:cubicBezTo>
                        <a:pt x="232" y="47"/>
                        <a:pt x="237" y="51"/>
                        <a:pt x="244" y="52"/>
                      </a:cubicBezTo>
                      <a:cubicBezTo>
                        <a:pt x="248" y="59"/>
                        <a:pt x="247" y="62"/>
                        <a:pt x="239" y="64"/>
                      </a:cubicBezTo>
                      <a:cubicBezTo>
                        <a:pt x="232" y="68"/>
                        <a:pt x="224" y="65"/>
                        <a:pt x="217" y="70"/>
                      </a:cubicBezTo>
                      <a:cubicBezTo>
                        <a:pt x="218" y="81"/>
                        <a:pt x="219" y="77"/>
                        <a:pt x="227" y="81"/>
                      </a:cubicBezTo>
                      <a:cubicBezTo>
                        <a:pt x="234" y="95"/>
                        <a:pt x="211" y="96"/>
                        <a:pt x="203" y="96"/>
                      </a:cubicBezTo>
                      <a:lnTo>
                        <a:pt x="196" y="84"/>
                      </a:lnTo>
                      <a:lnTo>
                        <a:pt x="151" y="84"/>
                      </a:lnTo>
                      <a:lnTo>
                        <a:pt x="152" y="118"/>
                      </a:lnTo>
                      <a:lnTo>
                        <a:pt x="139" y="132"/>
                      </a:lnTo>
                      <a:lnTo>
                        <a:pt x="133" y="168"/>
                      </a:lnTo>
                      <a:lnTo>
                        <a:pt x="116" y="169"/>
                      </a:lnTo>
                      <a:lnTo>
                        <a:pt x="101" y="178"/>
                      </a:lnTo>
                      <a:lnTo>
                        <a:pt x="82" y="168"/>
                      </a:lnTo>
                      <a:lnTo>
                        <a:pt x="65" y="169"/>
                      </a:lnTo>
                      <a:lnTo>
                        <a:pt x="62" y="183"/>
                      </a:lnTo>
                      <a:lnTo>
                        <a:pt x="41" y="181"/>
                      </a:lnTo>
                      <a:lnTo>
                        <a:pt x="22" y="189"/>
                      </a:lnTo>
                      <a:lnTo>
                        <a:pt x="7" y="175"/>
                      </a:lnTo>
                      <a:lnTo>
                        <a:pt x="2" y="15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7" name="Freeform 72"/>
                <p:cNvSpPr>
                  <a:spLocks/>
                </p:cNvSpPr>
                <p:nvPr/>
              </p:nvSpPr>
              <p:spPr bwMode="auto">
                <a:xfrm>
                  <a:off x="2861423" y="2555306"/>
                  <a:ext cx="57397" cy="31689"/>
                </a:xfrm>
                <a:custGeom>
                  <a:avLst/>
                  <a:gdLst>
                    <a:gd name="T0" fmla="*/ 22 w 56"/>
                    <a:gd name="T1" fmla="*/ 19 h 32"/>
                    <a:gd name="T2" fmla="*/ 13 w 56"/>
                    <a:gd name="T3" fmla="*/ 7 h 32"/>
                    <a:gd name="T4" fmla="*/ 0 w 56"/>
                    <a:gd name="T5" fmla="*/ 7 h 32"/>
                    <a:gd name="T6" fmla="*/ 18 w 56"/>
                    <a:gd name="T7" fmla="*/ 25 h 32"/>
                    <a:gd name="T8" fmla="*/ 31 w 56"/>
                    <a:gd name="T9" fmla="*/ 32 h 32"/>
                    <a:gd name="T10" fmla="*/ 49 w 56"/>
                    <a:gd name="T11" fmla="*/ 23 h 32"/>
                    <a:gd name="T12" fmla="*/ 22 w 56"/>
                    <a:gd name="T13" fmla="*/ 19 h 32"/>
                  </a:gdLst>
                  <a:ahLst/>
                  <a:cxnLst>
                    <a:cxn ang="0">
                      <a:pos x="T0" y="T1"/>
                    </a:cxn>
                    <a:cxn ang="0">
                      <a:pos x="T2" y="T3"/>
                    </a:cxn>
                    <a:cxn ang="0">
                      <a:pos x="T4" y="T5"/>
                    </a:cxn>
                    <a:cxn ang="0">
                      <a:pos x="T6" y="T7"/>
                    </a:cxn>
                    <a:cxn ang="0">
                      <a:pos x="T8" y="T9"/>
                    </a:cxn>
                    <a:cxn ang="0">
                      <a:pos x="T10" y="T11"/>
                    </a:cxn>
                    <a:cxn ang="0">
                      <a:pos x="T12" y="T13"/>
                    </a:cxn>
                  </a:cxnLst>
                  <a:rect l="0" t="0" r="r" b="b"/>
                  <a:pathLst>
                    <a:path w="56" h="32">
                      <a:moveTo>
                        <a:pt x="22" y="19"/>
                      </a:moveTo>
                      <a:cubicBezTo>
                        <a:pt x="21" y="12"/>
                        <a:pt x="19" y="11"/>
                        <a:pt x="13" y="7"/>
                      </a:cubicBezTo>
                      <a:cubicBezTo>
                        <a:pt x="9" y="0"/>
                        <a:pt x="6" y="2"/>
                        <a:pt x="0" y="7"/>
                      </a:cubicBezTo>
                      <a:cubicBezTo>
                        <a:pt x="1" y="24"/>
                        <a:pt x="4" y="20"/>
                        <a:pt x="18" y="25"/>
                      </a:cubicBezTo>
                      <a:cubicBezTo>
                        <a:pt x="22" y="28"/>
                        <a:pt x="27" y="29"/>
                        <a:pt x="31" y="32"/>
                      </a:cubicBezTo>
                      <a:cubicBezTo>
                        <a:pt x="37" y="31"/>
                        <a:pt x="44" y="27"/>
                        <a:pt x="49" y="23"/>
                      </a:cubicBezTo>
                      <a:cubicBezTo>
                        <a:pt x="56" y="9"/>
                        <a:pt x="22" y="15"/>
                        <a:pt x="22" y="19"/>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8" name="Freeform 73"/>
                <p:cNvSpPr>
                  <a:spLocks/>
                </p:cNvSpPr>
                <p:nvPr/>
              </p:nvSpPr>
              <p:spPr bwMode="auto">
                <a:xfrm>
                  <a:off x="2895550" y="2469296"/>
                  <a:ext cx="52743" cy="33198"/>
                </a:xfrm>
                <a:custGeom>
                  <a:avLst/>
                  <a:gdLst>
                    <a:gd name="T0" fmla="*/ 39 w 50"/>
                    <a:gd name="T1" fmla="*/ 29 h 32"/>
                    <a:gd name="T2" fmla="*/ 14 w 50"/>
                    <a:gd name="T3" fmla="*/ 20 h 32"/>
                    <a:gd name="T4" fmla="*/ 0 w 50"/>
                    <a:gd name="T5" fmla="*/ 6 h 32"/>
                    <a:gd name="T6" fmla="*/ 32 w 50"/>
                    <a:gd name="T7" fmla="*/ 6 h 32"/>
                    <a:gd name="T8" fmla="*/ 41 w 50"/>
                    <a:gd name="T9" fmla="*/ 12 h 32"/>
                    <a:gd name="T10" fmla="*/ 50 w 50"/>
                    <a:gd name="T11" fmla="*/ 26 h 32"/>
                    <a:gd name="T12" fmla="*/ 44 w 50"/>
                    <a:gd name="T13" fmla="*/ 32 h 32"/>
                    <a:gd name="T14" fmla="*/ 39 w 50"/>
                    <a:gd name="T15" fmla="*/ 29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32">
                      <a:moveTo>
                        <a:pt x="39" y="29"/>
                      </a:moveTo>
                      <a:cubicBezTo>
                        <a:pt x="30" y="24"/>
                        <a:pt x="25" y="21"/>
                        <a:pt x="14" y="20"/>
                      </a:cubicBezTo>
                      <a:cubicBezTo>
                        <a:pt x="11" y="12"/>
                        <a:pt x="8" y="9"/>
                        <a:pt x="0" y="6"/>
                      </a:cubicBezTo>
                      <a:cubicBezTo>
                        <a:pt x="10" y="0"/>
                        <a:pt x="21" y="4"/>
                        <a:pt x="32" y="6"/>
                      </a:cubicBezTo>
                      <a:cubicBezTo>
                        <a:pt x="40" y="19"/>
                        <a:pt x="29" y="4"/>
                        <a:pt x="41" y="12"/>
                      </a:cubicBezTo>
                      <a:cubicBezTo>
                        <a:pt x="44" y="14"/>
                        <a:pt x="48" y="23"/>
                        <a:pt x="50" y="26"/>
                      </a:cubicBezTo>
                      <a:cubicBezTo>
                        <a:pt x="49" y="28"/>
                        <a:pt x="48" y="32"/>
                        <a:pt x="44" y="32"/>
                      </a:cubicBezTo>
                      <a:cubicBezTo>
                        <a:pt x="42" y="32"/>
                        <a:pt x="39" y="29"/>
                        <a:pt x="39" y="29"/>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69" name="Freeform 74"/>
                <p:cNvSpPr>
                  <a:spLocks/>
                </p:cNvSpPr>
                <p:nvPr/>
              </p:nvSpPr>
              <p:spPr bwMode="auto">
                <a:xfrm>
                  <a:off x="7177048" y="3985809"/>
                  <a:ext cx="43435" cy="49796"/>
                </a:xfrm>
                <a:custGeom>
                  <a:avLst/>
                  <a:gdLst>
                    <a:gd name="T0" fmla="*/ 25 w 42"/>
                    <a:gd name="T1" fmla="*/ 0 h 50"/>
                    <a:gd name="T2" fmla="*/ 1 w 42"/>
                    <a:gd name="T3" fmla="*/ 11 h 50"/>
                    <a:gd name="T4" fmla="*/ 15 w 42"/>
                    <a:gd name="T5" fmla="*/ 18 h 50"/>
                    <a:gd name="T6" fmla="*/ 25 w 42"/>
                    <a:gd name="T7" fmla="*/ 44 h 50"/>
                    <a:gd name="T8" fmla="*/ 34 w 42"/>
                    <a:gd name="T9" fmla="*/ 50 h 50"/>
                    <a:gd name="T10" fmla="*/ 42 w 42"/>
                    <a:gd name="T11" fmla="*/ 38 h 50"/>
                    <a:gd name="T12" fmla="*/ 31 w 42"/>
                    <a:gd name="T13" fmla="*/ 26 h 50"/>
                    <a:gd name="T14" fmla="*/ 25 w 4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50">
                      <a:moveTo>
                        <a:pt x="25" y="0"/>
                      </a:moveTo>
                      <a:cubicBezTo>
                        <a:pt x="0" y="4"/>
                        <a:pt x="15" y="2"/>
                        <a:pt x="1" y="11"/>
                      </a:cubicBezTo>
                      <a:cubicBezTo>
                        <a:pt x="5" y="17"/>
                        <a:pt x="8" y="17"/>
                        <a:pt x="15" y="18"/>
                      </a:cubicBezTo>
                      <a:cubicBezTo>
                        <a:pt x="27" y="24"/>
                        <a:pt x="18" y="35"/>
                        <a:pt x="25" y="44"/>
                      </a:cubicBezTo>
                      <a:cubicBezTo>
                        <a:pt x="27" y="47"/>
                        <a:pt x="31" y="48"/>
                        <a:pt x="34" y="50"/>
                      </a:cubicBezTo>
                      <a:cubicBezTo>
                        <a:pt x="41" y="47"/>
                        <a:pt x="39" y="44"/>
                        <a:pt x="42" y="38"/>
                      </a:cubicBezTo>
                      <a:cubicBezTo>
                        <a:pt x="40" y="33"/>
                        <a:pt x="31" y="26"/>
                        <a:pt x="31" y="26"/>
                      </a:cubicBezTo>
                      <a:cubicBezTo>
                        <a:pt x="24" y="14"/>
                        <a:pt x="25" y="18"/>
                        <a:pt x="25"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0" name="Freeform 75"/>
                <p:cNvSpPr>
                  <a:spLocks/>
                </p:cNvSpPr>
                <p:nvPr/>
              </p:nvSpPr>
              <p:spPr bwMode="auto">
                <a:xfrm>
                  <a:off x="7245304" y="4012971"/>
                  <a:ext cx="18615" cy="22634"/>
                </a:xfrm>
                <a:custGeom>
                  <a:avLst/>
                  <a:gdLst>
                    <a:gd name="T0" fmla="*/ 0 w 18"/>
                    <a:gd name="T1" fmla="*/ 8 h 23"/>
                    <a:gd name="T2" fmla="*/ 9 w 18"/>
                    <a:gd name="T3" fmla="*/ 23 h 23"/>
                    <a:gd name="T4" fmla="*/ 18 w 18"/>
                    <a:gd name="T5" fmla="*/ 11 h 23"/>
                    <a:gd name="T6" fmla="*/ 0 w 18"/>
                    <a:gd name="T7" fmla="*/ 8 h 23"/>
                  </a:gdLst>
                  <a:ahLst/>
                  <a:cxnLst>
                    <a:cxn ang="0">
                      <a:pos x="T0" y="T1"/>
                    </a:cxn>
                    <a:cxn ang="0">
                      <a:pos x="T2" y="T3"/>
                    </a:cxn>
                    <a:cxn ang="0">
                      <a:pos x="T4" y="T5"/>
                    </a:cxn>
                    <a:cxn ang="0">
                      <a:pos x="T6" y="T7"/>
                    </a:cxn>
                  </a:cxnLst>
                  <a:rect l="0" t="0" r="r" b="b"/>
                  <a:pathLst>
                    <a:path w="18" h="23">
                      <a:moveTo>
                        <a:pt x="0" y="8"/>
                      </a:moveTo>
                      <a:cubicBezTo>
                        <a:pt x="1" y="17"/>
                        <a:pt x="1" y="20"/>
                        <a:pt x="9" y="23"/>
                      </a:cubicBezTo>
                      <a:cubicBezTo>
                        <a:pt x="14" y="20"/>
                        <a:pt x="15" y="16"/>
                        <a:pt x="18" y="11"/>
                      </a:cubicBezTo>
                      <a:cubicBezTo>
                        <a:pt x="10" y="6"/>
                        <a:pt x="7" y="0"/>
                        <a:pt x="0" y="8"/>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1" name="Oval 76"/>
                <p:cNvSpPr>
                  <a:spLocks noChangeArrowheads="1"/>
                </p:cNvSpPr>
                <p:nvPr/>
              </p:nvSpPr>
              <p:spPr bwMode="auto">
                <a:xfrm>
                  <a:off x="7139818" y="3901307"/>
                  <a:ext cx="41885" cy="40742"/>
                </a:xfrm>
                <a:prstGeom prst="ellipse">
                  <a:avLst/>
                </a:pr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2" name="Freeform 77"/>
                <p:cNvSpPr>
                  <a:spLocks/>
                </p:cNvSpPr>
                <p:nvPr/>
              </p:nvSpPr>
              <p:spPr bwMode="auto">
                <a:xfrm>
                  <a:off x="5687831" y="3166439"/>
                  <a:ext cx="31025" cy="52814"/>
                </a:xfrm>
                <a:custGeom>
                  <a:avLst/>
                  <a:gdLst>
                    <a:gd name="T0" fmla="*/ 2 w 30"/>
                    <a:gd name="T1" fmla="*/ 42 h 53"/>
                    <a:gd name="T2" fmla="*/ 0 w 30"/>
                    <a:gd name="T3" fmla="*/ 24 h 53"/>
                    <a:gd name="T4" fmla="*/ 8 w 30"/>
                    <a:gd name="T5" fmla="*/ 0 h 53"/>
                    <a:gd name="T6" fmla="*/ 20 w 30"/>
                    <a:gd name="T7" fmla="*/ 5 h 53"/>
                    <a:gd name="T8" fmla="*/ 24 w 30"/>
                    <a:gd name="T9" fmla="*/ 20 h 53"/>
                    <a:gd name="T10" fmla="*/ 30 w 30"/>
                    <a:gd name="T11" fmla="*/ 35 h 53"/>
                    <a:gd name="T12" fmla="*/ 18 w 30"/>
                    <a:gd name="T13" fmla="*/ 53 h 53"/>
                    <a:gd name="T14" fmla="*/ 6 w 30"/>
                    <a:gd name="T15" fmla="*/ 53 h 53"/>
                    <a:gd name="T16" fmla="*/ 2 w 30"/>
                    <a:gd name="T17"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3">
                      <a:moveTo>
                        <a:pt x="2" y="42"/>
                      </a:moveTo>
                      <a:lnTo>
                        <a:pt x="0" y="24"/>
                      </a:lnTo>
                      <a:lnTo>
                        <a:pt x="8" y="0"/>
                      </a:lnTo>
                      <a:lnTo>
                        <a:pt x="20" y="5"/>
                      </a:lnTo>
                      <a:lnTo>
                        <a:pt x="24" y="20"/>
                      </a:lnTo>
                      <a:lnTo>
                        <a:pt x="30" y="35"/>
                      </a:lnTo>
                      <a:lnTo>
                        <a:pt x="18" y="53"/>
                      </a:lnTo>
                      <a:lnTo>
                        <a:pt x="6" y="53"/>
                      </a:lnTo>
                      <a:lnTo>
                        <a:pt x="2" y="42"/>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3" name="Freeform 78"/>
                <p:cNvSpPr>
                  <a:spLocks/>
                </p:cNvSpPr>
                <p:nvPr/>
              </p:nvSpPr>
              <p:spPr bwMode="auto">
                <a:xfrm>
                  <a:off x="3965924" y="3570843"/>
                  <a:ext cx="192357" cy="155424"/>
                </a:xfrm>
                <a:custGeom>
                  <a:avLst/>
                  <a:gdLst>
                    <a:gd name="T0" fmla="*/ 157 w 188"/>
                    <a:gd name="T1" fmla="*/ 156 h 156"/>
                    <a:gd name="T2" fmla="*/ 172 w 188"/>
                    <a:gd name="T3" fmla="*/ 140 h 156"/>
                    <a:gd name="T4" fmla="*/ 172 w 188"/>
                    <a:gd name="T5" fmla="*/ 125 h 156"/>
                    <a:gd name="T6" fmla="*/ 188 w 188"/>
                    <a:gd name="T7" fmla="*/ 125 h 156"/>
                    <a:gd name="T8" fmla="*/ 172 w 188"/>
                    <a:gd name="T9" fmla="*/ 94 h 156"/>
                    <a:gd name="T10" fmla="*/ 175 w 188"/>
                    <a:gd name="T11" fmla="*/ 73 h 156"/>
                    <a:gd name="T12" fmla="*/ 186 w 188"/>
                    <a:gd name="T13" fmla="*/ 63 h 156"/>
                    <a:gd name="T14" fmla="*/ 172 w 188"/>
                    <a:gd name="T15" fmla="*/ 62 h 156"/>
                    <a:gd name="T16" fmla="*/ 162 w 188"/>
                    <a:gd name="T17" fmla="*/ 25 h 156"/>
                    <a:gd name="T18" fmla="*/ 151 w 188"/>
                    <a:gd name="T19" fmla="*/ 6 h 156"/>
                    <a:gd name="T20" fmla="*/ 132 w 188"/>
                    <a:gd name="T21" fmla="*/ 15 h 156"/>
                    <a:gd name="T22" fmla="*/ 110 w 188"/>
                    <a:gd name="T23" fmla="*/ 16 h 156"/>
                    <a:gd name="T24" fmla="*/ 91 w 188"/>
                    <a:gd name="T25" fmla="*/ 12 h 156"/>
                    <a:gd name="T26" fmla="*/ 94 w 188"/>
                    <a:gd name="T27" fmla="*/ 0 h 156"/>
                    <a:gd name="T28" fmla="*/ 63 w 188"/>
                    <a:gd name="T29" fmla="*/ 6 h 156"/>
                    <a:gd name="T30" fmla="*/ 31 w 188"/>
                    <a:gd name="T31" fmla="*/ 0 h 156"/>
                    <a:gd name="T32" fmla="*/ 31 w 188"/>
                    <a:gd name="T33" fmla="*/ 31 h 156"/>
                    <a:gd name="T34" fmla="*/ 0 w 188"/>
                    <a:gd name="T35" fmla="*/ 31 h 156"/>
                    <a:gd name="T36" fmla="*/ 0 w 188"/>
                    <a:gd name="T37" fmla="*/ 47 h 156"/>
                    <a:gd name="T38" fmla="*/ 42 w 188"/>
                    <a:gd name="T39" fmla="*/ 106 h 156"/>
                    <a:gd name="T40" fmla="*/ 63 w 188"/>
                    <a:gd name="T41" fmla="*/ 78 h 156"/>
                    <a:gd name="T42" fmla="*/ 94 w 188"/>
                    <a:gd name="T43" fmla="*/ 78 h 156"/>
                    <a:gd name="T44" fmla="*/ 110 w 188"/>
                    <a:gd name="T45" fmla="*/ 109 h 156"/>
                    <a:gd name="T46" fmla="*/ 110 w 188"/>
                    <a:gd name="T47" fmla="*/ 125 h 156"/>
                    <a:gd name="T48" fmla="*/ 125 w 188"/>
                    <a:gd name="T49" fmla="*/ 125 h 156"/>
                    <a:gd name="T50" fmla="*/ 141 w 188"/>
                    <a:gd name="T51" fmla="*/ 156 h 156"/>
                    <a:gd name="T52" fmla="*/ 157 w 188"/>
                    <a:gd name="T5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8" h="156">
                      <a:moveTo>
                        <a:pt x="157" y="156"/>
                      </a:moveTo>
                      <a:lnTo>
                        <a:pt x="172" y="140"/>
                      </a:lnTo>
                      <a:lnTo>
                        <a:pt x="172" y="125"/>
                      </a:lnTo>
                      <a:lnTo>
                        <a:pt x="188" y="125"/>
                      </a:lnTo>
                      <a:lnTo>
                        <a:pt x="172" y="94"/>
                      </a:lnTo>
                      <a:lnTo>
                        <a:pt x="175" y="73"/>
                      </a:lnTo>
                      <a:lnTo>
                        <a:pt x="186" y="63"/>
                      </a:lnTo>
                      <a:lnTo>
                        <a:pt x="172" y="62"/>
                      </a:lnTo>
                      <a:lnTo>
                        <a:pt x="162" y="25"/>
                      </a:lnTo>
                      <a:lnTo>
                        <a:pt x="151" y="6"/>
                      </a:lnTo>
                      <a:lnTo>
                        <a:pt x="132" y="15"/>
                      </a:lnTo>
                      <a:lnTo>
                        <a:pt x="110" y="16"/>
                      </a:lnTo>
                      <a:lnTo>
                        <a:pt x="91" y="12"/>
                      </a:lnTo>
                      <a:lnTo>
                        <a:pt x="94" y="0"/>
                      </a:lnTo>
                      <a:lnTo>
                        <a:pt x="63" y="6"/>
                      </a:lnTo>
                      <a:lnTo>
                        <a:pt x="31" y="0"/>
                      </a:lnTo>
                      <a:lnTo>
                        <a:pt x="31" y="31"/>
                      </a:lnTo>
                      <a:lnTo>
                        <a:pt x="0" y="31"/>
                      </a:lnTo>
                      <a:lnTo>
                        <a:pt x="0" y="47"/>
                      </a:lnTo>
                      <a:lnTo>
                        <a:pt x="42" y="106"/>
                      </a:lnTo>
                      <a:lnTo>
                        <a:pt x="63" y="78"/>
                      </a:lnTo>
                      <a:lnTo>
                        <a:pt x="94" y="78"/>
                      </a:lnTo>
                      <a:lnTo>
                        <a:pt x="110" y="109"/>
                      </a:lnTo>
                      <a:lnTo>
                        <a:pt x="110" y="125"/>
                      </a:lnTo>
                      <a:lnTo>
                        <a:pt x="125" y="125"/>
                      </a:lnTo>
                      <a:lnTo>
                        <a:pt x="141" y="156"/>
                      </a:lnTo>
                      <a:lnTo>
                        <a:pt x="157" y="15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4" name="Freeform 79"/>
                <p:cNvSpPr>
                  <a:spLocks/>
                </p:cNvSpPr>
                <p:nvPr/>
              </p:nvSpPr>
              <p:spPr bwMode="auto">
                <a:xfrm>
                  <a:off x="4688815" y="3786626"/>
                  <a:ext cx="515021" cy="552283"/>
                </a:xfrm>
                <a:custGeom>
                  <a:avLst/>
                  <a:gdLst>
                    <a:gd name="T0" fmla="*/ 266 w 501"/>
                    <a:gd name="T1" fmla="*/ 33 h 553"/>
                    <a:gd name="T2" fmla="*/ 204 w 501"/>
                    <a:gd name="T3" fmla="*/ 2 h 553"/>
                    <a:gd name="T4" fmla="*/ 174 w 501"/>
                    <a:gd name="T5" fmla="*/ 25 h 553"/>
                    <a:gd name="T6" fmla="*/ 157 w 501"/>
                    <a:gd name="T7" fmla="*/ 95 h 553"/>
                    <a:gd name="T8" fmla="*/ 110 w 501"/>
                    <a:gd name="T9" fmla="*/ 220 h 553"/>
                    <a:gd name="T10" fmla="*/ 63 w 501"/>
                    <a:gd name="T11" fmla="*/ 298 h 553"/>
                    <a:gd name="T12" fmla="*/ 31 w 501"/>
                    <a:gd name="T13" fmla="*/ 298 h 553"/>
                    <a:gd name="T14" fmla="*/ 9 w 501"/>
                    <a:gd name="T15" fmla="*/ 313 h 553"/>
                    <a:gd name="T16" fmla="*/ 0 w 501"/>
                    <a:gd name="T17" fmla="*/ 345 h 553"/>
                    <a:gd name="T18" fmla="*/ 94 w 501"/>
                    <a:gd name="T19" fmla="*/ 329 h 553"/>
                    <a:gd name="T20" fmla="*/ 125 w 501"/>
                    <a:gd name="T21" fmla="*/ 376 h 553"/>
                    <a:gd name="T22" fmla="*/ 188 w 501"/>
                    <a:gd name="T23" fmla="*/ 391 h 553"/>
                    <a:gd name="T24" fmla="*/ 219 w 501"/>
                    <a:gd name="T25" fmla="*/ 360 h 553"/>
                    <a:gd name="T26" fmla="*/ 251 w 501"/>
                    <a:gd name="T27" fmla="*/ 438 h 553"/>
                    <a:gd name="T28" fmla="*/ 251 w 501"/>
                    <a:gd name="T29" fmla="*/ 485 h 553"/>
                    <a:gd name="T30" fmla="*/ 338 w 501"/>
                    <a:gd name="T31" fmla="*/ 492 h 553"/>
                    <a:gd name="T32" fmla="*/ 389 w 501"/>
                    <a:gd name="T33" fmla="*/ 508 h 553"/>
                    <a:gd name="T34" fmla="*/ 437 w 501"/>
                    <a:gd name="T35" fmla="*/ 553 h 553"/>
                    <a:gd name="T36" fmla="*/ 454 w 501"/>
                    <a:gd name="T37" fmla="*/ 516 h 553"/>
                    <a:gd name="T38" fmla="*/ 423 w 501"/>
                    <a:gd name="T39" fmla="*/ 500 h 553"/>
                    <a:gd name="T40" fmla="*/ 419 w 501"/>
                    <a:gd name="T41" fmla="*/ 426 h 553"/>
                    <a:gd name="T42" fmla="*/ 438 w 501"/>
                    <a:gd name="T43" fmla="*/ 407 h 553"/>
                    <a:gd name="T44" fmla="*/ 485 w 501"/>
                    <a:gd name="T45" fmla="*/ 391 h 553"/>
                    <a:gd name="T46" fmla="*/ 443 w 501"/>
                    <a:gd name="T47" fmla="*/ 339 h 553"/>
                    <a:gd name="T48" fmla="*/ 437 w 501"/>
                    <a:gd name="T49" fmla="*/ 273 h 553"/>
                    <a:gd name="T50" fmla="*/ 438 w 501"/>
                    <a:gd name="T51" fmla="*/ 236 h 553"/>
                    <a:gd name="T52" fmla="*/ 454 w 501"/>
                    <a:gd name="T53" fmla="*/ 189 h 553"/>
                    <a:gd name="T54" fmla="*/ 485 w 501"/>
                    <a:gd name="T55" fmla="*/ 111 h 553"/>
                    <a:gd name="T56" fmla="*/ 485 w 501"/>
                    <a:gd name="T57" fmla="*/ 80 h 553"/>
                    <a:gd name="T58" fmla="*/ 454 w 501"/>
                    <a:gd name="T59" fmla="*/ 18 h 553"/>
                    <a:gd name="T60" fmla="*/ 392 w 501"/>
                    <a:gd name="T61" fmla="*/ 3 h 553"/>
                    <a:gd name="T62" fmla="*/ 335 w 501"/>
                    <a:gd name="T63" fmla="*/ 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1" h="553">
                      <a:moveTo>
                        <a:pt x="282" y="18"/>
                      </a:moveTo>
                      <a:lnTo>
                        <a:pt x="266" y="33"/>
                      </a:lnTo>
                      <a:lnTo>
                        <a:pt x="219" y="18"/>
                      </a:lnTo>
                      <a:lnTo>
                        <a:pt x="204" y="2"/>
                      </a:lnTo>
                      <a:lnTo>
                        <a:pt x="188" y="2"/>
                      </a:lnTo>
                      <a:lnTo>
                        <a:pt x="174" y="25"/>
                      </a:lnTo>
                      <a:lnTo>
                        <a:pt x="172" y="49"/>
                      </a:lnTo>
                      <a:lnTo>
                        <a:pt x="157" y="95"/>
                      </a:lnTo>
                      <a:lnTo>
                        <a:pt x="141" y="173"/>
                      </a:lnTo>
                      <a:lnTo>
                        <a:pt x="110" y="220"/>
                      </a:lnTo>
                      <a:lnTo>
                        <a:pt x="94" y="267"/>
                      </a:lnTo>
                      <a:lnTo>
                        <a:pt x="63" y="298"/>
                      </a:lnTo>
                      <a:lnTo>
                        <a:pt x="47" y="282"/>
                      </a:lnTo>
                      <a:lnTo>
                        <a:pt x="31" y="298"/>
                      </a:lnTo>
                      <a:lnTo>
                        <a:pt x="16" y="298"/>
                      </a:lnTo>
                      <a:lnTo>
                        <a:pt x="9" y="313"/>
                      </a:lnTo>
                      <a:lnTo>
                        <a:pt x="0" y="329"/>
                      </a:lnTo>
                      <a:lnTo>
                        <a:pt x="0" y="345"/>
                      </a:lnTo>
                      <a:lnTo>
                        <a:pt x="31" y="329"/>
                      </a:lnTo>
                      <a:lnTo>
                        <a:pt x="94" y="329"/>
                      </a:lnTo>
                      <a:lnTo>
                        <a:pt x="110" y="329"/>
                      </a:lnTo>
                      <a:lnTo>
                        <a:pt x="125" y="376"/>
                      </a:lnTo>
                      <a:lnTo>
                        <a:pt x="141" y="391"/>
                      </a:lnTo>
                      <a:lnTo>
                        <a:pt x="188" y="391"/>
                      </a:lnTo>
                      <a:lnTo>
                        <a:pt x="188" y="360"/>
                      </a:lnTo>
                      <a:lnTo>
                        <a:pt x="219" y="360"/>
                      </a:lnTo>
                      <a:lnTo>
                        <a:pt x="251" y="376"/>
                      </a:lnTo>
                      <a:lnTo>
                        <a:pt x="251" y="438"/>
                      </a:lnTo>
                      <a:lnTo>
                        <a:pt x="266" y="469"/>
                      </a:lnTo>
                      <a:lnTo>
                        <a:pt x="251" y="485"/>
                      </a:lnTo>
                      <a:lnTo>
                        <a:pt x="309" y="483"/>
                      </a:lnTo>
                      <a:lnTo>
                        <a:pt x="338" y="492"/>
                      </a:lnTo>
                      <a:lnTo>
                        <a:pt x="359" y="513"/>
                      </a:lnTo>
                      <a:lnTo>
                        <a:pt x="389" y="508"/>
                      </a:lnTo>
                      <a:lnTo>
                        <a:pt x="423" y="531"/>
                      </a:lnTo>
                      <a:lnTo>
                        <a:pt x="437" y="553"/>
                      </a:lnTo>
                      <a:lnTo>
                        <a:pt x="454" y="547"/>
                      </a:lnTo>
                      <a:lnTo>
                        <a:pt x="454" y="516"/>
                      </a:lnTo>
                      <a:lnTo>
                        <a:pt x="438" y="516"/>
                      </a:lnTo>
                      <a:lnTo>
                        <a:pt x="423" y="500"/>
                      </a:lnTo>
                      <a:lnTo>
                        <a:pt x="420" y="460"/>
                      </a:lnTo>
                      <a:lnTo>
                        <a:pt x="419" y="426"/>
                      </a:lnTo>
                      <a:lnTo>
                        <a:pt x="438" y="422"/>
                      </a:lnTo>
                      <a:lnTo>
                        <a:pt x="438" y="407"/>
                      </a:lnTo>
                      <a:lnTo>
                        <a:pt x="468" y="397"/>
                      </a:lnTo>
                      <a:lnTo>
                        <a:pt x="485" y="391"/>
                      </a:lnTo>
                      <a:lnTo>
                        <a:pt x="462" y="382"/>
                      </a:lnTo>
                      <a:lnTo>
                        <a:pt x="443" y="339"/>
                      </a:lnTo>
                      <a:lnTo>
                        <a:pt x="437" y="303"/>
                      </a:lnTo>
                      <a:lnTo>
                        <a:pt x="437" y="273"/>
                      </a:lnTo>
                      <a:lnTo>
                        <a:pt x="454" y="251"/>
                      </a:lnTo>
                      <a:lnTo>
                        <a:pt x="438" y="236"/>
                      </a:lnTo>
                      <a:lnTo>
                        <a:pt x="438" y="220"/>
                      </a:lnTo>
                      <a:lnTo>
                        <a:pt x="454" y="189"/>
                      </a:lnTo>
                      <a:lnTo>
                        <a:pt x="453" y="139"/>
                      </a:lnTo>
                      <a:lnTo>
                        <a:pt x="485" y="111"/>
                      </a:lnTo>
                      <a:lnTo>
                        <a:pt x="501" y="95"/>
                      </a:lnTo>
                      <a:lnTo>
                        <a:pt x="485" y="80"/>
                      </a:lnTo>
                      <a:lnTo>
                        <a:pt x="485" y="49"/>
                      </a:lnTo>
                      <a:lnTo>
                        <a:pt x="454" y="18"/>
                      </a:lnTo>
                      <a:lnTo>
                        <a:pt x="416" y="28"/>
                      </a:lnTo>
                      <a:lnTo>
                        <a:pt x="392" y="3"/>
                      </a:lnTo>
                      <a:lnTo>
                        <a:pt x="348" y="0"/>
                      </a:lnTo>
                      <a:lnTo>
                        <a:pt x="335" y="7"/>
                      </a:lnTo>
                      <a:lnTo>
                        <a:pt x="282" y="1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5" name="Freeform 80"/>
                <p:cNvSpPr>
                  <a:spLocks/>
                </p:cNvSpPr>
                <p:nvPr/>
              </p:nvSpPr>
              <p:spPr bwMode="auto">
                <a:xfrm>
                  <a:off x="4753968" y="3617621"/>
                  <a:ext cx="338176" cy="265579"/>
                </a:xfrm>
                <a:custGeom>
                  <a:avLst/>
                  <a:gdLst>
                    <a:gd name="T0" fmla="*/ 0 w 330"/>
                    <a:gd name="T1" fmla="*/ 186 h 266"/>
                    <a:gd name="T2" fmla="*/ 0 w 330"/>
                    <a:gd name="T3" fmla="*/ 155 h 266"/>
                    <a:gd name="T4" fmla="*/ 16 w 330"/>
                    <a:gd name="T5" fmla="*/ 109 h 266"/>
                    <a:gd name="T6" fmla="*/ 94 w 330"/>
                    <a:gd name="T7" fmla="*/ 93 h 266"/>
                    <a:gd name="T8" fmla="*/ 109 w 330"/>
                    <a:gd name="T9" fmla="*/ 78 h 266"/>
                    <a:gd name="T10" fmla="*/ 109 w 330"/>
                    <a:gd name="T11" fmla="*/ 62 h 266"/>
                    <a:gd name="T12" fmla="*/ 156 w 330"/>
                    <a:gd name="T13" fmla="*/ 47 h 266"/>
                    <a:gd name="T14" fmla="*/ 188 w 330"/>
                    <a:gd name="T15" fmla="*/ 16 h 266"/>
                    <a:gd name="T16" fmla="*/ 203 w 330"/>
                    <a:gd name="T17" fmla="*/ 0 h 266"/>
                    <a:gd name="T18" fmla="*/ 235 w 330"/>
                    <a:gd name="T19" fmla="*/ 31 h 266"/>
                    <a:gd name="T20" fmla="*/ 235 w 330"/>
                    <a:gd name="T21" fmla="*/ 62 h 266"/>
                    <a:gd name="T22" fmla="*/ 266 w 330"/>
                    <a:gd name="T23" fmla="*/ 78 h 266"/>
                    <a:gd name="T24" fmla="*/ 330 w 330"/>
                    <a:gd name="T25" fmla="*/ 170 h 266"/>
                    <a:gd name="T26" fmla="*/ 293 w 330"/>
                    <a:gd name="T27" fmla="*/ 169 h 266"/>
                    <a:gd name="T28" fmla="*/ 275 w 330"/>
                    <a:gd name="T29" fmla="*/ 175 h 266"/>
                    <a:gd name="T30" fmla="*/ 219 w 330"/>
                    <a:gd name="T31" fmla="*/ 186 h 266"/>
                    <a:gd name="T32" fmla="*/ 203 w 330"/>
                    <a:gd name="T33" fmla="*/ 202 h 266"/>
                    <a:gd name="T34" fmla="*/ 156 w 330"/>
                    <a:gd name="T35" fmla="*/ 186 h 266"/>
                    <a:gd name="T36" fmla="*/ 141 w 330"/>
                    <a:gd name="T37" fmla="*/ 171 h 266"/>
                    <a:gd name="T38" fmla="*/ 125 w 330"/>
                    <a:gd name="T39" fmla="*/ 171 h 266"/>
                    <a:gd name="T40" fmla="*/ 110 w 330"/>
                    <a:gd name="T41" fmla="*/ 194 h 266"/>
                    <a:gd name="T42" fmla="*/ 109 w 330"/>
                    <a:gd name="T43" fmla="*/ 217 h 266"/>
                    <a:gd name="T44" fmla="*/ 78 w 330"/>
                    <a:gd name="T45" fmla="*/ 217 h 266"/>
                    <a:gd name="T46" fmla="*/ 63 w 330"/>
                    <a:gd name="T47" fmla="*/ 217 h 266"/>
                    <a:gd name="T48" fmla="*/ 47 w 330"/>
                    <a:gd name="T49" fmla="*/ 217 h 266"/>
                    <a:gd name="T50" fmla="*/ 48 w 330"/>
                    <a:gd name="T51" fmla="*/ 242 h 266"/>
                    <a:gd name="T52" fmla="*/ 38 w 330"/>
                    <a:gd name="T53" fmla="*/ 266 h 266"/>
                    <a:gd name="T54" fmla="*/ 31 w 330"/>
                    <a:gd name="T55" fmla="*/ 233 h 266"/>
                    <a:gd name="T56" fmla="*/ 0 w 330"/>
                    <a:gd name="T57" fmla="*/ 18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266">
                      <a:moveTo>
                        <a:pt x="0" y="186"/>
                      </a:moveTo>
                      <a:lnTo>
                        <a:pt x="0" y="155"/>
                      </a:lnTo>
                      <a:lnTo>
                        <a:pt x="16" y="109"/>
                      </a:lnTo>
                      <a:lnTo>
                        <a:pt x="94" y="93"/>
                      </a:lnTo>
                      <a:lnTo>
                        <a:pt x="109" y="78"/>
                      </a:lnTo>
                      <a:lnTo>
                        <a:pt x="109" y="62"/>
                      </a:lnTo>
                      <a:lnTo>
                        <a:pt x="156" y="47"/>
                      </a:lnTo>
                      <a:lnTo>
                        <a:pt x="188" y="16"/>
                      </a:lnTo>
                      <a:lnTo>
                        <a:pt x="203" y="0"/>
                      </a:lnTo>
                      <a:lnTo>
                        <a:pt x="235" y="31"/>
                      </a:lnTo>
                      <a:lnTo>
                        <a:pt x="235" y="62"/>
                      </a:lnTo>
                      <a:lnTo>
                        <a:pt x="266" y="78"/>
                      </a:lnTo>
                      <a:lnTo>
                        <a:pt x="330" y="170"/>
                      </a:lnTo>
                      <a:lnTo>
                        <a:pt x="293" y="169"/>
                      </a:lnTo>
                      <a:lnTo>
                        <a:pt x="275" y="175"/>
                      </a:lnTo>
                      <a:lnTo>
                        <a:pt x="219" y="186"/>
                      </a:lnTo>
                      <a:lnTo>
                        <a:pt x="203" y="202"/>
                      </a:lnTo>
                      <a:lnTo>
                        <a:pt x="156" y="186"/>
                      </a:lnTo>
                      <a:lnTo>
                        <a:pt x="141" y="171"/>
                      </a:lnTo>
                      <a:lnTo>
                        <a:pt x="125" y="171"/>
                      </a:lnTo>
                      <a:lnTo>
                        <a:pt x="110" y="194"/>
                      </a:lnTo>
                      <a:lnTo>
                        <a:pt x="109" y="217"/>
                      </a:lnTo>
                      <a:lnTo>
                        <a:pt x="78" y="217"/>
                      </a:lnTo>
                      <a:lnTo>
                        <a:pt x="63" y="217"/>
                      </a:lnTo>
                      <a:lnTo>
                        <a:pt x="47" y="217"/>
                      </a:lnTo>
                      <a:lnTo>
                        <a:pt x="48" y="242"/>
                      </a:lnTo>
                      <a:lnTo>
                        <a:pt x="38" y="266"/>
                      </a:lnTo>
                      <a:lnTo>
                        <a:pt x="31" y="233"/>
                      </a:lnTo>
                      <a:lnTo>
                        <a:pt x="0" y="18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6" name="Freeform 81"/>
                <p:cNvSpPr>
                  <a:spLocks/>
                </p:cNvSpPr>
                <p:nvPr/>
              </p:nvSpPr>
              <p:spPr bwMode="auto">
                <a:xfrm>
                  <a:off x="5251926" y="3507467"/>
                  <a:ext cx="386265" cy="327446"/>
                </a:xfrm>
                <a:custGeom>
                  <a:avLst/>
                  <a:gdLst>
                    <a:gd name="T0" fmla="*/ 234 w 375"/>
                    <a:gd name="T1" fmla="*/ 78 h 328"/>
                    <a:gd name="T2" fmla="*/ 216 w 375"/>
                    <a:gd name="T3" fmla="*/ 87 h 328"/>
                    <a:gd name="T4" fmla="*/ 219 w 375"/>
                    <a:gd name="T5" fmla="*/ 109 h 328"/>
                    <a:gd name="T6" fmla="*/ 250 w 375"/>
                    <a:gd name="T7" fmla="*/ 109 h 328"/>
                    <a:gd name="T8" fmla="*/ 243 w 375"/>
                    <a:gd name="T9" fmla="*/ 126 h 328"/>
                    <a:gd name="T10" fmla="*/ 256 w 375"/>
                    <a:gd name="T11" fmla="*/ 147 h 328"/>
                    <a:gd name="T12" fmla="*/ 281 w 375"/>
                    <a:gd name="T13" fmla="*/ 172 h 328"/>
                    <a:gd name="T14" fmla="*/ 359 w 375"/>
                    <a:gd name="T15" fmla="*/ 203 h 328"/>
                    <a:gd name="T16" fmla="*/ 375 w 375"/>
                    <a:gd name="T17" fmla="*/ 203 h 328"/>
                    <a:gd name="T18" fmla="*/ 313 w 375"/>
                    <a:gd name="T19" fmla="*/ 281 h 328"/>
                    <a:gd name="T20" fmla="*/ 266 w 375"/>
                    <a:gd name="T21" fmla="*/ 297 h 328"/>
                    <a:gd name="T22" fmla="*/ 219 w 375"/>
                    <a:gd name="T23" fmla="*/ 312 h 328"/>
                    <a:gd name="T24" fmla="*/ 189 w 375"/>
                    <a:gd name="T25" fmla="*/ 309 h 328"/>
                    <a:gd name="T26" fmla="*/ 156 w 375"/>
                    <a:gd name="T27" fmla="*/ 328 h 328"/>
                    <a:gd name="T28" fmla="*/ 125 w 375"/>
                    <a:gd name="T29" fmla="*/ 328 h 328"/>
                    <a:gd name="T30" fmla="*/ 103 w 375"/>
                    <a:gd name="T31" fmla="*/ 306 h 328"/>
                    <a:gd name="T32" fmla="*/ 63 w 375"/>
                    <a:gd name="T33" fmla="*/ 297 h 328"/>
                    <a:gd name="T34" fmla="*/ 63 w 375"/>
                    <a:gd name="T35" fmla="*/ 281 h 328"/>
                    <a:gd name="T36" fmla="*/ 47 w 375"/>
                    <a:gd name="T37" fmla="*/ 266 h 328"/>
                    <a:gd name="T38" fmla="*/ 16 w 375"/>
                    <a:gd name="T39" fmla="*/ 219 h 328"/>
                    <a:gd name="T40" fmla="*/ 0 w 375"/>
                    <a:gd name="T41" fmla="*/ 203 h 328"/>
                    <a:gd name="T42" fmla="*/ 0 w 375"/>
                    <a:gd name="T43" fmla="*/ 187 h 328"/>
                    <a:gd name="T44" fmla="*/ 16 w 375"/>
                    <a:gd name="T45" fmla="*/ 187 h 328"/>
                    <a:gd name="T46" fmla="*/ 25 w 375"/>
                    <a:gd name="T47" fmla="*/ 120 h 328"/>
                    <a:gd name="T48" fmla="*/ 39 w 375"/>
                    <a:gd name="T49" fmla="*/ 112 h 328"/>
                    <a:gd name="T50" fmla="*/ 49 w 375"/>
                    <a:gd name="T51" fmla="*/ 79 h 328"/>
                    <a:gd name="T52" fmla="*/ 78 w 375"/>
                    <a:gd name="T53" fmla="*/ 47 h 328"/>
                    <a:gd name="T54" fmla="*/ 78 w 375"/>
                    <a:gd name="T55" fmla="*/ 16 h 328"/>
                    <a:gd name="T56" fmla="*/ 94 w 375"/>
                    <a:gd name="T57" fmla="*/ 16 h 328"/>
                    <a:gd name="T58" fmla="*/ 109 w 375"/>
                    <a:gd name="T59" fmla="*/ 16 h 328"/>
                    <a:gd name="T60" fmla="*/ 109 w 375"/>
                    <a:gd name="T61" fmla="*/ 0 h 328"/>
                    <a:gd name="T62" fmla="*/ 125 w 375"/>
                    <a:gd name="T63" fmla="*/ 16 h 328"/>
                    <a:gd name="T64" fmla="*/ 141 w 375"/>
                    <a:gd name="T65" fmla="*/ 0 h 328"/>
                    <a:gd name="T66" fmla="*/ 172 w 375"/>
                    <a:gd name="T67" fmla="*/ 16 h 328"/>
                    <a:gd name="T68" fmla="*/ 192 w 375"/>
                    <a:gd name="T69" fmla="*/ 18 h 328"/>
                    <a:gd name="T70" fmla="*/ 234 w 375"/>
                    <a:gd name="T71" fmla="*/ 7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 h="328">
                      <a:moveTo>
                        <a:pt x="234" y="78"/>
                      </a:moveTo>
                      <a:lnTo>
                        <a:pt x="216" y="87"/>
                      </a:lnTo>
                      <a:lnTo>
                        <a:pt x="219" y="109"/>
                      </a:lnTo>
                      <a:lnTo>
                        <a:pt x="250" y="109"/>
                      </a:lnTo>
                      <a:lnTo>
                        <a:pt x="243" y="126"/>
                      </a:lnTo>
                      <a:lnTo>
                        <a:pt x="256" y="147"/>
                      </a:lnTo>
                      <a:lnTo>
                        <a:pt x="281" y="172"/>
                      </a:lnTo>
                      <a:lnTo>
                        <a:pt x="359" y="203"/>
                      </a:lnTo>
                      <a:lnTo>
                        <a:pt x="375" y="203"/>
                      </a:lnTo>
                      <a:lnTo>
                        <a:pt x="313" y="281"/>
                      </a:lnTo>
                      <a:lnTo>
                        <a:pt x="266" y="297"/>
                      </a:lnTo>
                      <a:lnTo>
                        <a:pt x="219" y="312"/>
                      </a:lnTo>
                      <a:lnTo>
                        <a:pt x="189" y="309"/>
                      </a:lnTo>
                      <a:lnTo>
                        <a:pt x="156" y="328"/>
                      </a:lnTo>
                      <a:lnTo>
                        <a:pt x="125" y="328"/>
                      </a:lnTo>
                      <a:lnTo>
                        <a:pt x="103" y="306"/>
                      </a:lnTo>
                      <a:lnTo>
                        <a:pt x="63" y="297"/>
                      </a:lnTo>
                      <a:lnTo>
                        <a:pt x="63" y="281"/>
                      </a:lnTo>
                      <a:lnTo>
                        <a:pt x="47" y="266"/>
                      </a:lnTo>
                      <a:lnTo>
                        <a:pt x="16" y="219"/>
                      </a:lnTo>
                      <a:lnTo>
                        <a:pt x="0" y="203"/>
                      </a:lnTo>
                      <a:lnTo>
                        <a:pt x="0" y="187"/>
                      </a:lnTo>
                      <a:lnTo>
                        <a:pt x="16" y="187"/>
                      </a:lnTo>
                      <a:lnTo>
                        <a:pt x="25" y="120"/>
                      </a:lnTo>
                      <a:lnTo>
                        <a:pt x="39" y="112"/>
                      </a:lnTo>
                      <a:lnTo>
                        <a:pt x="49" y="79"/>
                      </a:lnTo>
                      <a:lnTo>
                        <a:pt x="78" y="47"/>
                      </a:lnTo>
                      <a:lnTo>
                        <a:pt x="78" y="16"/>
                      </a:lnTo>
                      <a:lnTo>
                        <a:pt x="94" y="16"/>
                      </a:lnTo>
                      <a:lnTo>
                        <a:pt x="109" y="16"/>
                      </a:lnTo>
                      <a:lnTo>
                        <a:pt x="109" y="0"/>
                      </a:lnTo>
                      <a:lnTo>
                        <a:pt x="125" y="16"/>
                      </a:lnTo>
                      <a:lnTo>
                        <a:pt x="141" y="0"/>
                      </a:lnTo>
                      <a:lnTo>
                        <a:pt x="172" y="16"/>
                      </a:lnTo>
                      <a:lnTo>
                        <a:pt x="192" y="18"/>
                      </a:lnTo>
                      <a:lnTo>
                        <a:pt x="234" y="7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7" name="Freeform 82"/>
                <p:cNvSpPr>
                  <a:spLocks/>
                </p:cNvSpPr>
                <p:nvPr/>
              </p:nvSpPr>
              <p:spPr bwMode="auto">
                <a:xfrm>
                  <a:off x="5332591" y="3413910"/>
                  <a:ext cx="176844" cy="172023"/>
                </a:xfrm>
                <a:custGeom>
                  <a:avLst/>
                  <a:gdLst>
                    <a:gd name="T0" fmla="*/ 156 w 172"/>
                    <a:gd name="T1" fmla="*/ 171 h 171"/>
                    <a:gd name="T2" fmla="*/ 172 w 172"/>
                    <a:gd name="T3" fmla="*/ 155 h 171"/>
                    <a:gd name="T4" fmla="*/ 125 w 172"/>
                    <a:gd name="T5" fmla="*/ 93 h 171"/>
                    <a:gd name="T6" fmla="*/ 102 w 172"/>
                    <a:gd name="T7" fmla="*/ 81 h 171"/>
                    <a:gd name="T8" fmla="*/ 76 w 172"/>
                    <a:gd name="T9" fmla="*/ 66 h 171"/>
                    <a:gd name="T10" fmla="*/ 61 w 172"/>
                    <a:gd name="T11" fmla="*/ 18 h 171"/>
                    <a:gd name="T12" fmla="*/ 47 w 172"/>
                    <a:gd name="T13" fmla="*/ 0 h 171"/>
                    <a:gd name="T14" fmla="*/ 31 w 172"/>
                    <a:gd name="T15" fmla="*/ 12 h 171"/>
                    <a:gd name="T16" fmla="*/ 16 w 172"/>
                    <a:gd name="T17" fmla="*/ 31 h 171"/>
                    <a:gd name="T18" fmla="*/ 0 w 172"/>
                    <a:gd name="T19" fmla="*/ 73 h 171"/>
                    <a:gd name="T20" fmla="*/ 0 w 172"/>
                    <a:gd name="T21" fmla="*/ 109 h 171"/>
                    <a:gd name="T22" fmla="*/ 16 w 172"/>
                    <a:gd name="T23" fmla="*/ 109 h 171"/>
                    <a:gd name="T24" fmla="*/ 31 w 172"/>
                    <a:gd name="T25" fmla="*/ 109 h 171"/>
                    <a:gd name="T26" fmla="*/ 31 w 172"/>
                    <a:gd name="T27" fmla="*/ 93 h 171"/>
                    <a:gd name="T28" fmla="*/ 47 w 172"/>
                    <a:gd name="T29" fmla="*/ 109 h 171"/>
                    <a:gd name="T30" fmla="*/ 63 w 172"/>
                    <a:gd name="T31" fmla="*/ 93 h 171"/>
                    <a:gd name="T32" fmla="*/ 94 w 172"/>
                    <a:gd name="T33" fmla="*/ 109 h 171"/>
                    <a:gd name="T34" fmla="*/ 115 w 172"/>
                    <a:gd name="T35" fmla="*/ 111 h 171"/>
                    <a:gd name="T36" fmla="*/ 156 w 172"/>
                    <a:gd name="T3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171">
                      <a:moveTo>
                        <a:pt x="156" y="171"/>
                      </a:moveTo>
                      <a:lnTo>
                        <a:pt x="172" y="155"/>
                      </a:lnTo>
                      <a:lnTo>
                        <a:pt x="125" y="93"/>
                      </a:lnTo>
                      <a:lnTo>
                        <a:pt x="102" y="81"/>
                      </a:lnTo>
                      <a:lnTo>
                        <a:pt x="76" y="66"/>
                      </a:lnTo>
                      <a:lnTo>
                        <a:pt x="61" y="18"/>
                      </a:lnTo>
                      <a:lnTo>
                        <a:pt x="47" y="0"/>
                      </a:lnTo>
                      <a:lnTo>
                        <a:pt x="31" y="12"/>
                      </a:lnTo>
                      <a:lnTo>
                        <a:pt x="16" y="31"/>
                      </a:lnTo>
                      <a:lnTo>
                        <a:pt x="0" y="73"/>
                      </a:lnTo>
                      <a:lnTo>
                        <a:pt x="0" y="109"/>
                      </a:lnTo>
                      <a:lnTo>
                        <a:pt x="16" y="109"/>
                      </a:lnTo>
                      <a:lnTo>
                        <a:pt x="31" y="109"/>
                      </a:lnTo>
                      <a:lnTo>
                        <a:pt x="31" y="93"/>
                      </a:lnTo>
                      <a:lnTo>
                        <a:pt x="47" y="109"/>
                      </a:lnTo>
                      <a:lnTo>
                        <a:pt x="63" y="93"/>
                      </a:lnTo>
                      <a:lnTo>
                        <a:pt x="94" y="109"/>
                      </a:lnTo>
                      <a:lnTo>
                        <a:pt x="115" y="111"/>
                      </a:lnTo>
                      <a:lnTo>
                        <a:pt x="156" y="17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8" name="Freeform 83"/>
                <p:cNvSpPr>
                  <a:spLocks/>
                </p:cNvSpPr>
                <p:nvPr/>
              </p:nvSpPr>
              <p:spPr bwMode="auto">
                <a:xfrm>
                  <a:off x="4940121" y="3258486"/>
                  <a:ext cx="439009" cy="576426"/>
                </a:xfrm>
                <a:custGeom>
                  <a:avLst/>
                  <a:gdLst>
                    <a:gd name="T0" fmla="*/ 380 w 427"/>
                    <a:gd name="T1" fmla="*/ 265 h 577"/>
                    <a:gd name="T2" fmla="*/ 381 w 427"/>
                    <a:gd name="T3" fmla="*/ 228 h 577"/>
                    <a:gd name="T4" fmla="*/ 396 w 427"/>
                    <a:gd name="T5" fmla="*/ 187 h 577"/>
                    <a:gd name="T6" fmla="*/ 412 w 427"/>
                    <a:gd name="T7" fmla="*/ 168 h 577"/>
                    <a:gd name="T8" fmla="*/ 427 w 427"/>
                    <a:gd name="T9" fmla="*/ 156 h 577"/>
                    <a:gd name="T10" fmla="*/ 420 w 427"/>
                    <a:gd name="T11" fmla="*/ 145 h 577"/>
                    <a:gd name="T12" fmla="*/ 399 w 427"/>
                    <a:gd name="T13" fmla="*/ 126 h 577"/>
                    <a:gd name="T14" fmla="*/ 394 w 427"/>
                    <a:gd name="T15" fmla="*/ 105 h 577"/>
                    <a:gd name="T16" fmla="*/ 394 w 427"/>
                    <a:gd name="T17" fmla="*/ 69 h 577"/>
                    <a:gd name="T18" fmla="*/ 380 w 427"/>
                    <a:gd name="T19" fmla="*/ 31 h 577"/>
                    <a:gd name="T20" fmla="*/ 349 w 427"/>
                    <a:gd name="T21" fmla="*/ 16 h 577"/>
                    <a:gd name="T22" fmla="*/ 349 w 427"/>
                    <a:gd name="T23" fmla="*/ 0 h 577"/>
                    <a:gd name="T24" fmla="*/ 318 w 427"/>
                    <a:gd name="T25" fmla="*/ 31 h 577"/>
                    <a:gd name="T26" fmla="*/ 303 w 427"/>
                    <a:gd name="T27" fmla="*/ 45 h 577"/>
                    <a:gd name="T28" fmla="*/ 287 w 427"/>
                    <a:gd name="T29" fmla="*/ 31 h 577"/>
                    <a:gd name="T30" fmla="*/ 195 w 427"/>
                    <a:gd name="T31" fmla="*/ 37 h 577"/>
                    <a:gd name="T32" fmla="*/ 84 w 427"/>
                    <a:gd name="T33" fmla="*/ 31 h 577"/>
                    <a:gd name="T34" fmla="*/ 84 w 427"/>
                    <a:gd name="T35" fmla="*/ 94 h 577"/>
                    <a:gd name="T36" fmla="*/ 53 w 427"/>
                    <a:gd name="T37" fmla="*/ 94 h 577"/>
                    <a:gd name="T38" fmla="*/ 53 w 427"/>
                    <a:gd name="T39" fmla="*/ 109 h 577"/>
                    <a:gd name="T40" fmla="*/ 53 w 427"/>
                    <a:gd name="T41" fmla="*/ 203 h 577"/>
                    <a:gd name="T42" fmla="*/ 53 w 427"/>
                    <a:gd name="T43" fmla="*/ 218 h 577"/>
                    <a:gd name="T44" fmla="*/ 37 w 427"/>
                    <a:gd name="T45" fmla="*/ 218 h 577"/>
                    <a:gd name="T46" fmla="*/ 6 w 427"/>
                    <a:gd name="T47" fmla="*/ 296 h 577"/>
                    <a:gd name="T48" fmla="*/ 0 w 427"/>
                    <a:gd name="T49" fmla="*/ 309 h 577"/>
                    <a:gd name="T50" fmla="*/ 16 w 427"/>
                    <a:gd name="T51" fmla="*/ 316 h 577"/>
                    <a:gd name="T52" fmla="*/ 27 w 427"/>
                    <a:gd name="T53" fmla="*/ 340 h 577"/>
                    <a:gd name="T54" fmla="*/ 22 w 427"/>
                    <a:gd name="T55" fmla="*/ 359 h 577"/>
                    <a:gd name="T56" fmla="*/ 53 w 427"/>
                    <a:gd name="T57" fmla="*/ 390 h 577"/>
                    <a:gd name="T58" fmla="*/ 53 w 427"/>
                    <a:gd name="T59" fmla="*/ 421 h 577"/>
                    <a:gd name="T60" fmla="*/ 84 w 427"/>
                    <a:gd name="T61" fmla="*/ 437 h 577"/>
                    <a:gd name="T62" fmla="*/ 147 w 427"/>
                    <a:gd name="T63" fmla="*/ 529 h 577"/>
                    <a:gd name="T64" fmla="*/ 171 w 427"/>
                    <a:gd name="T65" fmla="*/ 556 h 577"/>
                    <a:gd name="T66" fmla="*/ 209 w 427"/>
                    <a:gd name="T67" fmla="*/ 546 h 577"/>
                    <a:gd name="T68" fmla="*/ 240 w 427"/>
                    <a:gd name="T69" fmla="*/ 577 h 577"/>
                    <a:gd name="T70" fmla="*/ 271 w 427"/>
                    <a:gd name="T71" fmla="*/ 577 h 577"/>
                    <a:gd name="T72" fmla="*/ 307 w 427"/>
                    <a:gd name="T73" fmla="*/ 573 h 577"/>
                    <a:gd name="T74" fmla="*/ 318 w 427"/>
                    <a:gd name="T75" fmla="*/ 561 h 577"/>
                    <a:gd name="T76" fmla="*/ 333 w 427"/>
                    <a:gd name="T77" fmla="*/ 546 h 577"/>
                    <a:gd name="T78" fmla="*/ 365 w 427"/>
                    <a:gd name="T79" fmla="*/ 546 h 577"/>
                    <a:gd name="T80" fmla="*/ 365 w 427"/>
                    <a:gd name="T81" fmla="*/ 530 h 577"/>
                    <a:gd name="T82" fmla="*/ 349 w 427"/>
                    <a:gd name="T83" fmla="*/ 515 h 577"/>
                    <a:gd name="T84" fmla="*/ 318 w 427"/>
                    <a:gd name="T85" fmla="*/ 468 h 577"/>
                    <a:gd name="T86" fmla="*/ 302 w 427"/>
                    <a:gd name="T87" fmla="*/ 452 h 577"/>
                    <a:gd name="T88" fmla="*/ 302 w 427"/>
                    <a:gd name="T89" fmla="*/ 437 h 577"/>
                    <a:gd name="T90" fmla="*/ 318 w 427"/>
                    <a:gd name="T91" fmla="*/ 437 h 577"/>
                    <a:gd name="T92" fmla="*/ 327 w 427"/>
                    <a:gd name="T93" fmla="*/ 372 h 577"/>
                    <a:gd name="T94" fmla="*/ 343 w 427"/>
                    <a:gd name="T95" fmla="*/ 361 h 577"/>
                    <a:gd name="T96" fmla="*/ 352 w 427"/>
                    <a:gd name="T97" fmla="*/ 327 h 577"/>
                    <a:gd name="T98" fmla="*/ 380 w 427"/>
                    <a:gd name="T99" fmla="*/ 296 h 577"/>
                    <a:gd name="T100" fmla="*/ 380 w 427"/>
                    <a:gd name="T101" fmla="*/ 265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577">
                      <a:moveTo>
                        <a:pt x="380" y="265"/>
                      </a:moveTo>
                      <a:lnTo>
                        <a:pt x="381" y="228"/>
                      </a:lnTo>
                      <a:lnTo>
                        <a:pt x="396" y="187"/>
                      </a:lnTo>
                      <a:lnTo>
                        <a:pt x="412" y="168"/>
                      </a:lnTo>
                      <a:lnTo>
                        <a:pt x="427" y="156"/>
                      </a:lnTo>
                      <a:lnTo>
                        <a:pt x="420" y="145"/>
                      </a:lnTo>
                      <a:lnTo>
                        <a:pt x="399" y="126"/>
                      </a:lnTo>
                      <a:lnTo>
                        <a:pt x="394" y="105"/>
                      </a:lnTo>
                      <a:lnTo>
                        <a:pt x="394" y="69"/>
                      </a:lnTo>
                      <a:lnTo>
                        <a:pt x="380" y="31"/>
                      </a:lnTo>
                      <a:lnTo>
                        <a:pt x="349" y="16"/>
                      </a:lnTo>
                      <a:lnTo>
                        <a:pt x="349" y="0"/>
                      </a:lnTo>
                      <a:lnTo>
                        <a:pt x="318" y="31"/>
                      </a:lnTo>
                      <a:lnTo>
                        <a:pt x="303" y="45"/>
                      </a:lnTo>
                      <a:lnTo>
                        <a:pt x="287" y="31"/>
                      </a:lnTo>
                      <a:lnTo>
                        <a:pt x="195" y="37"/>
                      </a:lnTo>
                      <a:lnTo>
                        <a:pt x="84" y="31"/>
                      </a:lnTo>
                      <a:lnTo>
                        <a:pt x="84" y="94"/>
                      </a:lnTo>
                      <a:lnTo>
                        <a:pt x="53" y="94"/>
                      </a:lnTo>
                      <a:lnTo>
                        <a:pt x="53" y="109"/>
                      </a:lnTo>
                      <a:lnTo>
                        <a:pt x="53" y="203"/>
                      </a:lnTo>
                      <a:lnTo>
                        <a:pt x="53" y="218"/>
                      </a:lnTo>
                      <a:lnTo>
                        <a:pt x="37" y="218"/>
                      </a:lnTo>
                      <a:lnTo>
                        <a:pt x="6" y="296"/>
                      </a:lnTo>
                      <a:lnTo>
                        <a:pt x="0" y="309"/>
                      </a:lnTo>
                      <a:lnTo>
                        <a:pt x="16" y="316"/>
                      </a:lnTo>
                      <a:lnTo>
                        <a:pt x="27" y="340"/>
                      </a:lnTo>
                      <a:lnTo>
                        <a:pt x="22" y="359"/>
                      </a:lnTo>
                      <a:lnTo>
                        <a:pt x="53" y="390"/>
                      </a:lnTo>
                      <a:lnTo>
                        <a:pt x="53" y="421"/>
                      </a:lnTo>
                      <a:lnTo>
                        <a:pt x="84" y="437"/>
                      </a:lnTo>
                      <a:lnTo>
                        <a:pt x="147" y="529"/>
                      </a:lnTo>
                      <a:lnTo>
                        <a:pt x="171" y="556"/>
                      </a:lnTo>
                      <a:lnTo>
                        <a:pt x="209" y="546"/>
                      </a:lnTo>
                      <a:lnTo>
                        <a:pt x="240" y="577"/>
                      </a:lnTo>
                      <a:lnTo>
                        <a:pt x="271" y="577"/>
                      </a:lnTo>
                      <a:lnTo>
                        <a:pt x="307" y="573"/>
                      </a:lnTo>
                      <a:lnTo>
                        <a:pt x="318" y="561"/>
                      </a:lnTo>
                      <a:lnTo>
                        <a:pt x="333" y="546"/>
                      </a:lnTo>
                      <a:lnTo>
                        <a:pt x="365" y="546"/>
                      </a:lnTo>
                      <a:lnTo>
                        <a:pt x="365" y="530"/>
                      </a:lnTo>
                      <a:lnTo>
                        <a:pt x="349" y="515"/>
                      </a:lnTo>
                      <a:lnTo>
                        <a:pt x="318" y="468"/>
                      </a:lnTo>
                      <a:lnTo>
                        <a:pt x="302" y="452"/>
                      </a:lnTo>
                      <a:lnTo>
                        <a:pt x="302" y="437"/>
                      </a:lnTo>
                      <a:lnTo>
                        <a:pt x="318" y="437"/>
                      </a:lnTo>
                      <a:lnTo>
                        <a:pt x="327" y="372"/>
                      </a:lnTo>
                      <a:lnTo>
                        <a:pt x="343" y="361"/>
                      </a:lnTo>
                      <a:lnTo>
                        <a:pt x="352" y="327"/>
                      </a:lnTo>
                      <a:lnTo>
                        <a:pt x="380" y="296"/>
                      </a:lnTo>
                      <a:lnTo>
                        <a:pt x="380" y="26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79" name="Freeform 84"/>
                <p:cNvSpPr>
                  <a:spLocks/>
                </p:cNvSpPr>
                <p:nvPr/>
              </p:nvSpPr>
              <p:spPr bwMode="auto">
                <a:xfrm>
                  <a:off x="4223435" y="3492376"/>
                  <a:ext cx="209421" cy="170513"/>
                </a:xfrm>
                <a:custGeom>
                  <a:avLst/>
                  <a:gdLst>
                    <a:gd name="T0" fmla="*/ 188 w 204"/>
                    <a:gd name="T1" fmla="*/ 78 h 171"/>
                    <a:gd name="T2" fmla="*/ 173 w 204"/>
                    <a:gd name="T3" fmla="*/ 78 h 171"/>
                    <a:gd name="T4" fmla="*/ 141 w 204"/>
                    <a:gd name="T5" fmla="*/ 31 h 171"/>
                    <a:gd name="T6" fmla="*/ 141 w 204"/>
                    <a:gd name="T7" fmla="*/ 0 h 171"/>
                    <a:gd name="T8" fmla="*/ 110 w 204"/>
                    <a:gd name="T9" fmla="*/ 16 h 171"/>
                    <a:gd name="T10" fmla="*/ 63 w 204"/>
                    <a:gd name="T11" fmla="*/ 47 h 171"/>
                    <a:gd name="T12" fmla="*/ 31 w 204"/>
                    <a:gd name="T13" fmla="*/ 62 h 171"/>
                    <a:gd name="T14" fmla="*/ 0 w 204"/>
                    <a:gd name="T15" fmla="*/ 109 h 171"/>
                    <a:gd name="T16" fmla="*/ 0 w 204"/>
                    <a:gd name="T17" fmla="*/ 140 h 171"/>
                    <a:gd name="T18" fmla="*/ 18 w 204"/>
                    <a:gd name="T19" fmla="*/ 168 h 171"/>
                    <a:gd name="T20" fmla="*/ 47 w 204"/>
                    <a:gd name="T21" fmla="*/ 155 h 171"/>
                    <a:gd name="T22" fmla="*/ 63 w 204"/>
                    <a:gd name="T23" fmla="*/ 171 h 171"/>
                    <a:gd name="T24" fmla="*/ 63 w 204"/>
                    <a:gd name="T25" fmla="*/ 124 h 171"/>
                    <a:gd name="T26" fmla="*/ 126 w 204"/>
                    <a:gd name="T27" fmla="*/ 124 h 171"/>
                    <a:gd name="T28" fmla="*/ 157 w 204"/>
                    <a:gd name="T29" fmla="*/ 124 h 171"/>
                    <a:gd name="T30" fmla="*/ 173 w 204"/>
                    <a:gd name="T31" fmla="*/ 109 h 171"/>
                    <a:gd name="T32" fmla="*/ 188 w 204"/>
                    <a:gd name="T33" fmla="*/ 109 h 171"/>
                    <a:gd name="T34" fmla="*/ 204 w 204"/>
                    <a:gd name="T35" fmla="*/ 93 h 171"/>
                    <a:gd name="T36" fmla="*/ 188 w 204"/>
                    <a:gd name="T37" fmla="*/ 7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171">
                      <a:moveTo>
                        <a:pt x="188" y="78"/>
                      </a:moveTo>
                      <a:lnTo>
                        <a:pt x="173" y="78"/>
                      </a:lnTo>
                      <a:lnTo>
                        <a:pt x="141" y="31"/>
                      </a:lnTo>
                      <a:lnTo>
                        <a:pt x="141" y="0"/>
                      </a:lnTo>
                      <a:lnTo>
                        <a:pt x="110" y="16"/>
                      </a:lnTo>
                      <a:lnTo>
                        <a:pt x="63" y="47"/>
                      </a:lnTo>
                      <a:lnTo>
                        <a:pt x="31" y="62"/>
                      </a:lnTo>
                      <a:lnTo>
                        <a:pt x="0" y="109"/>
                      </a:lnTo>
                      <a:lnTo>
                        <a:pt x="0" y="140"/>
                      </a:lnTo>
                      <a:lnTo>
                        <a:pt x="18" y="168"/>
                      </a:lnTo>
                      <a:lnTo>
                        <a:pt x="47" y="155"/>
                      </a:lnTo>
                      <a:lnTo>
                        <a:pt x="63" y="171"/>
                      </a:lnTo>
                      <a:lnTo>
                        <a:pt x="63" y="124"/>
                      </a:lnTo>
                      <a:lnTo>
                        <a:pt x="126" y="124"/>
                      </a:lnTo>
                      <a:lnTo>
                        <a:pt x="157" y="124"/>
                      </a:lnTo>
                      <a:lnTo>
                        <a:pt x="173" y="109"/>
                      </a:lnTo>
                      <a:lnTo>
                        <a:pt x="188" y="109"/>
                      </a:lnTo>
                      <a:lnTo>
                        <a:pt x="204" y="93"/>
                      </a:lnTo>
                      <a:lnTo>
                        <a:pt x="188" y="7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0" name="Freeform 85"/>
                <p:cNvSpPr>
                  <a:spLocks/>
                </p:cNvSpPr>
                <p:nvPr/>
              </p:nvSpPr>
              <p:spPr bwMode="auto">
                <a:xfrm>
                  <a:off x="4367702" y="3241888"/>
                  <a:ext cx="417291" cy="359134"/>
                </a:xfrm>
                <a:custGeom>
                  <a:avLst/>
                  <a:gdLst>
                    <a:gd name="T0" fmla="*/ 344 w 406"/>
                    <a:gd name="T1" fmla="*/ 297 h 359"/>
                    <a:gd name="T2" fmla="*/ 344 w 406"/>
                    <a:gd name="T3" fmla="*/ 281 h 359"/>
                    <a:gd name="T4" fmla="*/ 390 w 406"/>
                    <a:gd name="T5" fmla="*/ 187 h 359"/>
                    <a:gd name="T6" fmla="*/ 406 w 406"/>
                    <a:gd name="T7" fmla="*/ 94 h 359"/>
                    <a:gd name="T8" fmla="*/ 398 w 406"/>
                    <a:gd name="T9" fmla="*/ 88 h 359"/>
                    <a:gd name="T10" fmla="*/ 386 w 406"/>
                    <a:gd name="T11" fmla="*/ 59 h 359"/>
                    <a:gd name="T12" fmla="*/ 375 w 406"/>
                    <a:gd name="T13" fmla="*/ 16 h 359"/>
                    <a:gd name="T14" fmla="*/ 363 w 406"/>
                    <a:gd name="T15" fmla="*/ 35 h 359"/>
                    <a:gd name="T16" fmla="*/ 351 w 406"/>
                    <a:gd name="T17" fmla="*/ 17 h 359"/>
                    <a:gd name="T18" fmla="*/ 297 w 406"/>
                    <a:gd name="T19" fmla="*/ 0 h 359"/>
                    <a:gd name="T20" fmla="*/ 287 w 406"/>
                    <a:gd name="T21" fmla="*/ 17 h 359"/>
                    <a:gd name="T22" fmla="*/ 141 w 406"/>
                    <a:gd name="T23" fmla="*/ 125 h 359"/>
                    <a:gd name="T24" fmla="*/ 109 w 406"/>
                    <a:gd name="T25" fmla="*/ 140 h 359"/>
                    <a:gd name="T26" fmla="*/ 109 w 406"/>
                    <a:gd name="T27" fmla="*/ 219 h 359"/>
                    <a:gd name="T28" fmla="*/ 94 w 406"/>
                    <a:gd name="T29" fmla="*/ 234 h 359"/>
                    <a:gd name="T30" fmla="*/ 81 w 406"/>
                    <a:gd name="T31" fmla="*/ 248 h 359"/>
                    <a:gd name="T32" fmla="*/ 47 w 406"/>
                    <a:gd name="T33" fmla="*/ 247 h 359"/>
                    <a:gd name="T34" fmla="*/ 20 w 406"/>
                    <a:gd name="T35" fmla="*/ 256 h 359"/>
                    <a:gd name="T36" fmla="*/ 0 w 406"/>
                    <a:gd name="T37" fmla="*/ 250 h 359"/>
                    <a:gd name="T38" fmla="*/ 0 w 406"/>
                    <a:gd name="T39" fmla="*/ 281 h 359"/>
                    <a:gd name="T40" fmla="*/ 31 w 406"/>
                    <a:gd name="T41" fmla="*/ 328 h 359"/>
                    <a:gd name="T42" fmla="*/ 47 w 406"/>
                    <a:gd name="T43" fmla="*/ 328 h 359"/>
                    <a:gd name="T44" fmla="*/ 62 w 406"/>
                    <a:gd name="T45" fmla="*/ 343 h 359"/>
                    <a:gd name="T46" fmla="*/ 77 w 406"/>
                    <a:gd name="T47" fmla="*/ 340 h 359"/>
                    <a:gd name="T48" fmla="*/ 94 w 406"/>
                    <a:gd name="T49" fmla="*/ 359 h 359"/>
                    <a:gd name="T50" fmla="*/ 94 w 406"/>
                    <a:gd name="T51" fmla="*/ 328 h 359"/>
                    <a:gd name="T52" fmla="*/ 109 w 406"/>
                    <a:gd name="T53" fmla="*/ 297 h 359"/>
                    <a:gd name="T54" fmla="*/ 141 w 406"/>
                    <a:gd name="T55" fmla="*/ 297 h 359"/>
                    <a:gd name="T56" fmla="*/ 172 w 406"/>
                    <a:gd name="T57" fmla="*/ 312 h 359"/>
                    <a:gd name="T58" fmla="*/ 203 w 406"/>
                    <a:gd name="T59" fmla="*/ 312 h 359"/>
                    <a:gd name="T60" fmla="*/ 234 w 406"/>
                    <a:gd name="T61" fmla="*/ 328 h 359"/>
                    <a:gd name="T62" fmla="*/ 270 w 406"/>
                    <a:gd name="T63" fmla="*/ 301 h 359"/>
                    <a:gd name="T64" fmla="*/ 312 w 406"/>
                    <a:gd name="T65" fmla="*/ 312 h 359"/>
                    <a:gd name="T66" fmla="*/ 328 w 406"/>
                    <a:gd name="T67" fmla="*/ 297 h 359"/>
                    <a:gd name="T68" fmla="*/ 344 w 406"/>
                    <a:gd name="T69" fmla="*/ 29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 h="359">
                      <a:moveTo>
                        <a:pt x="344" y="297"/>
                      </a:moveTo>
                      <a:lnTo>
                        <a:pt x="344" y="281"/>
                      </a:lnTo>
                      <a:lnTo>
                        <a:pt x="390" y="187"/>
                      </a:lnTo>
                      <a:lnTo>
                        <a:pt x="406" y="94"/>
                      </a:lnTo>
                      <a:lnTo>
                        <a:pt x="398" y="88"/>
                      </a:lnTo>
                      <a:lnTo>
                        <a:pt x="386" y="59"/>
                      </a:lnTo>
                      <a:lnTo>
                        <a:pt x="375" y="16"/>
                      </a:lnTo>
                      <a:lnTo>
                        <a:pt x="363" y="35"/>
                      </a:lnTo>
                      <a:lnTo>
                        <a:pt x="351" y="17"/>
                      </a:lnTo>
                      <a:lnTo>
                        <a:pt x="297" y="0"/>
                      </a:lnTo>
                      <a:lnTo>
                        <a:pt x="287" y="17"/>
                      </a:lnTo>
                      <a:lnTo>
                        <a:pt x="141" y="125"/>
                      </a:lnTo>
                      <a:lnTo>
                        <a:pt x="109" y="140"/>
                      </a:lnTo>
                      <a:lnTo>
                        <a:pt x="109" y="219"/>
                      </a:lnTo>
                      <a:lnTo>
                        <a:pt x="94" y="234"/>
                      </a:lnTo>
                      <a:lnTo>
                        <a:pt x="81" y="248"/>
                      </a:lnTo>
                      <a:lnTo>
                        <a:pt x="47" y="247"/>
                      </a:lnTo>
                      <a:lnTo>
                        <a:pt x="20" y="256"/>
                      </a:lnTo>
                      <a:lnTo>
                        <a:pt x="0" y="250"/>
                      </a:lnTo>
                      <a:lnTo>
                        <a:pt x="0" y="281"/>
                      </a:lnTo>
                      <a:lnTo>
                        <a:pt x="31" y="328"/>
                      </a:lnTo>
                      <a:lnTo>
                        <a:pt x="47" y="328"/>
                      </a:lnTo>
                      <a:lnTo>
                        <a:pt x="62" y="343"/>
                      </a:lnTo>
                      <a:lnTo>
                        <a:pt x="77" y="340"/>
                      </a:lnTo>
                      <a:lnTo>
                        <a:pt x="94" y="359"/>
                      </a:lnTo>
                      <a:lnTo>
                        <a:pt x="94" y="328"/>
                      </a:lnTo>
                      <a:lnTo>
                        <a:pt x="109" y="297"/>
                      </a:lnTo>
                      <a:lnTo>
                        <a:pt x="141" y="297"/>
                      </a:lnTo>
                      <a:lnTo>
                        <a:pt x="172" y="312"/>
                      </a:lnTo>
                      <a:lnTo>
                        <a:pt x="203" y="312"/>
                      </a:lnTo>
                      <a:lnTo>
                        <a:pt x="234" y="328"/>
                      </a:lnTo>
                      <a:lnTo>
                        <a:pt x="270" y="301"/>
                      </a:lnTo>
                      <a:lnTo>
                        <a:pt x="312" y="312"/>
                      </a:lnTo>
                      <a:lnTo>
                        <a:pt x="328" y="297"/>
                      </a:lnTo>
                      <a:lnTo>
                        <a:pt x="344" y="29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1" name="Freeform 86"/>
                <p:cNvSpPr>
                  <a:spLocks/>
                </p:cNvSpPr>
                <p:nvPr/>
              </p:nvSpPr>
              <p:spPr bwMode="auto">
                <a:xfrm>
                  <a:off x="4040385" y="3205672"/>
                  <a:ext cx="440560" cy="437601"/>
                </a:xfrm>
                <a:custGeom>
                  <a:avLst/>
                  <a:gdLst>
                    <a:gd name="T0" fmla="*/ 318 w 428"/>
                    <a:gd name="T1" fmla="*/ 287 h 438"/>
                    <a:gd name="T2" fmla="*/ 338 w 428"/>
                    <a:gd name="T3" fmla="*/ 293 h 438"/>
                    <a:gd name="T4" fmla="*/ 360 w 428"/>
                    <a:gd name="T5" fmla="*/ 284 h 438"/>
                    <a:gd name="T6" fmla="*/ 398 w 428"/>
                    <a:gd name="T7" fmla="*/ 285 h 438"/>
                    <a:gd name="T8" fmla="*/ 412 w 428"/>
                    <a:gd name="T9" fmla="*/ 271 h 438"/>
                    <a:gd name="T10" fmla="*/ 428 w 428"/>
                    <a:gd name="T11" fmla="*/ 256 h 438"/>
                    <a:gd name="T12" fmla="*/ 428 w 428"/>
                    <a:gd name="T13" fmla="*/ 178 h 438"/>
                    <a:gd name="T14" fmla="*/ 397 w 428"/>
                    <a:gd name="T15" fmla="*/ 178 h 438"/>
                    <a:gd name="T16" fmla="*/ 397 w 428"/>
                    <a:gd name="T17" fmla="*/ 147 h 438"/>
                    <a:gd name="T18" fmla="*/ 369 w 428"/>
                    <a:gd name="T19" fmla="*/ 144 h 438"/>
                    <a:gd name="T20" fmla="*/ 347 w 428"/>
                    <a:gd name="T21" fmla="*/ 116 h 438"/>
                    <a:gd name="T22" fmla="*/ 203 w 428"/>
                    <a:gd name="T23" fmla="*/ 2 h 438"/>
                    <a:gd name="T24" fmla="*/ 152 w 428"/>
                    <a:gd name="T25" fmla="*/ 0 h 438"/>
                    <a:gd name="T26" fmla="*/ 161 w 428"/>
                    <a:gd name="T27" fmla="*/ 168 h 438"/>
                    <a:gd name="T28" fmla="*/ 177 w 428"/>
                    <a:gd name="T29" fmla="*/ 282 h 438"/>
                    <a:gd name="T30" fmla="*/ 60 w 428"/>
                    <a:gd name="T31" fmla="*/ 278 h 438"/>
                    <a:gd name="T32" fmla="*/ 36 w 428"/>
                    <a:gd name="T33" fmla="*/ 287 h 438"/>
                    <a:gd name="T34" fmla="*/ 21 w 428"/>
                    <a:gd name="T35" fmla="*/ 271 h 438"/>
                    <a:gd name="T36" fmla="*/ 5 w 428"/>
                    <a:gd name="T37" fmla="*/ 302 h 438"/>
                    <a:gd name="T38" fmla="*/ 0 w 428"/>
                    <a:gd name="T39" fmla="*/ 330 h 438"/>
                    <a:gd name="T40" fmla="*/ 21 w 428"/>
                    <a:gd name="T41" fmla="*/ 365 h 438"/>
                    <a:gd name="T42" fmla="*/ 20 w 428"/>
                    <a:gd name="T43" fmla="*/ 378 h 438"/>
                    <a:gd name="T44" fmla="*/ 36 w 428"/>
                    <a:gd name="T45" fmla="*/ 380 h 438"/>
                    <a:gd name="T46" fmla="*/ 57 w 428"/>
                    <a:gd name="T47" fmla="*/ 380 h 438"/>
                    <a:gd name="T48" fmla="*/ 78 w 428"/>
                    <a:gd name="T49" fmla="*/ 374 h 438"/>
                    <a:gd name="T50" fmla="*/ 89 w 428"/>
                    <a:gd name="T51" fmla="*/ 386 h 438"/>
                    <a:gd name="T52" fmla="*/ 99 w 428"/>
                    <a:gd name="T53" fmla="*/ 427 h 438"/>
                    <a:gd name="T54" fmla="*/ 115 w 428"/>
                    <a:gd name="T55" fmla="*/ 427 h 438"/>
                    <a:gd name="T56" fmla="*/ 129 w 428"/>
                    <a:gd name="T57" fmla="*/ 438 h 438"/>
                    <a:gd name="T58" fmla="*/ 146 w 428"/>
                    <a:gd name="T59" fmla="*/ 427 h 438"/>
                    <a:gd name="T60" fmla="*/ 161 w 428"/>
                    <a:gd name="T61" fmla="*/ 437 h 438"/>
                    <a:gd name="T62" fmla="*/ 177 w 428"/>
                    <a:gd name="T63" fmla="*/ 427 h 438"/>
                    <a:gd name="T64" fmla="*/ 177 w 428"/>
                    <a:gd name="T65" fmla="*/ 396 h 438"/>
                    <a:gd name="T66" fmla="*/ 209 w 428"/>
                    <a:gd name="T67" fmla="*/ 349 h 438"/>
                    <a:gd name="T68" fmla="*/ 240 w 428"/>
                    <a:gd name="T69" fmla="*/ 334 h 438"/>
                    <a:gd name="T70" fmla="*/ 287 w 428"/>
                    <a:gd name="T71" fmla="*/ 302 h 438"/>
                    <a:gd name="T72" fmla="*/ 318 w 428"/>
                    <a:gd name="T73" fmla="*/ 28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8" h="438">
                      <a:moveTo>
                        <a:pt x="318" y="287"/>
                      </a:moveTo>
                      <a:lnTo>
                        <a:pt x="338" y="293"/>
                      </a:lnTo>
                      <a:lnTo>
                        <a:pt x="360" y="284"/>
                      </a:lnTo>
                      <a:lnTo>
                        <a:pt x="398" y="285"/>
                      </a:lnTo>
                      <a:lnTo>
                        <a:pt x="412" y="271"/>
                      </a:lnTo>
                      <a:lnTo>
                        <a:pt x="428" y="256"/>
                      </a:lnTo>
                      <a:lnTo>
                        <a:pt x="428" y="178"/>
                      </a:lnTo>
                      <a:lnTo>
                        <a:pt x="397" y="178"/>
                      </a:lnTo>
                      <a:lnTo>
                        <a:pt x="397" y="147"/>
                      </a:lnTo>
                      <a:lnTo>
                        <a:pt x="369" y="144"/>
                      </a:lnTo>
                      <a:lnTo>
                        <a:pt x="347" y="116"/>
                      </a:lnTo>
                      <a:lnTo>
                        <a:pt x="203" y="2"/>
                      </a:lnTo>
                      <a:lnTo>
                        <a:pt x="152" y="0"/>
                      </a:lnTo>
                      <a:lnTo>
                        <a:pt x="161" y="168"/>
                      </a:lnTo>
                      <a:lnTo>
                        <a:pt x="177" y="282"/>
                      </a:lnTo>
                      <a:lnTo>
                        <a:pt x="60" y="278"/>
                      </a:lnTo>
                      <a:lnTo>
                        <a:pt x="36" y="287"/>
                      </a:lnTo>
                      <a:lnTo>
                        <a:pt x="21" y="271"/>
                      </a:lnTo>
                      <a:lnTo>
                        <a:pt x="5" y="302"/>
                      </a:lnTo>
                      <a:lnTo>
                        <a:pt x="0" y="330"/>
                      </a:lnTo>
                      <a:lnTo>
                        <a:pt x="21" y="365"/>
                      </a:lnTo>
                      <a:lnTo>
                        <a:pt x="20" y="378"/>
                      </a:lnTo>
                      <a:lnTo>
                        <a:pt x="36" y="380"/>
                      </a:lnTo>
                      <a:lnTo>
                        <a:pt x="57" y="380"/>
                      </a:lnTo>
                      <a:lnTo>
                        <a:pt x="78" y="374"/>
                      </a:lnTo>
                      <a:lnTo>
                        <a:pt x="89" y="386"/>
                      </a:lnTo>
                      <a:lnTo>
                        <a:pt x="99" y="427"/>
                      </a:lnTo>
                      <a:lnTo>
                        <a:pt x="115" y="427"/>
                      </a:lnTo>
                      <a:lnTo>
                        <a:pt x="129" y="438"/>
                      </a:lnTo>
                      <a:lnTo>
                        <a:pt x="146" y="427"/>
                      </a:lnTo>
                      <a:lnTo>
                        <a:pt x="161" y="437"/>
                      </a:lnTo>
                      <a:lnTo>
                        <a:pt x="177" y="427"/>
                      </a:lnTo>
                      <a:lnTo>
                        <a:pt x="177" y="396"/>
                      </a:lnTo>
                      <a:lnTo>
                        <a:pt x="209" y="349"/>
                      </a:lnTo>
                      <a:lnTo>
                        <a:pt x="240" y="334"/>
                      </a:lnTo>
                      <a:lnTo>
                        <a:pt x="287" y="302"/>
                      </a:lnTo>
                      <a:lnTo>
                        <a:pt x="318" y="28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2" name="Freeform 87"/>
                <p:cNvSpPr>
                  <a:spLocks/>
                </p:cNvSpPr>
                <p:nvPr/>
              </p:nvSpPr>
              <p:spPr bwMode="auto">
                <a:xfrm>
                  <a:off x="4608149" y="2962729"/>
                  <a:ext cx="418843" cy="404404"/>
                </a:xfrm>
                <a:custGeom>
                  <a:avLst/>
                  <a:gdLst>
                    <a:gd name="T0" fmla="*/ 407 w 407"/>
                    <a:gd name="T1" fmla="*/ 326 h 404"/>
                    <a:gd name="T2" fmla="*/ 398 w 407"/>
                    <a:gd name="T3" fmla="*/ 140 h 404"/>
                    <a:gd name="T4" fmla="*/ 391 w 407"/>
                    <a:gd name="T5" fmla="*/ 93 h 404"/>
                    <a:gd name="T6" fmla="*/ 391 w 407"/>
                    <a:gd name="T7" fmla="*/ 47 h 404"/>
                    <a:gd name="T8" fmla="*/ 386 w 407"/>
                    <a:gd name="T9" fmla="*/ 37 h 404"/>
                    <a:gd name="T10" fmla="*/ 356 w 407"/>
                    <a:gd name="T11" fmla="*/ 29 h 404"/>
                    <a:gd name="T12" fmla="*/ 344 w 407"/>
                    <a:gd name="T13" fmla="*/ 16 h 404"/>
                    <a:gd name="T14" fmla="*/ 318 w 407"/>
                    <a:gd name="T15" fmla="*/ 7 h 404"/>
                    <a:gd name="T16" fmla="*/ 290 w 407"/>
                    <a:gd name="T17" fmla="*/ 10 h 404"/>
                    <a:gd name="T18" fmla="*/ 266 w 407"/>
                    <a:gd name="T19" fmla="*/ 31 h 404"/>
                    <a:gd name="T20" fmla="*/ 270 w 407"/>
                    <a:gd name="T21" fmla="*/ 56 h 404"/>
                    <a:gd name="T22" fmla="*/ 266 w 407"/>
                    <a:gd name="T23" fmla="*/ 78 h 404"/>
                    <a:gd name="T24" fmla="*/ 250 w 407"/>
                    <a:gd name="T25" fmla="*/ 93 h 404"/>
                    <a:gd name="T26" fmla="*/ 235 w 407"/>
                    <a:gd name="T27" fmla="*/ 78 h 404"/>
                    <a:gd name="T28" fmla="*/ 204 w 407"/>
                    <a:gd name="T29" fmla="*/ 62 h 404"/>
                    <a:gd name="T30" fmla="*/ 179 w 407"/>
                    <a:gd name="T31" fmla="*/ 58 h 404"/>
                    <a:gd name="T32" fmla="*/ 157 w 407"/>
                    <a:gd name="T33" fmla="*/ 47 h 404"/>
                    <a:gd name="T34" fmla="*/ 157 w 407"/>
                    <a:gd name="T35" fmla="*/ 31 h 404"/>
                    <a:gd name="T36" fmla="*/ 125 w 407"/>
                    <a:gd name="T37" fmla="*/ 16 h 404"/>
                    <a:gd name="T38" fmla="*/ 84 w 407"/>
                    <a:gd name="T39" fmla="*/ 10 h 404"/>
                    <a:gd name="T40" fmla="*/ 47 w 407"/>
                    <a:gd name="T41" fmla="*/ 0 h 404"/>
                    <a:gd name="T42" fmla="*/ 54 w 407"/>
                    <a:gd name="T43" fmla="*/ 17 h 404"/>
                    <a:gd name="T44" fmla="*/ 47 w 407"/>
                    <a:gd name="T45" fmla="*/ 31 h 404"/>
                    <a:gd name="T46" fmla="*/ 16 w 407"/>
                    <a:gd name="T47" fmla="*/ 47 h 404"/>
                    <a:gd name="T48" fmla="*/ 26 w 407"/>
                    <a:gd name="T49" fmla="*/ 64 h 404"/>
                    <a:gd name="T50" fmla="*/ 16 w 407"/>
                    <a:gd name="T51" fmla="*/ 78 h 404"/>
                    <a:gd name="T52" fmla="*/ 0 w 407"/>
                    <a:gd name="T53" fmla="*/ 78 h 404"/>
                    <a:gd name="T54" fmla="*/ 0 w 407"/>
                    <a:gd name="T55" fmla="*/ 93 h 404"/>
                    <a:gd name="T56" fmla="*/ 16 w 407"/>
                    <a:gd name="T57" fmla="*/ 109 h 404"/>
                    <a:gd name="T58" fmla="*/ 16 w 407"/>
                    <a:gd name="T59" fmla="*/ 155 h 404"/>
                    <a:gd name="T60" fmla="*/ 16 w 407"/>
                    <a:gd name="T61" fmla="*/ 186 h 404"/>
                    <a:gd name="T62" fmla="*/ 0 w 407"/>
                    <a:gd name="T63" fmla="*/ 202 h 404"/>
                    <a:gd name="T64" fmla="*/ 31 w 407"/>
                    <a:gd name="T65" fmla="*/ 249 h 404"/>
                    <a:gd name="T66" fmla="*/ 47 w 407"/>
                    <a:gd name="T67" fmla="*/ 249 h 404"/>
                    <a:gd name="T68" fmla="*/ 63 w 407"/>
                    <a:gd name="T69" fmla="*/ 280 h 404"/>
                    <a:gd name="T70" fmla="*/ 114 w 407"/>
                    <a:gd name="T71" fmla="*/ 296 h 404"/>
                    <a:gd name="T72" fmla="*/ 129 w 407"/>
                    <a:gd name="T73" fmla="*/ 313 h 404"/>
                    <a:gd name="T74" fmla="*/ 141 w 407"/>
                    <a:gd name="T75" fmla="*/ 295 h 404"/>
                    <a:gd name="T76" fmla="*/ 176 w 407"/>
                    <a:gd name="T77" fmla="*/ 284 h 404"/>
                    <a:gd name="T78" fmla="*/ 188 w 407"/>
                    <a:gd name="T79" fmla="*/ 295 h 404"/>
                    <a:gd name="T80" fmla="*/ 376 w 407"/>
                    <a:gd name="T81" fmla="*/ 404 h 404"/>
                    <a:gd name="T82" fmla="*/ 376 w 407"/>
                    <a:gd name="T83" fmla="*/ 388 h 404"/>
                    <a:gd name="T84" fmla="*/ 407 w 407"/>
                    <a:gd name="T85" fmla="*/ 388 h 404"/>
                    <a:gd name="T86" fmla="*/ 407 w 407"/>
                    <a:gd name="T87" fmla="*/ 32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04">
                      <a:moveTo>
                        <a:pt x="407" y="326"/>
                      </a:moveTo>
                      <a:lnTo>
                        <a:pt x="398" y="140"/>
                      </a:lnTo>
                      <a:lnTo>
                        <a:pt x="391" y="93"/>
                      </a:lnTo>
                      <a:lnTo>
                        <a:pt x="391" y="47"/>
                      </a:lnTo>
                      <a:lnTo>
                        <a:pt x="386" y="37"/>
                      </a:lnTo>
                      <a:lnTo>
                        <a:pt x="356" y="29"/>
                      </a:lnTo>
                      <a:lnTo>
                        <a:pt x="344" y="16"/>
                      </a:lnTo>
                      <a:lnTo>
                        <a:pt x="318" y="7"/>
                      </a:lnTo>
                      <a:lnTo>
                        <a:pt x="290" y="10"/>
                      </a:lnTo>
                      <a:lnTo>
                        <a:pt x="266" y="31"/>
                      </a:lnTo>
                      <a:lnTo>
                        <a:pt x="270" y="56"/>
                      </a:lnTo>
                      <a:lnTo>
                        <a:pt x="266" y="78"/>
                      </a:lnTo>
                      <a:lnTo>
                        <a:pt x="250" y="93"/>
                      </a:lnTo>
                      <a:lnTo>
                        <a:pt x="235" y="78"/>
                      </a:lnTo>
                      <a:lnTo>
                        <a:pt x="204" y="62"/>
                      </a:lnTo>
                      <a:lnTo>
                        <a:pt x="179" y="58"/>
                      </a:lnTo>
                      <a:lnTo>
                        <a:pt x="157" y="47"/>
                      </a:lnTo>
                      <a:lnTo>
                        <a:pt x="157" y="31"/>
                      </a:lnTo>
                      <a:lnTo>
                        <a:pt x="125" y="16"/>
                      </a:lnTo>
                      <a:lnTo>
                        <a:pt x="84" y="10"/>
                      </a:lnTo>
                      <a:lnTo>
                        <a:pt x="47" y="0"/>
                      </a:lnTo>
                      <a:lnTo>
                        <a:pt x="54" y="17"/>
                      </a:lnTo>
                      <a:lnTo>
                        <a:pt x="47" y="31"/>
                      </a:lnTo>
                      <a:lnTo>
                        <a:pt x="16" y="47"/>
                      </a:lnTo>
                      <a:lnTo>
                        <a:pt x="26" y="64"/>
                      </a:lnTo>
                      <a:lnTo>
                        <a:pt x="16" y="78"/>
                      </a:lnTo>
                      <a:lnTo>
                        <a:pt x="0" y="78"/>
                      </a:lnTo>
                      <a:lnTo>
                        <a:pt x="0" y="93"/>
                      </a:lnTo>
                      <a:lnTo>
                        <a:pt x="16" y="109"/>
                      </a:lnTo>
                      <a:lnTo>
                        <a:pt x="16" y="155"/>
                      </a:lnTo>
                      <a:lnTo>
                        <a:pt x="16" y="186"/>
                      </a:lnTo>
                      <a:lnTo>
                        <a:pt x="0" y="202"/>
                      </a:lnTo>
                      <a:lnTo>
                        <a:pt x="31" y="249"/>
                      </a:lnTo>
                      <a:lnTo>
                        <a:pt x="47" y="249"/>
                      </a:lnTo>
                      <a:lnTo>
                        <a:pt x="63" y="280"/>
                      </a:lnTo>
                      <a:lnTo>
                        <a:pt x="114" y="296"/>
                      </a:lnTo>
                      <a:lnTo>
                        <a:pt x="129" y="313"/>
                      </a:lnTo>
                      <a:lnTo>
                        <a:pt x="141" y="295"/>
                      </a:lnTo>
                      <a:lnTo>
                        <a:pt x="176" y="284"/>
                      </a:lnTo>
                      <a:lnTo>
                        <a:pt x="188" y="295"/>
                      </a:lnTo>
                      <a:lnTo>
                        <a:pt x="376" y="404"/>
                      </a:lnTo>
                      <a:lnTo>
                        <a:pt x="376" y="388"/>
                      </a:lnTo>
                      <a:lnTo>
                        <a:pt x="407" y="388"/>
                      </a:lnTo>
                      <a:lnTo>
                        <a:pt x="407" y="32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3" name="Freeform 88"/>
                <p:cNvSpPr>
                  <a:spLocks/>
                </p:cNvSpPr>
                <p:nvPr/>
              </p:nvSpPr>
              <p:spPr bwMode="auto">
                <a:xfrm>
                  <a:off x="4142769" y="2848047"/>
                  <a:ext cx="530534" cy="535684"/>
                </a:xfrm>
                <a:custGeom>
                  <a:avLst/>
                  <a:gdLst>
                    <a:gd name="T0" fmla="*/ 422 w 516"/>
                    <a:gd name="T1" fmla="*/ 6 h 535"/>
                    <a:gd name="T2" fmla="*/ 393 w 516"/>
                    <a:gd name="T3" fmla="*/ 0 h 535"/>
                    <a:gd name="T4" fmla="*/ 375 w 516"/>
                    <a:gd name="T5" fmla="*/ 6 h 535"/>
                    <a:gd name="T6" fmla="*/ 357 w 516"/>
                    <a:gd name="T7" fmla="*/ 14 h 535"/>
                    <a:gd name="T8" fmla="*/ 328 w 516"/>
                    <a:gd name="T9" fmla="*/ 6 h 535"/>
                    <a:gd name="T10" fmla="*/ 250 w 516"/>
                    <a:gd name="T11" fmla="*/ 22 h 535"/>
                    <a:gd name="T12" fmla="*/ 227 w 516"/>
                    <a:gd name="T13" fmla="*/ 33 h 535"/>
                    <a:gd name="T14" fmla="*/ 204 w 516"/>
                    <a:gd name="T15" fmla="*/ 41 h 535"/>
                    <a:gd name="T16" fmla="*/ 192 w 516"/>
                    <a:gd name="T17" fmla="*/ 48 h 535"/>
                    <a:gd name="T18" fmla="*/ 172 w 516"/>
                    <a:gd name="T19" fmla="*/ 53 h 535"/>
                    <a:gd name="T20" fmla="*/ 188 w 516"/>
                    <a:gd name="T21" fmla="*/ 68 h 535"/>
                    <a:gd name="T22" fmla="*/ 188 w 516"/>
                    <a:gd name="T23" fmla="*/ 146 h 535"/>
                    <a:gd name="T24" fmla="*/ 125 w 516"/>
                    <a:gd name="T25" fmla="*/ 162 h 535"/>
                    <a:gd name="T26" fmla="*/ 125 w 516"/>
                    <a:gd name="T27" fmla="*/ 177 h 535"/>
                    <a:gd name="T28" fmla="*/ 94 w 516"/>
                    <a:gd name="T29" fmla="*/ 208 h 535"/>
                    <a:gd name="T30" fmla="*/ 48 w 516"/>
                    <a:gd name="T31" fmla="*/ 219 h 535"/>
                    <a:gd name="T32" fmla="*/ 14 w 516"/>
                    <a:gd name="T33" fmla="*/ 242 h 535"/>
                    <a:gd name="T34" fmla="*/ 0 w 516"/>
                    <a:gd name="T35" fmla="*/ 271 h 535"/>
                    <a:gd name="T36" fmla="*/ 0 w 516"/>
                    <a:gd name="T37" fmla="*/ 286 h 535"/>
                    <a:gd name="T38" fmla="*/ 108 w 516"/>
                    <a:gd name="T39" fmla="*/ 363 h 535"/>
                    <a:gd name="T40" fmla="*/ 249 w 516"/>
                    <a:gd name="T41" fmla="*/ 473 h 535"/>
                    <a:gd name="T42" fmla="*/ 272 w 516"/>
                    <a:gd name="T43" fmla="*/ 503 h 535"/>
                    <a:gd name="T44" fmla="*/ 297 w 516"/>
                    <a:gd name="T45" fmla="*/ 504 h 535"/>
                    <a:gd name="T46" fmla="*/ 297 w 516"/>
                    <a:gd name="T47" fmla="*/ 535 h 535"/>
                    <a:gd name="T48" fmla="*/ 328 w 516"/>
                    <a:gd name="T49" fmla="*/ 535 h 535"/>
                    <a:gd name="T50" fmla="*/ 360 w 516"/>
                    <a:gd name="T51" fmla="*/ 519 h 535"/>
                    <a:gd name="T52" fmla="*/ 507 w 516"/>
                    <a:gd name="T53" fmla="*/ 410 h 535"/>
                    <a:gd name="T54" fmla="*/ 516 w 516"/>
                    <a:gd name="T55" fmla="*/ 395 h 535"/>
                    <a:gd name="T56" fmla="*/ 500 w 516"/>
                    <a:gd name="T57" fmla="*/ 364 h 535"/>
                    <a:gd name="T58" fmla="*/ 485 w 516"/>
                    <a:gd name="T59" fmla="*/ 364 h 535"/>
                    <a:gd name="T60" fmla="*/ 453 w 516"/>
                    <a:gd name="T61" fmla="*/ 317 h 535"/>
                    <a:gd name="T62" fmla="*/ 469 w 516"/>
                    <a:gd name="T63" fmla="*/ 302 h 535"/>
                    <a:gd name="T64" fmla="*/ 469 w 516"/>
                    <a:gd name="T65" fmla="*/ 271 h 535"/>
                    <a:gd name="T66" fmla="*/ 469 w 516"/>
                    <a:gd name="T67" fmla="*/ 224 h 535"/>
                    <a:gd name="T68" fmla="*/ 453 w 516"/>
                    <a:gd name="T69" fmla="*/ 208 h 535"/>
                    <a:gd name="T70" fmla="*/ 453 w 516"/>
                    <a:gd name="T71" fmla="*/ 193 h 535"/>
                    <a:gd name="T72" fmla="*/ 453 w 516"/>
                    <a:gd name="T73" fmla="*/ 146 h 535"/>
                    <a:gd name="T74" fmla="*/ 428 w 516"/>
                    <a:gd name="T75" fmla="*/ 134 h 535"/>
                    <a:gd name="T76" fmla="*/ 431 w 516"/>
                    <a:gd name="T77" fmla="*/ 120 h 535"/>
                    <a:gd name="T78" fmla="*/ 410 w 516"/>
                    <a:gd name="T79" fmla="*/ 95 h 535"/>
                    <a:gd name="T80" fmla="*/ 431 w 516"/>
                    <a:gd name="T81" fmla="*/ 60 h 535"/>
                    <a:gd name="T82" fmla="*/ 428 w 516"/>
                    <a:gd name="T83" fmla="*/ 20 h 535"/>
                    <a:gd name="T84" fmla="*/ 438 w 516"/>
                    <a:gd name="T85" fmla="*/ 6 h 535"/>
                    <a:gd name="T86" fmla="*/ 422 w 516"/>
                    <a:gd name="T87" fmla="*/ 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6" h="535">
                      <a:moveTo>
                        <a:pt x="422" y="6"/>
                      </a:moveTo>
                      <a:lnTo>
                        <a:pt x="393" y="0"/>
                      </a:lnTo>
                      <a:lnTo>
                        <a:pt x="375" y="6"/>
                      </a:lnTo>
                      <a:lnTo>
                        <a:pt x="357" y="14"/>
                      </a:lnTo>
                      <a:lnTo>
                        <a:pt x="328" y="6"/>
                      </a:lnTo>
                      <a:lnTo>
                        <a:pt x="250" y="22"/>
                      </a:lnTo>
                      <a:lnTo>
                        <a:pt x="227" y="33"/>
                      </a:lnTo>
                      <a:lnTo>
                        <a:pt x="204" y="41"/>
                      </a:lnTo>
                      <a:lnTo>
                        <a:pt x="192" y="48"/>
                      </a:lnTo>
                      <a:lnTo>
                        <a:pt x="172" y="53"/>
                      </a:lnTo>
                      <a:lnTo>
                        <a:pt x="188" y="68"/>
                      </a:lnTo>
                      <a:lnTo>
                        <a:pt x="188" y="146"/>
                      </a:lnTo>
                      <a:lnTo>
                        <a:pt x="125" y="162"/>
                      </a:lnTo>
                      <a:lnTo>
                        <a:pt x="125" y="177"/>
                      </a:lnTo>
                      <a:lnTo>
                        <a:pt x="94" y="208"/>
                      </a:lnTo>
                      <a:lnTo>
                        <a:pt x="48" y="219"/>
                      </a:lnTo>
                      <a:lnTo>
                        <a:pt x="14" y="242"/>
                      </a:lnTo>
                      <a:lnTo>
                        <a:pt x="0" y="271"/>
                      </a:lnTo>
                      <a:lnTo>
                        <a:pt x="0" y="286"/>
                      </a:lnTo>
                      <a:lnTo>
                        <a:pt x="108" y="363"/>
                      </a:lnTo>
                      <a:lnTo>
                        <a:pt x="249" y="473"/>
                      </a:lnTo>
                      <a:lnTo>
                        <a:pt x="272" y="503"/>
                      </a:lnTo>
                      <a:lnTo>
                        <a:pt x="297" y="504"/>
                      </a:lnTo>
                      <a:lnTo>
                        <a:pt x="297" y="535"/>
                      </a:lnTo>
                      <a:lnTo>
                        <a:pt x="328" y="535"/>
                      </a:lnTo>
                      <a:lnTo>
                        <a:pt x="360" y="519"/>
                      </a:lnTo>
                      <a:lnTo>
                        <a:pt x="507" y="410"/>
                      </a:lnTo>
                      <a:lnTo>
                        <a:pt x="516" y="395"/>
                      </a:lnTo>
                      <a:lnTo>
                        <a:pt x="500" y="364"/>
                      </a:lnTo>
                      <a:lnTo>
                        <a:pt x="485" y="364"/>
                      </a:lnTo>
                      <a:lnTo>
                        <a:pt x="453" y="317"/>
                      </a:lnTo>
                      <a:lnTo>
                        <a:pt x="469" y="302"/>
                      </a:lnTo>
                      <a:lnTo>
                        <a:pt x="469" y="271"/>
                      </a:lnTo>
                      <a:lnTo>
                        <a:pt x="469" y="224"/>
                      </a:lnTo>
                      <a:lnTo>
                        <a:pt x="453" y="208"/>
                      </a:lnTo>
                      <a:lnTo>
                        <a:pt x="453" y="193"/>
                      </a:lnTo>
                      <a:lnTo>
                        <a:pt x="453" y="146"/>
                      </a:lnTo>
                      <a:lnTo>
                        <a:pt x="428" y="134"/>
                      </a:lnTo>
                      <a:lnTo>
                        <a:pt x="431" y="120"/>
                      </a:lnTo>
                      <a:lnTo>
                        <a:pt x="410" y="95"/>
                      </a:lnTo>
                      <a:lnTo>
                        <a:pt x="431" y="60"/>
                      </a:lnTo>
                      <a:lnTo>
                        <a:pt x="428" y="20"/>
                      </a:lnTo>
                      <a:lnTo>
                        <a:pt x="438" y="6"/>
                      </a:lnTo>
                      <a:lnTo>
                        <a:pt x="422" y="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4" name="Freeform 89"/>
                <p:cNvSpPr>
                  <a:spLocks/>
                </p:cNvSpPr>
                <p:nvPr/>
              </p:nvSpPr>
              <p:spPr bwMode="auto">
                <a:xfrm>
                  <a:off x="4721392" y="3246414"/>
                  <a:ext cx="273023" cy="479852"/>
                </a:xfrm>
                <a:custGeom>
                  <a:avLst/>
                  <a:gdLst>
                    <a:gd name="T0" fmla="*/ 43 w 266"/>
                    <a:gd name="T1" fmla="*/ 61 h 480"/>
                    <a:gd name="T2" fmla="*/ 52 w 266"/>
                    <a:gd name="T3" fmla="*/ 82 h 480"/>
                    <a:gd name="T4" fmla="*/ 63 w 266"/>
                    <a:gd name="T5" fmla="*/ 90 h 480"/>
                    <a:gd name="T6" fmla="*/ 47 w 266"/>
                    <a:gd name="T7" fmla="*/ 184 h 480"/>
                    <a:gd name="T8" fmla="*/ 0 w 266"/>
                    <a:gd name="T9" fmla="*/ 277 h 480"/>
                    <a:gd name="T10" fmla="*/ 0 w 266"/>
                    <a:gd name="T11" fmla="*/ 293 h 480"/>
                    <a:gd name="T12" fmla="*/ 16 w 266"/>
                    <a:gd name="T13" fmla="*/ 308 h 480"/>
                    <a:gd name="T14" fmla="*/ 31 w 266"/>
                    <a:gd name="T15" fmla="*/ 324 h 480"/>
                    <a:gd name="T16" fmla="*/ 42 w 266"/>
                    <a:gd name="T17" fmla="*/ 367 h 480"/>
                    <a:gd name="T18" fmla="*/ 47 w 266"/>
                    <a:gd name="T19" fmla="*/ 402 h 480"/>
                    <a:gd name="T20" fmla="*/ 16 w 266"/>
                    <a:gd name="T21" fmla="*/ 402 h 480"/>
                    <a:gd name="T22" fmla="*/ 16 w 266"/>
                    <a:gd name="T23" fmla="*/ 418 h 480"/>
                    <a:gd name="T24" fmla="*/ 31 w 266"/>
                    <a:gd name="T25" fmla="*/ 433 h 480"/>
                    <a:gd name="T26" fmla="*/ 54 w 266"/>
                    <a:gd name="T27" fmla="*/ 450 h 480"/>
                    <a:gd name="T28" fmla="*/ 47 w 266"/>
                    <a:gd name="T29" fmla="*/ 480 h 480"/>
                    <a:gd name="T30" fmla="*/ 125 w 266"/>
                    <a:gd name="T31" fmla="*/ 464 h 480"/>
                    <a:gd name="T32" fmla="*/ 141 w 266"/>
                    <a:gd name="T33" fmla="*/ 449 h 480"/>
                    <a:gd name="T34" fmla="*/ 141 w 266"/>
                    <a:gd name="T35" fmla="*/ 433 h 480"/>
                    <a:gd name="T36" fmla="*/ 188 w 266"/>
                    <a:gd name="T37" fmla="*/ 418 h 480"/>
                    <a:gd name="T38" fmla="*/ 219 w 266"/>
                    <a:gd name="T39" fmla="*/ 386 h 480"/>
                    <a:gd name="T40" fmla="*/ 235 w 266"/>
                    <a:gd name="T41" fmla="*/ 371 h 480"/>
                    <a:gd name="T42" fmla="*/ 240 w 266"/>
                    <a:gd name="T43" fmla="*/ 354 h 480"/>
                    <a:gd name="T44" fmla="*/ 229 w 266"/>
                    <a:gd name="T45" fmla="*/ 328 h 480"/>
                    <a:gd name="T46" fmla="*/ 213 w 266"/>
                    <a:gd name="T47" fmla="*/ 322 h 480"/>
                    <a:gd name="T48" fmla="*/ 219 w 266"/>
                    <a:gd name="T49" fmla="*/ 308 h 480"/>
                    <a:gd name="T50" fmla="*/ 250 w 266"/>
                    <a:gd name="T51" fmla="*/ 230 h 480"/>
                    <a:gd name="T52" fmla="*/ 266 w 266"/>
                    <a:gd name="T53" fmla="*/ 230 h 480"/>
                    <a:gd name="T54" fmla="*/ 266 w 266"/>
                    <a:gd name="T55" fmla="*/ 215 h 480"/>
                    <a:gd name="T56" fmla="*/ 266 w 266"/>
                    <a:gd name="T57" fmla="*/ 121 h 480"/>
                    <a:gd name="T58" fmla="*/ 78 w 266"/>
                    <a:gd name="T59" fmla="*/ 12 h 480"/>
                    <a:gd name="T60" fmla="*/ 67 w 266"/>
                    <a:gd name="T61" fmla="*/ 0 h 480"/>
                    <a:gd name="T62" fmla="*/ 31 w 266"/>
                    <a:gd name="T63" fmla="*/ 12 h 480"/>
                    <a:gd name="T64" fmla="*/ 43 w 266"/>
                    <a:gd name="T65" fmla="*/ 6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6" h="480">
                      <a:moveTo>
                        <a:pt x="43" y="61"/>
                      </a:moveTo>
                      <a:lnTo>
                        <a:pt x="52" y="82"/>
                      </a:lnTo>
                      <a:lnTo>
                        <a:pt x="63" y="90"/>
                      </a:lnTo>
                      <a:lnTo>
                        <a:pt x="47" y="184"/>
                      </a:lnTo>
                      <a:lnTo>
                        <a:pt x="0" y="277"/>
                      </a:lnTo>
                      <a:lnTo>
                        <a:pt x="0" y="293"/>
                      </a:lnTo>
                      <a:lnTo>
                        <a:pt x="16" y="308"/>
                      </a:lnTo>
                      <a:lnTo>
                        <a:pt x="31" y="324"/>
                      </a:lnTo>
                      <a:lnTo>
                        <a:pt x="42" y="367"/>
                      </a:lnTo>
                      <a:lnTo>
                        <a:pt x="47" y="402"/>
                      </a:lnTo>
                      <a:lnTo>
                        <a:pt x="16" y="402"/>
                      </a:lnTo>
                      <a:lnTo>
                        <a:pt x="16" y="418"/>
                      </a:lnTo>
                      <a:lnTo>
                        <a:pt x="31" y="433"/>
                      </a:lnTo>
                      <a:lnTo>
                        <a:pt x="54" y="450"/>
                      </a:lnTo>
                      <a:lnTo>
                        <a:pt x="47" y="480"/>
                      </a:lnTo>
                      <a:lnTo>
                        <a:pt x="125" y="464"/>
                      </a:lnTo>
                      <a:lnTo>
                        <a:pt x="141" y="449"/>
                      </a:lnTo>
                      <a:lnTo>
                        <a:pt x="141" y="433"/>
                      </a:lnTo>
                      <a:lnTo>
                        <a:pt x="188" y="418"/>
                      </a:lnTo>
                      <a:lnTo>
                        <a:pt x="219" y="386"/>
                      </a:lnTo>
                      <a:lnTo>
                        <a:pt x="235" y="371"/>
                      </a:lnTo>
                      <a:lnTo>
                        <a:pt x="240" y="354"/>
                      </a:lnTo>
                      <a:lnTo>
                        <a:pt x="229" y="328"/>
                      </a:lnTo>
                      <a:lnTo>
                        <a:pt x="213" y="322"/>
                      </a:lnTo>
                      <a:lnTo>
                        <a:pt x="219" y="308"/>
                      </a:lnTo>
                      <a:lnTo>
                        <a:pt x="250" y="230"/>
                      </a:lnTo>
                      <a:lnTo>
                        <a:pt x="266" y="230"/>
                      </a:lnTo>
                      <a:lnTo>
                        <a:pt x="266" y="215"/>
                      </a:lnTo>
                      <a:lnTo>
                        <a:pt x="266" y="121"/>
                      </a:lnTo>
                      <a:lnTo>
                        <a:pt x="78" y="12"/>
                      </a:lnTo>
                      <a:lnTo>
                        <a:pt x="67" y="0"/>
                      </a:lnTo>
                      <a:lnTo>
                        <a:pt x="31" y="12"/>
                      </a:lnTo>
                      <a:lnTo>
                        <a:pt x="43" y="6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5" name="Freeform 90"/>
                <p:cNvSpPr>
                  <a:spLocks/>
                </p:cNvSpPr>
                <p:nvPr/>
              </p:nvSpPr>
              <p:spPr bwMode="auto">
                <a:xfrm>
                  <a:off x="5155746" y="3819823"/>
                  <a:ext cx="144268" cy="153915"/>
                </a:xfrm>
                <a:custGeom>
                  <a:avLst/>
                  <a:gdLst>
                    <a:gd name="T0" fmla="*/ 109 w 140"/>
                    <a:gd name="T1" fmla="*/ 0 h 155"/>
                    <a:gd name="T2" fmla="*/ 100 w 140"/>
                    <a:gd name="T3" fmla="*/ 10 h 155"/>
                    <a:gd name="T4" fmla="*/ 62 w 140"/>
                    <a:gd name="T5" fmla="*/ 16 h 155"/>
                    <a:gd name="T6" fmla="*/ 31 w 140"/>
                    <a:gd name="T7" fmla="*/ 16 h 155"/>
                    <a:gd name="T8" fmla="*/ 31 w 140"/>
                    <a:gd name="T9" fmla="*/ 47 h 155"/>
                    <a:gd name="T10" fmla="*/ 47 w 140"/>
                    <a:gd name="T11" fmla="*/ 62 h 155"/>
                    <a:gd name="T12" fmla="*/ 31 w 140"/>
                    <a:gd name="T13" fmla="*/ 78 h 155"/>
                    <a:gd name="T14" fmla="*/ 2 w 140"/>
                    <a:gd name="T15" fmla="*/ 105 h 155"/>
                    <a:gd name="T16" fmla="*/ 0 w 140"/>
                    <a:gd name="T17" fmla="*/ 155 h 155"/>
                    <a:gd name="T18" fmla="*/ 16 w 140"/>
                    <a:gd name="T19" fmla="*/ 155 h 155"/>
                    <a:gd name="T20" fmla="*/ 62 w 140"/>
                    <a:gd name="T21" fmla="*/ 155 h 155"/>
                    <a:gd name="T22" fmla="*/ 53 w 140"/>
                    <a:gd name="T23" fmla="*/ 138 h 155"/>
                    <a:gd name="T24" fmla="*/ 67 w 140"/>
                    <a:gd name="T25" fmla="*/ 118 h 155"/>
                    <a:gd name="T26" fmla="*/ 97 w 140"/>
                    <a:gd name="T27" fmla="*/ 114 h 155"/>
                    <a:gd name="T28" fmla="*/ 109 w 140"/>
                    <a:gd name="T29" fmla="*/ 109 h 155"/>
                    <a:gd name="T30" fmla="*/ 140 w 140"/>
                    <a:gd name="T31" fmla="*/ 62 h 155"/>
                    <a:gd name="T32" fmla="*/ 128 w 140"/>
                    <a:gd name="T33" fmla="*/ 9 h 155"/>
                    <a:gd name="T34" fmla="*/ 109 w 140"/>
                    <a:gd name="T3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55">
                      <a:moveTo>
                        <a:pt x="109" y="0"/>
                      </a:moveTo>
                      <a:lnTo>
                        <a:pt x="100" y="10"/>
                      </a:lnTo>
                      <a:lnTo>
                        <a:pt x="62" y="16"/>
                      </a:lnTo>
                      <a:lnTo>
                        <a:pt x="31" y="16"/>
                      </a:lnTo>
                      <a:lnTo>
                        <a:pt x="31" y="47"/>
                      </a:lnTo>
                      <a:lnTo>
                        <a:pt x="47" y="62"/>
                      </a:lnTo>
                      <a:lnTo>
                        <a:pt x="31" y="78"/>
                      </a:lnTo>
                      <a:lnTo>
                        <a:pt x="2" y="105"/>
                      </a:lnTo>
                      <a:lnTo>
                        <a:pt x="0" y="155"/>
                      </a:lnTo>
                      <a:lnTo>
                        <a:pt x="16" y="155"/>
                      </a:lnTo>
                      <a:lnTo>
                        <a:pt x="62" y="155"/>
                      </a:lnTo>
                      <a:lnTo>
                        <a:pt x="53" y="138"/>
                      </a:lnTo>
                      <a:lnTo>
                        <a:pt x="67" y="118"/>
                      </a:lnTo>
                      <a:lnTo>
                        <a:pt x="97" y="114"/>
                      </a:lnTo>
                      <a:lnTo>
                        <a:pt x="109" y="109"/>
                      </a:lnTo>
                      <a:lnTo>
                        <a:pt x="140" y="62"/>
                      </a:lnTo>
                      <a:lnTo>
                        <a:pt x="128" y="9"/>
                      </a:lnTo>
                      <a:lnTo>
                        <a:pt x="109"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6" name="Freeform 91"/>
                <p:cNvSpPr>
                  <a:spLocks/>
                </p:cNvSpPr>
                <p:nvPr/>
              </p:nvSpPr>
              <p:spPr bwMode="auto">
                <a:xfrm>
                  <a:off x="5267438" y="3804733"/>
                  <a:ext cx="209421" cy="279159"/>
                </a:xfrm>
                <a:custGeom>
                  <a:avLst/>
                  <a:gdLst>
                    <a:gd name="T0" fmla="*/ 110 w 204"/>
                    <a:gd name="T1" fmla="*/ 248 h 279"/>
                    <a:gd name="T2" fmla="*/ 94 w 204"/>
                    <a:gd name="T3" fmla="*/ 217 h 279"/>
                    <a:gd name="T4" fmla="*/ 16 w 204"/>
                    <a:gd name="T5" fmla="*/ 171 h 279"/>
                    <a:gd name="T6" fmla="*/ 0 w 204"/>
                    <a:gd name="T7" fmla="*/ 171 h 279"/>
                    <a:gd name="T8" fmla="*/ 9 w 204"/>
                    <a:gd name="T9" fmla="*/ 156 h 279"/>
                    <a:gd name="T10" fmla="*/ 22 w 204"/>
                    <a:gd name="T11" fmla="*/ 142 h 279"/>
                    <a:gd name="T12" fmla="*/ 6 w 204"/>
                    <a:gd name="T13" fmla="*/ 142 h 279"/>
                    <a:gd name="T14" fmla="*/ 0 w 204"/>
                    <a:gd name="T15" fmla="*/ 124 h 279"/>
                    <a:gd name="T16" fmla="*/ 31 w 204"/>
                    <a:gd name="T17" fmla="*/ 78 h 279"/>
                    <a:gd name="T18" fmla="*/ 19 w 204"/>
                    <a:gd name="T19" fmla="*/ 27 h 279"/>
                    <a:gd name="T20" fmla="*/ 0 w 204"/>
                    <a:gd name="T21" fmla="*/ 16 h 279"/>
                    <a:gd name="T22" fmla="*/ 16 w 204"/>
                    <a:gd name="T23" fmla="*/ 0 h 279"/>
                    <a:gd name="T24" fmla="*/ 47 w 204"/>
                    <a:gd name="T25" fmla="*/ 0 h 279"/>
                    <a:gd name="T26" fmla="*/ 85 w 204"/>
                    <a:gd name="T27" fmla="*/ 9 h 279"/>
                    <a:gd name="T28" fmla="*/ 110 w 204"/>
                    <a:gd name="T29" fmla="*/ 31 h 279"/>
                    <a:gd name="T30" fmla="*/ 141 w 204"/>
                    <a:gd name="T31" fmla="*/ 31 h 279"/>
                    <a:gd name="T32" fmla="*/ 175 w 204"/>
                    <a:gd name="T33" fmla="*/ 12 h 279"/>
                    <a:gd name="T34" fmla="*/ 188 w 204"/>
                    <a:gd name="T35" fmla="*/ 16 h 279"/>
                    <a:gd name="T36" fmla="*/ 204 w 204"/>
                    <a:gd name="T37" fmla="*/ 16 h 279"/>
                    <a:gd name="T38" fmla="*/ 188 w 204"/>
                    <a:gd name="T39" fmla="*/ 62 h 279"/>
                    <a:gd name="T40" fmla="*/ 188 w 204"/>
                    <a:gd name="T41" fmla="*/ 155 h 279"/>
                    <a:gd name="T42" fmla="*/ 204 w 204"/>
                    <a:gd name="T43" fmla="*/ 186 h 279"/>
                    <a:gd name="T44" fmla="*/ 181 w 204"/>
                    <a:gd name="T45" fmla="*/ 205 h 279"/>
                    <a:gd name="T46" fmla="*/ 162 w 204"/>
                    <a:gd name="T47" fmla="*/ 223 h 279"/>
                    <a:gd name="T48" fmla="*/ 156 w 204"/>
                    <a:gd name="T49" fmla="*/ 247 h 279"/>
                    <a:gd name="T50" fmla="*/ 141 w 204"/>
                    <a:gd name="T51" fmla="*/ 279 h 279"/>
                    <a:gd name="T52" fmla="*/ 110 w 204"/>
                    <a:gd name="T53" fmla="*/ 24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4" h="279">
                      <a:moveTo>
                        <a:pt x="110" y="248"/>
                      </a:moveTo>
                      <a:lnTo>
                        <a:pt x="94" y="217"/>
                      </a:lnTo>
                      <a:lnTo>
                        <a:pt x="16" y="171"/>
                      </a:lnTo>
                      <a:lnTo>
                        <a:pt x="0" y="171"/>
                      </a:lnTo>
                      <a:lnTo>
                        <a:pt x="9" y="156"/>
                      </a:lnTo>
                      <a:lnTo>
                        <a:pt x="22" y="142"/>
                      </a:lnTo>
                      <a:lnTo>
                        <a:pt x="6" y="142"/>
                      </a:lnTo>
                      <a:lnTo>
                        <a:pt x="0" y="124"/>
                      </a:lnTo>
                      <a:lnTo>
                        <a:pt x="31" y="78"/>
                      </a:lnTo>
                      <a:lnTo>
                        <a:pt x="19" y="27"/>
                      </a:lnTo>
                      <a:lnTo>
                        <a:pt x="0" y="16"/>
                      </a:lnTo>
                      <a:lnTo>
                        <a:pt x="16" y="0"/>
                      </a:lnTo>
                      <a:lnTo>
                        <a:pt x="47" y="0"/>
                      </a:lnTo>
                      <a:lnTo>
                        <a:pt x="85" y="9"/>
                      </a:lnTo>
                      <a:lnTo>
                        <a:pt x="110" y="31"/>
                      </a:lnTo>
                      <a:lnTo>
                        <a:pt x="141" y="31"/>
                      </a:lnTo>
                      <a:lnTo>
                        <a:pt x="175" y="12"/>
                      </a:lnTo>
                      <a:lnTo>
                        <a:pt x="188" y="16"/>
                      </a:lnTo>
                      <a:lnTo>
                        <a:pt x="204" y="16"/>
                      </a:lnTo>
                      <a:lnTo>
                        <a:pt x="188" y="62"/>
                      </a:lnTo>
                      <a:lnTo>
                        <a:pt x="188" y="155"/>
                      </a:lnTo>
                      <a:lnTo>
                        <a:pt x="204" y="186"/>
                      </a:lnTo>
                      <a:lnTo>
                        <a:pt x="181" y="205"/>
                      </a:lnTo>
                      <a:lnTo>
                        <a:pt x="162" y="223"/>
                      </a:lnTo>
                      <a:lnTo>
                        <a:pt x="156" y="247"/>
                      </a:lnTo>
                      <a:lnTo>
                        <a:pt x="141" y="279"/>
                      </a:lnTo>
                      <a:lnTo>
                        <a:pt x="110" y="24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7" name="Freeform 92"/>
                <p:cNvSpPr>
                  <a:spLocks/>
                </p:cNvSpPr>
                <p:nvPr/>
              </p:nvSpPr>
              <p:spPr bwMode="auto">
                <a:xfrm>
                  <a:off x="5155746" y="3973737"/>
                  <a:ext cx="290087" cy="313866"/>
                </a:xfrm>
                <a:custGeom>
                  <a:avLst/>
                  <a:gdLst>
                    <a:gd name="T0" fmla="*/ 16 w 282"/>
                    <a:gd name="T1" fmla="*/ 0 h 313"/>
                    <a:gd name="T2" fmla="*/ 31 w 282"/>
                    <a:gd name="T3" fmla="*/ 16 h 313"/>
                    <a:gd name="T4" fmla="*/ 31 w 282"/>
                    <a:gd name="T5" fmla="*/ 31 h 313"/>
                    <a:gd name="T6" fmla="*/ 31 w 282"/>
                    <a:gd name="T7" fmla="*/ 62 h 313"/>
                    <a:gd name="T8" fmla="*/ 0 w 282"/>
                    <a:gd name="T9" fmla="*/ 94 h 313"/>
                    <a:gd name="T10" fmla="*/ 4 w 282"/>
                    <a:gd name="T11" fmla="*/ 133 h 313"/>
                    <a:gd name="T12" fmla="*/ 0 w 282"/>
                    <a:gd name="T13" fmla="*/ 156 h 313"/>
                    <a:gd name="T14" fmla="*/ 16 w 282"/>
                    <a:gd name="T15" fmla="*/ 164 h 313"/>
                    <a:gd name="T16" fmla="*/ 23 w 282"/>
                    <a:gd name="T17" fmla="*/ 188 h 313"/>
                    <a:gd name="T18" fmla="*/ 31 w 282"/>
                    <a:gd name="T19" fmla="*/ 203 h 313"/>
                    <a:gd name="T20" fmla="*/ 31 w 282"/>
                    <a:gd name="T21" fmla="*/ 218 h 313"/>
                    <a:gd name="T22" fmla="*/ 47 w 282"/>
                    <a:gd name="T23" fmla="*/ 218 h 313"/>
                    <a:gd name="T24" fmla="*/ 94 w 282"/>
                    <a:gd name="T25" fmla="*/ 250 h 313"/>
                    <a:gd name="T26" fmla="*/ 110 w 282"/>
                    <a:gd name="T27" fmla="*/ 250 h 313"/>
                    <a:gd name="T28" fmla="*/ 125 w 282"/>
                    <a:gd name="T29" fmla="*/ 265 h 313"/>
                    <a:gd name="T30" fmla="*/ 141 w 282"/>
                    <a:gd name="T31" fmla="*/ 312 h 313"/>
                    <a:gd name="T32" fmla="*/ 172 w 282"/>
                    <a:gd name="T33" fmla="*/ 312 h 313"/>
                    <a:gd name="T34" fmla="*/ 211 w 282"/>
                    <a:gd name="T35" fmla="*/ 313 h 313"/>
                    <a:gd name="T36" fmla="*/ 251 w 282"/>
                    <a:gd name="T37" fmla="*/ 296 h 313"/>
                    <a:gd name="T38" fmla="*/ 282 w 282"/>
                    <a:gd name="T39" fmla="*/ 281 h 313"/>
                    <a:gd name="T40" fmla="*/ 266 w 282"/>
                    <a:gd name="T41" fmla="*/ 265 h 313"/>
                    <a:gd name="T42" fmla="*/ 251 w 282"/>
                    <a:gd name="T43" fmla="*/ 234 h 313"/>
                    <a:gd name="T44" fmla="*/ 253 w 282"/>
                    <a:gd name="T45" fmla="*/ 197 h 313"/>
                    <a:gd name="T46" fmla="*/ 248 w 282"/>
                    <a:gd name="T47" fmla="*/ 167 h 313"/>
                    <a:gd name="T48" fmla="*/ 235 w 282"/>
                    <a:gd name="T49" fmla="*/ 140 h 313"/>
                    <a:gd name="T50" fmla="*/ 251 w 282"/>
                    <a:gd name="T51" fmla="*/ 109 h 313"/>
                    <a:gd name="T52" fmla="*/ 219 w 282"/>
                    <a:gd name="T53" fmla="*/ 78 h 313"/>
                    <a:gd name="T54" fmla="*/ 204 w 282"/>
                    <a:gd name="T55" fmla="*/ 47 h 313"/>
                    <a:gd name="T56" fmla="*/ 125 w 282"/>
                    <a:gd name="T57" fmla="*/ 0 h 313"/>
                    <a:gd name="T58" fmla="*/ 110 w 282"/>
                    <a:gd name="T59" fmla="*/ 0 h 313"/>
                    <a:gd name="T60" fmla="*/ 103 w 282"/>
                    <a:gd name="T61" fmla="*/ 28 h 313"/>
                    <a:gd name="T62" fmla="*/ 103 w 282"/>
                    <a:gd name="T63" fmla="*/ 38 h 313"/>
                    <a:gd name="T64" fmla="*/ 94 w 282"/>
                    <a:gd name="T65" fmla="*/ 43 h 313"/>
                    <a:gd name="T66" fmla="*/ 70 w 282"/>
                    <a:gd name="T67" fmla="*/ 40 h 313"/>
                    <a:gd name="T68" fmla="*/ 58 w 282"/>
                    <a:gd name="T69" fmla="*/ 53 h 313"/>
                    <a:gd name="T70" fmla="*/ 52 w 282"/>
                    <a:gd name="T71" fmla="*/ 28 h 313"/>
                    <a:gd name="T72" fmla="*/ 63 w 282"/>
                    <a:gd name="T73" fmla="*/ 0 h 313"/>
                    <a:gd name="T74" fmla="*/ 16 w 282"/>
                    <a:gd name="T7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3">
                      <a:moveTo>
                        <a:pt x="16" y="0"/>
                      </a:moveTo>
                      <a:lnTo>
                        <a:pt x="31" y="16"/>
                      </a:lnTo>
                      <a:lnTo>
                        <a:pt x="31" y="31"/>
                      </a:lnTo>
                      <a:lnTo>
                        <a:pt x="31" y="62"/>
                      </a:lnTo>
                      <a:lnTo>
                        <a:pt x="0" y="94"/>
                      </a:lnTo>
                      <a:lnTo>
                        <a:pt x="4" y="133"/>
                      </a:lnTo>
                      <a:lnTo>
                        <a:pt x="0" y="156"/>
                      </a:lnTo>
                      <a:lnTo>
                        <a:pt x="16" y="164"/>
                      </a:lnTo>
                      <a:lnTo>
                        <a:pt x="23" y="188"/>
                      </a:lnTo>
                      <a:lnTo>
                        <a:pt x="31" y="203"/>
                      </a:lnTo>
                      <a:lnTo>
                        <a:pt x="31" y="218"/>
                      </a:lnTo>
                      <a:lnTo>
                        <a:pt x="47" y="218"/>
                      </a:lnTo>
                      <a:lnTo>
                        <a:pt x="94" y="250"/>
                      </a:lnTo>
                      <a:lnTo>
                        <a:pt x="110" y="250"/>
                      </a:lnTo>
                      <a:lnTo>
                        <a:pt x="125" y="265"/>
                      </a:lnTo>
                      <a:lnTo>
                        <a:pt x="141" y="312"/>
                      </a:lnTo>
                      <a:lnTo>
                        <a:pt x="172" y="312"/>
                      </a:lnTo>
                      <a:lnTo>
                        <a:pt x="211" y="313"/>
                      </a:lnTo>
                      <a:lnTo>
                        <a:pt x="251" y="296"/>
                      </a:lnTo>
                      <a:lnTo>
                        <a:pt x="282" y="281"/>
                      </a:lnTo>
                      <a:lnTo>
                        <a:pt x="266" y="265"/>
                      </a:lnTo>
                      <a:lnTo>
                        <a:pt x="251" y="234"/>
                      </a:lnTo>
                      <a:lnTo>
                        <a:pt x="253" y="197"/>
                      </a:lnTo>
                      <a:lnTo>
                        <a:pt x="248" y="167"/>
                      </a:lnTo>
                      <a:lnTo>
                        <a:pt x="235" y="140"/>
                      </a:lnTo>
                      <a:lnTo>
                        <a:pt x="251" y="109"/>
                      </a:lnTo>
                      <a:lnTo>
                        <a:pt x="219" y="78"/>
                      </a:lnTo>
                      <a:lnTo>
                        <a:pt x="204" y="47"/>
                      </a:lnTo>
                      <a:lnTo>
                        <a:pt x="125" y="0"/>
                      </a:lnTo>
                      <a:lnTo>
                        <a:pt x="110" y="0"/>
                      </a:lnTo>
                      <a:lnTo>
                        <a:pt x="103" y="28"/>
                      </a:lnTo>
                      <a:lnTo>
                        <a:pt x="103" y="38"/>
                      </a:lnTo>
                      <a:lnTo>
                        <a:pt x="94" y="43"/>
                      </a:lnTo>
                      <a:lnTo>
                        <a:pt x="70" y="40"/>
                      </a:lnTo>
                      <a:lnTo>
                        <a:pt x="58" y="53"/>
                      </a:lnTo>
                      <a:lnTo>
                        <a:pt x="52" y="28"/>
                      </a:lnTo>
                      <a:lnTo>
                        <a:pt x="63" y="0"/>
                      </a:lnTo>
                      <a:lnTo>
                        <a:pt x="16"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8" name="Freeform 93"/>
                <p:cNvSpPr>
                  <a:spLocks/>
                </p:cNvSpPr>
                <p:nvPr/>
              </p:nvSpPr>
              <p:spPr bwMode="auto">
                <a:xfrm>
                  <a:off x="4946326" y="4177448"/>
                  <a:ext cx="321112" cy="295758"/>
                </a:xfrm>
                <a:custGeom>
                  <a:avLst/>
                  <a:gdLst>
                    <a:gd name="T0" fmla="*/ 187 w 312"/>
                    <a:gd name="T1" fmla="*/ 234 h 296"/>
                    <a:gd name="T2" fmla="*/ 172 w 312"/>
                    <a:gd name="T3" fmla="*/ 249 h 296"/>
                    <a:gd name="T4" fmla="*/ 125 w 312"/>
                    <a:gd name="T5" fmla="*/ 296 h 296"/>
                    <a:gd name="T6" fmla="*/ 78 w 312"/>
                    <a:gd name="T7" fmla="*/ 296 h 296"/>
                    <a:gd name="T8" fmla="*/ 76 w 312"/>
                    <a:gd name="T9" fmla="*/ 279 h 296"/>
                    <a:gd name="T10" fmla="*/ 47 w 312"/>
                    <a:gd name="T11" fmla="*/ 280 h 296"/>
                    <a:gd name="T12" fmla="*/ 31 w 312"/>
                    <a:gd name="T13" fmla="*/ 280 h 296"/>
                    <a:gd name="T14" fmla="*/ 0 w 312"/>
                    <a:gd name="T15" fmla="*/ 249 h 296"/>
                    <a:gd name="T16" fmla="*/ 0 w 312"/>
                    <a:gd name="T17" fmla="*/ 156 h 296"/>
                    <a:gd name="T18" fmla="*/ 62 w 312"/>
                    <a:gd name="T19" fmla="*/ 140 h 296"/>
                    <a:gd name="T20" fmla="*/ 47 w 312"/>
                    <a:gd name="T21" fmla="*/ 140 h 296"/>
                    <a:gd name="T22" fmla="*/ 58 w 312"/>
                    <a:gd name="T23" fmla="*/ 92 h 296"/>
                    <a:gd name="T24" fmla="*/ 85 w 312"/>
                    <a:gd name="T25" fmla="*/ 101 h 296"/>
                    <a:gd name="T26" fmla="*/ 106 w 312"/>
                    <a:gd name="T27" fmla="*/ 119 h 296"/>
                    <a:gd name="T28" fmla="*/ 139 w 312"/>
                    <a:gd name="T29" fmla="*/ 116 h 296"/>
                    <a:gd name="T30" fmla="*/ 172 w 312"/>
                    <a:gd name="T31" fmla="*/ 140 h 296"/>
                    <a:gd name="T32" fmla="*/ 186 w 312"/>
                    <a:gd name="T33" fmla="*/ 162 h 296"/>
                    <a:gd name="T34" fmla="*/ 203 w 312"/>
                    <a:gd name="T35" fmla="*/ 156 h 296"/>
                    <a:gd name="T36" fmla="*/ 203 w 312"/>
                    <a:gd name="T37" fmla="*/ 125 h 296"/>
                    <a:gd name="T38" fmla="*/ 187 w 312"/>
                    <a:gd name="T39" fmla="*/ 125 h 296"/>
                    <a:gd name="T40" fmla="*/ 172 w 312"/>
                    <a:gd name="T41" fmla="*/ 109 h 296"/>
                    <a:gd name="T42" fmla="*/ 169 w 312"/>
                    <a:gd name="T43" fmla="*/ 69 h 296"/>
                    <a:gd name="T44" fmla="*/ 166 w 312"/>
                    <a:gd name="T45" fmla="*/ 35 h 296"/>
                    <a:gd name="T46" fmla="*/ 187 w 312"/>
                    <a:gd name="T47" fmla="*/ 31 h 296"/>
                    <a:gd name="T48" fmla="*/ 187 w 312"/>
                    <a:gd name="T49" fmla="*/ 16 h 296"/>
                    <a:gd name="T50" fmla="*/ 219 w 312"/>
                    <a:gd name="T51" fmla="*/ 8 h 296"/>
                    <a:gd name="T52" fmla="*/ 219 w 312"/>
                    <a:gd name="T53" fmla="*/ 8 h 296"/>
                    <a:gd name="T54" fmla="*/ 234 w 312"/>
                    <a:gd name="T55" fmla="*/ 0 h 296"/>
                    <a:gd name="T56" fmla="*/ 234 w 312"/>
                    <a:gd name="T57" fmla="*/ 16 h 296"/>
                    <a:gd name="T58" fmla="*/ 250 w 312"/>
                    <a:gd name="T59" fmla="*/ 16 h 296"/>
                    <a:gd name="T60" fmla="*/ 296 w 312"/>
                    <a:gd name="T61" fmla="*/ 47 h 296"/>
                    <a:gd name="T62" fmla="*/ 312 w 312"/>
                    <a:gd name="T63" fmla="*/ 78 h 296"/>
                    <a:gd name="T64" fmla="*/ 296 w 312"/>
                    <a:gd name="T65" fmla="*/ 109 h 296"/>
                    <a:gd name="T66" fmla="*/ 296 w 312"/>
                    <a:gd name="T67" fmla="*/ 125 h 296"/>
                    <a:gd name="T68" fmla="*/ 281 w 312"/>
                    <a:gd name="T69" fmla="*/ 171 h 296"/>
                    <a:gd name="T70" fmla="*/ 296 w 312"/>
                    <a:gd name="T71" fmla="*/ 171 h 296"/>
                    <a:gd name="T72" fmla="*/ 218 w 312"/>
                    <a:gd name="T73" fmla="*/ 203 h 296"/>
                    <a:gd name="T74" fmla="*/ 218 w 312"/>
                    <a:gd name="T75" fmla="*/ 218 h 296"/>
                    <a:gd name="T76" fmla="*/ 187 w 312"/>
                    <a:gd name="T77" fmla="*/ 23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2" h="296">
                      <a:moveTo>
                        <a:pt x="187" y="234"/>
                      </a:moveTo>
                      <a:lnTo>
                        <a:pt x="172" y="249"/>
                      </a:lnTo>
                      <a:lnTo>
                        <a:pt x="125" y="296"/>
                      </a:lnTo>
                      <a:lnTo>
                        <a:pt x="78" y="296"/>
                      </a:lnTo>
                      <a:lnTo>
                        <a:pt x="76" y="279"/>
                      </a:lnTo>
                      <a:lnTo>
                        <a:pt x="47" y="280"/>
                      </a:lnTo>
                      <a:lnTo>
                        <a:pt x="31" y="280"/>
                      </a:lnTo>
                      <a:lnTo>
                        <a:pt x="0" y="249"/>
                      </a:lnTo>
                      <a:lnTo>
                        <a:pt x="0" y="156"/>
                      </a:lnTo>
                      <a:lnTo>
                        <a:pt x="62" y="140"/>
                      </a:lnTo>
                      <a:lnTo>
                        <a:pt x="47" y="140"/>
                      </a:lnTo>
                      <a:lnTo>
                        <a:pt x="58" y="92"/>
                      </a:lnTo>
                      <a:lnTo>
                        <a:pt x="85" y="101"/>
                      </a:lnTo>
                      <a:lnTo>
                        <a:pt x="106" y="119"/>
                      </a:lnTo>
                      <a:lnTo>
                        <a:pt x="139" y="116"/>
                      </a:lnTo>
                      <a:lnTo>
                        <a:pt x="172" y="140"/>
                      </a:lnTo>
                      <a:lnTo>
                        <a:pt x="186" y="162"/>
                      </a:lnTo>
                      <a:lnTo>
                        <a:pt x="203" y="156"/>
                      </a:lnTo>
                      <a:lnTo>
                        <a:pt x="203" y="125"/>
                      </a:lnTo>
                      <a:lnTo>
                        <a:pt x="187" y="125"/>
                      </a:lnTo>
                      <a:lnTo>
                        <a:pt x="172" y="109"/>
                      </a:lnTo>
                      <a:lnTo>
                        <a:pt x="169" y="69"/>
                      </a:lnTo>
                      <a:lnTo>
                        <a:pt x="166" y="35"/>
                      </a:lnTo>
                      <a:lnTo>
                        <a:pt x="187" y="31"/>
                      </a:lnTo>
                      <a:lnTo>
                        <a:pt x="187" y="16"/>
                      </a:lnTo>
                      <a:lnTo>
                        <a:pt x="219" y="8"/>
                      </a:lnTo>
                      <a:lnTo>
                        <a:pt x="219" y="8"/>
                      </a:lnTo>
                      <a:lnTo>
                        <a:pt x="234" y="0"/>
                      </a:lnTo>
                      <a:lnTo>
                        <a:pt x="234" y="16"/>
                      </a:lnTo>
                      <a:lnTo>
                        <a:pt x="250" y="16"/>
                      </a:lnTo>
                      <a:lnTo>
                        <a:pt x="296" y="47"/>
                      </a:lnTo>
                      <a:lnTo>
                        <a:pt x="312" y="78"/>
                      </a:lnTo>
                      <a:lnTo>
                        <a:pt x="296" y="109"/>
                      </a:lnTo>
                      <a:lnTo>
                        <a:pt x="296" y="125"/>
                      </a:lnTo>
                      <a:lnTo>
                        <a:pt x="281" y="171"/>
                      </a:lnTo>
                      <a:lnTo>
                        <a:pt x="296" y="171"/>
                      </a:lnTo>
                      <a:lnTo>
                        <a:pt x="218" y="203"/>
                      </a:lnTo>
                      <a:lnTo>
                        <a:pt x="218" y="218"/>
                      </a:lnTo>
                      <a:lnTo>
                        <a:pt x="187" y="234"/>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89" name="Freeform 94"/>
                <p:cNvSpPr>
                  <a:spLocks/>
                </p:cNvSpPr>
                <p:nvPr/>
              </p:nvSpPr>
              <p:spPr bwMode="auto">
                <a:xfrm>
                  <a:off x="5171259" y="4255915"/>
                  <a:ext cx="274574" cy="466272"/>
                </a:xfrm>
                <a:custGeom>
                  <a:avLst/>
                  <a:gdLst>
                    <a:gd name="T0" fmla="*/ 31 w 266"/>
                    <a:gd name="T1" fmla="*/ 466 h 466"/>
                    <a:gd name="T2" fmla="*/ 47 w 266"/>
                    <a:gd name="T3" fmla="*/ 466 h 466"/>
                    <a:gd name="T4" fmla="*/ 47 w 266"/>
                    <a:gd name="T5" fmla="*/ 450 h 466"/>
                    <a:gd name="T6" fmla="*/ 47 w 266"/>
                    <a:gd name="T7" fmla="*/ 435 h 466"/>
                    <a:gd name="T8" fmla="*/ 88 w 266"/>
                    <a:gd name="T9" fmla="*/ 420 h 466"/>
                    <a:gd name="T10" fmla="*/ 114 w 266"/>
                    <a:gd name="T11" fmla="*/ 408 h 466"/>
                    <a:gd name="T12" fmla="*/ 115 w 266"/>
                    <a:gd name="T13" fmla="*/ 377 h 466"/>
                    <a:gd name="T14" fmla="*/ 125 w 266"/>
                    <a:gd name="T15" fmla="*/ 342 h 466"/>
                    <a:gd name="T16" fmla="*/ 110 w 266"/>
                    <a:gd name="T17" fmla="*/ 295 h 466"/>
                    <a:gd name="T18" fmla="*/ 110 w 266"/>
                    <a:gd name="T19" fmla="*/ 280 h 466"/>
                    <a:gd name="T20" fmla="*/ 123 w 266"/>
                    <a:gd name="T21" fmla="*/ 258 h 466"/>
                    <a:gd name="T22" fmla="*/ 154 w 266"/>
                    <a:gd name="T23" fmla="*/ 231 h 466"/>
                    <a:gd name="T24" fmla="*/ 172 w 266"/>
                    <a:gd name="T25" fmla="*/ 202 h 466"/>
                    <a:gd name="T26" fmla="*/ 219 w 266"/>
                    <a:gd name="T27" fmla="*/ 186 h 466"/>
                    <a:gd name="T28" fmla="*/ 252 w 266"/>
                    <a:gd name="T29" fmla="*/ 158 h 466"/>
                    <a:gd name="T30" fmla="*/ 262 w 266"/>
                    <a:gd name="T31" fmla="*/ 122 h 466"/>
                    <a:gd name="T32" fmla="*/ 261 w 266"/>
                    <a:gd name="T33" fmla="*/ 84 h 466"/>
                    <a:gd name="T34" fmla="*/ 261 w 266"/>
                    <a:gd name="T35" fmla="*/ 41 h 466"/>
                    <a:gd name="T36" fmla="*/ 266 w 266"/>
                    <a:gd name="T37" fmla="*/ 0 h 466"/>
                    <a:gd name="T38" fmla="*/ 235 w 266"/>
                    <a:gd name="T39" fmla="*/ 16 h 466"/>
                    <a:gd name="T40" fmla="*/ 187 w 266"/>
                    <a:gd name="T41" fmla="*/ 32 h 466"/>
                    <a:gd name="T42" fmla="*/ 156 w 266"/>
                    <a:gd name="T43" fmla="*/ 31 h 466"/>
                    <a:gd name="T44" fmla="*/ 125 w 266"/>
                    <a:gd name="T45" fmla="*/ 31 h 466"/>
                    <a:gd name="T46" fmla="*/ 110 w 266"/>
                    <a:gd name="T47" fmla="*/ 47 h 466"/>
                    <a:gd name="T48" fmla="*/ 110 w 266"/>
                    <a:gd name="T49" fmla="*/ 78 h 466"/>
                    <a:gd name="T50" fmla="*/ 141 w 266"/>
                    <a:gd name="T51" fmla="*/ 124 h 466"/>
                    <a:gd name="T52" fmla="*/ 141 w 266"/>
                    <a:gd name="T53" fmla="*/ 155 h 466"/>
                    <a:gd name="T54" fmla="*/ 126 w 266"/>
                    <a:gd name="T55" fmla="*/ 168 h 466"/>
                    <a:gd name="T56" fmla="*/ 117 w 266"/>
                    <a:gd name="T57" fmla="*/ 182 h 466"/>
                    <a:gd name="T58" fmla="*/ 94 w 266"/>
                    <a:gd name="T59" fmla="*/ 155 h 466"/>
                    <a:gd name="T60" fmla="*/ 110 w 266"/>
                    <a:gd name="T61" fmla="*/ 109 h 466"/>
                    <a:gd name="T62" fmla="*/ 78 w 266"/>
                    <a:gd name="T63" fmla="*/ 109 h 466"/>
                    <a:gd name="T64" fmla="*/ 78 w 266"/>
                    <a:gd name="T65" fmla="*/ 93 h 466"/>
                    <a:gd name="T66" fmla="*/ 0 w 266"/>
                    <a:gd name="T67" fmla="*/ 124 h 466"/>
                    <a:gd name="T68" fmla="*/ 0 w 266"/>
                    <a:gd name="T69" fmla="*/ 140 h 466"/>
                    <a:gd name="T70" fmla="*/ 0 w 266"/>
                    <a:gd name="T71" fmla="*/ 155 h 466"/>
                    <a:gd name="T72" fmla="*/ 16 w 266"/>
                    <a:gd name="T73" fmla="*/ 155 h 466"/>
                    <a:gd name="T74" fmla="*/ 27 w 266"/>
                    <a:gd name="T75" fmla="*/ 168 h 466"/>
                    <a:gd name="T76" fmla="*/ 43 w 266"/>
                    <a:gd name="T77" fmla="*/ 176 h 466"/>
                    <a:gd name="T78" fmla="*/ 63 w 266"/>
                    <a:gd name="T79" fmla="*/ 171 h 466"/>
                    <a:gd name="T80" fmla="*/ 63 w 266"/>
                    <a:gd name="T81" fmla="*/ 202 h 466"/>
                    <a:gd name="T82" fmla="*/ 60 w 266"/>
                    <a:gd name="T83" fmla="*/ 248 h 466"/>
                    <a:gd name="T84" fmla="*/ 63 w 266"/>
                    <a:gd name="T85" fmla="*/ 280 h 466"/>
                    <a:gd name="T86" fmla="*/ 16 w 266"/>
                    <a:gd name="T87" fmla="*/ 357 h 466"/>
                    <a:gd name="T88" fmla="*/ 31 w 266"/>
                    <a:gd name="T89" fmla="*/ 450 h 466"/>
                    <a:gd name="T90" fmla="*/ 31 w 266"/>
                    <a:gd name="T91" fmla="*/ 46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6" h="466">
                      <a:moveTo>
                        <a:pt x="31" y="466"/>
                      </a:moveTo>
                      <a:lnTo>
                        <a:pt x="47" y="466"/>
                      </a:lnTo>
                      <a:lnTo>
                        <a:pt x="47" y="450"/>
                      </a:lnTo>
                      <a:lnTo>
                        <a:pt x="47" y="435"/>
                      </a:lnTo>
                      <a:lnTo>
                        <a:pt x="88" y="420"/>
                      </a:lnTo>
                      <a:lnTo>
                        <a:pt x="114" y="408"/>
                      </a:lnTo>
                      <a:lnTo>
                        <a:pt x="115" y="377"/>
                      </a:lnTo>
                      <a:lnTo>
                        <a:pt x="125" y="342"/>
                      </a:lnTo>
                      <a:lnTo>
                        <a:pt x="110" y="295"/>
                      </a:lnTo>
                      <a:lnTo>
                        <a:pt x="110" y="280"/>
                      </a:lnTo>
                      <a:lnTo>
                        <a:pt x="123" y="258"/>
                      </a:lnTo>
                      <a:lnTo>
                        <a:pt x="154" y="231"/>
                      </a:lnTo>
                      <a:lnTo>
                        <a:pt x="172" y="202"/>
                      </a:lnTo>
                      <a:lnTo>
                        <a:pt x="219" y="186"/>
                      </a:lnTo>
                      <a:lnTo>
                        <a:pt x="252" y="158"/>
                      </a:lnTo>
                      <a:lnTo>
                        <a:pt x="262" y="122"/>
                      </a:lnTo>
                      <a:lnTo>
                        <a:pt x="261" y="84"/>
                      </a:lnTo>
                      <a:lnTo>
                        <a:pt x="261" y="41"/>
                      </a:lnTo>
                      <a:lnTo>
                        <a:pt x="266" y="0"/>
                      </a:lnTo>
                      <a:lnTo>
                        <a:pt x="235" y="16"/>
                      </a:lnTo>
                      <a:lnTo>
                        <a:pt x="187" y="32"/>
                      </a:lnTo>
                      <a:lnTo>
                        <a:pt x="156" y="31"/>
                      </a:lnTo>
                      <a:lnTo>
                        <a:pt x="125" y="31"/>
                      </a:lnTo>
                      <a:lnTo>
                        <a:pt x="110" y="47"/>
                      </a:lnTo>
                      <a:lnTo>
                        <a:pt x="110" y="78"/>
                      </a:lnTo>
                      <a:lnTo>
                        <a:pt x="141" y="124"/>
                      </a:lnTo>
                      <a:lnTo>
                        <a:pt x="141" y="155"/>
                      </a:lnTo>
                      <a:lnTo>
                        <a:pt x="126" y="168"/>
                      </a:lnTo>
                      <a:lnTo>
                        <a:pt x="117" y="182"/>
                      </a:lnTo>
                      <a:lnTo>
                        <a:pt x="94" y="155"/>
                      </a:lnTo>
                      <a:lnTo>
                        <a:pt x="110" y="109"/>
                      </a:lnTo>
                      <a:lnTo>
                        <a:pt x="78" y="109"/>
                      </a:lnTo>
                      <a:lnTo>
                        <a:pt x="78" y="93"/>
                      </a:lnTo>
                      <a:lnTo>
                        <a:pt x="0" y="124"/>
                      </a:lnTo>
                      <a:lnTo>
                        <a:pt x="0" y="140"/>
                      </a:lnTo>
                      <a:lnTo>
                        <a:pt x="0" y="155"/>
                      </a:lnTo>
                      <a:lnTo>
                        <a:pt x="16" y="155"/>
                      </a:lnTo>
                      <a:lnTo>
                        <a:pt x="27" y="168"/>
                      </a:lnTo>
                      <a:lnTo>
                        <a:pt x="43" y="176"/>
                      </a:lnTo>
                      <a:lnTo>
                        <a:pt x="63" y="171"/>
                      </a:lnTo>
                      <a:lnTo>
                        <a:pt x="63" y="202"/>
                      </a:lnTo>
                      <a:lnTo>
                        <a:pt x="60" y="248"/>
                      </a:lnTo>
                      <a:lnTo>
                        <a:pt x="63" y="280"/>
                      </a:lnTo>
                      <a:lnTo>
                        <a:pt x="16" y="357"/>
                      </a:lnTo>
                      <a:lnTo>
                        <a:pt x="31" y="450"/>
                      </a:lnTo>
                      <a:lnTo>
                        <a:pt x="31" y="46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0" name="Freeform 95"/>
                <p:cNvSpPr>
                  <a:spLocks/>
                </p:cNvSpPr>
                <p:nvPr/>
              </p:nvSpPr>
              <p:spPr bwMode="auto">
                <a:xfrm>
                  <a:off x="5236413" y="4222718"/>
                  <a:ext cx="79115" cy="214274"/>
                </a:xfrm>
                <a:custGeom>
                  <a:avLst/>
                  <a:gdLst>
                    <a:gd name="T0" fmla="*/ 16 w 78"/>
                    <a:gd name="T1" fmla="*/ 0 h 214"/>
                    <a:gd name="T2" fmla="*/ 31 w 78"/>
                    <a:gd name="T3" fmla="*/ 31 h 214"/>
                    <a:gd name="T4" fmla="*/ 16 w 78"/>
                    <a:gd name="T5" fmla="*/ 63 h 214"/>
                    <a:gd name="T6" fmla="*/ 16 w 78"/>
                    <a:gd name="T7" fmla="*/ 78 h 214"/>
                    <a:gd name="T8" fmla="*/ 0 w 78"/>
                    <a:gd name="T9" fmla="*/ 125 h 214"/>
                    <a:gd name="T10" fmla="*/ 16 w 78"/>
                    <a:gd name="T11" fmla="*/ 125 h 214"/>
                    <a:gd name="T12" fmla="*/ 16 w 78"/>
                    <a:gd name="T13" fmla="*/ 141 h 214"/>
                    <a:gd name="T14" fmla="*/ 47 w 78"/>
                    <a:gd name="T15" fmla="*/ 141 h 214"/>
                    <a:gd name="T16" fmla="*/ 31 w 78"/>
                    <a:gd name="T17" fmla="*/ 188 h 214"/>
                    <a:gd name="T18" fmla="*/ 55 w 78"/>
                    <a:gd name="T19" fmla="*/ 214 h 214"/>
                    <a:gd name="T20" fmla="*/ 62 w 78"/>
                    <a:gd name="T21" fmla="*/ 200 h 214"/>
                    <a:gd name="T22" fmla="*/ 78 w 78"/>
                    <a:gd name="T23" fmla="*/ 188 h 214"/>
                    <a:gd name="T24" fmla="*/ 78 w 78"/>
                    <a:gd name="T25" fmla="*/ 156 h 214"/>
                    <a:gd name="T26" fmla="*/ 44 w 78"/>
                    <a:gd name="T27" fmla="*/ 130 h 214"/>
                    <a:gd name="T28" fmla="*/ 35 w 78"/>
                    <a:gd name="T29" fmla="*/ 97 h 214"/>
                    <a:gd name="T30" fmla="*/ 32 w 78"/>
                    <a:gd name="T31" fmla="*/ 67 h 214"/>
                    <a:gd name="T32" fmla="*/ 40 w 78"/>
                    <a:gd name="T33" fmla="*/ 34 h 214"/>
                    <a:gd name="T34" fmla="*/ 31 w 78"/>
                    <a:gd name="T35" fmla="*/ 0 h 214"/>
                    <a:gd name="T36" fmla="*/ 16 w 78"/>
                    <a:gd name="T3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 h="214">
                      <a:moveTo>
                        <a:pt x="16" y="0"/>
                      </a:moveTo>
                      <a:lnTo>
                        <a:pt x="31" y="31"/>
                      </a:lnTo>
                      <a:lnTo>
                        <a:pt x="16" y="63"/>
                      </a:lnTo>
                      <a:lnTo>
                        <a:pt x="16" y="78"/>
                      </a:lnTo>
                      <a:lnTo>
                        <a:pt x="0" y="125"/>
                      </a:lnTo>
                      <a:lnTo>
                        <a:pt x="16" y="125"/>
                      </a:lnTo>
                      <a:lnTo>
                        <a:pt x="16" y="141"/>
                      </a:lnTo>
                      <a:lnTo>
                        <a:pt x="47" y="141"/>
                      </a:lnTo>
                      <a:lnTo>
                        <a:pt x="31" y="188"/>
                      </a:lnTo>
                      <a:lnTo>
                        <a:pt x="55" y="214"/>
                      </a:lnTo>
                      <a:lnTo>
                        <a:pt x="62" y="200"/>
                      </a:lnTo>
                      <a:lnTo>
                        <a:pt x="78" y="188"/>
                      </a:lnTo>
                      <a:lnTo>
                        <a:pt x="78" y="156"/>
                      </a:lnTo>
                      <a:lnTo>
                        <a:pt x="44" y="130"/>
                      </a:lnTo>
                      <a:lnTo>
                        <a:pt x="35" y="97"/>
                      </a:lnTo>
                      <a:lnTo>
                        <a:pt x="32" y="67"/>
                      </a:lnTo>
                      <a:lnTo>
                        <a:pt x="40" y="34"/>
                      </a:lnTo>
                      <a:lnTo>
                        <a:pt x="31" y="0"/>
                      </a:lnTo>
                      <a:lnTo>
                        <a:pt x="16"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1" name="Freeform 96"/>
                <p:cNvSpPr>
                  <a:spLocks/>
                </p:cNvSpPr>
                <p:nvPr/>
              </p:nvSpPr>
              <p:spPr bwMode="auto">
                <a:xfrm>
                  <a:off x="5026992" y="4394740"/>
                  <a:ext cx="209421" cy="218800"/>
                </a:xfrm>
                <a:custGeom>
                  <a:avLst/>
                  <a:gdLst>
                    <a:gd name="T0" fmla="*/ 109 w 203"/>
                    <a:gd name="T1" fmla="*/ 202 h 218"/>
                    <a:gd name="T2" fmla="*/ 78 w 203"/>
                    <a:gd name="T3" fmla="*/ 187 h 218"/>
                    <a:gd name="T4" fmla="*/ 62 w 203"/>
                    <a:gd name="T5" fmla="*/ 156 h 218"/>
                    <a:gd name="T6" fmla="*/ 31 w 203"/>
                    <a:gd name="T7" fmla="*/ 125 h 218"/>
                    <a:gd name="T8" fmla="*/ 0 w 203"/>
                    <a:gd name="T9" fmla="*/ 78 h 218"/>
                    <a:gd name="T10" fmla="*/ 47 w 203"/>
                    <a:gd name="T11" fmla="*/ 78 h 218"/>
                    <a:gd name="T12" fmla="*/ 94 w 203"/>
                    <a:gd name="T13" fmla="*/ 31 h 218"/>
                    <a:gd name="T14" fmla="*/ 109 w 203"/>
                    <a:gd name="T15" fmla="*/ 16 h 218"/>
                    <a:gd name="T16" fmla="*/ 141 w 203"/>
                    <a:gd name="T17" fmla="*/ 0 h 218"/>
                    <a:gd name="T18" fmla="*/ 141 w 203"/>
                    <a:gd name="T19" fmla="*/ 16 h 218"/>
                    <a:gd name="T20" fmla="*/ 156 w 203"/>
                    <a:gd name="T21" fmla="*/ 16 h 218"/>
                    <a:gd name="T22" fmla="*/ 171 w 203"/>
                    <a:gd name="T23" fmla="*/ 28 h 218"/>
                    <a:gd name="T24" fmla="*/ 183 w 203"/>
                    <a:gd name="T25" fmla="*/ 34 h 218"/>
                    <a:gd name="T26" fmla="*/ 203 w 203"/>
                    <a:gd name="T27" fmla="*/ 31 h 218"/>
                    <a:gd name="T28" fmla="*/ 203 w 203"/>
                    <a:gd name="T29" fmla="*/ 62 h 218"/>
                    <a:gd name="T30" fmla="*/ 201 w 203"/>
                    <a:gd name="T31" fmla="*/ 106 h 218"/>
                    <a:gd name="T32" fmla="*/ 203 w 203"/>
                    <a:gd name="T33" fmla="*/ 140 h 218"/>
                    <a:gd name="T34" fmla="*/ 156 w 203"/>
                    <a:gd name="T35" fmla="*/ 218 h 218"/>
                    <a:gd name="T36" fmla="*/ 141 w 203"/>
                    <a:gd name="T37" fmla="*/ 202 h 218"/>
                    <a:gd name="T38" fmla="*/ 109 w 203"/>
                    <a:gd name="T39" fmla="*/ 20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3" h="218">
                      <a:moveTo>
                        <a:pt x="109" y="202"/>
                      </a:moveTo>
                      <a:lnTo>
                        <a:pt x="78" y="187"/>
                      </a:lnTo>
                      <a:lnTo>
                        <a:pt x="62" y="156"/>
                      </a:lnTo>
                      <a:lnTo>
                        <a:pt x="31" y="125"/>
                      </a:lnTo>
                      <a:lnTo>
                        <a:pt x="0" y="78"/>
                      </a:lnTo>
                      <a:lnTo>
                        <a:pt x="47" y="78"/>
                      </a:lnTo>
                      <a:lnTo>
                        <a:pt x="94" y="31"/>
                      </a:lnTo>
                      <a:lnTo>
                        <a:pt x="109" y="16"/>
                      </a:lnTo>
                      <a:lnTo>
                        <a:pt x="141" y="0"/>
                      </a:lnTo>
                      <a:lnTo>
                        <a:pt x="141" y="16"/>
                      </a:lnTo>
                      <a:lnTo>
                        <a:pt x="156" y="16"/>
                      </a:lnTo>
                      <a:lnTo>
                        <a:pt x="171" y="28"/>
                      </a:lnTo>
                      <a:lnTo>
                        <a:pt x="183" y="34"/>
                      </a:lnTo>
                      <a:lnTo>
                        <a:pt x="203" y="31"/>
                      </a:lnTo>
                      <a:lnTo>
                        <a:pt x="203" y="62"/>
                      </a:lnTo>
                      <a:lnTo>
                        <a:pt x="201" y="106"/>
                      </a:lnTo>
                      <a:lnTo>
                        <a:pt x="203" y="140"/>
                      </a:lnTo>
                      <a:lnTo>
                        <a:pt x="156" y="218"/>
                      </a:lnTo>
                      <a:lnTo>
                        <a:pt x="141" y="202"/>
                      </a:lnTo>
                      <a:lnTo>
                        <a:pt x="109" y="202"/>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2" name="Freeform 97"/>
                <p:cNvSpPr>
                  <a:spLocks/>
                </p:cNvSpPr>
                <p:nvPr/>
              </p:nvSpPr>
              <p:spPr bwMode="auto">
                <a:xfrm>
                  <a:off x="4673302" y="4443027"/>
                  <a:ext cx="353688" cy="356117"/>
                </a:xfrm>
                <a:custGeom>
                  <a:avLst/>
                  <a:gdLst>
                    <a:gd name="T0" fmla="*/ 203 w 344"/>
                    <a:gd name="T1" fmla="*/ 233 h 357"/>
                    <a:gd name="T2" fmla="*/ 203 w 344"/>
                    <a:gd name="T3" fmla="*/ 155 h 357"/>
                    <a:gd name="T4" fmla="*/ 236 w 344"/>
                    <a:gd name="T5" fmla="*/ 151 h 357"/>
                    <a:gd name="T6" fmla="*/ 235 w 344"/>
                    <a:gd name="T7" fmla="*/ 47 h 357"/>
                    <a:gd name="T8" fmla="*/ 297 w 344"/>
                    <a:gd name="T9" fmla="*/ 31 h 357"/>
                    <a:gd name="T10" fmla="*/ 297 w 344"/>
                    <a:gd name="T11" fmla="*/ 47 h 357"/>
                    <a:gd name="T12" fmla="*/ 313 w 344"/>
                    <a:gd name="T13" fmla="*/ 31 h 357"/>
                    <a:gd name="T14" fmla="*/ 344 w 344"/>
                    <a:gd name="T15" fmla="*/ 31 h 357"/>
                    <a:gd name="T16" fmla="*/ 341 w 344"/>
                    <a:gd name="T17" fmla="*/ 17 h 357"/>
                    <a:gd name="T18" fmla="*/ 313 w 344"/>
                    <a:gd name="T19" fmla="*/ 16 h 357"/>
                    <a:gd name="T20" fmla="*/ 297 w 344"/>
                    <a:gd name="T21" fmla="*/ 16 h 357"/>
                    <a:gd name="T22" fmla="*/ 250 w 344"/>
                    <a:gd name="T23" fmla="*/ 31 h 357"/>
                    <a:gd name="T24" fmla="*/ 188 w 344"/>
                    <a:gd name="T25" fmla="*/ 31 h 357"/>
                    <a:gd name="T26" fmla="*/ 172 w 344"/>
                    <a:gd name="T27" fmla="*/ 16 h 357"/>
                    <a:gd name="T28" fmla="*/ 63 w 344"/>
                    <a:gd name="T29" fmla="*/ 16 h 357"/>
                    <a:gd name="T30" fmla="*/ 47 w 344"/>
                    <a:gd name="T31" fmla="*/ 0 h 357"/>
                    <a:gd name="T32" fmla="*/ 0 w 344"/>
                    <a:gd name="T33" fmla="*/ 16 h 357"/>
                    <a:gd name="T34" fmla="*/ 0 w 344"/>
                    <a:gd name="T35" fmla="*/ 31 h 357"/>
                    <a:gd name="T36" fmla="*/ 18 w 344"/>
                    <a:gd name="T37" fmla="*/ 61 h 357"/>
                    <a:gd name="T38" fmla="*/ 38 w 344"/>
                    <a:gd name="T39" fmla="*/ 104 h 357"/>
                    <a:gd name="T40" fmla="*/ 71 w 344"/>
                    <a:gd name="T41" fmla="*/ 163 h 357"/>
                    <a:gd name="T42" fmla="*/ 72 w 344"/>
                    <a:gd name="T43" fmla="*/ 200 h 357"/>
                    <a:gd name="T44" fmla="*/ 77 w 344"/>
                    <a:gd name="T45" fmla="*/ 248 h 357"/>
                    <a:gd name="T46" fmla="*/ 94 w 344"/>
                    <a:gd name="T47" fmla="*/ 310 h 357"/>
                    <a:gd name="T48" fmla="*/ 105 w 344"/>
                    <a:gd name="T49" fmla="*/ 334 h 357"/>
                    <a:gd name="T50" fmla="*/ 125 w 344"/>
                    <a:gd name="T51" fmla="*/ 341 h 357"/>
                    <a:gd name="T52" fmla="*/ 125 w 344"/>
                    <a:gd name="T53" fmla="*/ 326 h 357"/>
                    <a:gd name="T54" fmla="*/ 141 w 344"/>
                    <a:gd name="T55" fmla="*/ 341 h 357"/>
                    <a:gd name="T56" fmla="*/ 156 w 344"/>
                    <a:gd name="T57" fmla="*/ 357 h 357"/>
                    <a:gd name="T58" fmla="*/ 188 w 344"/>
                    <a:gd name="T59" fmla="*/ 357 h 357"/>
                    <a:gd name="T60" fmla="*/ 203 w 344"/>
                    <a:gd name="T61" fmla="*/ 341 h 357"/>
                    <a:gd name="T62" fmla="*/ 203 w 344"/>
                    <a:gd name="T63" fmla="*/ 23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4" h="357">
                      <a:moveTo>
                        <a:pt x="203" y="233"/>
                      </a:moveTo>
                      <a:lnTo>
                        <a:pt x="203" y="155"/>
                      </a:lnTo>
                      <a:lnTo>
                        <a:pt x="236" y="151"/>
                      </a:lnTo>
                      <a:lnTo>
                        <a:pt x="235" y="47"/>
                      </a:lnTo>
                      <a:lnTo>
                        <a:pt x="297" y="31"/>
                      </a:lnTo>
                      <a:lnTo>
                        <a:pt x="297" y="47"/>
                      </a:lnTo>
                      <a:lnTo>
                        <a:pt x="313" y="31"/>
                      </a:lnTo>
                      <a:lnTo>
                        <a:pt x="344" y="31"/>
                      </a:lnTo>
                      <a:lnTo>
                        <a:pt x="341" y="17"/>
                      </a:lnTo>
                      <a:lnTo>
                        <a:pt x="313" y="16"/>
                      </a:lnTo>
                      <a:lnTo>
                        <a:pt x="297" y="16"/>
                      </a:lnTo>
                      <a:lnTo>
                        <a:pt x="250" y="31"/>
                      </a:lnTo>
                      <a:lnTo>
                        <a:pt x="188" y="31"/>
                      </a:lnTo>
                      <a:lnTo>
                        <a:pt x="172" y="16"/>
                      </a:lnTo>
                      <a:lnTo>
                        <a:pt x="63" y="16"/>
                      </a:lnTo>
                      <a:lnTo>
                        <a:pt x="47" y="0"/>
                      </a:lnTo>
                      <a:lnTo>
                        <a:pt x="0" y="16"/>
                      </a:lnTo>
                      <a:lnTo>
                        <a:pt x="0" y="31"/>
                      </a:lnTo>
                      <a:lnTo>
                        <a:pt x="18" y="61"/>
                      </a:lnTo>
                      <a:lnTo>
                        <a:pt x="38" y="104"/>
                      </a:lnTo>
                      <a:lnTo>
                        <a:pt x="71" y="163"/>
                      </a:lnTo>
                      <a:lnTo>
                        <a:pt x="72" y="200"/>
                      </a:lnTo>
                      <a:lnTo>
                        <a:pt x="77" y="248"/>
                      </a:lnTo>
                      <a:lnTo>
                        <a:pt x="94" y="310"/>
                      </a:lnTo>
                      <a:lnTo>
                        <a:pt x="105" y="334"/>
                      </a:lnTo>
                      <a:lnTo>
                        <a:pt x="125" y="341"/>
                      </a:lnTo>
                      <a:lnTo>
                        <a:pt x="125" y="326"/>
                      </a:lnTo>
                      <a:lnTo>
                        <a:pt x="141" y="341"/>
                      </a:lnTo>
                      <a:lnTo>
                        <a:pt x="156" y="357"/>
                      </a:lnTo>
                      <a:lnTo>
                        <a:pt x="188" y="357"/>
                      </a:lnTo>
                      <a:lnTo>
                        <a:pt x="203" y="341"/>
                      </a:lnTo>
                      <a:lnTo>
                        <a:pt x="203" y="23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3" name="Freeform 98"/>
                <p:cNvSpPr>
                  <a:spLocks/>
                </p:cNvSpPr>
                <p:nvPr/>
              </p:nvSpPr>
              <p:spPr bwMode="auto">
                <a:xfrm>
                  <a:off x="4673302" y="4114071"/>
                  <a:ext cx="338176" cy="359134"/>
                </a:xfrm>
                <a:custGeom>
                  <a:avLst/>
                  <a:gdLst>
                    <a:gd name="T0" fmla="*/ 47 w 329"/>
                    <a:gd name="T1" fmla="*/ 0 h 359"/>
                    <a:gd name="T2" fmla="*/ 110 w 329"/>
                    <a:gd name="T3" fmla="*/ 0 h 359"/>
                    <a:gd name="T4" fmla="*/ 125 w 329"/>
                    <a:gd name="T5" fmla="*/ 0 h 359"/>
                    <a:gd name="T6" fmla="*/ 141 w 329"/>
                    <a:gd name="T7" fmla="*/ 47 h 359"/>
                    <a:gd name="T8" fmla="*/ 157 w 329"/>
                    <a:gd name="T9" fmla="*/ 62 h 359"/>
                    <a:gd name="T10" fmla="*/ 204 w 329"/>
                    <a:gd name="T11" fmla="*/ 62 h 359"/>
                    <a:gd name="T12" fmla="*/ 204 w 329"/>
                    <a:gd name="T13" fmla="*/ 31 h 359"/>
                    <a:gd name="T14" fmla="*/ 235 w 329"/>
                    <a:gd name="T15" fmla="*/ 31 h 359"/>
                    <a:gd name="T16" fmla="*/ 266 w 329"/>
                    <a:gd name="T17" fmla="*/ 47 h 359"/>
                    <a:gd name="T18" fmla="*/ 266 w 329"/>
                    <a:gd name="T19" fmla="*/ 109 h 359"/>
                    <a:gd name="T20" fmla="*/ 282 w 329"/>
                    <a:gd name="T21" fmla="*/ 140 h 359"/>
                    <a:gd name="T22" fmla="*/ 266 w 329"/>
                    <a:gd name="T23" fmla="*/ 156 h 359"/>
                    <a:gd name="T24" fmla="*/ 323 w 329"/>
                    <a:gd name="T25" fmla="*/ 156 h 359"/>
                    <a:gd name="T26" fmla="*/ 313 w 329"/>
                    <a:gd name="T27" fmla="*/ 203 h 359"/>
                    <a:gd name="T28" fmla="*/ 329 w 329"/>
                    <a:gd name="T29" fmla="*/ 203 h 359"/>
                    <a:gd name="T30" fmla="*/ 266 w 329"/>
                    <a:gd name="T31" fmla="*/ 219 h 359"/>
                    <a:gd name="T32" fmla="*/ 266 w 329"/>
                    <a:gd name="T33" fmla="*/ 312 h 359"/>
                    <a:gd name="T34" fmla="*/ 298 w 329"/>
                    <a:gd name="T35" fmla="*/ 343 h 359"/>
                    <a:gd name="T36" fmla="*/ 251 w 329"/>
                    <a:gd name="T37" fmla="*/ 359 h 359"/>
                    <a:gd name="T38" fmla="*/ 188 w 329"/>
                    <a:gd name="T39" fmla="*/ 359 h 359"/>
                    <a:gd name="T40" fmla="*/ 172 w 329"/>
                    <a:gd name="T41" fmla="*/ 343 h 359"/>
                    <a:gd name="T42" fmla="*/ 63 w 329"/>
                    <a:gd name="T43" fmla="*/ 343 h 359"/>
                    <a:gd name="T44" fmla="*/ 47 w 329"/>
                    <a:gd name="T45" fmla="*/ 328 h 359"/>
                    <a:gd name="T46" fmla="*/ 0 w 329"/>
                    <a:gd name="T47" fmla="*/ 343 h 359"/>
                    <a:gd name="T48" fmla="*/ 0 w 329"/>
                    <a:gd name="T49" fmla="*/ 297 h 359"/>
                    <a:gd name="T50" fmla="*/ 31 w 329"/>
                    <a:gd name="T51" fmla="*/ 219 h 359"/>
                    <a:gd name="T52" fmla="*/ 47 w 329"/>
                    <a:gd name="T53" fmla="*/ 187 h 359"/>
                    <a:gd name="T54" fmla="*/ 63 w 329"/>
                    <a:gd name="T55" fmla="*/ 156 h 359"/>
                    <a:gd name="T56" fmla="*/ 31 w 329"/>
                    <a:gd name="T57" fmla="*/ 94 h 359"/>
                    <a:gd name="T58" fmla="*/ 47 w 329"/>
                    <a:gd name="T59" fmla="*/ 78 h 359"/>
                    <a:gd name="T60" fmla="*/ 16 w 329"/>
                    <a:gd name="T61" fmla="*/ 16 h 359"/>
                    <a:gd name="T62" fmla="*/ 47 w 329"/>
                    <a:gd name="T63"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9" h="359">
                      <a:moveTo>
                        <a:pt x="47" y="0"/>
                      </a:moveTo>
                      <a:lnTo>
                        <a:pt x="110" y="0"/>
                      </a:lnTo>
                      <a:lnTo>
                        <a:pt x="125" y="0"/>
                      </a:lnTo>
                      <a:lnTo>
                        <a:pt x="141" y="47"/>
                      </a:lnTo>
                      <a:lnTo>
                        <a:pt x="157" y="62"/>
                      </a:lnTo>
                      <a:lnTo>
                        <a:pt x="204" y="62"/>
                      </a:lnTo>
                      <a:lnTo>
                        <a:pt x="204" y="31"/>
                      </a:lnTo>
                      <a:lnTo>
                        <a:pt x="235" y="31"/>
                      </a:lnTo>
                      <a:lnTo>
                        <a:pt x="266" y="47"/>
                      </a:lnTo>
                      <a:lnTo>
                        <a:pt x="266" y="109"/>
                      </a:lnTo>
                      <a:lnTo>
                        <a:pt x="282" y="140"/>
                      </a:lnTo>
                      <a:lnTo>
                        <a:pt x="266" y="156"/>
                      </a:lnTo>
                      <a:lnTo>
                        <a:pt x="323" y="156"/>
                      </a:lnTo>
                      <a:lnTo>
                        <a:pt x="313" y="203"/>
                      </a:lnTo>
                      <a:lnTo>
                        <a:pt x="329" y="203"/>
                      </a:lnTo>
                      <a:lnTo>
                        <a:pt x="266" y="219"/>
                      </a:lnTo>
                      <a:lnTo>
                        <a:pt x="266" y="312"/>
                      </a:lnTo>
                      <a:lnTo>
                        <a:pt x="298" y="343"/>
                      </a:lnTo>
                      <a:lnTo>
                        <a:pt x="251" y="359"/>
                      </a:lnTo>
                      <a:lnTo>
                        <a:pt x="188" y="359"/>
                      </a:lnTo>
                      <a:lnTo>
                        <a:pt x="172" y="343"/>
                      </a:lnTo>
                      <a:lnTo>
                        <a:pt x="63" y="343"/>
                      </a:lnTo>
                      <a:lnTo>
                        <a:pt x="47" y="328"/>
                      </a:lnTo>
                      <a:lnTo>
                        <a:pt x="0" y="343"/>
                      </a:lnTo>
                      <a:lnTo>
                        <a:pt x="0" y="297"/>
                      </a:lnTo>
                      <a:lnTo>
                        <a:pt x="31" y="219"/>
                      </a:lnTo>
                      <a:lnTo>
                        <a:pt x="47" y="187"/>
                      </a:lnTo>
                      <a:lnTo>
                        <a:pt x="63" y="156"/>
                      </a:lnTo>
                      <a:lnTo>
                        <a:pt x="31" y="94"/>
                      </a:lnTo>
                      <a:lnTo>
                        <a:pt x="47" y="78"/>
                      </a:lnTo>
                      <a:lnTo>
                        <a:pt x="16" y="16"/>
                      </a:lnTo>
                      <a:lnTo>
                        <a:pt x="47"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4" name="Freeform 99"/>
                <p:cNvSpPr>
                  <a:spLocks/>
                </p:cNvSpPr>
                <p:nvPr/>
              </p:nvSpPr>
              <p:spPr bwMode="auto">
                <a:xfrm>
                  <a:off x="4592636" y="3554244"/>
                  <a:ext cx="200114" cy="328955"/>
                </a:xfrm>
                <a:custGeom>
                  <a:avLst/>
                  <a:gdLst>
                    <a:gd name="T0" fmla="*/ 140 w 195"/>
                    <a:gd name="T1" fmla="*/ 0 h 329"/>
                    <a:gd name="T2" fmla="*/ 140 w 195"/>
                    <a:gd name="T3" fmla="*/ 16 h 329"/>
                    <a:gd name="T4" fmla="*/ 155 w 195"/>
                    <a:gd name="T5" fmla="*/ 34 h 329"/>
                    <a:gd name="T6" fmla="*/ 146 w 195"/>
                    <a:gd name="T7" fmla="*/ 55 h 329"/>
                    <a:gd name="T8" fmla="*/ 126 w 195"/>
                    <a:gd name="T9" fmla="*/ 76 h 329"/>
                    <a:gd name="T10" fmla="*/ 109 w 195"/>
                    <a:gd name="T11" fmla="*/ 125 h 329"/>
                    <a:gd name="T12" fmla="*/ 94 w 195"/>
                    <a:gd name="T13" fmla="*/ 140 h 329"/>
                    <a:gd name="T14" fmla="*/ 78 w 195"/>
                    <a:gd name="T15" fmla="*/ 187 h 329"/>
                    <a:gd name="T16" fmla="*/ 65 w 195"/>
                    <a:gd name="T17" fmla="*/ 197 h 329"/>
                    <a:gd name="T18" fmla="*/ 60 w 195"/>
                    <a:gd name="T19" fmla="*/ 190 h 329"/>
                    <a:gd name="T20" fmla="*/ 47 w 195"/>
                    <a:gd name="T21" fmla="*/ 187 h 329"/>
                    <a:gd name="T22" fmla="*/ 31 w 195"/>
                    <a:gd name="T23" fmla="*/ 187 h 329"/>
                    <a:gd name="T24" fmla="*/ 8 w 195"/>
                    <a:gd name="T25" fmla="*/ 214 h 329"/>
                    <a:gd name="T26" fmla="*/ 0 w 195"/>
                    <a:gd name="T27" fmla="*/ 249 h 329"/>
                    <a:gd name="T28" fmla="*/ 0 w 195"/>
                    <a:gd name="T29" fmla="*/ 265 h 329"/>
                    <a:gd name="T30" fmla="*/ 16 w 195"/>
                    <a:gd name="T31" fmla="*/ 265 h 329"/>
                    <a:gd name="T32" fmla="*/ 31 w 195"/>
                    <a:gd name="T33" fmla="*/ 296 h 329"/>
                    <a:gd name="T34" fmla="*/ 31 w 195"/>
                    <a:gd name="T35" fmla="*/ 327 h 329"/>
                    <a:gd name="T36" fmla="*/ 62 w 195"/>
                    <a:gd name="T37" fmla="*/ 327 h 329"/>
                    <a:gd name="T38" fmla="*/ 92 w 195"/>
                    <a:gd name="T39" fmla="*/ 319 h 329"/>
                    <a:gd name="T40" fmla="*/ 125 w 195"/>
                    <a:gd name="T41" fmla="*/ 327 h 329"/>
                    <a:gd name="T42" fmla="*/ 137 w 195"/>
                    <a:gd name="T43" fmla="*/ 328 h 329"/>
                    <a:gd name="T44" fmla="*/ 195 w 195"/>
                    <a:gd name="T45" fmla="*/ 329 h 329"/>
                    <a:gd name="T46" fmla="*/ 187 w 195"/>
                    <a:gd name="T47" fmla="*/ 296 h 329"/>
                    <a:gd name="T48" fmla="*/ 156 w 195"/>
                    <a:gd name="T49" fmla="*/ 249 h 329"/>
                    <a:gd name="T50" fmla="*/ 156 w 195"/>
                    <a:gd name="T51" fmla="*/ 218 h 329"/>
                    <a:gd name="T52" fmla="*/ 171 w 195"/>
                    <a:gd name="T53" fmla="*/ 172 h 329"/>
                    <a:gd name="T54" fmla="*/ 177 w 195"/>
                    <a:gd name="T55" fmla="*/ 145 h 329"/>
                    <a:gd name="T56" fmla="*/ 156 w 195"/>
                    <a:gd name="T57" fmla="*/ 125 h 329"/>
                    <a:gd name="T58" fmla="*/ 140 w 195"/>
                    <a:gd name="T59" fmla="*/ 109 h 329"/>
                    <a:gd name="T60" fmla="*/ 140 w 195"/>
                    <a:gd name="T61" fmla="*/ 94 h 329"/>
                    <a:gd name="T62" fmla="*/ 171 w 195"/>
                    <a:gd name="T63" fmla="*/ 94 h 329"/>
                    <a:gd name="T64" fmla="*/ 168 w 195"/>
                    <a:gd name="T65" fmla="*/ 55 h 329"/>
                    <a:gd name="T66" fmla="*/ 156 w 195"/>
                    <a:gd name="T67" fmla="*/ 16 h 329"/>
                    <a:gd name="T68" fmla="*/ 140 w 195"/>
                    <a:gd name="T69"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329">
                      <a:moveTo>
                        <a:pt x="140" y="0"/>
                      </a:moveTo>
                      <a:lnTo>
                        <a:pt x="140" y="16"/>
                      </a:lnTo>
                      <a:lnTo>
                        <a:pt x="155" y="34"/>
                      </a:lnTo>
                      <a:lnTo>
                        <a:pt x="146" y="55"/>
                      </a:lnTo>
                      <a:lnTo>
                        <a:pt x="126" y="76"/>
                      </a:lnTo>
                      <a:lnTo>
                        <a:pt x="109" y="125"/>
                      </a:lnTo>
                      <a:lnTo>
                        <a:pt x="94" y="140"/>
                      </a:lnTo>
                      <a:lnTo>
                        <a:pt x="78" y="187"/>
                      </a:lnTo>
                      <a:lnTo>
                        <a:pt x="65" y="197"/>
                      </a:lnTo>
                      <a:lnTo>
                        <a:pt x="60" y="190"/>
                      </a:lnTo>
                      <a:lnTo>
                        <a:pt x="47" y="187"/>
                      </a:lnTo>
                      <a:lnTo>
                        <a:pt x="31" y="187"/>
                      </a:lnTo>
                      <a:lnTo>
                        <a:pt x="8" y="214"/>
                      </a:lnTo>
                      <a:lnTo>
                        <a:pt x="0" y="249"/>
                      </a:lnTo>
                      <a:lnTo>
                        <a:pt x="0" y="265"/>
                      </a:lnTo>
                      <a:lnTo>
                        <a:pt x="16" y="265"/>
                      </a:lnTo>
                      <a:lnTo>
                        <a:pt x="31" y="296"/>
                      </a:lnTo>
                      <a:lnTo>
                        <a:pt x="31" y="327"/>
                      </a:lnTo>
                      <a:lnTo>
                        <a:pt x="62" y="327"/>
                      </a:lnTo>
                      <a:lnTo>
                        <a:pt x="92" y="319"/>
                      </a:lnTo>
                      <a:lnTo>
                        <a:pt x="125" y="327"/>
                      </a:lnTo>
                      <a:lnTo>
                        <a:pt x="137" y="328"/>
                      </a:lnTo>
                      <a:lnTo>
                        <a:pt x="195" y="329"/>
                      </a:lnTo>
                      <a:lnTo>
                        <a:pt x="187" y="296"/>
                      </a:lnTo>
                      <a:lnTo>
                        <a:pt x="156" y="249"/>
                      </a:lnTo>
                      <a:lnTo>
                        <a:pt x="156" y="218"/>
                      </a:lnTo>
                      <a:lnTo>
                        <a:pt x="171" y="172"/>
                      </a:lnTo>
                      <a:lnTo>
                        <a:pt x="177" y="145"/>
                      </a:lnTo>
                      <a:lnTo>
                        <a:pt x="156" y="125"/>
                      </a:lnTo>
                      <a:lnTo>
                        <a:pt x="140" y="109"/>
                      </a:lnTo>
                      <a:lnTo>
                        <a:pt x="140" y="94"/>
                      </a:lnTo>
                      <a:lnTo>
                        <a:pt x="171" y="94"/>
                      </a:lnTo>
                      <a:lnTo>
                        <a:pt x="168" y="55"/>
                      </a:lnTo>
                      <a:lnTo>
                        <a:pt x="156" y="16"/>
                      </a:lnTo>
                      <a:lnTo>
                        <a:pt x="14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5" name="Freeform 100"/>
                <p:cNvSpPr>
                  <a:spLocks/>
                </p:cNvSpPr>
                <p:nvPr/>
              </p:nvSpPr>
              <p:spPr bwMode="auto">
                <a:xfrm>
                  <a:off x="4656239" y="3834912"/>
                  <a:ext cx="210972" cy="255015"/>
                </a:xfrm>
                <a:custGeom>
                  <a:avLst/>
                  <a:gdLst>
                    <a:gd name="T0" fmla="*/ 47 w 204"/>
                    <a:gd name="T1" fmla="*/ 248 h 255"/>
                    <a:gd name="T2" fmla="*/ 63 w 204"/>
                    <a:gd name="T3" fmla="*/ 248 h 255"/>
                    <a:gd name="T4" fmla="*/ 78 w 204"/>
                    <a:gd name="T5" fmla="*/ 233 h 255"/>
                    <a:gd name="T6" fmla="*/ 94 w 204"/>
                    <a:gd name="T7" fmla="*/ 248 h 255"/>
                    <a:gd name="T8" fmla="*/ 126 w 204"/>
                    <a:gd name="T9" fmla="*/ 217 h 255"/>
                    <a:gd name="T10" fmla="*/ 141 w 204"/>
                    <a:gd name="T11" fmla="*/ 171 h 255"/>
                    <a:gd name="T12" fmla="*/ 173 w 204"/>
                    <a:gd name="T13" fmla="*/ 124 h 255"/>
                    <a:gd name="T14" fmla="*/ 188 w 204"/>
                    <a:gd name="T15" fmla="*/ 47 h 255"/>
                    <a:gd name="T16" fmla="*/ 204 w 204"/>
                    <a:gd name="T17" fmla="*/ 0 h 255"/>
                    <a:gd name="T18" fmla="*/ 173 w 204"/>
                    <a:gd name="T19" fmla="*/ 0 h 255"/>
                    <a:gd name="T20" fmla="*/ 157 w 204"/>
                    <a:gd name="T21" fmla="*/ 0 h 255"/>
                    <a:gd name="T22" fmla="*/ 141 w 204"/>
                    <a:gd name="T23" fmla="*/ 0 h 255"/>
                    <a:gd name="T24" fmla="*/ 141 w 204"/>
                    <a:gd name="T25" fmla="*/ 26 h 255"/>
                    <a:gd name="T26" fmla="*/ 133 w 204"/>
                    <a:gd name="T27" fmla="*/ 47 h 255"/>
                    <a:gd name="T28" fmla="*/ 63 w 204"/>
                    <a:gd name="T29" fmla="*/ 47 h 255"/>
                    <a:gd name="T30" fmla="*/ 54 w 204"/>
                    <a:gd name="T31" fmla="*/ 63 h 255"/>
                    <a:gd name="T32" fmla="*/ 76 w 204"/>
                    <a:gd name="T33" fmla="*/ 66 h 255"/>
                    <a:gd name="T34" fmla="*/ 90 w 204"/>
                    <a:gd name="T35" fmla="*/ 81 h 255"/>
                    <a:gd name="T36" fmla="*/ 78 w 204"/>
                    <a:gd name="T37" fmla="*/ 93 h 255"/>
                    <a:gd name="T38" fmla="*/ 69 w 204"/>
                    <a:gd name="T39" fmla="*/ 113 h 255"/>
                    <a:gd name="T40" fmla="*/ 91 w 204"/>
                    <a:gd name="T41" fmla="*/ 123 h 255"/>
                    <a:gd name="T42" fmla="*/ 78 w 204"/>
                    <a:gd name="T43" fmla="*/ 171 h 255"/>
                    <a:gd name="T44" fmla="*/ 55 w 204"/>
                    <a:gd name="T45" fmla="*/ 177 h 255"/>
                    <a:gd name="T46" fmla="*/ 47 w 204"/>
                    <a:gd name="T47" fmla="*/ 155 h 255"/>
                    <a:gd name="T48" fmla="*/ 16 w 204"/>
                    <a:gd name="T49" fmla="*/ 186 h 255"/>
                    <a:gd name="T50" fmla="*/ 16 w 204"/>
                    <a:gd name="T51" fmla="*/ 202 h 255"/>
                    <a:gd name="T52" fmla="*/ 0 w 204"/>
                    <a:gd name="T53" fmla="*/ 233 h 255"/>
                    <a:gd name="T54" fmla="*/ 13 w 204"/>
                    <a:gd name="T55" fmla="*/ 237 h 255"/>
                    <a:gd name="T56" fmla="*/ 22 w 204"/>
                    <a:gd name="T57" fmla="*/ 255 h 255"/>
                    <a:gd name="T58" fmla="*/ 48 w 204"/>
                    <a:gd name="T59" fmla="*/ 236 h 255"/>
                    <a:gd name="T60" fmla="*/ 47 w 204"/>
                    <a:gd name="T61" fmla="*/ 24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 h="255">
                      <a:moveTo>
                        <a:pt x="47" y="248"/>
                      </a:moveTo>
                      <a:lnTo>
                        <a:pt x="63" y="248"/>
                      </a:lnTo>
                      <a:lnTo>
                        <a:pt x="78" y="233"/>
                      </a:lnTo>
                      <a:lnTo>
                        <a:pt x="94" y="248"/>
                      </a:lnTo>
                      <a:lnTo>
                        <a:pt x="126" y="217"/>
                      </a:lnTo>
                      <a:lnTo>
                        <a:pt x="141" y="171"/>
                      </a:lnTo>
                      <a:lnTo>
                        <a:pt x="173" y="124"/>
                      </a:lnTo>
                      <a:lnTo>
                        <a:pt x="188" y="47"/>
                      </a:lnTo>
                      <a:lnTo>
                        <a:pt x="204" y="0"/>
                      </a:lnTo>
                      <a:lnTo>
                        <a:pt x="173" y="0"/>
                      </a:lnTo>
                      <a:lnTo>
                        <a:pt x="157" y="0"/>
                      </a:lnTo>
                      <a:lnTo>
                        <a:pt x="141" y="0"/>
                      </a:lnTo>
                      <a:lnTo>
                        <a:pt x="141" y="26"/>
                      </a:lnTo>
                      <a:lnTo>
                        <a:pt x="133" y="47"/>
                      </a:lnTo>
                      <a:lnTo>
                        <a:pt x="63" y="47"/>
                      </a:lnTo>
                      <a:lnTo>
                        <a:pt x="54" y="63"/>
                      </a:lnTo>
                      <a:lnTo>
                        <a:pt x="76" y="66"/>
                      </a:lnTo>
                      <a:lnTo>
                        <a:pt x="90" y="81"/>
                      </a:lnTo>
                      <a:lnTo>
                        <a:pt x="78" y="93"/>
                      </a:lnTo>
                      <a:lnTo>
                        <a:pt x="69" y="113"/>
                      </a:lnTo>
                      <a:lnTo>
                        <a:pt x="91" y="123"/>
                      </a:lnTo>
                      <a:lnTo>
                        <a:pt x="78" y="171"/>
                      </a:lnTo>
                      <a:lnTo>
                        <a:pt x="55" y="177"/>
                      </a:lnTo>
                      <a:lnTo>
                        <a:pt x="47" y="155"/>
                      </a:lnTo>
                      <a:lnTo>
                        <a:pt x="16" y="186"/>
                      </a:lnTo>
                      <a:lnTo>
                        <a:pt x="16" y="202"/>
                      </a:lnTo>
                      <a:lnTo>
                        <a:pt x="0" y="233"/>
                      </a:lnTo>
                      <a:lnTo>
                        <a:pt x="13" y="237"/>
                      </a:lnTo>
                      <a:lnTo>
                        <a:pt x="22" y="255"/>
                      </a:lnTo>
                      <a:lnTo>
                        <a:pt x="48" y="236"/>
                      </a:lnTo>
                      <a:lnTo>
                        <a:pt x="47" y="24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6" name="Freeform 101"/>
                <p:cNvSpPr>
                  <a:spLocks/>
                </p:cNvSpPr>
                <p:nvPr/>
              </p:nvSpPr>
              <p:spPr bwMode="auto">
                <a:xfrm>
                  <a:off x="4598841" y="3872637"/>
                  <a:ext cx="152024" cy="196166"/>
                </a:xfrm>
                <a:custGeom>
                  <a:avLst/>
                  <a:gdLst>
                    <a:gd name="T0" fmla="*/ 108 w 147"/>
                    <a:gd name="T1" fmla="*/ 25 h 195"/>
                    <a:gd name="T2" fmla="*/ 131 w 147"/>
                    <a:gd name="T3" fmla="*/ 25 h 195"/>
                    <a:gd name="T4" fmla="*/ 146 w 147"/>
                    <a:gd name="T5" fmla="*/ 43 h 195"/>
                    <a:gd name="T6" fmla="*/ 134 w 147"/>
                    <a:gd name="T7" fmla="*/ 56 h 195"/>
                    <a:gd name="T8" fmla="*/ 126 w 147"/>
                    <a:gd name="T9" fmla="*/ 72 h 195"/>
                    <a:gd name="T10" fmla="*/ 147 w 147"/>
                    <a:gd name="T11" fmla="*/ 88 h 195"/>
                    <a:gd name="T12" fmla="*/ 134 w 147"/>
                    <a:gd name="T13" fmla="*/ 133 h 195"/>
                    <a:gd name="T14" fmla="*/ 111 w 147"/>
                    <a:gd name="T15" fmla="*/ 139 h 195"/>
                    <a:gd name="T16" fmla="*/ 103 w 147"/>
                    <a:gd name="T17" fmla="*/ 118 h 195"/>
                    <a:gd name="T18" fmla="*/ 72 w 147"/>
                    <a:gd name="T19" fmla="*/ 149 h 195"/>
                    <a:gd name="T20" fmla="*/ 72 w 147"/>
                    <a:gd name="T21" fmla="*/ 164 h 195"/>
                    <a:gd name="T22" fmla="*/ 56 w 147"/>
                    <a:gd name="T23" fmla="*/ 195 h 195"/>
                    <a:gd name="T24" fmla="*/ 51 w 147"/>
                    <a:gd name="T25" fmla="*/ 171 h 195"/>
                    <a:gd name="T26" fmla="*/ 30 w 147"/>
                    <a:gd name="T27" fmla="*/ 148 h 195"/>
                    <a:gd name="T28" fmla="*/ 15 w 147"/>
                    <a:gd name="T29" fmla="*/ 124 h 195"/>
                    <a:gd name="T30" fmla="*/ 12 w 147"/>
                    <a:gd name="T31" fmla="*/ 111 h 195"/>
                    <a:gd name="T32" fmla="*/ 0 w 147"/>
                    <a:gd name="T33" fmla="*/ 102 h 195"/>
                    <a:gd name="T34" fmla="*/ 10 w 147"/>
                    <a:gd name="T35" fmla="*/ 87 h 195"/>
                    <a:gd name="T36" fmla="*/ 10 w 147"/>
                    <a:gd name="T37" fmla="*/ 71 h 195"/>
                    <a:gd name="T38" fmla="*/ 25 w 147"/>
                    <a:gd name="T39" fmla="*/ 40 h 195"/>
                    <a:gd name="T40" fmla="*/ 56 w 147"/>
                    <a:gd name="T41" fmla="*/ 40 h 195"/>
                    <a:gd name="T42" fmla="*/ 66 w 147"/>
                    <a:gd name="T43" fmla="*/ 22 h 195"/>
                    <a:gd name="T44" fmla="*/ 56 w 147"/>
                    <a:gd name="T45" fmla="*/ 9 h 195"/>
                    <a:gd name="T46" fmla="*/ 87 w 147"/>
                    <a:gd name="T47" fmla="*/ 0 h 195"/>
                    <a:gd name="T48" fmla="*/ 118 w 147"/>
                    <a:gd name="T49" fmla="*/ 9 h 195"/>
                    <a:gd name="T50" fmla="*/ 108 w 147"/>
                    <a:gd name="T51" fmla="*/ 2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7" h="195">
                      <a:moveTo>
                        <a:pt x="108" y="25"/>
                      </a:moveTo>
                      <a:lnTo>
                        <a:pt x="131" y="25"/>
                      </a:lnTo>
                      <a:lnTo>
                        <a:pt x="146" y="43"/>
                      </a:lnTo>
                      <a:lnTo>
                        <a:pt x="134" y="56"/>
                      </a:lnTo>
                      <a:lnTo>
                        <a:pt x="126" y="72"/>
                      </a:lnTo>
                      <a:lnTo>
                        <a:pt x="147" y="88"/>
                      </a:lnTo>
                      <a:lnTo>
                        <a:pt x="134" y="133"/>
                      </a:lnTo>
                      <a:lnTo>
                        <a:pt x="111" y="139"/>
                      </a:lnTo>
                      <a:lnTo>
                        <a:pt x="103" y="118"/>
                      </a:lnTo>
                      <a:lnTo>
                        <a:pt x="72" y="149"/>
                      </a:lnTo>
                      <a:lnTo>
                        <a:pt x="72" y="164"/>
                      </a:lnTo>
                      <a:lnTo>
                        <a:pt x="56" y="195"/>
                      </a:lnTo>
                      <a:lnTo>
                        <a:pt x="51" y="171"/>
                      </a:lnTo>
                      <a:lnTo>
                        <a:pt x="30" y="148"/>
                      </a:lnTo>
                      <a:lnTo>
                        <a:pt x="15" y="124"/>
                      </a:lnTo>
                      <a:lnTo>
                        <a:pt x="12" y="111"/>
                      </a:lnTo>
                      <a:lnTo>
                        <a:pt x="0" y="102"/>
                      </a:lnTo>
                      <a:lnTo>
                        <a:pt x="10" y="87"/>
                      </a:lnTo>
                      <a:lnTo>
                        <a:pt x="10" y="71"/>
                      </a:lnTo>
                      <a:lnTo>
                        <a:pt x="25" y="40"/>
                      </a:lnTo>
                      <a:lnTo>
                        <a:pt x="56" y="40"/>
                      </a:lnTo>
                      <a:lnTo>
                        <a:pt x="66" y="22"/>
                      </a:lnTo>
                      <a:lnTo>
                        <a:pt x="56" y="9"/>
                      </a:lnTo>
                      <a:lnTo>
                        <a:pt x="87" y="0"/>
                      </a:lnTo>
                      <a:lnTo>
                        <a:pt x="118" y="9"/>
                      </a:lnTo>
                      <a:lnTo>
                        <a:pt x="108" y="2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7" name="Freeform 102"/>
                <p:cNvSpPr>
                  <a:spLocks/>
                </p:cNvSpPr>
                <p:nvPr/>
              </p:nvSpPr>
              <p:spPr bwMode="auto">
                <a:xfrm>
                  <a:off x="4608149" y="3881690"/>
                  <a:ext cx="60500" cy="30179"/>
                </a:xfrm>
                <a:custGeom>
                  <a:avLst/>
                  <a:gdLst>
                    <a:gd name="T0" fmla="*/ 47 w 59"/>
                    <a:gd name="T1" fmla="*/ 30 h 30"/>
                    <a:gd name="T2" fmla="*/ 59 w 59"/>
                    <a:gd name="T3" fmla="*/ 15 h 30"/>
                    <a:gd name="T4" fmla="*/ 47 w 59"/>
                    <a:gd name="T5" fmla="*/ 0 h 30"/>
                    <a:gd name="T6" fmla="*/ 16 w 59"/>
                    <a:gd name="T7" fmla="*/ 0 h 30"/>
                    <a:gd name="T8" fmla="*/ 0 w 59"/>
                    <a:gd name="T9" fmla="*/ 30 h 30"/>
                    <a:gd name="T10" fmla="*/ 47 w 59"/>
                    <a:gd name="T11" fmla="*/ 30 h 30"/>
                  </a:gdLst>
                  <a:ahLst/>
                  <a:cxnLst>
                    <a:cxn ang="0">
                      <a:pos x="T0" y="T1"/>
                    </a:cxn>
                    <a:cxn ang="0">
                      <a:pos x="T2" y="T3"/>
                    </a:cxn>
                    <a:cxn ang="0">
                      <a:pos x="T4" y="T5"/>
                    </a:cxn>
                    <a:cxn ang="0">
                      <a:pos x="T6" y="T7"/>
                    </a:cxn>
                    <a:cxn ang="0">
                      <a:pos x="T8" y="T9"/>
                    </a:cxn>
                    <a:cxn ang="0">
                      <a:pos x="T10" y="T11"/>
                    </a:cxn>
                  </a:cxnLst>
                  <a:rect l="0" t="0" r="r" b="b"/>
                  <a:pathLst>
                    <a:path w="59" h="30">
                      <a:moveTo>
                        <a:pt x="47" y="30"/>
                      </a:moveTo>
                      <a:lnTo>
                        <a:pt x="59" y="15"/>
                      </a:lnTo>
                      <a:lnTo>
                        <a:pt x="47" y="0"/>
                      </a:lnTo>
                      <a:lnTo>
                        <a:pt x="16" y="0"/>
                      </a:lnTo>
                      <a:lnTo>
                        <a:pt x="0" y="30"/>
                      </a:lnTo>
                      <a:lnTo>
                        <a:pt x="47" y="3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698" name="Freeform 103"/>
                <p:cNvSpPr>
                  <a:spLocks/>
                </p:cNvSpPr>
                <p:nvPr/>
              </p:nvSpPr>
              <p:spPr bwMode="auto">
                <a:xfrm>
                  <a:off x="4271524" y="3617621"/>
                  <a:ext cx="128755" cy="187112"/>
                </a:xfrm>
                <a:custGeom>
                  <a:avLst/>
                  <a:gdLst>
                    <a:gd name="T0" fmla="*/ 109 w 125"/>
                    <a:gd name="T1" fmla="*/ 125 h 187"/>
                    <a:gd name="T2" fmla="*/ 101 w 125"/>
                    <a:gd name="T3" fmla="*/ 89 h 187"/>
                    <a:gd name="T4" fmla="*/ 101 w 125"/>
                    <a:gd name="T5" fmla="*/ 52 h 187"/>
                    <a:gd name="T6" fmla="*/ 101 w 125"/>
                    <a:gd name="T7" fmla="*/ 26 h 187"/>
                    <a:gd name="T8" fmla="*/ 78 w 125"/>
                    <a:gd name="T9" fmla="*/ 0 h 187"/>
                    <a:gd name="T10" fmla="*/ 16 w 125"/>
                    <a:gd name="T11" fmla="*/ 0 h 187"/>
                    <a:gd name="T12" fmla="*/ 16 w 125"/>
                    <a:gd name="T13" fmla="*/ 47 h 187"/>
                    <a:gd name="T14" fmla="*/ 31 w 125"/>
                    <a:gd name="T15" fmla="*/ 78 h 187"/>
                    <a:gd name="T16" fmla="*/ 0 w 125"/>
                    <a:gd name="T17" fmla="*/ 125 h 187"/>
                    <a:gd name="T18" fmla="*/ 16 w 125"/>
                    <a:gd name="T19" fmla="*/ 171 h 187"/>
                    <a:gd name="T20" fmla="*/ 31 w 125"/>
                    <a:gd name="T21" fmla="*/ 187 h 187"/>
                    <a:gd name="T22" fmla="*/ 63 w 125"/>
                    <a:gd name="T23" fmla="*/ 170 h 187"/>
                    <a:gd name="T24" fmla="*/ 94 w 125"/>
                    <a:gd name="T25" fmla="*/ 156 h 187"/>
                    <a:gd name="T26" fmla="*/ 109 w 125"/>
                    <a:gd name="T27" fmla="*/ 156 h 187"/>
                    <a:gd name="T28" fmla="*/ 125 w 125"/>
                    <a:gd name="T29" fmla="*/ 140 h 187"/>
                    <a:gd name="T30" fmla="*/ 109 w 125"/>
                    <a:gd name="T31" fmla="*/ 12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187">
                      <a:moveTo>
                        <a:pt x="109" y="125"/>
                      </a:moveTo>
                      <a:lnTo>
                        <a:pt x="101" y="89"/>
                      </a:lnTo>
                      <a:lnTo>
                        <a:pt x="101" y="52"/>
                      </a:lnTo>
                      <a:lnTo>
                        <a:pt x="101" y="26"/>
                      </a:lnTo>
                      <a:lnTo>
                        <a:pt x="78" y="0"/>
                      </a:lnTo>
                      <a:lnTo>
                        <a:pt x="16" y="0"/>
                      </a:lnTo>
                      <a:lnTo>
                        <a:pt x="16" y="47"/>
                      </a:lnTo>
                      <a:lnTo>
                        <a:pt x="31" y="78"/>
                      </a:lnTo>
                      <a:lnTo>
                        <a:pt x="0" y="125"/>
                      </a:lnTo>
                      <a:lnTo>
                        <a:pt x="16" y="171"/>
                      </a:lnTo>
                      <a:lnTo>
                        <a:pt x="31" y="187"/>
                      </a:lnTo>
                      <a:lnTo>
                        <a:pt x="63" y="170"/>
                      </a:lnTo>
                      <a:lnTo>
                        <a:pt x="94" y="156"/>
                      </a:lnTo>
                      <a:lnTo>
                        <a:pt x="109" y="156"/>
                      </a:lnTo>
                      <a:lnTo>
                        <a:pt x="125" y="140"/>
                      </a:lnTo>
                      <a:lnTo>
                        <a:pt x="109" y="12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0" name="Freeform 105"/>
                <p:cNvSpPr>
                  <a:spLocks/>
                </p:cNvSpPr>
                <p:nvPr/>
              </p:nvSpPr>
              <p:spPr bwMode="auto">
                <a:xfrm>
                  <a:off x="4432856" y="3539155"/>
                  <a:ext cx="321112" cy="277651"/>
                </a:xfrm>
                <a:custGeom>
                  <a:avLst/>
                  <a:gdLst>
                    <a:gd name="T0" fmla="*/ 296 w 312"/>
                    <a:gd name="T1" fmla="*/ 16 h 277"/>
                    <a:gd name="T2" fmla="*/ 280 w 312"/>
                    <a:gd name="T3" fmla="*/ 0 h 277"/>
                    <a:gd name="T4" fmla="*/ 265 w 312"/>
                    <a:gd name="T5" fmla="*/ 0 h 277"/>
                    <a:gd name="T6" fmla="*/ 249 w 312"/>
                    <a:gd name="T7" fmla="*/ 16 h 277"/>
                    <a:gd name="T8" fmla="*/ 206 w 312"/>
                    <a:gd name="T9" fmla="*/ 5 h 277"/>
                    <a:gd name="T10" fmla="*/ 171 w 312"/>
                    <a:gd name="T11" fmla="*/ 31 h 277"/>
                    <a:gd name="T12" fmla="*/ 140 w 312"/>
                    <a:gd name="T13" fmla="*/ 16 h 277"/>
                    <a:gd name="T14" fmla="*/ 109 w 312"/>
                    <a:gd name="T15" fmla="*/ 16 h 277"/>
                    <a:gd name="T16" fmla="*/ 78 w 312"/>
                    <a:gd name="T17" fmla="*/ 0 h 277"/>
                    <a:gd name="T18" fmla="*/ 47 w 312"/>
                    <a:gd name="T19" fmla="*/ 0 h 277"/>
                    <a:gd name="T20" fmla="*/ 31 w 312"/>
                    <a:gd name="T21" fmla="*/ 31 h 277"/>
                    <a:gd name="T22" fmla="*/ 31 w 312"/>
                    <a:gd name="T23" fmla="*/ 62 h 277"/>
                    <a:gd name="T24" fmla="*/ 31 w 312"/>
                    <a:gd name="T25" fmla="*/ 93 h 277"/>
                    <a:gd name="T26" fmla="*/ 0 w 312"/>
                    <a:gd name="T27" fmla="*/ 156 h 277"/>
                    <a:gd name="T28" fmla="*/ 0 w 312"/>
                    <a:gd name="T29" fmla="*/ 218 h 277"/>
                    <a:gd name="T30" fmla="*/ 31 w 312"/>
                    <a:gd name="T31" fmla="*/ 218 h 277"/>
                    <a:gd name="T32" fmla="*/ 45 w 312"/>
                    <a:gd name="T33" fmla="*/ 212 h 277"/>
                    <a:gd name="T34" fmla="*/ 62 w 312"/>
                    <a:gd name="T35" fmla="*/ 233 h 277"/>
                    <a:gd name="T36" fmla="*/ 78 w 312"/>
                    <a:gd name="T37" fmla="*/ 264 h 277"/>
                    <a:gd name="T38" fmla="*/ 95 w 312"/>
                    <a:gd name="T39" fmla="*/ 277 h 277"/>
                    <a:gd name="T40" fmla="*/ 123 w 312"/>
                    <a:gd name="T41" fmla="*/ 266 h 277"/>
                    <a:gd name="T42" fmla="*/ 156 w 312"/>
                    <a:gd name="T43" fmla="*/ 264 h 277"/>
                    <a:gd name="T44" fmla="*/ 164 w 312"/>
                    <a:gd name="T45" fmla="*/ 229 h 277"/>
                    <a:gd name="T46" fmla="*/ 187 w 312"/>
                    <a:gd name="T47" fmla="*/ 202 h 277"/>
                    <a:gd name="T48" fmla="*/ 203 w 312"/>
                    <a:gd name="T49" fmla="*/ 202 h 277"/>
                    <a:gd name="T50" fmla="*/ 216 w 312"/>
                    <a:gd name="T51" fmla="*/ 202 h 277"/>
                    <a:gd name="T52" fmla="*/ 222 w 312"/>
                    <a:gd name="T53" fmla="*/ 214 h 277"/>
                    <a:gd name="T54" fmla="*/ 234 w 312"/>
                    <a:gd name="T55" fmla="*/ 202 h 277"/>
                    <a:gd name="T56" fmla="*/ 249 w 312"/>
                    <a:gd name="T57" fmla="*/ 156 h 277"/>
                    <a:gd name="T58" fmla="*/ 265 w 312"/>
                    <a:gd name="T59" fmla="*/ 140 h 277"/>
                    <a:gd name="T60" fmla="*/ 282 w 312"/>
                    <a:gd name="T61" fmla="*/ 89 h 277"/>
                    <a:gd name="T62" fmla="*/ 303 w 312"/>
                    <a:gd name="T63" fmla="*/ 68 h 277"/>
                    <a:gd name="T64" fmla="*/ 312 w 312"/>
                    <a:gd name="T65" fmla="*/ 49 h 277"/>
                    <a:gd name="T66" fmla="*/ 296 w 312"/>
                    <a:gd name="T67" fmla="*/ 31 h 277"/>
                    <a:gd name="T68" fmla="*/ 296 w 312"/>
                    <a:gd name="T69" fmla="*/ 1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2" h="277">
                      <a:moveTo>
                        <a:pt x="296" y="16"/>
                      </a:moveTo>
                      <a:lnTo>
                        <a:pt x="280" y="0"/>
                      </a:lnTo>
                      <a:lnTo>
                        <a:pt x="265" y="0"/>
                      </a:lnTo>
                      <a:lnTo>
                        <a:pt x="249" y="16"/>
                      </a:lnTo>
                      <a:lnTo>
                        <a:pt x="206" y="5"/>
                      </a:lnTo>
                      <a:lnTo>
                        <a:pt x="171" y="31"/>
                      </a:lnTo>
                      <a:lnTo>
                        <a:pt x="140" y="16"/>
                      </a:lnTo>
                      <a:lnTo>
                        <a:pt x="109" y="16"/>
                      </a:lnTo>
                      <a:lnTo>
                        <a:pt x="78" y="0"/>
                      </a:lnTo>
                      <a:lnTo>
                        <a:pt x="47" y="0"/>
                      </a:lnTo>
                      <a:lnTo>
                        <a:pt x="31" y="31"/>
                      </a:lnTo>
                      <a:lnTo>
                        <a:pt x="31" y="62"/>
                      </a:lnTo>
                      <a:lnTo>
                        <a:pt x="31" y="93"/>
                      </a:lnTo>
                      <a:lnTo>
                        <a:pt x="0" y="156"/>
                      </a:lnTo>
                      <a:lnTo>
                        <a:pt x="0" y="218"/>
                      </a:lnTo>
                      <a:lnTo>
                        <a:pt x="31" y="218"/>
                      </a:lnTo>
                      <a:lnTo>
                        <a:pt x="45" y="212"/>
                      </a:lnTo>
                      <a:lnTo>
                        <a:pt x="62" y="233"/>
                      </a:lnTo>
                      <a:lnTo>
                        <a:pt x="78" y="264"/>
                      </a:lnTo>
                      <a:lnTo>
                        <a:pt x="95" y="277"/>
                      </a:lnTo>
                      <a:lnTo>
                        <a:pt x="123" y="266"/>
                      </a:lnTo>
                      <a:lnTo>
                        <a:pt x="156" y="264"/>
                      </a:lnTo>
                      <a:lnTo>
                        <a:pt x="164" y="229"/>
                      </a:lnTo>
                      <a:lnTo>
                        <a:pt x="187" y="202"/>
                      </a:lnTo>
                      <a:lnTo>
                        <a:pt x="203" y="202"/>
                      </a:lnTo>
                      <a:lnTo>
                        <a:pt x="216" y="202"/>
                      </a:lnTo>
                      <a:lnTo>
                        <a:pt x="222" y="214"/>
                      </a:lnTo>
                      <a:lnTo>
                        <a:pt x="234" y="202"/>
                      </a:lnTo>
                      <a:lnTo>
                        <a:pt x="249" y="156"/>
                      </a:lnTo>
                      <a:lnTo>
                        <a:pt x="265" y="140"/>
                      </a:lnTo>
                      <a:lnTo>
                        <a:pt x="282" y="89"/>
                      </a:lnTo>
                      <a:lnTo>
                        <a:pt x="303" y="68"/>
                      </a:lnTo>
                      <a:lnTo>
                        <a:pt x="312" y="49"/>
                      </a:lnTo>
                      <a:lnTo>
                        <a:pt x="296" y="31"/>
                      </a:lnTo>
                      <a:lnTo>
                        <a:pt x="296" y="1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2" name="Freeform 107"/>
                <p:cNvSpPr>
                  <a:spLocks/>
                </p:cNvSpPr>
                <p:nvPr/>
              </p:nvSpPr>
              <p:spPr bwMode="auto">
                <a:xfrm>
                  <a:off x="4125705" y="3632711"/>
                  <a:ext cx="178396" cy="187112"/>
                </a:xfrm>
                <a:custGeom>
                  <a:avLst/>
                  <a:gdLst>
                    <a:gd name="T0" fmla="*/ 157 w 173"/>
                    <a:gd name="T1" fmla="*/ 156 h 187"/>
                    <a:gd name="T2" fmla="*/ 142 w 173"/>
                    <a:gd name="T3" fmla="*/ 109 h 187"/>
                    <a:gd name="T4" fmla="*/ 173 w 173"/>
                    <a:gd name="T5" fmla="*/ 62 h 187"/>
                    <a:gd name="T6" fmla="*/ 157 w 173"/>
                    <a:gd name="T7" fmla="*/ 31 h 187"/>
                    <a:gd name="T8" fmla="*/ 142 w 173"/>
                    <a:gd name="T9" fmla="*/ 16 h 187"/>
                    <a:gd name="T10" fmla="*/ 111 w 173"/>
                    <a:gd name="T11" fmla="*/ 26 h 187"/>
                    <a:gd name="T12" fmla="*/ 94 w 173"/>
                    <a:gd name="T13" fmla="*/ 0 h 187"/>
                    <a:gd name="T14" fmla="*/ 75 w 173"/>
                    <a:gd name="T15" fmla="*/ 8 h 187"/>
                    <a:gd name="T16" fmla="*/ 63 w 173"/>
                    <a:gd name="T17" fmla="*/ 0 h 187"/>
                    <a:gd name="T18" fmla="*/ 46 w 173"/>
                    <a:gd name="T19" fmla="*/ 11 h 187"/>
                    <a:gd name="T20" fmla="*/ 31 w 173"/>
                    <a:gd name="T21" fmla="*/ 0 h 187"/>
                    <a:gd name="T22" fmla="*/ 21 w 173"/>
                    <a:gd name="T23" fmla="*/ 11 h 187"/>
                    <a:gd name="T24" fmla="*/ 16 w 173"/>
                    <a:gd name="T25" fmla="*/ 31 h 187"/>
                    <a:gd name="T26" fmla="*/ 31 w 173"/>
                    <a:gd name="T27" fmla="*/ 62 h 187"/>
                    <a:gd name="T28" fmla="*/ 16 w 173"/>
                    <a:gd name="T29" fmla="*/ 62 h 187"/>
                    <a:gd name="T30" fmla="*/ 16 w 173"/>
                    <a:gd name="T31" fmla="*/ 78 h 187"/>
                    <a:gd name="T32" fmla="*/ 0 w 173"/>
                    <a:gd name="T33" fmla="*/ 94 h 187"/>
                    <a:gd name="T34" fmla="*/ 16 w 173"/>
                    <a:gd name="T35" fmla="*/ 125 h 187"/>
                    <a:gd name="T36" fmla="*/ 31 w 173"/>
                    <a:gd name="T37" fmla="*/ 140 h 187"/>
                    <a:gd name="T38" fmla="*/ 31 w 173"/>
                    <a:gd name="T39" fmla="*/ 187 h 187"/>
                    <a:gd name="T40" fmla="*/ 54 w 173"/>
                    <a:gd name="T41" fmla="*/ 170 h 187"/>
                    <a:gd name="T42" fmla="*/ 90 w 173"/>
                    <a:gd name="T43" fmla="*/ 160 h 187"/>
                    <a:gd name="T44" fmla="*/ 110 w 173"/>
                    <a:gd name="T45" fmla="*/ 156 h 187"/>
                    <a:gd name="T46" fmla="*/ 127 w 173"/>
                    <a:gd name="T47" fmla="*/ 152 h 187"/>
                    <a:gd name="T48" fmla="*/ 142 w 173"/>
                    <a:gd name="T49" fmla="*/ 156 h 187"/>
                    <a:gd name="T50" fmla="*/ 157 w 173"/>
                    <a:gd name="T51" fmla="*/ 15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87">
                      <a:moveTo>
                        <a:pt x="157" y="156"/>
                      </a:moveTo>
                      <a:lnTo>
                        <a:pt x="142" y="109"/>
                      </a:lnTo>
                      <a:lnTo>
                        <a:pt x="173" y="62"/>
                      </a:lnTo>
                      <a:lnTo>
                        <a:pt x="157" y="31"/>
                      </a:lnTo>
                      <a:lnTo>
                        <a:pt x="142" y="16"/>
                      </a:lnTo>
                      <a:lnTo>
                        <a:pt x="111" y="26"/>
                      </a:lnTo>
                      <a:lnTo>
                        <a:pt x="94" y="0"/>
                      </a:lnTo>
                      <a:lnTo>
                        <a:pt x="75" y="8"/>
                      </a:lnTo>
                      <a:lnTo>
                        <a:pt x="63" y="0"/>
                      </a:lnTo>
                      <a:lnTo>
                        <a:pt x="46" y="11"/>
                      </a:lnTo>
                      <a:lnTo>
                        <a:pt x="31" y="0"/>
                      </a:lnTo>
                      <a:lnTo>
                        <a:pt x="21" y="11"/>
                      </a:lnTo>
                      <a:lnTo>
                        <a:pt x="16" y="31"/>
                      </a:lnTo>
                      <a:lnTo>
                        <a:pt x="31" y="62"/>
                      </a:lnTo>
                      <a:lnTo>
                        <a:pt x="16" y="62"/>
                      </a:lnTo>
                      <a:lnTo>
                        <a:pt x="16" y="78"/>
                      </a:lnTo>
                      <a:lnTo>
                        <a:pt x="0" y="94"/>
                      </a:lnTo>
                      <a:lnTo>
                        <a:pt x="16" y="125"/>
                      </a:lnTo>
                      <a:lnTo>
                        <a:pt x="31" y="140"/>
                      </a:lnTo>
                      <a:lnTo>
                        <a:pt x="31" y="187"/>
                      </a:lnTo>
                      <a:lnTo>
                        <a:pt x="54" y="170"/>
                      </a:lnTo>
                      <a:lnTo>
                        <a:pt x="90" y="160"/>
                      </a:lnTo>
                      <a:lnTo>
                        <a:pt x="110" y="156"/>
                      </a:lnTo>
                      <a:lnTo>
                        <a:pt x="127" y="152"/>
                      </a:lnTo>
                      <a:lnTo>
                        <a:pt x="142" y="156"/>
                      </a:lnTo>
                      <a:lnTo>
                        <a:pt x="157" y="15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3" name="Freeform 108"/>
                <p:cNvSpPr>
                  <a:spLocks/>
                </p:cNvSpPr>
                <p:nvPr/>
              </p:nvSpPr>
              <p:spPr bwMode="auto">
                <a:xfrm>
                  <a:off x="4046590" y="3694578"/>
                  <a:ext cx="111691" cy="125245"/>
                </a:xfrm>
                <a:custGeom>
                  <a:avLst/>
                  <a:gdLst>
                    <a:gd name="T0" fmla="*/ 79 w 110"/>
                    <a:gd name="T1" fmla="*/ 31 h 124"/>
                    <a:gd name="T2" fmla="*/ 94 w 110"/>
                    <a:gd name="T3" fmla="*/ 62 h 124"/>
                    <a:gd name="T4" fmla="*/ 110 w 110"/>
                    <a:gd name="T5" fmla="*/ 78 h 124"/>
                    <a:gd name="T6" fmla="*/ 110 w 110"/>
                    <a:gd name="T7" fmla="*/ 124 h 124"/>
                    <a:gd name="T8" fmla="*/ 94 w 110"/>
                    <a:gd name="T9" fmla="*/ 109 h 124"/>
                    <a:gd name="T10" fmla="*/ 76 w 110"/>
                    <a:gd name="T11" fmla="*/ 103 h 124"/>
                    <a:gd name="T12" fmla="*/ 55 w 110"/>
                    <a:gd name="T13" fmla="*/ 82 h 124"/>
                    <a:gd name="T14" fmla="*/ 25 w 110"/>
                    <a:gd name="T15" fmla="*/ 59 h 124"/>
                    <a:gd name="T16" fmla="*/ 0 w 110"/>
                    <a:gd name="T17" fmla="*/ 47 h 124"/>
                    <a:gd name="T18" fmla="*/ 31 w 110"/>
                    <a:gd name="T19" fmla="*/ 0 h 124"/>
                    <a:gd name="T20" fmla="*/ 47 w 110"/>
                    <a:gd name="T21" fmla="*/ 0 h 124"/>
                    <a:gd name="T22" fmla="*/ 63 w 110"/>
                    <a:gd name="T23" fmla="*/ 31 h 124"/>
                    <a:gd name="T24" fmla="*/ 79 w 110"/>
                    <a:gd name="T25" fmla="*/ 3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24">
                      <a:moveTo>
                        <a:pt x="79" y="31"/>
                      </a:moveTo>
                      <a:lnTo>
                        <a:pt x="94" y="62"/>
                      </a:lnTo>
                      <a:lnTo>
                        <a:pt x="110" y="78"/>
                      </a:lnTo>
                      <a:lnTo>
                        <a:pt x="110" y="124"/>
                      </a:lnTo>
                      <a:lnTo>
                        <a:pt x="94" y="109"/>
                      </a:lnTo>
                      <a:lnTo>
                        <a:pt x="76" y="103"/>
                      </a:lnTo>
                      <a:lnTo>
                        <a:pt x="55" y="82"/>
                      </a:lnTo>
                      <a:lnTo>
                        <a:pt x="25" y="59"/>
                      </a:lnTo>
                      <a:lnTo>
                        <a:pt x="0" y="47"/>
                      </a:lnTo>
                      <a:lnTo>
                        <a:pt x="31" y="0"/>
                      </a:lnTo>
                      <a:lnTo>
                        <a:pt x="47" y="0"/>
                      </a:lnTo>
                      <a:lnTo>
                        <a:pt x="63" y="31"/>
                      </a:lnTo>
                      <a:lnTo>
                        <a:pt x="79" y="3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4" name="Freeform 109"/>
                <p:cNvSpPr>
                  <a:spLocks/>
                </p:cNvSpPr>
                <p:nvPr/>
              </p:nvSpPr>
              <p:spPr bwMode="auto">
                <a:xfrm>
                  <a:off x="3902323" y="3445599"/>
                  <a:ext cx="159781" cy="131281"/>
                </a:xfrm>
                <a:custGeom>
                  <a:avLst/>
                  <a:gdLst>
                    <a:gd name="T0" fmla="*/ 140 w 156"/>
                    <a:gd name="T1" fmla="*/ 63 h 132"/>
                    <a:gd name="T2" fmla="*/ 137 w 156"/>
                    <a:gd name="T3" fmla="*/ 92 h 132"/>
                    <a:gd name="T4" fmla="*/ 156 w 156"/>
                    <a:gd name="T5" fmla="*/ 125 h 132"/>
                    <a:gd name="T6" fmla="*/ 123 w 156"/>
                    <a:gd name="T7" fmla="*/ 132 h 132"/>
                    <a:gd name="T8" fmla="*/ 94 w 156"/>
                    <a:gd name="T9" fmla="*/ 125 h 132"/>
                    <a:gd name="T10" fmla="*/ 16 w 156"/>
                    <a:gd name="T11" fmla="*/ 125 h 132"/>
                    <a:gd name="T12" fmla="*/ 16 w 156"/>
                    <a:gd name="T13" fmla="*/ 109 h 132"/>
                    <a:gd name="T14" fmla="*/ 35 w 156"/>
                    <a:gd name="T15" fmla="*/ 107 h 132"/>
                    <a:gd name="T16" fmla="*/ 47 w 156"/>
                    <a:gd name="T17" fmla="*/ 94 h 132"/>
                    <a:gd name="T18" fmla="*/ 78 w 156"/>
                    <a:gd name="T19" fmla="*/ 109 h 132"/>
                    <a:gd name="T20" fmla="*/ 94 w 156"/>
                    <a:gd name="T21" fmla="*/ 94 h 132"/>
                    <a:gd name="T22" fmla="*/ 42 w 156"/>
                    <a:gd name="T23" fmla="*/ 86 h 132"/>
                    <a:gd name="T24" fmla="*/ 32 w 156"/>
                    <a:gd name="T25" fmla="*/ 93 h 132"/>
                    <a:gd name="T26" fmla="*/ 16 w 156"/>
                    <a:gd name="T27" fmla="*/ 94 h 132"/>
                    <a:gd name="T28" fmla="*/ 16 w 156"/>
                    <a:gd name="T29" fmla="*/ 78 h 132"/>
                    <a:gd name="T30" fmla="*/ 0 w 156"/>
                    <a:gd name="T31" fmla="*/ 63 h 132"/>
                    <a:gd name="T32" fmla="*/ 21 w 156"/>
                    <a:gd name="T33" fmla="*/ 35 h 132"/>
                    <a:gd name="T34" fmla="*/ 29 w 156"/>
                    <a:gd name="T35" fmla="*/ 12 h 132"/>
                    <a:gd name="T36" fmla="*/ 47 w 156"/>
                    <a:gd name="T37" fmla="*/ 16 h 132"/>
                    <a:gd name="T38" fmla="*/ 78 w 156"/>
                    <a:gd name="T39" fmla="*/ 0 h 132"/>
                    <a:gd name="T40" fmla="*/ 109 w 156"/>
                    <a:gd name="T41" fmla="*/ 31 h 132"/>
                    <a:gd name="T42" fmla="*/ 140 w 156"/>
                    <a:gd name="T43" fmla="*/ 6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132">
                      <a:moveTo>
                        <a:pt x="140" y="63"/>
                      </a:moveTo>
                      <a:lnTo>
                        <a:pt x="137" y="92"/>
                      </a:lnTo>
                      <a:lnTo>
                        <a:pt x="156" y="125"/>
                      </a:lnTo>
                      <a:lnTo>
                        <a:pt x="123" y="132"/>
                      </a:lnTo>
                      <a:lnTo>
                        <a:pt x="94" y="125"/>
                      </a:lnTo>
                      <a:lnTo>
                        <a:pt x="16" y="125"/>
                      </a:lnTo>
                      <a:lnTo>
                        <a:pt x="16" y="109"/>
                      </a:lnTo>
                      <a:lnTo>
                        <a:pt x="35" y="107"/>
                      </a:lnTo>
                      <a:lnTo>
                        <a:pt x="47" y="94"/>
                      </a:lnTo>
                      <a:lnTo>
                        <a:pt x="78" y="109"/>
                      </a:lnTo>
                      <a:lnTo>
                        <a:pt x="94" y="94"/>
                      </a:lnTo>
                      <a:lnTo>
                        <a:pt x="42" y="86"/>
                      </a:lnTo>
                      <a:lnTo>
                        <a:pt x="32" y="93"/>
                      </a:lnTo>
                      <a:lnTo>
                        <a:pt x="16" y="94"/>
                      </a:lnTo>
                      <a:lnTo>
                        <a:pt x="16" y="78"/>
                      </a:lnTo>
                      <a:lnTo>
                        <a:pt x="0" y="63"/>
                      </a:lnTo>
                      <a:lnTo>
                        <a:pt x="21" y="35"/>
                      </a:lnTo>
                      <a:lnTo>
                        <a:pt x="29" y="12"/>
                      </a:lnTo>
                      <a:lnTo>
                        <a:pt x="47" y="16"/>
                      </a:lnTo>
                      <a:lnTo>
                        <a:pt x="78" y="0"/>
                      </a:lnTo>
                      <a:lnTo>
                        <a:pt x="109" y="31"/>
                      </a:lnTo>
                      <a:lnTo>
                        <a:pt x="140" y="6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5" name="Freeform 110"/>
                <p:cNvSpPr>
                  <a:spLocks/>
                </p:cNvSpPr>
                <p:nvPr/>
              </p:nvSpPr>
              <p:spPr bwMode="auto">
                <a:xfrm>
                  <a:off x="3917836" y="3134751"/>
                  <a:ext cx="328868" cy="372715"/>
                </a:xfrm>
                <a:custGeom>
                  <a:avLst/>
                  <a:gdLst>
                    <a:gd name="T0" fmla="*/ 125 w 319"/>
                    <a:gd name="T1" fmla="*/ 373 h 373"/>
                    <a:gd name="T2" fmla="*/ 94 w 319"/>
                    <a:gd name="T3" fmla="*/ 342 h 373"/>
                    <a:gd name="T4" fmla="*/ 62 w 319"/>
                    <a:gd name="T5" fmla="*/ 311 h 373"/>
                    <a:gd name="T6" fmla="*/ 31 w 319"/>
                    <a:gd name="T7" fmla="*/ 326 h 373"/>
                    <a:gd name="T8" fmla="*/ 13 w 319"/>
                    <a:gd name="T9" fmla="*/ 325 h 373"/>
                    <a:gd name="T10" fmla="*/ 16 w 319"/>
                    <a:gd name="T11" fmla="*/ 280 h 373"/>
                    <a:gd name="T12" fmla="*/ 23 w 319"/>
                    <a:gd name="T13" fmla="*/ 263 h 373"/>
                    <a:gd name="T14" fmla="*/ 16 w 319"/>
                    <a:gd name="T15" fmla="*/ 233 h 373"/>
                    <a:gd name="T16" fmla="*/ 16 w 319"/>
                    <a:gd name="T17" fmla="*/ 202 h 373"/>
                    <a:gd name="T18" fmla="*/ 0 w 319"/>
                    <a:gd name="T19" fmla="*/ 187 h 373"/>
                    <a:gd name="T20" fmla="*/ 16 w 319"/>
                    <a:gd name="T21" fmla="*/ 171 h 373"/>
                    <a:gd name="T22" fmla="*/ 101 w 319"/>
                    <a:gd name="T23" fmla="*/ 181 h 373"/>
                    <a:gd name="T24" fmla="*/ 100 w 319"/>
                    <a:gd name="T25" fmla="*/ 133 h 373"/>
                    <a:gd name="T26" fmla="*/ 131 w 319"/>
                    <a:gd name="T27" fmla="*/ 115 h 373"/>
                    <a:gd name="T28" fmla="*/ 137 w 319"/>
                    <a:gd name="T29" fmla="*/ 41 h 373"/>
                    <a:gd name="T30" fmla="*/ 218 w 319"/>
                    <a:gd name="T31" fmla="*/ 40 h 373"/>
                    <a:gd name="T32" fmla="*/ 218 w 319"/>
                    <a:gd name="T33" fmla="*/ 0 h 373"/>
                    <a:gd name="T34" fmla="*/ 319 w 319"/>
                    <a:gd name="T35" fmla="*/ 70 h 373"/>
                    <a:gd name="T36" fmla="*/ 271 w 319"/>
                    <a:gd name="T37" fmla="*/ 71 h 373"/>
                    <a:gd name="T38" fmla="*/ 280 w 319"/>
                    <a:gd name="T39" fmla="*/ 242 h 373"/>
                    <a:gd name="T40" fmla="*/ 295 w 319"/>
                    <a:gd name="T41" fmla="*/ 353 h 373"/>
                    <a:gd name="T42" fmla="*/ 182 w 319"/>
                    <a:gd name="T43" fmla="*/ 349 h 373"/>
                    <a:gd name="T44" fmla="*/ 156 w 319"/>
                    <a:gd name="T45" fmla="*/ 357 h 373"/>
                    <a:gd name="T46" fmla="*/ 140 w 319"/>
                    <a:gd name="T47" fmla="*/ 342 h 373"/>
                    <a:gd name="T48" fmla="*/ 125 w 319"/>
                    <a:gd name="T49"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373">
                      <a:moveTo>
                        <a:pt x="125" y="373"/>
                      </a:moveTo>
                      <a:lnTo>
                        <a:pt x="94" y="342"/>
                      </a:lnTo>
                      <a:lnTo>
                        <a:pt x="62" y="311"/>
                      </a:lnTo>
                      <a:lnTo>
                        <a:pt x="31" y="326"/>
                      </a:lnTo>
                      <a:lnTo>
                        <a:pt x="13" y="325"/>
                      </a:lnTo>
                      <a:lnTo>
                        <a:pt x="16" y="280"/>
                      </a:lnTo>
                      <a:lnTo>
                        <a:pt x="23" y="263"/>
                      </a:lnTo>
                      <a:lnTo>
                        <a:pt x="16" y="233"/>
                      </a:lnTo>
                      <a:lnTo>
                        <a:pt x="16" y="202"/>
                      </a:lnTo>
                      <a:lnTo>
                        <a:pt x="0" y="187"/>
                      </a:lnTo>
                      <a:lnTo>
                        <a:pt x="16" y="171"/>
                      </a:lnTo>
                      <a:lnTo>
                        <a:pt x="101" y="181"/>
                      </a:lnTo>
                      <a:lnTo>
                        <a:pt x="100" y="133"/>
                      </a:lnTo>
                      <a:lnTo>
                        <a:pt x="131" y="115"/>
                      </a:lnTo>
                      <a:lnTo>
                        <a:pt x="137" y="41"/>
                      </a:lnTo>
                      <a:lnTo>
                        <a:pt x="218" y="40"/>
                      </a:lnTo>
                      <a:lnTo>
                        <a:pt x="218" y="0"/>
                      </a:lnTo>
                      <a:lnTo>
                        <a:pt x="319" y="70"/>
                      </a:lnTo>
                      <a:lnTo>
                        <a:pt x="271" y="71"/>
                      </a:lnTo>
                      <a:lnTo>
                        <a:pt x="280" y="242"/>
                      </a:lnTo>
                      <a:lnTo>
                        <a:pt x="295" y="353"/>
                      </a:lnTo>
                      <a:lnTo>
                        <a:pt x="182" y="349"/>
                      </a:lnTo>
                      <a:lnTo>
                        <a:pt x="156" y="357"/>
                      </a:lnTo>
                      <a:lnTo>
                        <a:pt x="140" y="342"/>
                      </a:lnTo>
                      <a:lnTo>
                        <a:pt x="125" y="37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6" name="Freeform 111"/>
                <p:cNvSpPr>
                  <a:spLocks/>
                </p:cNvSpPr>
                <p:nvPr/>
              </p:nvSpPr>
              <p:spPr bwMode="auto">
                <a:xfrm>
                  <a:off x="3917836" y="3119661"/>
                  <a:ext cx="224934" cy="200693"/>
                </a:xfrm>
                <a:custGeom>
                  <a:avLst/>
                  <a:gdLst>
                    <a:gd name="T0" fmla="*/ 218 w 218"/>
                    <a:gd name="T1" fmla="*/ 0 h 201"/>
                    <a:gd name="T2" fmla="*/ 218 w 218"/>
                    <a:gd name="T3" fmla="*/ 15 h 201"/>
                    <a:gd name="T4" fmla="*/ 218 w 218"/>
                    <a:gd name="T5" fmla="*/ 55 h 201"/>
                    <a:gd name="T6" fmla="*/ 139 w 218"/>
                    <a:gd name="T7" fmla="*/ 56 h 201"/>
                    <a:gd name="T8" fmla="*/ 131 w 218"/>
                    <a:gd name="T9" fmla="*/ 130 h 201"/>
                    <a:gd name="T10" fmla="*/ 98 w 218"/>
                    <a:gd name="T11" fmla="*/ 149 h 201"/>
                    <a:gd name="T12" fmla="*/ 101 w 218"/>
                    <a:gd name="T13" fmla="*/ 196 h 201"/>
                    <a:gd name="T14" fmla="*/ 16 w 218"/>
                    <a:gd name="T15" fmla="*/ 186 h 201"/>
                    <a:gd name="T16" fmla="*/ 0 w 218"/>
                    <a:gd name="T17" fmla="*/ 201 h 201"/>
                    <a:gd name="T18" fmla="*/ 0 w 218"/>
                    <a:gd name="T19" fmla="*/ 170 h 201"/>
                    <a:gd name="T20" fmla="*/ 19 w 218"/>
                    <a:gd name="T21" fmla="*/ 154 h 201"/>
                    <a:gd name="T22" fmla="*/ 35 w 218"/>
                    <a:gd name="T23" fmla="*/ 112 h 201"/>
                    <a:gd name="T24" fmla="*/ 62 w 218"/>
                    <a:gd name="T25" fmla="*/ 93 h 201"/>
                    <a:gd name="T26" fmla="*/ 78 w 218"/>
                    <a:gd name="T27" fmla="*/ 46 h 201"/>
                    <a:gd name="T28" fmla="*/ 93 w 218"/>
                    <a:gd name="T29" fmla="*/ 31 h 201"/>
                    <a:gd name="T30" fmla="*/ 109 w 218"/>
                    <a:gd name="T31" fmla="*/ 0 h 201"/>
                    <a:gd name="T32" fmla="*/ 218 w 218"/>
                    <a:gd name="T33"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201">
                      <a:moveTo>
                        <a:pt x="218" y="0"/>
                      </a:moveTo>
                      <a:lnTo>
                        <a:pt x="218" y="15"/>
                      </a:lnTo>
                      <a:lnTo>
                        <a:pt x="218" y="55"/>
                      </a:lnTo>
                      <a:lnTo>
                        <a:pt x="139" y="56"/>
                      </a:lnTo>
                      <a:lnTo>
                        <a:pt x="131" y="130"/>
                      </a:lnTo>
                      <a:lnTo>
                        <a:pt x="98" y="149"/>
                      </a:lnTo>
                      <a:lnTo>
                        <a:pt x="101" y="196"/>
                      </a:lnTo>
                      <a:lnTo>
                        <a:pt x="16" y="186"/>
                      </a:lnTo>
                      <a:lnTo>
                        <a:pt x="0" y="201"/>
                      </a:lnTo>
                      <a:lnTo>
                        <a:pt x="0" y="170"/>
                      </a:lnTo>
                      <a:lnTo>
                        <a:pt x="19" y="154"/>
                      </a:lnTo>
                      <a:lnTo>
                        <a:pt x="35" y="112"/>
                      </a:lnTo>
                      <a:lnTo>
                        <a:pt x="62" y="93"/>
                      </a:lnTo>
                      <a:lnTo>
                        <a:pt x="78" y="46"/>
                      </a:lnTo>
                      <a:lnTo>
                        <a:pt x="93" y="31"/>
                      </a:lnTo>
                      <a:lnTo>
                        <a:pt x="109" y="0"/>
                      </a:lnTo>
                      <a:lnTo>
                        <a:pt x="218"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7" name="Freeform 112"/>
                <p:cNvSpPr>
                  <a:spLocks/>
                </p:cNvSpPr>
                <p:nvPr/>
              </p:nvSpPr>
              <p:spPr bwMode="auto">
                <a:xfrm>
                  <a:off x="4564714" y="2837484"/>
                  <a:ext cx="97730" cy="203711"/>
                </a:xfrm>
                <a:custGeom>
                  <a:avLst/>
                  <a:gdLst>
                    <a:gd name="T0" fmla="*/ 90 w 96"/>
                    <a:gd name="T1" fmla="*/ 125 h 203"/>
                    <a:gd name="T2" fmla="*/ 96 w 96"/>
                    <a:gd name="T3" fmla="*/ 142 h 203"/>
                    <a:gd name="T4" fmla="*/ 90 w 96"/>
                    <a:gd name="T5" fmla="*/ 156 h 203"/>
                    <a:gd name="T6" fmla="*/ 59 w 96"/>
                    <a:gd name="T7" fmla="*/ 172 h 203"/>
                    <a:gd name="T8" fmla="*/ 69 w 96"/>
                    <a:gd name="T9" fmla="*/ 190 h 203"/>
                    <a:gd name="T10" fmla="*/ 59 w 96"/>
                    <a:gd name="T11" fmla="*/ 203 h 203"/>
                    <a:gd name="T12" fmla="*/ 44 w 96"/>
                    <a:gd name="T13" fmla="*/ 203 h 203"/>
                    <a:gd name="T14" fmla="*/ 44 w 96"/>
                    <a:gd name="T15" fmla="*/ 156 h 203"/>
                    <a:gd name="T16" fmla="*/ 21 w 96"/>
                    <a:gd name="T17" fmla="*/ 145 h 203"/>
                    <a:gd name="T18" fmla="*/ 19 w 96"/>
                    <a:gd name="T19" fmla="*/ 129 h 203"/>
                    <a:gd name="T20" fmla="*/ 0 w 96"/>
                    <a:gd name="T21" fmla="*/ 105 h 203"/>
                    <a:gd name="T22" fmla="*/ 10 w 96"/>
                    <a:gd name="T23" fmla="*/ 88 h 203"/>
                    <a:gd name="T24" fmla="*/ 22 w 96"/>
                    <a:gd name="T25" fmla="*/ 70 h 203"/>
                    <a:gd name="T26" fmla="*/ 18 w 96"/>
                    <a:gd name="T27" fmla="*/ 34 h 203"/>
                    <a:gd name="T28" fmla="*/ 28 w 96"/>
                    <a:gd name="T29" fmla="*/ 16 h 203"/>
                    <a:gd name="T30" fmla="*/ 59 w 96"/>
                    <a:gd name="T31" fmla="*/ 0 h 203"/>
                    <a:gd name="T32" fmla="*/ 66 w 96"/>
                    <a:gd name="T33" fmla="*/ 10 h 203"/>
                    <a:gd name="T34" fmla="*/ 75 w 96"/>
                    <a:gd name="T35" fmla="*/ 16 h 203"/>
                    <a:gd name="T36" fmla="*/ 90 w 96"/>
                    <a:gd name="T37" fmla="*/ 16 h 203"/>
                    <a:gd name="T38" fmla="*/ 75 w 96"/>
                    <a:gd name="T39" fmla="*/ 31 h 203"/>
                    <a:gd name="T40" fmla="*/ 90 w 96"/>
                    <a:gd name="T41" fmla="*/ 62 h 203"/>
                    <a:gd name="T42" fmla="*/ 59 w 96"/>
                    <a:gd name="T43" fmla="*/ 94 h 203"/>
                    <a:gd name="T44" fmla="*/ 59 w 96"/>
                    <a:gd name="T45" fmla="*/ 109 h 203"/>
                    <a:gd name="T46" fmla="*/ 90 w 96"/>
                    <a:gd name="T47" fmla="*/ 109 h 203"/>
                    <a:gd name="T48" fmla="*/ 90 w 96"/>
                    <a:gd name="T49" fmla="*/ 1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203">
                      <a:moveTo>
                        <a:pt x="90" y="125"/>
                      </a:moveTo>
                      <a:lnTo>
                        <a:pt x="96" y="142"/>
                      </a:lnTo>
                      <a:lnTo>
                        <a:pt x="90" y="156"/>
                      </a:lnTo>
                      <a:lnTo>
                        <a:pt x="59" y="172"/>
                      </a:lnTo>
                      <a:lnTo>
                        <a:pt x="69" y="190"/>
                      </a:lnTo>
                      <a:lnTo>
                        <a:pt x="59" y="203"/>
                      </a:lnTo>
                      <a:lnTo>
                        <a:pt x="44" y="203"/>
                      </a:lnTo>
                      <a:lnTo>
                        <a:pt x="44" y="156"/>
                      </a:lnTo>
                      <a:lnTo>
                        <a:pt x="21" y="145"/>
                      </a:lnTo>
                      <a:lnTo>
                        <a:pt x="19" y="129"/>
                      </a:lnTo>
                      <a:lnTo>
                        <a:pt x="0" y="105"/>
                      </a:lnTo>
                      <a:lnTo>
                        <a:pt x="10" y="88"/>
                      </a:lnTo>
                      <a:lnTo>
                        <a:pt x="22" y="70"/>
                      </a:lnTo>
                      <a:lnTo>
                        <a:pt x="18" y="34"/>
                      </a:lnTo>
                      <a:lnTo>
                        <a:pt x="28" y="16"/>
                      </a:lnTo>
                      <a:lnTo>
                        <a:pt x="59" y="0"/>
                      </a:lnTo>
                      <a:lnTo>
                        <a:pt x="66" y="10"/>
                      </a:lnTo>
                      <a:lnTo>
                        <a:pt x="75" y="16"/>
                      </a:lnTo>
                      <a:lnTo>
                        <a:pt x="90" y="16"/>
                      </a:lnTo>
                      <a:lnTo>
                        <a:pt x="75" y="31"/>
                      </a:lnTo>
                      <a:lnTo>
                        <a:pt x="90" y="62"/>
                      </a:lnTo>
                      <a:lnTo>
                        <a:pt x="59" y="94"/>
                      </a:lnTo>
                      <a:lnTo>
                        <a:pt x="59" y="109"/>
                      </a:lnTo>
                      <a:lnTo>
                        <a:pt x="90" y="109"/>
                      </a:lnTo>
                      <a:lnTo>
                        <a:pt x="90" y="12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8" name="Freeform 113"/>
                <p:cNvSpPr>
                  <a:spLocks/>
                </p:cNvSpPr>
                <p:nvPr/>
              </p:nvSpPr>
              <p:spPr bwMode="auto">
                <a:xfrm>
                  <a:off x="4031077" y="2885771"/>
                  <a:ext cx="304048" cy="233890"/>
                </a:xfrm>
                <a:custGeom>
                  <a:avLst/>
                  <a:gdLst>
                    <a:gd name="T0" fmla="*/ 297 w 297"/>
                    <a:gd name="T1" fmla="*/ 31 h 234"/>
                    <a:gd name="T2" fmla="*/ 297 w 297"/>
                    <a:gd name="T3" fmla="*/ 109 h 234"/>
                    <a:gd name="T4" fmla="*/ 234 w 297"/>
                    <a:gd name="T5" fmla="*/ 125 h 234"/>
                    <a:gd name="T6" fmla="*/ 234 w 297"/>
                    <a:gd name="T7" fmla="*/ 140 h 234"/>
                    <a:gd name="T8" fmla="*/ 203 w 297"/>
                    <a:gd name="T9" fmla="*/ 172 h 234"/>
                    <a:gd name="T10" fmla="*/ 153 w 297"/>
                    <a:gd name="T11" fmla="*/ 184 h 234"/>
                    <a:gd name="T12" fmla="*/ 120 w 297"/>
                    <a:gd name="T13" fmla="*/ 206 h 234"/>
                    <a:gd name="T14" fmla="*/ 109 w 297"/>
                    <a:gd name="T15" fmla="*/ 234 h 234"/>
                    <a:gd name="T16" fmla="*/ 0 w 297"/>
                    <a:gd name="T17" fmla="*/ 234 h 234"/>
                    <a:gd name="T18" fmla="*/ 47 w 297"/>
                    <a:gd name="T19" fmla="*/ 218 h 234"/>
                    <a:gd name="T20" fmla="*/ 78 w 297"/>
                    <a:gd name="T21" fmla="*/ 187 h 234"/>
                    <a:gd name="T22" fmla="*/ 94 w 297"/>
                    <a:gd name="T23" fmla="*/ 156 h 234"/>
                    <a:gd name="T24" fmla="*/ 84 w 297"/>
                    <a:gd name="T25" fmla="*/ 137 h 234"/>
                    <a:gd name="T26" fmla="*/ 109 w 297"/>
                    <a:gd name="T27" fmla="*/ 94 h 234"/>
                    <a:gd name="T28" fmla="*/ 125 w 297"/>
                    <a:gd name="T29" fmla="*/ 78 h 234"/>
                    <a:gd name="T30" fmla="*/ 172 w 297"/>
                    <a:gd name="T31" fmla="*/ 47 h 234"/>
                    <a:gd name="T32" fmla="*/ 188 w 297"/>
                    <a:gd name="T33" fmla="*/ 0 h 234"/>
                    <a:gd name="T34" fmla="*/ 203 w 297"/>
                    <a:gd name="T35" fmla="*/ 0 h 234"/>
                    <a:gd name="T36" fmla="*/ 219 w 297"/>
                    <a:gd name="T37" fmla="*/ 16 h 234"/>
                    <a:gd name="T38" fmla="*/ 266 w 297"/>
                    <a:gd name="T39" fmla="*/ 16 h 234"/>
                    <a:gd name="T40" fmla="*/ 281 w 297"/>
                    <a:gd name="T41" fmla="*/ 16 h 234"/>
                    <a:gd name="T42" fmla="*/ 297 w 297"/>
                    <a:gd name="T43" fmla="*/ 3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7" h="234">
                      <a:moveTo>
                        <a:pt x="297" y="31"/>
                      </a:moveTo>
                      <a:lnTo>
                        <a:pt x="297" y="109"/>
                      </a:lnTo>
                      <a:lnTo>
                        <a:pt x="234" y="125"/>
                      </a:lnTo>
                      <a:lnTo>
                        <a:pt x="234" y="140"/>
                      </a:lnTo>
                      <a:lnTo>
                        <a:pt x="203" y="172"/>
                      </a:lnTo>
                      <a:lnTo>
                        <a:pt x="153" y="184"/>
                      </a:lnTo>
                      <a:lnTo>
                        <a:pt x="120" y="206"/>
                      </a:lnTo>
                      <a:lnTo>
                        <a:pt x="109" y="234"/>
                      </a:lnTo>
                      <a:lnTo>
                        <a:pt x="0" y="234"/>
                      </a:lnTo>
                      <a:lnTo>
                        <a:pt x="47" y="218"/>
                      </a:lnTo>
                      <a:lnTo>
                        <a:pt x="78" y="187"/>
                      </a:lnTo>
                      <a:lnTo>
                        <a:pt x="94" y="156"/>
                      </a:lnTo>
                      <a:lnTo>
                        <a:pt x="84" y="137"/>
                      </a:lnTo>
                      <a:lnTo>
                        <a:pt x="109" y="94"/>
                      </a:lnTo>
                      <a:lnTo>
                        <a:pt x="125" y="78"/>
                      </a:lnTo>
                      <a:lnTo>
                        <a:pt x="172" y="47"/>
                      </a:lnTo>
                      <a:lnTo>
                        <a:pt x="188" y="0"/>
                      </a:lnTo>
                      <a:lnTo>
                        <a:pt x="203" y="0"/>
                      </a:lnTo>
                      <a:lnTo>
                        <a:pt x="219" y="16"/>
                      </a:lnTo>
                      <a:lnTo>
                        <a:pt x="266" y="16"/>
                      </a:lnTo>
                      <a:lnTo>
                        <a:pt x="281" y="16"/>
                      </a:lnTo>
                      <a:lnTo>
                        <a:pt x="297" y="3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09" name="Freeform 114"/>
                <p:cNvSpPr>
                  <a:spLocks/>
                </p:cNvSpPr>
                <p:nvPr/>
              </p:nvSpPr>
              <p:spPr bwMode="auto">
                <a:xfrm>
                  <a:off x="5472205" y="3570843"/>
                  <a:ext cx="52743" cy="46778"/>
                </a:xfrm>
                <a:custGeom>
                  <a:avLst/>
                  <a:gdLst>
                    <a:gd name="T0" fmla="*/ 36 w 52"/>
                    <a:gd name="T1" fmla="*/ 31 h 47"/>
                    <a:gd name="T2" fmla="*/ 52 w 52"/>
                    <a:gd name="T3" fmla="*/ 16 h 47"/>
                    <a:gd name="T4" fmla="*/ 36 w 52"/>
                    <a:gd name="T5" fmla="*/ 0 h 47"/>
                    <a:gd name="T6" fmla="*/ 21 w 52"/>
                    <a:gd name="T7" fmla="*/ 16 h 47"/>
                    <a:gd name="T8" fmla="*/ 0 w 52"/>
                    <a:gd name="T9" fmla="*/ 21 h 47"/>
                    <a:gd name="T10" fmla="*/ 5 w 52"/>
                    <a:gd name="T11" fmla="*/ 47 h 47"/>
                    <a:gd name="T12" fmla="*/ 36 w 52"/>
                    <a:gd name="T13" fmla="*/ 47 h 47"/>
                    <a:gd name="T14" fmla="*/ 36 w 52"/>
                    <a:gd name="T15" fmla="*/ 3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7">
                      <a:moveTo>
                        <a:pt x="36" y="31"/>
                      </a:moveTo>
                      <a:lnTo>
                        <a:pt x="52" y="16"/>
                      </a:lnTo>
                      <a:lnTo>
                        <a:pt x="36" y="0"/>
                      </a:lnTo>
                      <a:lnTo>
                        <a:pt x="21" y="16"/>
                      </a:lnTo>
                      <a:lnTo>
                        <a:pt x="0" y="21"/>
                      </a:lnTo>
                      <a:lnTo>
                        <a:pt x="5" y="47"/>
                      </a:lnTo>
                      <a:lnTo>
                        <a:pt x="36" y="47"/>
                      </a:lnTo>
                      <a:lnTo>
                        <a:pt x="36" y="3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0" name="Freeform 115"/>
                <p:cNvSpPr>
                  <a:spLocks/>
                </p:cNvSpPr>
                <p:nvPr/>
              </p:nvSpPr>
              <p:spPr bwMode="auto">
                <a:xfrm>
                  <a:off x="3917836" y="3531610"/>
                  <a:ext cx="80666" cy="22634"/>
                </a:xfrm>
                <a:custGeom>
                  <a:avLst/>
                  <a:gdLst>
                    <a:gd name="T0" fmla="*/ 0 w 78"/>
                    <a:gd name="T1" fmla="*/ 23 h 23"/>
                    <a:gd name="T2" fmla="*/ 20 w 78"/>
                    <a:gd name="T3" fmla="*/ 21 h 23"/>
                    <a:gd name="T4" fmla="*/ 31 w 78"/>
                    <a:gd name="T5" fmla="*/ 8 h 23"/>
                    <a:gd name="T6" fmla="*/ 62 w 78"/>
                    <a:gd name="T7" fmla="*/ 23 h 23"/>
                    <a:gd name="T8" fmla="*/ 78 w 78"/>
                    <a:gd name="T9" fmla="*/ 8 h 23"/>
                    <a:gd name="T10" fmla="*/ 26 w 78"/>
                    <a:gd name="T11" fmla="*/ 0 h 23"/>
                    <a:gd name="T12" fmla="*/ 16 w 78"/>
                    <a:gd name="T13" fmla="*/ 7 h 23"/>
                    <a:gd name="T14" fmla="*/ 0 w 78"/>
                    <a:gd name="T15" fmla="*/ 8 h 23"/>
                    <a:gd name="T16" fmla="*/ 0 w 7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3">
                      <a:moveTo>
                        <a:pt x="0" y="23"/>
                      </a:moveTo>
                      <a:lnTo>
                        <a:pt x="20" y="21"/>
                      </a:lnTo>
                      <a:lnTo>
                        <a:pt x="31" y="8"/>
                      </a:lnTo>
                      <a:lnTo>
                        <a:pt x="62" y="23"/>
                      </a:lnTo>
                      <a:lnTo>
                        <a:pt x="78" y="8"/>
                      </a:lnTo>
                      <a:lnTo>
                        <a:pt x="26" y="0"/>
                      </a:lnTo>
                      <a:lnTo>
                        <a:pt x="16" y="7"/>
                      </a:lnTo>
                      <a:lnTo>
                        <a:pt x="0" y="8"/>
                      </a:lnTo>
                      <a:lnTo>
                        <a:pt x="0" y="2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1" name="Freeform 116"/>
                <p:cNvSpPr>
                  <a:spLocks/>
                </p:cNvSpPr>
                <p:nvPr/>
              </p:nvSpPr>
              <p:spPr bwMode="auto">
                <a:xfrm>
                  <a:off x="3917836" y="3570843"/>
                  <a:ext cx="80666" cy="46778"/>
                </a:xfrm>
                <a:custGeom>
                  <a:avLst/>
                  <a:gdLst>
                    <a:gd name="T0" fmla="*/ 78 w 78"/>
                    <a:gd name="T1" fmla="*/ 0 h 47"/>
                    <a:gd name="T2" fmla="*/ 78 w 78"/>
                    <a:gd name="T3" fmla="*/ 31 h 47"/>
                    <a:gd name="T4" fmla="*/ 47 w 78"/>
                    <a:gd name="T5" fmla="*/ 31 h 47"/>
                    <a:gd name="T6" fmla="*/ 47 w 78"/>
                    <a:gd name="T7" fmla="*/ 47 h 47"/>
                    <a:gd name="T8" fmla="*/ 31 w 78"/>
                    <a:gd name="T9" fmla="*/ 47 h 47"/>
                    <a:gd name="T10" fmla="*/ 35 w 78"/>
                    <a:gd name="T11" fmla="*/ 28 h 47"/>
                    <a:gd name="T12" fmla="*/ 31 w 78"/>
                    <a:gd name="T13" fmla="*/ 16 h 47"/>
                    <a:gd name="T14" fmla="*/ 17 w 78"/>
                    <a:gd name="T15" fmla="*/ 22 h 47"/>
                    <a:gd name="T16" fmla="*/ 0 w 78"/>
                    <a:gd name="T17" fmla="*/ 0 h 47"/>
                    <a:gd name="T18" fmla="*/ 78 w 78"/>
                    <a:gd name="T1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7">
                      <a:moveTo>
                        <a:pt x="78" y="0"/>
                      </a:moveTo>
                      <a:lnTo>
                        <a:pt x="78" y="31"/>
                      </a:lnTo>
                      <a:lnTo>
                        <a:pt x="47" y="31"/>
                      </a:lnTo>
                      <a:lnTo>
                        <a:pt x="47" y="47"/>
                      </a:lnTo>
                      <a:lnTo>
                        <a:pt x="31" y="47"/>
                      </a:lnTo>
                      <a:lnTo>
                        <a:pt x="35" y="28"/>
                      </a:lnTo>
                      <a:lnTo>
                        <a:pt x="31" y="16"/>
                      </a:lnTo>
                      <a:lnTo>
                        <a:pt x="17" y="22"/>
                      </a:lnTo>
                      <a:lnTo>
                        <a:pt x="0" y="0"/>
                      </a:lnTo>
                      <a:lnTo>
                        <a:pt x="78"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2" name="Freeform 117"/>
                <p:cNvSpPr>
                  <a:spLocks/>
                </p:cNvSpPr>
                <p:nvPr/>
              </p:nvSpPr>
              <p:spPr bwMode="auto">
                <a:xfrm>
                  <a:off x="4009360" y="3647801"/>
                  <a:ext cx="69807" cy="93556"/>
                </a:xfrm>
                <a:custGeom>
                  <a:avLst/>
                  <a:gdLst>
                    <a:gd name="T0" fmla="*/ 0 w 68"/>
                    <a:gd name="T1" fmla="*/ 30 h 93"/>
                    <a:gd name="T2" fmla="*/ 6 w 68"/>
                    <a:gd name="T3" fmla="*/ 62 h 93"/>
                    <a:gd name="T4" fmla="*/ 37 w 68"/>
                    <a:gd name="T5" fmla="*/ 93 h 93"/>
                    <a:gd name="T6" fmla="*/ 68 w 68"/>
                    <a:gd name="T7" fmla="*/ 47 h 93"/>
                    <a:gd name="T8" fmla="*/ 68 w 68"/>
                    <a:gd name="T9" fmla="*/ 31 h 93"/>
                    <a:gd name="T10" fmla="*/ 52 w 68"/>
                    <a:gd name="T11" fmla="*/ 0 h 93"/>
                    <a:gd name="T12" fmla="*/ 21 w 68"/>
                    <a:gd name="T13" fmla="*/ 0 h 93"/>
                    <a:gd name="T14" fmla="*/ 0 w 68"/>
                    <a:gd name="T15" fmla="*/ 3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93">
                      <a:moveTo>
                        <a:pt x="0" y="30"/>
                      </a:moveTo>
                      <a:lnTo>
                        <a:pt x="6" y="62"/>
                      </a:lnTo>
                      <a:lnTo>
                        <a:pt x="37" y="93"/>
                      </a:lnTo>
                      <a:lnTo>
                        <a:pt x="68" y="47"/>
                      </a:lnTo>
                      <a:lnTo>
                        <a:pt x="68" y="31"/>
                      </a:lnTo>
                      <a:lnTo>
                        <a:pt x="52" y="0"/>
                      </a:lnTo>
                      <a:lnTo>
                        <a:pt x="21" y="0"/>
                      </a:lnTo>
                      <a:lnTo>
                        <a:pt x="0" y="3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3" name="Freeform 118"/>
                <p:cNvSpPr>
                  <a:spLocks/>
                </p:cNvSpPr>
                <p:nvPr/>
              </p:nvSpPr>
              <p:spPr bwMode="auto">
                <a:xfrm>
                  <a:off x="5138683" y="4005426"/>
                  <a:ext cx="48090" cy="63377"/>
                </a:xfrm>
                <a:custGeom>
                  <a:avLst/>
                  <a:gdLst>
                    <a:gd name="T0" fmla="*/ 0 w 24"/>
                    <a:gd name="T1" fmla="*/ 8 h 32"/>
                    <a:gd name="T2" fmla="*/ 24 w 24"/>
                    <a:gd name="T3" fmla="*/ 0 h 32"/>
                    <a:gd name="T4" fmla="*/ 24 w 24"/>
                    <a:gd name="T5" fmla="*/ 16 h 32"/>
                    <a:gd name="T6" fmla="*/ 8 w 24"/>
                    <a:gd name="T7" fmla="*/ 32 h 32"/>
                    <a:gd name="T8" fmla="*/ 8 w 24"/>
                    <a:gd name="T9" fmla="*/ 16 h 32"/>
                    <a:gd name="T10" fmla="*/ 0 w 24"/>
                    <a:gd name="T11" fmla="*/ 8 h 32"/>
                  </a:gdLst>
                  <a:ahLst/>
                  <a:cxnLst>
                    <a:cxn ang="0">
                      <a:pos x="T0" y="T1"/>
                    </a:cxn>
                    <a:cxn ang="0">
                      <a:pos x="T2" y="T3"/>
                    </a:cxn>
                    <a:cxn ang="0">
                      <a:pos x="T4" y="T5"/>
                    </a:cxn>
                    <a:cxn ang="0">
                      <a:pos x="T6" y="T7"/>
                    </a:cxn>
                    <a:cxn ang="0">
                      <a:pos x="T8" y="T9"/>
                    </a:cxn>
                    <a:cxn ang="0">
                      <a:pos x="T10" y="T11"/>
                    </a:cxn>
                  </a:cxnLst>
                  <a:rect l="0" t="0" r="r" b="b"/>
                  <a:pathLst>
                    <a:path w="24" h="32">
                      <a:moveTo>
                        <a:pt x="0" y="8"/>
                      </a:moveTo>
                      <a:lnTo>
                        <a:pt x="24" y="0"/>
                      </a:lnTo>
                      <a:lnTo>
                        <a:pt x="24" y="16"/>
                      </a:lnTo>
                      <a:lnTo>
                        <a:pt x="8" y="32"/>
                      </a:lnTo>
                      <a:lnTo>
                        <a:pt x="8" y="16"/>
                      </a:lnTo>
                      <a:lnTo>
                        <a:pt x="0" y="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4" name="Freeform 119"/>
                <p:cNvSpPr>
                  <a:spLocks/>
                </p:cNvSpPr>
                <p:nvPr/>
              </p:nvSpPr>
              <p:spPr bwMode="auto">
                <a:xfrm>
                  <a:off x="5138683" y="3973737"/>
                  <a:ext cx="48090" cy="48287"/>
                </a:xfrm>
                <a:custGeom>
                  <a:avLst/>
                  <a:gdLst>
                    <a:gd name="T0" fmla="*/ 24 w 24"/>
                    <a:gd name="T1" fmla="*/ 16 h 24"/>
                    <a:gd name="T2" fmla="*/ 0 w 24"/>
                    <a:gd name="T3" fmla="*/ 24 h 24"/>
                    <a:gd name="T4" fmla="*/ 0 w 24"/>
                    <a:gd name="T5" fmla="*/ 16 h 24"/>
                    <a:gd name="T6" fmla="*/ 8 w 24"/>
                    <a:gd name="T7" fmla="*/ 0 h 24"/>
                    <a:gd name="T8" fmla="*/ 16 w 24"/>
                    <a:gd name="T9" fmla="*/ 0 h 24"/>
                    <a:gd name="T10" fmla="*/ 24 w 24"/>
                    <a:gd name="T11" fmla="*/ 8 h 24"/>
                    <a:gd name="T12" fmla="*/ 24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24" y="16"/>
                      </a:moveTo>
                      <a:lnTo>
                        <a:pt x="0" y="24"/>
                      </a:lnTo>
                      <a:lnTo>
                        <a:pt x="0" y="16"/>
                      </a:lnTo>
                      <a:lnTo>
                        <a:pt x="8" y="0"/>
                      </a:lnTo>
                      <a:lnTo>
                        <a:pt x="16" y="0"/>
                      </a:lnTo>
                      <a:lnTo>
                        <a:pt x="24" y="8"/>
                      </a:lnTo>
                      <a:lnTo>
                        <a:pt x="24" y="1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5" name="Freeform 120"/>
                <p:cNvSpPr>
                  <a:spLocks/>
                </p:cNvSpPr>
                <p:nvPr/>
              </p:nvSpPr>
              <p:spPr bwMode="auto">
                <a:xfrm>
                  <a:off x="5171259" y="4707096"/>
                  <a:ext cx="32577" cy="42251"/>
                </a:xfrm>
                <a:custGeom>
                  <a:avLst/>
                  <a:gdLst>
                    <a:gd name="T0" fmla="*/ 31 w 31"/>
                    <a:gd name="T1" fmla="*/ 16 h 43"/>
                    <a:gd name="T2" fmla="*/ 31 w 31"/>
                    <a:gd name="T3" fmla="*/ 0 h 43"/>
                    <a:gd name="T4" fmla="*/ 16 w 31"/>
                    <a:gd name="T5" fmla="*/ 0 h 43"/>
                    <a:gd name="T6" fmla="*/ 0 w 31"/>
                    <a:gd name="T7" fmla="*/ 11 h 43"/>
                    <a:gd name="T8" fmla="*/ 0 w 31"/>
                    <a:gd name="T9" fmla="*/ 31 h 43"/>
                    <a:gd name="T10" fmla="*/ 22 w 31"/>
                    <a:gd name="T11" fmla="*/ 43 h 43"/>
                    <a:gd name="T12" fmla="*/ 31 w 31"/>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31" h="43">
                      <a:moveTo>
                        <a:pt x="31" y="16"/>
                      </a:moveTo>
                      <a:lnTo>
                        <a:pt x="31" y="0"/>
                      </a:lnTo>
                      <a:lnTo>
                        <a:pt x="16" y="0"/>
                      </a:lnTo>
                      <a:lnTo>
                        <a:pt x="0" y="11"/>
                      </a:lnTo>
                      <a:lnTo>
                        <a:pt x="0" y="31"/>
                      </a:lnTo>
                      <a:lnTo>
                        <a:pt x="22" y="43"/>
                      </a:lnTo>
                      <a:lnTo>
                        <a:pt x="31" y="1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6" name="Freeform 121"/>
                <p:cNvSpPr>
                  <a:spLocks/>
                </p:cNvSpPr>
                <p:nvPr/>
              </p:nvSpPr>
              <p:spPr bwMode="auto">
                <a:xfrm>
                  <a:off x="4882723" y="4473207"/>
                  <a:ext cx="255959" cy="264070"/>
                </a:xfrm>
                <a:custGeom>
                  <a:avLst/>
                  <a:gdLst>
                    <a:gd name="T0" fmla="*/ 140 w 249"/>
                    <a:gd name="T1" fmla="*/ 0 h 264"/>
                    <a:gd name="T2" fmla="*/ 171 w 249"/>
                    <a:gd name="T3" fmla="*/ 47 h 264"/>
                    <a:gd name="T4" fmla="*/ 202 w 249"/>
                    <a:gd name="T5" fmla="*/ 78 h 264"/>
                    <a:gd name="T6" fmla="*/ 218 w 249"/>
                    <a:gd name="T7" fmla="*/ 109 h 264"/>
                    <a:gd name="T8" fmla="*/ 249 w 249"/>
                    <a:gd name="T9" fmla="*/ 124 h 264"/>
                    <a:gd name="T10" fmla="*/ 202 w 249"/>
                    <a:gd name="T11" fmla="*/ 155 h 264"/>
                    <a:gd name="T12" fmla="*/ 158 w 249"/>
                    <a:gd name="T13" fmla="*/ 198 h 264"/>
                    <a:gd name="T14" fmla="*/ 153 w 249"/>
                    <a:gd name="T15" fmla="*/ 225 h 264"/>
                    <a:gd name="T16" fmla="*/ 126 w 249"/>
                    <a:gd name="T17" fmla="*/ 234 h 264"/>
                    <a:gd name="T18" fmla="*/ 93 w 249"/>
                    <a:gd name="T19" fmla="*/ 217 h 264"/>
                    <a:gd name="T20" fmla="*/ 62 w 249"/>
                    <a:gd name="T21" fmla="*/ 248 h 264"/>
                    <a:gd name="T22" fmla="*/ 31 w 249"/>
                    <a:gd name="T23" fmla="*/ 264 h 264"/>
                    <a:gd name="T24" fmla="*/ 16 w 249"/>
                    <a:gd name="T25" fmla="*/ 248 h 264"/>
                    <a:gd name="T26" fmla="*/ 31 w 249"/>
                    <a:gd name="T27" fmla="*/ 217 h 264"/>
                    <a:gd name="T28" fmla="*/ 0 w 249"/>
                    <a:gd name="T29" fmla="*/ 202 h 264"/>
                    <a:gd name="T30" fmla="*/ 0 w 249"/>
                    <a:gd name="T31" fmla="*/ 124 h 264"/>
                    <a:gd name="T32" fmla="*/ 33 w 249"/>
                    <a:gd name="T33" fmla="*/ 120 h 264"/>
                    <a:gd name="T34" fmla="*/ 31 w 249"/>
                    <a:gd name="T35" fmla="*/ 16 h 264"/>
                    <a:gd name="T36" fmla="*/ 93 w 249"/>
                    <a:gd name="T37" fmla="*/ 0 h 264"/>
                    <a:gd name="T38" fmla="*/ 93 w 249"/>
                    <a:gd name="T39" fmla="*/ 16 h 264"/>
                    <a:gd name="T40" fmla="*/ 109 w 249"/>
                    <a:gd name="T41" fmla="*/ 0 h 264"/>
                    <a:gd name="T42" fmla="*/ 140 w 249"/>
                    <a:gd name="T4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264">
                      <a:moveTo>
                        <a:pt x="140" y="0"/>
                      </a:moveTo>
                      <a:lnTo>
                        <a:pt x="171" y="47"/>
                      </a:lnTo>
                      <a:lnTo>
                        <a:pt x="202" y="78"/>
                      </a:lnTo>
                      <a:lnTo>
                        <a:pt x="218" y="109"/>
                      </a:lnTo>
                      <a:lnTo>
                        <a:pt x="249" y="124"/>
                      </a:lnTo>
                      <a:lnTo>
                        <a:pt x="202" y="155"/>
                      </a:lnTo>
                      <a:lnTo>
                        <a:pt x="158" y="198"/>
                      </a:lnTo>
                      <a:lnTo>
                        <a:pt x="153" y="225"/>
                      </a:lnTo>
                      <a:lnTo>
                        <a:pt x="126" y="234"/>
                      </a:lnTo>
                      <a:lnTo>
                        <a:pt x="93" y="217"/>
                      </a:lnTo>
                      <a:lnTo>
                        <a:pt x="62" y="248"/>
                      </a:lnTo>
                      <a:lnTo>
                        <a:pt x="31" y="264"/>
                      </a:lnTo>
                      <a:lnTo>
                        <a:pt x="16" y="248"/>
                      </a:lnTo>
                      <a:lnTo>
                        <a:pt x="31" y="217"/>
                      </a:lnTo>
                      <a:lnTo>
                        <a:pt x="0" y="202"/>
                      </a:lnTo>
                      <a:lnTo>
                        <a:pt x="0" y="124"/>
                      </a:lnTo>
                      <a:lnTo>
                        <a:pt x="33" y="120"/>
                      </a:lnTo>
                      <a:lnTo>
                        <a:pt x="31" y="16"/>
                      </a:lnTo>
                      <a:lnTo>
                        <a:pt x="93" y="0"/>
                      </a:lnTo>
                      <a:lnTo>
                        <a:pt x="93" y="16"/>
                      </a:lnTo>
                      <a:lnTo>
                        <a:pt x="109" y="0"/>
                      </a:lnTo>
                      <a:lnTo>
                        <a:pt x="14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7" name="Freeform 122"/>
                <p:cNvSpPr>
                  <a:spLocks/>
                </p:cNvSpPr>
                <p:nvPr/>
              </p:nvSpPr>
              <p:spPr bwMode="auto">
                <a:xfrm>
                  <a:off x="2444132" y="2632264"/>
                  <a:ext cx="113243" cy="31689"/>
                </a:xfrm>
                <a:custGeom>
                  <a:avLst/>
                  <a:gdLst>
                    <a:gd name="T0" fmla="*/ 8 w 56"/>
                    <a:gd name="T1" fmla="*/ 16 h 16"/>
                    <a:gd name="T2" fmla="*/ 48 w 56"/>
                    <a:gd name="T3" fmla="*/ 16 h 16"/>
                    <a:gd name="T4" fmla="*/ 56 w 56"/>
                    <a:gd name="T5" fmla="*/ 0 h 16"/>
                    <a:gd name="T6" fmla="*/ 40 w 56"/>
                    <a:gd name="T7" fmla="*/ 8 h 16"/>
                    <a:gd name="T8" fmla="*/ 8 w 56"/>
                    <a:gd name="T9" fmla="*/ 8 h 16"/>
                    <a:gd name="T10" fmla="*/ 0 w 56"/>
                    <a:gd name="T11" fmla="*/ 16 h 16"/>
                    <a:gd name="T12" fmla="*/ 8 w 5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56" h="16">
                      <a:moveTo>
                        <a:pt x="8" y="16"/>
                      </a:moveTo>
                      <a:lnTo>
                        <a:pt x="48" y="16"/>
                      </a:lnTo>
                      <a:lnTo>
                        <a:pt x="56" y="0"/>
                      </a:lnTo>
                      <a:lnTo>
                        <a:pt x="40" y="8"/>
                      </a:lnTo>
                      <a:lnTo>
                        <a:pt x="8" y="8"/>
                      </a:lnTo>
                      <a:lnTo>
                        <a:pt x="0" y="16"/>
                      </a:lnTo>
                      <a:lnTo>
                        <a:pt x="8" y="16"/>
                      </a:lnTo>
                      <a:close/>
                    </a:path>
                  </a:pathLst>
                </a:custGeom>
                <a:grpFill/>
                <a:ln w="6350" cmpd="sng">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8" name="Freeform 123"/>
                <p:cNvSpPr>
                  <a:spLocks/>
                </p:cNvSpPr>
                <p:nvPr/>
              </p:nvSpPr>
              <p:spPr bwMode="auto">
                <a:xfrm>
                  <a:off x="2346402" y="2680551"/>
                  <a:ext cx="130306" cy="37724"/>
                </a:xfrm>
                <a:custGeom>
                  <a:avLst/>
                  <a:gdLst>
                    <a:gd name="T0" fmla="*/ 0 w 126"/>
                    <a:gd name="T1" fmla="*/ 31 h 38"/>
                    <a:gd name="T2" fmla="*/ 32 w 126"/>
                    <a:gd name="T3" fmla="*/ 38 h 38"/>
                    <a:gd name="T4" fmla="*/ 126 w 126"/>
                    <a:gd name="T5" fmla="*/ 0 h 38"/>
                    <a:gd name="T6" fmla="*/ 47 w 126"/>
                    <a:gd name="T7" fmla="*/ 0 h 38"/>
                    <a:gd name="T8" fmla="*/ 0 w 126"/>
                    <a:gd name="T9" fmla="*/ 31 h 38"/>
                  </a:gdLst>
                  <a:ahLst/>
                  <a:cxnLst>
                    <a:cxn ang="0">
                      <a:pos x="T0" y="T1"/>
                    </a:cxn>
                    <a:cxn ang="0">
                      <a:pos x="T2" y="T3"/>
                    </a:cxn>
                    <a:cxn ang="0">
                      <a:pos x="T4" y="T5"/>
                    </a:cxn>
                    <a:cxn ang="0">
                      <a:pos x="T6" y="T7"/>
                    </a:cxn>
                    <a:cxn ang="0">
                      <a:pos x="T8" y="T9"/>
                    </a:cxn>
                  </a:cxnLst>
                  <a:rect l="0" t="0" r="r" b="b"/>
                  <a:pathLst>
                    <a:path w="126" h="38">
                      <a:moveTo>
                        <a:pt x="0" y="31"/>
                      </a:moveTo>
                      <a:lnTo>
                        <a:pt x="32" y="38"/>
                      </a:lnTo>
                      <a:lnTo>
                        <a:pt x="126" y="0"/>
                      </a:lnTo>
                      <a:lnTo>
                        <a:pt x="47" y="0"/>
                      </a:lnTo>
                      <a:lnTo>
                        <a:pt x="0" y="31"/>
                      </a:lnTo>
                      <a:close/>
                    </a:path>
                  </a:pathLst>
                </a:custGeom>
                <a:grpFill/>
                <a:ln w="6350" cmpd="sng">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19" name="Freeform 124"/>
                <p:cNvSpPr>
                  <a:spLocks/>
                </p:cNvSpPr>
                <p:nvPr/>
              </p:nvSpPr>
              <p:spPr bwMode="auto">
                <a:xfrm>
                  <a:off x="2234711" y="2570397"/>
                  <a:ext cx="238895" cy="140334"/>
                </a:xfrm>
                <a:custGeom>
                  <a:avLst/>
                  <a:gdLst>
                    <a:gd name="T0" fmla="*/ 142 w 233"/>
                    <a:gd name="T1" fmla="*/ 0 h 141"/>
                    <a:gd name="T2" fmla="*/ 142 w 233"/>
                    <a:gd name="T3" fmla="*/ 16 h 141"/>
                    <a:gd name="T4" fmla="*/ 79 w 233"/>
                    <a:gd name="T5" fmla="*/ 16 h 141"/>
                    <a:gd name="T6" fmla="*/ 31 w 233"/>
                    <a:gd name="T7" fmla="*/ 63 h 141"/>
                    <a:gd name="T8" fmla="*/ 63 w 233"/>
                    <a:gd name="T9" fmla="*/ 47 h 141"/>
                    <a:gd name="T10" fmla="*/ 16 w 233"/>
                    <a:gd name="T11" fmla="*/ 94 h 141"/>
                    <a:gd name="T12" fmla="*/ 0 w 233"/>
                    <a:gd name="T13" fmla="*/ 125 h 141"/>
                    <a:gd name="T14" fmla="*/ 0 w 233"/>
                    <a:gd name="T15" fmla="*/ 141 h 141"/>
                    <a:gd name="T16" fmla="*/ 16 w 233"/>
                    <a:gd name="T17" fmla="*/ 141 h 141"/>
                    <a:gd name="T18" fmla="*/ 49 w 233"/>
                    <a:gd name="T19" fmla="*/ 125 h 141"/>
                    <a:gd name="T20" fmla="*/ 63 w 233"/>
                    <a:gd name="T21" fmla="*/ 78 h 141"/>
                    <a:gd name="T22" fmla="*/ 79 w 233"/>
                    <a:gd name="T23" fmla="*/ 47 h 141"/>
                    <a:gd name="T24" fmla="*/ 126 w 233"/>
                    <a:gd name="T25" fmla="*/ 31 h 141"/>
                    <a:gd name="T26" fmla="*/ 142 w 233"/>
                    <a:gd name="T27" fmla="*/ 31 h 141"/>
                    <a:gd name="T28" fmla="*/ 142 w 233"/>
                    <a:gd name="T29" fmla="*/ 63 h 141"/>
                    <a:gd name="T30" fmla="*/ 126 w 233"/>
                    <a:gd name="T31" fmla="*/ 78 h 141"/>
                    <a:gd name="T32" fmla="*/ 142 w 233"/>
                    <a:gd name="T33" fmla="*/ 78 h 141"/>
                    <a:gd name="T34" fmla="*/ 142 w 233"/>
                    <a:gd name="T35" fmla="*/ 94 h 141"/>
                    <a:gd name="T36" fmla="*/ 157 w 233"/>
                    <a:gd name="T37" fmla="*/ 94 h 141"/>
                    <a:gd name="T38" fmla="*/ 176 w 233"/>
                    <a:gd name="T39" fmla="*/ 64 h 141"/>
                    <a:gd name="T40" fmla="*/ 194 w 233"/>
                    <a:gd name="T41" fmla="*/ 56 h 141"/>
                    <a:gd name="T42" fmla="*/ 190 w 233"/>
                    <a:gd name="T43" fmla="*/ 34 h 141"/>
                    <a:gd name="T44" fmla="*/ 220 w 233"/>
                    <a:gd name="T45" fmla="*/ 64 h 141"/>
                    <a:gd name="T46" fmla="*/ 233 w 233"/>
                    <a:gd name="T47" fmla="*/ 46 h 141"/>
                    <a:gd name="T48" fmla="*/ 220 w 233"/>
                    <a:gd name="T49" fmla="*/ 16 h 141"/>
                    <a:gd name="T50" fmla="*/ 142 w 233"/>
                    <a:gd name="T5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3" h="141">
                      <a:moveTo>
                        <a:pt x="142" y="0"/>
                      </a:moveTo>
                      <a:lnTo>
                        <a:pt x="142" y="16"/>
                      </a:lnTo>
                      <a:lnTo>
                        <a:pt x="79" y="16"/>
                      </a:lnTo>
                      <a:lnTo>
                        <a:pt x="31" y="63"/>
                      </a:lnTo>
                      <a:lnTo>
                        <a:pt x="63" y="47"/>
                      </a:lnTo>
                      <a:lnTo>
                        <a:pt x="16" y="94"/>
                      </a:lnTo>
                      <a:lnTo>
                        <a:pt x="0" y="125"/>
                      </a:lnTo>
                      <a:lnTo>
                        <a:pt x="0" y="141"/>
                      </a:lnTo>
                      <a:lnTo>
                        <a:pt x="16" y="141"/>
                      </a:lnTo>
                      <a:lnTo>
                        <a:pt x="49" y="125"/>
                      </a:lnTo>
                      <a:lnTo>
                        <a:pt x="63" y="78"/>
                      </a:lnTo>
                      <a:lnTo>
                        <a:pt x="79" y="47"/>
                      </a:lnTo>
                      <a:lnTo>
                        <a:pt x="126" y="31"/>
                      </a:lnTo>
                      <a:lnTo>
                        <a:pt x="142" y="31"/>
                      </a:lnTo>
                      <a:lnTo>
                        <a:pt x="142" y="63"/>
                      </a:lnTo>
                      <a:lnTo>
                        <a:pt x="126" y="78"/>
                      </a:lnTo>
                      <a:lnTo>
                        <a:pt x="142" y="78"/>
                      </a:lnTo>
                      <a:lnTo>
                        <a:pt x="142" y="94"/>
                      </a:lnTo>
                      <a:lnTo>
                        <a:pt x="157" y="94"/>
                      </a:lnTo>
                      <a:lnTo>
                        <a:pt x="176" y="64"/>
                      </a:lnTo>
                      <a:lnTo>
                        <a:pt x="194" y="56"/>
                      </a:lnTo>
                      <a:lnTo>
                        <a:pt x="190" y="34"/>
                      </a:lnTo>
                      <a:lnTo>
                        <a:pt x="220" y="64"/>
                      </a:lnTo>
                      <a:lnTo>
                        <a:pt x="233" y="46"/>
                      </a:lnTo>
                      <a:lnTo>
                        <a:pt x="220" y="16"/>
                      </a:lnTo>
                      <a:lnTo>
                        <a:pt x="142" y="0"/>
                      </a:lnTo>
                      <a:close/>
                    </a:path>
                  </a:pathLst>
                </a:custGeom>
                <a:grpFill/>
                <a:ln w="6350" cmpd="sng">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0" name="Freeform 125"/>
                <p:cNvSpPr>
                  <a:spLocks/>
                </p:cNvSpPr>
                <p:nvPr/>
              </p:nvSpPr>
              <p:spPr bwMode="auto">
                <a:xfrm>
                  <a:off x="2202134" y="2502493"/>
                  <a:ext cx="193909" cy="67904"/>
                </a:xfrm>
                <a:custGeom>
                  <a:avLst/>
                  <a:gdLst>
                    <a:gd name="T0" fmla="*/ 172 w 188"/>
                    <a:gd name="T1" fmla="*/ 67 h 67"/>
                    <a:gd name="T2" fmla="*/ 188 w 188"/>
                    <a:gd name="T3" fmla="*/ 20 h 67"/>
                    <a:gd name="T4" fmla="*/ 157 w 188"/>
                    <a:gd name="T5" fmla="*/ 20 h 67"/>
                    <a:gd name="T6" fmla="*/ 157 w 188"/>
                    <a:gd name="T7" fmla="*/ 4 h 67"/>
                    <a:gd name="T8" fmla="*/ 137 w 188"/>
                    <a:gd name="T9" fmla="*/ 0 h 67"/>
                    <a:gd name="T10" fmla="*/ 98 w 188"/>
                    <a:gd name="T11" fmla="*/ 20 h 67"/>
                    <a:gd name="T12" fmla="*/ 78 w 188"/>
                    <a:gd name="T13" fmla="*/ 20 h 67"/>
                    <a:gd name="T14" fmla="*/ 63 w 188"/>
                    <a:gd name="T15" fmla="*/ 20 h 67"/>
                    <a:gd name="T16" fmla="*/ 78 w 188"/>
                    <a:gd name="T17" fmla="*/ 20 h 67"/>
                    <a:gd name="T18" fmla="*/ 63 w 188"/>
                    <a:gd name="T19" fmla="*/ 20 h 67"/>
                    <a:gd name="T20" fmla="*/ 0 w 188"/>
                    <a:gd name="T21" fmla="*/ 67 h 67"/>
                    <a:gd name="T22" fmla="*/ 31 w 188"/>
                    <a:gd name="T23" fmla="*/ 51 h 67"/>
                    <a:gd name="T24" fmla="*/ 31 w 188"/>
                    <a:gd name="T25" fmla="*/ 67 h 67"/>
                    <a:gd name="T26" fmla="*/ 110 w 188"/>
                    <a:gd name="T27" fmla="*/ 35 h 67"/>
                    <a:gd name="T28" fmla="*/ 78 w 188"/>
                    <a:gd name="T29" fmla="*/ 67 h 67"/>
                    <a:gd name="T30" fmla="*/ 110 w 188"/>
                    <a:gd name="T31" fmla="*/ 51 h 67"/>
                    <a:gd name="T32" fmla="*/ 110 w 188"/>
                    <a:gd name="T33" fmla="*/ 67 h 67"/>
                    <a:gd name="T34" fmla="*/ 172 w 188"/>
                    <a:gd name="T35" fmla="*/ 67 h 67"/>
                    <a:gd name="T36" fmla="*/ 157 w 188"/>
                    <a:gd name="T37" fmla="*/ 67 h 67"/>
                    <a:gd name="T38" fmla="*/ 172 w 188"/>
                    <a:gd name="T3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67">
                      <a:moveTo>
                        <a:pt x="172" y="67"/>
                      </a:moveTo>
                      <a:lnTo>
                        <a:pt x="188" y="20"/>
                      </a:lnTo>
                      <a:lnTo>
                        <a:pt x="157" y="20"/>
                      </a:lnTo>
                      <a:lnTo>
                        <a:pt x="157" y="4"/>
                      </a:lnTo>
                      <a:lnTo>
                        <a:pt x="137" y="0"/>
                      </a:lnTo>
                      <a:lnTo>
                        <a:pt x="98" y="20"/>
                      </a:lnTo>
                      <a:lnTo>
                        <a:pt x="78" y="20"/>
                      </a:lnTo>
                      <a:lnTo>
                        <a:pt x="63" y="20"/>
                      </a:lnTo>
                      <a:lnTo>
                        <a:pt x="78" y="20"/>
                      </a:lnTo>
                      <a:lnTo>
                        <a:pt x="63" y="20"/>
                      </a:lnTo>
                      <a:lnTo>
                        <a:pt x="0" y="67"/>
                      </a:lnTo>
                      <a:lnTo>
                        <a:pt x="31" y="51"/>
                      </a:lnTo>
                      <a:lnTo>
                        <a:pt x="31" y="67"/>
                      </a:lnTo>
                      <a:lnTo>
                        <a:pt x="110" y="35"/>
                      </a:lnTo>
                      <a:lnTo>
                        <a:pt x="78" y="67"/>
                      </a:lnTo>
                      <a:lnTo>
                        <a:pt x="110" y="51"/>
                      </a:lnTo>
                      <a:lnTo>
                        <a:pt x="110" y="67"/>
                      </a:lnTo>
                      <a:lnTo>
                        <a:pt x="172" y="67"/>
                      </a:lnTo>
                      <a:lnTo>
                        <a:pt x="157" y="67"/>
                      </a:lnTo>
                      <a:lnTo>
                        <a:pt x="172" y="67"/>
                      </a:lnTo>
                      <a:close/>
                    </a:path>
                  </a:pathLst>
                </a:custGeom>
                <a:grpFill/>
                <a:ln w="6350" cmpd="sng">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1" name="Freeform 126"/>
                <p:cNvSpPr>
                  <a:spLocks/>
                </p:cNvSpPr>
                <p:nvPr/>
              </p:nvSpPr>
              <p:spPr bwMode="auto">
                <a:xfrm>
                  <a:off x="1389270" y="2977818"/>
                  <a:ext cx="702724" cy="532666"/>
                </a:xfrm>
                <a:custGeom>
                  <a:avLst/>
                  <a:gdLst>
                    <a:gd name="T0" fmla="*/ 3 w 683"/>
                    <a:gd name="T1" fmla="*/ 74 h 533"/>
                    <a:gd name="T2" fmla="*/ 30 w 683"/>
                    <a:gd name="T3" fmla="*/ 133 h 533"/>
                    <a:gd name="T4" fmla="*/ 0 w 683"/>
                    <a:gd name="T5" fmla="*/ 141 h 533"/>
                    <a:gd name="T6" fmla="*/ 62 w 683"/>
                    <a:gd name="T7" fmla="*/ 188 h 533"/>
                    <a:gd name="T8" fmla="*/ 57 w 683"/>
                    <a:gd name="T9" fmla="*/ 230 h 533"/>
                    <a:gd name="T10" fmla="*/ 97 w 683"/>
                    <a:gd name="T11" fmla="*/ 286 h 533"/>
                    <a:gd name="T12" fmla="*/ 93 w 683"/>
                    <a:gd name="T13" fmla="*/ 251 h 533"/>
                    <a:gd name="T14" fmla="*/ 31 w 683"/>
                    <a:gd name="T15" fmla="*/ 78 h 533"/>
                    <a:gd name="T16" fmla="*/ 66 w 683"/>
                    <a:gd name="T17" fmla="*/ 35 h 533"/>
                    <a:gd name="T18" fmla="*/ 81 w 683"/>
                    <a:gd name="T19" fmla="*/ 85 h 533"/>
                    <a:gd name="T20" fmla="*/ 109 w 683"/>
                    <a:gd name="T21" fmla="*/ 141 h 533"/>
                    <a:gd name="T22" fmla="*/ 140 w 683"/>
                    <a:gd name="T23" fmla="*/ 188 h 533"/>
                    <a:gd name="T24" fmla="*/ 155 w 683"/>
                    <a:gd name="T25" fmla="*/ 219 h 533"/>
                    <a:gd name="T26" fmla="*/ 175 w 683"/>
                    <a:gd name="T27" fmla="*/ 260 h 533"/>
                    <a:gd name="T28" fmla="*/ 204 w 683"/>
                    <a:gd name="T29" fmla="*/ 329 h 533"/>
                    <a:gd name="T30" fmla="*/ 186 w 683"/>
                    <a:gd name="T31" fmla="*/ 361 h 533"/>
                    <a:gd name="T32" fmla="*/ 225 w 683"/>
                    <a:gd name="T33" fmla="*/ 403 h 533"/>
                    <a:gd name="T34" fmla="*/ 279 w 683"/>
                    <a:gd name="T35" fmla="*/ 439 h 533"/>
                    <a:gd name="T36" fmla="*/ 373 w 683"/>
                    <a:gd name="T37" fmla="*/ 486 h 533"/>
                    <a:gd name="T38" fmla="*/ 435 w 683"/>
                    <a:gd name="T39" fmla="*/ 486 h 533"/>
                    <a:gd name="T40" fmla="*/ 512 w 683"/>
                    <a:gd name="T41" fmla="*/ 533 h 533"/>
                    <a:gd name="T42" fmla="*/ 543 w 683"/>
                    <a:gd name="T43" fmla="*/ 486 h 533"/>
                    <a:gd name="T44" fmla="*/ 556 w 683"/>
                    <a:gd name="T45" fmla="*/ 473 h 533"/>
                    <a:gd name="T46" fmla="*/ 559 w 683"/>
                    <a:gd name="T47" fmla="*/ 439 h 533"/>
                    <a:gd name="T48" fmla="*/ 621 w 683"/>
                    <a:gd name="T49" fmla="*/ 423 h 533"/>
                    <a:gd name="T50" fmla="*/ 636 w 683"/>
                    <a:gd name="T51" fmla="*/ 423 h 533"/>
                    <a:gd name="T52" fmla="*/ 669 w 683"/>
                    <a:gd name="T53" fmla="*/ 356 h 533"/>
                    <a:gd name="T54" fmla="*/ 652 w 683"/>
                    <a:gd name="T55" fmla="*/ 329 h 533"/>
                    <a:gd name="T56" fmla="*/ 574 w 683"/>
                    <a:gd name="T57" fmla="*/ 392 h 533"/>
                    <a:gd name="T58" fmla="*/ 559 w 683"/>
                    <a:gd name="T59" fmla="*/ 423 h 533"/>
                    <a:gd name="T60" fmla="*/ 525 w 683"/>
                    <a:gd name="T61" fmla="*/ 413 h 533"/>
                    <a:gd name="T62" fmla="*/ 471 w 683"/>
                    <a:gd name="T63" fmla="*/ 430 h 533"/>
                    <a:gd name="T64" fmla="*/ 433 w 683"/>
                    <a:gd name="T65" fmla="*/ 412 h 533"/>
                    <a:gd name="T66" fmla="*/ 405 w 683"/>
                    <a:gd name="T67" fmla="*/ 347 h 533"/>
                    <a:gd name="T68" fmla="*/ 414 w 683"/>
                    <a:gd name="T69" fmla="*/ 245 h 533"/>
                    <a:gd name="T70" fmla="*/ 435 w 683"/>
                    <a:gd name="T71" fmla="*/ 204 h 533"/>
                    <a:gd name="T72" fmla="*/ 391 w 683"/>
                    <a:gd name="T73" fmla="*/ 151 h 533"/>
                    <a:gd name="T74" fmla="*/ 369 w 683"/>
                    <a:gd name="T75" fmla="*/ 97 h 533"/>
                    <a:gd name="T76" fmla="*/ 330 w 683"/>
                    <a:gd name="T77" fmla="*/ 82 h 533"/>
                    <a:gd name="T78" fmla="*/ 295 w 683"/>
                    <a:gd name="T79" fmla="*/ 110 h 533"/>
                    <a:gd name="T80" fmla="*/ 279 w 683"/>
                    <a:gd name="T81" fmla="*/ 63 h 533"/>
                    <a:gd name="T82" fmla="*/ 216 w 683"/>
                    <a:gd name="T83" fmla="*/ 25 h 533"/>
                    <a:gd name="T84" fmla="*/ 141 w 683"/>
                    <a:gd name="T85" fmla="*/ 41 h 533"/>
                    <a:gd name="T86" fmla="*/ 0 w 683"/>
                    <a:gd name="T87"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3" h="533">
                      <a:moveTo>
                        <a:pt x="0" y="0"/>
                      </a:moveTo>
                      <a:lnTo>
                        <a:pt x="3" y="74"/>
                      </a:lnTo>
                      <a:lnTo>
                        <a:pt x="19" y="100"/>
                      </a:lnTo>
                      <a:lnTo>
                        <a:pt x="30" y="133"/>
                      </a:lnTo>
                      <a:lnTo>
                        <a:pt x="21" y="146"/>
                      </a:lnTo>
                      <a:lnTo>
                        <a:pt x="0" y="141"/>
                      </a:lnTo>
                      <a:lnTo>
                        <a:pt x="16" y="157"/>
                      </a:lnTo>
                      <a:lnTo>
                        <a:pt x="62" y="188"/>
                      </a:lnTo>
                      <a:lnTo>
                        <a:pt x="62" y="204"/>
                      </a:lnTo>
                      <a:lnTo>
                        <a:pt x="57" y="230"/>
                      </a:lnTo>
                      <a:lnTo>
                        <a:pt x="84" y="268"/>
                      </a:lnTo>
                      <a:lnTo>
                        <a:pt x="97" y="286"/>
                      </a:lnTo>
                      <a:lnTo>
                        <a:pt x="109" y="282"/>
                      </a:lnTo>
                      <a:lnTo>
                        <a:pt x="93" y="251"/>
                      </a:lnTo>
                      <a:lnTo>
                        <a:pt x="78" y="188"/>
                      </a:lnTo>
                      <a:lnTo>
                        <a:pt x="31" y="78"/>
                      </a:lnTo>
                      <a:lnTo>
                        <a:pt x="43" y="29"/>
                      </a:lnTo>
                      <a:lnTo>
                        <a:pt x="66" y="35"/>
                      </a:lnTo>
                      <a:lnTo>
                        <a:pt x="78" y="47"/>
                      </a:lnTo>
                      <a:lnTo>
                        <a:pt x="81" y="85"/>
                      </a:lnTo>
                      <a:lnTo>
                        <a:pt x="93" y="124"/>
                      </a:lnTo>
                      <a:lnTo>
                        <a:pt x="109" y="141"/>
                      </a:lnTo>
                      <a:lnTo>
                        <a:pt x="109" y="157"/>
                      </a:lnTo>
                      <a:lnTo>
                        <a:pt x="140" y="188"/>
                      </a:lnTo>
                      <a:lnTo>
                        <a:pt x="124" y="204"/>
                      </a:lnTo>
                      <a:lnTo>
                        <a:pt x="155" y="219"/>
                      </a:lnTo>
                      <a:lnTo>
                        <a:pt x="160" y="244"/>
                      </a:lnTo>
                      <a:lnTo>
                        <a:pt x="175" y="260"/>
                      </a:lnTo>
                      <a:lnTo>
                        <a:pt x="202" y="298"/>
                      </a:lnTo>
                      <a:lnTo>
                        <a:pt x="204" y="329"/>
                      </a:lnTo>
                      <a:lnTo>
                        <a:pt x="202" y="353"/>
                      </a:lnTo>
                      <a:lnTo>
                        <a:pt x="186" y="361"/>
                      </a:lnTo>
                      <a:lnTo>
                        <a:pt x="202" y="391"/>
                      </a:lnTo>
                      <a:lnTo>
                        <a:pt x="225" y="403"/>
                      </a:lnTo>
                      <a:lnTo>
                        <a:pt x="233" y="423"/>
                      </a:lnTo>
                      <a:lnTo>
                        <a:pt x="279" y="439"/>
                      </a:lnTo>
                      <a:lnTo>
                        <a:pt x="295" y="455"/>
                      </a:lnTo>
                      <a:lnTo>
                        <a:pt x="373" y="486"/>
                      </a:lnTo>
                      <a:lnTo>
                        <a:pt x="404" y="502"/>
                      </a:lnTo>
                      <a:lnTo>
                        <a:pt x="435" y="486"/>
                      </a:lnTo>
                      <a:lnTo>
                        <a:pt x="466" y="486"/>
                      </a:lnTo>
                      <a:lnTo>
                        <a:pt x="512" y="533"/>
                      </a:lnTo>
                      <a:lnTo>
                        <a:pt x="523" y="497"/>
                      </a:lnTo>
                      <a:lnTo>
                        <a:pt x="543" y="486"/>
                      </a:lnTo>
                      <a:lnTo>
                        <a:pt x="559" y="486"/>
                      </a:lnTo>
                      <a:lnTo>
                        <a:pt x="556" y="473"/>
                      </a:lnTo>
                      <a:lnTo>
                        <a:pt x="549" y="458"/>
                      </a:lnTo>
                      <a:lnTo>
                        <a:pt x="559" y="439"/>
                      </a:lnTo>
                      <a:lnTo>
                        <a:pt x="605" y="439"/>
                      </a:lnTo>
                      <a:lnTo>
                        <a:pt x="621" y="423"/>
                      </a:lnTo>
                      <a:lnTo>
                        <a:pt x="633" y="412"/>
                      </a:lnTo>
                      <a:lnTo>
                        <a:pt x="636" y="423"/>
                      </a:lnTo>
                      <a:lnTo>
                        <a:pt x="655" y="377"/>
                      </a:lnTo>
                      <a:lnTo>
                        <a:pt x="669" y="356"/>
                      </a:lnTo>
                      <a:lnTo>
                        <a:pt x="683" y="329"/>
                      </a:lnTo>
                      <a:lnTo>
                        <a:pt x="652" y="329"/>
                      </a:lnTo>
                      <a:lnTo>
                        <a:pt x="590" y="345"/>
                      </a:lnTo>
                      <a:lnTo>
                        <a:pt x="574" y="392"/>
                      </a:lnTo>
                      <a:lnTo>
                        <a:pt x="543" y="408"/>
                      </a:lnTo>
                      <a:lnTo>
                        <a:pt x="559" y="423"/>
                      </a:lnTo>
                      <a:lnTo>
                        <a:pt x="543" y="423"/>
                      </a:lnTo>
                      <a:lnTo>
                        <a:pt x="525" y="413"/>
                      </a:lnTo>
                      <a:lnTo>
                        <a:pt x="490" y="418"/>
                      </a:lnTo>
                      <a:lnTo>
                        <a:pt x="471" y="430"/>
                      </a:lnTo>
                      <a:lnTo>
                        <a:pt x="456" y="416"/>
                      </a:lnTo>
                      <a:lnTo>
                        <a:pt x="433" y="412"/>
                      </a:lnTo>
                      <a:lnTo>
                        <a:pt x="421" y="380"/>
                      </a:lnTo>
                      <a:lnTo>
                        <a:pt x="405" y="347"/>
                      </a:lnTo>
                      <a:lnTo>
                        <a:pt x="404" y="298"/>
                      </a:lnTo>
                      <a:lnTo>
                        <a:pt x="414" y="245"/>
                      </a:lnTo>
                      <a:lnTo>
                        <a:pt x="417" y="218"/>
                      </a:lnTo>
                      <a:lnTo>
                        <a:pt x="435" y="204"/>
                      </a:lnTo>
                      <a:lnTo>
                        <a:pt x="394" y="187"/>
                      </a:lnTo>
                      <a:lnTo>
                        <a:pt x="391" y="151"/>
                      </a:lnTo>
                      <a:lnTo>
                        <a:pt x="379" y="131"/>
                      </a:lnTo>
                      <a:lnTo>
                        <a:pt x="369" y="97"/>
                      </a:lnTo>
                      <a:lnTo>
                        <a:pt x="363" y="85"/>
                      </a:lnTo>
                      <a:lnTo>
                        <a:pt x="330" y="82"/>
                      </a:lnTo>
                      <a:lnTo>
                        <a:pt x="310" y="110"/>
                      </a:lnTo>
                      <a:lnTo>
                        <a:pt x="295" y="110"/>
                      </a:lnTo>
                      <a:lnTo>
                        <a:pt x="279" y="78"/>
                      </a:lnTo>
                      <a:lnTo>
                        <a:pt x="279" y="63"/>
                      </a:lnTo>
                      <a:lnTo>
                        <a:pt x="264" y="31"/>
                      </a:lnTo>
                      <a:lnTo>
                        <a:pt x="216" y="25"/>
                      </a:lnTo>
                      <a:lnTo>
                        <a:pt x="204" y="40"/>
                      </a:lnTo>
                      <a:lnTo>
                        <a:pt x="141" y="41"/>
                      </a:lnTo>
                      <a:lnTo>
                        <a:pt x="51" y="1"/>
                      </a:lnTo>
                      <a:lnTo>
                        <a:pt x="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2" name="Freeform 127"/>
                <p:cNvSpPr>
                  <a:spLocks/>
                </p:cNvSpPr>
                <p:nvPr/>
              </p:nvSpPr>
              <p:spPr bwMode="auto">
                <a:xfrm>
                  <a:off x="1904291" y="2001515"/>
                  <a:ext cx="164434" cy="66394"/>
                </a:xfrm>
                <a:custGeom>
                  <a:avLst/>
                  <a:gdLst>
                    <a:gd name="T0" fmla="*/ 109 w 159"/>
                    <a:gd name="T1" fmla="*/ 21 h 66"/>
                    <a:gd name="T2" fmla="*/ 138 w 159"/>
                    <a:gd name="T3" fmla="*/ 11 h 66"/>
                    <a:gd name="T4" fmla="*/ 130 w 159"/>
                    <a:gd name="T5" fmla="*/ 0 h 66"/>
                    <a:gd name="T6" fmla="*/ 118 w 159"/>
                    <a:gd name="T7" fmla="*/ 3 h 66"/>
                    <a:gd name="T8" fmla="*/ 109 w 159"/>
                    <a:gd name="T9" fmla="*/ 9 h 66"/>
                    <a:gd name="T10" fmla="*/ 54 w 159"/>
                    <a:gd name="T11" fmla="*/ 18 h 66"/>
                    <a:gd name="T12" fmla="*/ 7 w 159"/>
                    <a:gd name="T13" fmla="*/ 24 h 66"/>
                    <a:gd name="T14" fmla="*/ 12 w 159"/>
                    <a:gd name="T15" fmla="*/ 30 h 66"/>
                    <a:gd name="T16" fmla="*/ 54 w 159"/>
                    <a:gd name="T17" fmla="*/ 29 h 66"/>
                    <a:gd name="T18" fmla="*/ 63 w 159"/>
                    <a:gd name="T19" fmla="*/ 33 h 66"/>
                    <a:gd name="T20" fmla="*/ 43 w 159"/>
                    <a:gd name="T21" fmla="*/ 42 h 66"/>
                    <a:gd name="T22" fmla="*/ 19 w 159"/>
                    <a:gd name="T23" fmla="*/ 50 h 66"/>
                    <a:gd name="T24" fmla="*/ 52 w 159"/>
                    <a:gd name="T25" fmla="*/ 53 h 66"/>
                    <a:gd name="T26" fmla="*/ 66 w 159"/>
                    <a:gd name="T27" fmla="*/ 45 h 66"/>
                    <a:gd name="T28" fmla="*/ 90 w 159"/>
                    <a:gd name="T29" fmla="*/ 48 h 66"/>
                    <a:gd name="T30" fmla="*/ 105 w 159"/>
                    <a:gd name="T31" fmla="*/ 38 h 66"/>
                    <a:gd name="T32" fmla="*/ 150 w 159"/>
                    <a:gd name="T33" fmla="*/ 35 h 66"/>
                    <a:gd name="T34" fmla="*/ 159 w 159"/>
                    <a:gd name="T35" fmla="*/ 23 h 66"/>
                    <a:gd name="T36" fmla="*/ 144 w 159"/>
                    <a:gd name="T37" fmla="*/ 23 h 66"/>
                    <a:gd name="T38" fmla="*/ 129 w 159"/>
                    <a:gd name="T39" fmla="*/ 26 h 66"/>
                    <a:gd name="T40" fmla="*/ 109 w 159"/>
                    <a:gd name="T41"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6">
                      <a:moveTo>
                        <a:pt x="109" y="21"/>
                      </a:moveTo>
                      <a:cubicBezTo>
                        <a:pt x="121" y="20"/>
                        <a:pt x="127" y="13"/>
                        <a:pt x="138" y="11"/>
                      </a:cubicBezTo>
                      <a:cubicBezTo>
                        <a:pt x="147" y="7"/>
                        <a:pt x="135" y="3"/>
                        <a:pt x="130" y="0"/>
                      </a:cubicBezTo>
                      <a:cubicBezTo>
                        <a:pt x="126" y="1"/>
                        <a:pt x="121" y="1"/>
                        <a:pt x="118" y="3"/>
                      </a:cubicBezTo>
                      <a:cubicBezTo>
                        <a:pt x="106" y="11"/>
                        <a:pt x="125" y="6"/>
                        <a:pt x="109" y="9"/>
                      </a:cubicBezTo>
                      <a:cubicBezTo>
                        <a:pt x="94" y="17"/>
                        <a:pt x="70" y="17"/>
                        <a:pt x="54" y="18"/>
                      </a:cubicBezTo>
                      <a:cubicBezTo>
                        <a:pt x="38" y="20"/>
                        <a:pt x="22" y="21"/>
                        <a:pt x="7" y="24"/>
                      </a:cubicBezTo>
                      <a:cubicBezTo>
                        <a:pt x="0" y="29"/>
                        <a:pt x="6" y="29"/>
                        <a:pt x="12" y="30"/>
                      </a:cubicBezTo>
                      <a:cubicBezTo>
                        <a:pt x="26" y="29"/>
                        <a:pt x="40" y="30"/>
                        <a:pt x="54" y="29"/>
                      </a:cubicBezTo>
                      <a:cubicBezTo>
                        <a:pt x="64" y="24"/>
                        <a:pt x="82" y="30"/>
                        <a:pt x="63" y="33"/>
                      </a:cubicBezTo>
                      <a:cubicBezTo>
                        <a:pt x="56" y="36"/>
                        <a:pt x="51" y="41"/>
                        <a:pt x="43" y="42"/>
                      </a:cubicBezTo>
                      <a:cubicBezTo>
                        <a:pt x="36" y="47"/>
                        <a:pt x="27" y="47"/>
                        <a:pt x="19" y="50"/>
                      </a:cubicBezTo>
                      <a:cubicBezTo>
                        <a:pt x="16" y="66"/>
                        <a:pt x="42" y="54"/>
                        <a:pt x="52" y="53"/>
                      </a:cubicBezTo>
                      <a:cubicBezTo>
                        <a:pt x="57" y="50"/>
                        <a:pt x="61" y="47"/>
                        <a:pt x="66" y="45"/>
                      </a:cubicBezTo>
                      <a:cubicBezTo>
                        <a:pt x="75" y="47"/>
                        <a:pt x="82" y="51"/>
                        <a:pt x="90" y="48"/>
                      </a:cubicBezTo>
                      <a:cubicBezTo>
                        <a:pt x="96" y="43"/>
                        <a:pt x="97" y="40"/>
                        <a:pt x="105" y="38"/>
                      </a:cubicBezTo>
                      <a:cubicBezTo>
                        <a:pt x="123" y="39"/>
                        <a:pt x="132" y="39"/>
                        <a:pt x="150" y="35"/>
                      </a:cubicBezTo>
                      <a:cubicBezTo>
                        <a:pt x="153" y="30"/>
                        <a:pt x="157" y="28"/>
                        <a:pt x="159" y="23"/>
                      </a:cubicBezTo>
                      <a:cubicBezTo>
                        <a:pt x="152" y="19"/>
                        <a:pt x="151" y="21"/>
                        <a:pt x="144" y="23"/>
                      </a:cubicBezTo>
                      <a:cubicBezTo>
                        <a:pt x="139" y="24"/>
                        <a:pt x="129" y="26"/>
                        <a:pt x="129" y="26"/>
                      </a:cubicBezTo>
                      <a:cubicBezTo>
                        <a:pt x="111" y="24"/>
                        <a:pt x="116" y="28"/>
                        <a:pt x="109" y="21"/>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3" name="Freeform 128"/>
                <p:cNvSpPr>
                  <a:spLocks/>
                </p:cNvSpPr>
                <p:nvPr/>
              </p:nvSpPr>
              <p:spPr bwMode="auto">
                <a:xfrm>
                  <a:off x="1936867" y="2117706"/>
                  <a:ext cx="197011" cy="57341"/>
                </a:xfrm>
                <a:custGeom>
                  <a:avLst/>
                  <a:gdLst>
                    <a:gd name="T0" fmla="*/ 74 w 191"/>
                    <a:gd name="T1" fmla="*/ 6 h 57"/>
                    <a:gd name="T2" fmla="*/ 71 w 191"/>
                    <a:gd name="T3" fmla="*/ 21 h 57"/>
                    <a:gd name="T4" fmla="*/ 54 w 191"/>
                    <a:gd name="T5" fmla="*/ 28 h 57"/>
                    <a:gd name="T6" fmla="*/ 42 w 191"/>
                    <a:gd name="T7" fmla="*/ 37 h 57"/>
                    <a:gd name="T8" fmla="*/ 9 w 191"/>
                    <a:gd name="T9" fmla="*/ 42 h 57"/>
                    <a:gd name="T10" fmla="*/ 0 w 191"/>
                    <a:gd name="T11" fmla="*/ 49 h 57"/>
                    <a:gd name="T12" fmla="*/ 9 w 191"/>
                    <a:gd name="T13" fmla="*/ 54 h 57"/>
                    <a:gd name="T14" fmla="*/ 41 w 191"/>
                    <a:gd name="T15" fmla="*/ 55 h 57"/>
                    <a:gd name="T16" fmla="*/ 59 w 191"/>
                    <a:gd name="T17" fmla="*/ 54 h 57"/>
                    <a:gd name="T18" fmla="*/ 72 w 191"/>
                    <a:gd name="T19" fmla="*/ 49 h 57"/>
                    <a:gd name="T20" fmla="*/ 98 w 191"/>
                    <a:gd name="T21" fmla="*/ 39 h 57"/>
                    <a:gd name="T22" fmla="*/ 131 w 191"/>
                    <a:gd name="T23" fmla="*/ 27 h 57"/>
                    <a:gd name="T24" fmla="*/ 180 w 191"/>
                    <a:gd name="T25" fmla="*/ 15 h 57"/>
                    <a:gd name="T26" fmla="*/ 177 w 191"/>
                    <a:gd name="T27" fmla="*/ 0 h 57"/>
                    <a:gd name="T28" fmla="*/ 150 w 191"/>
                    <a:gd name="T29" fmla="*/ 4 h 57"/>
                    <a:gd name="T30" fmla="*/ 117 w 191"/>
                    <a:gd name="T31" fmla="*/ 18 h 57"/>
                    <a:gd name="T32" fmla="*/ 104 w 191"/>
                    <a:gd name="T33" fmla="*/ 24 h 57"/>
                    <a:gd name="T34" fmla="*/ 74 w 191"/>
                    <a:gd name="T35"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1" h="57">
                      <a:moveTo>
                        <a:pt x="74" y="6"/>
                      </a:moveTo>
                      <a:cubicBezTo>
                        <a:pt x="69" y="12"/>
                        <a:pt x="69" y="14"/>
                        <a:pt x="71" y="21"/>
                      </a:cubicBezTo>
                      <a:cubicBezTo>
                        <a:pt x="66" y="28"/>
                        <a:pt x="62" y="27"/>
                        <a:pt x="54" y="28"/>
                      </a:cubicBezTo>
                      <a:cubicBezTo>
                        <a:pt x="48" y="33"/>
                        <a:pt x="50" y="36"/>
                        <a:pt x="42" y="37"/>
                      </a:cubicBezTo>
                      <a:cubicBezTo>
                        <a:pt x="32" y="42"/>
                        <a:pt x="20" y="38"/>
                        <a:pt x="9" y="42"/>
                      </a:cubicBezTo>
                      <a:cubicBezTo>
                        <a:pt x="6" y="45"/>
                        <a:pt x="0" y="45"/>
                        <a:pt x="0" y="49"/>
                      </a:cubicBezTo>
                      <a:cubicBezTo>
                        <a:pt x="0" y="49"/>
                        <a:pt x="8" y="54"/>
                        <a:pt x="9" y="54"/>
                      </a:cubicBezTo>
                      <a:cubicBezTo>
                        <a:pt x="20" y="55"/>
                        <a:pt x="30" y="55"/>
                        <a:pt x="41" y="55"/>
                      </a:cubicBezTo>
                      <a:cubicBezTo>
                        <a:pt x="49" y="57"/>
                        <a:pt x="51" y="55"/>
                        <a:pt x="59" y="54"/>
                      </a:cubicBezTo>
                      <a:cubicBezTo>
                        <a:pt x="63" y="52"/>
                        <a:pt x="68" y="51"/>
                        <a:pt x="72" y="49"/>
                      </a:cubicBezTo>
                      <a:cubicBezTo>
                        <a:pt x="79" y="40"/>
                        <a:pt x="86" y="40"/>
                        <a:pt x="98" y="39"/>
                      </a:cubicBezTo>
                      <a:cubicBezTo>
                        <a:pt x="102" y="37"/>
                        <a:pt x="126" y="28"/>
                        <a:pt x="131" y="27"/>
                      </a:cubicBezTo>
                      <a:cubicBezTo>
                        <a:pt x="153" y="16"/>
                        <a:pt x="142" y="16"/>
                        <a:pt x="180" y="15"/>
                      </a:cubicBezTo>
                      <a:cubicBezTo>
                        <a:pt x="191" y="8"/>
                        <a:pt x="191" y="2"/>
                        <a:pt x="177" y="0"/>
                      </a:cubicBezTo>
                      <a:cubicBezTo>
                        <a:pt x="166" y="1"/>
                        <a:pt x="160" y="2"/>
                        <a:pt x="150" y="4"/>
                      </a:cubicBezTo>
                      <a:cubicBezTo>
                        <a:pt x="139" y="9"/>
                        <a:pt x="129" y="14"/>
                        <a:pt x="117" y="18"/>
                      </a:cubicBezTo>
                      <a:cubicBezTo>
                        <a:pt x="113" y="21"/>
                        <a:pt x="109" y="22"/>
                        <a:pt x="104" y="24"/>
                      </a:cubicBezTo>
                      <a:cubicBezTo>
                        <a:pt x="93" y="20"/>
                        <a:pt x="85" y="10"/>
                        <a:pt x="74" y="6"/>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4" name="Freeform 129"/>
                <p:cNvSpPr>
                  <a:spLocks/>
                </p:cNvSpPr>
                <p:nvPr/>
              </p:nvSpPr>
              <p:spPr bwMode="auto">
                <a:xfrm>
                  <a:off x="2144737" y="2357632"/>
                  <a:ext cx="48090" cy="102610"/>
                </a:xfrm>
                <a:custGeom>
                  <a:avLst/>
                  <a:gdLst>
                    <a:gd name="T0" fmla="*/ 40 w 46"/>
                    <a:gd name="T1" fmla="*/ 24 h 103"/>
                    <a:gd name="T2" fmla="*/ 37 w 46"/>
                    <a:gd name="T3" fmla="*/ 9 h 103"/>
                    <a:gd name="T4" fmla="*/ 19 w 46"/>
                    <a:gd name="T5" fmla="*/ 4 h 103"/>
                    <a:gd name="T6" fmla="*/ 6 w 46"/>
                    <a:gd name="T7" fmla="*/ 21 h 103"/>
                    <a:gd name="T8" fmla="*/ 1 w 46"/>
                    <a:gd name="T9" fmla="*/ 36 h 103"/>
                    <a:gd name="T10" fmla="*/ 15 w 46"/>
                    <a:gd name="T11" fmla="*/ 61 h 103"/>
                    <a:gd name="T12" fmla="*/ 25 w 46"/>
                    <a:gd name="T13" fmla="*/ 73 h 103"/>
                    <a:gd name="T14" fmla="*/ 6 w 46"/>
                    <a:gd name="T15" fmla="*/ 97 h 103"/>
                    <a:gd name="T16" fmla="*/ 27 w 46"/>
                    <a:gd name="T17" fmla="*/ 85 h 103"/>
                    <a:gd name="T18" fmla="*/ 28 w 46"/>
                    <a:gd name="T19" fmla="*/ 70 h 103"/>
                    <a:gd name="T20" fmla="*/ 33 w 46"/>
                    <a:gd name="T21" fmla="*/ 54 h 103"/>
                    <a:gd name="T22" fmla="*/ 39 w 46"/>
                    <a:gd name="T23" fmla="*/ 36 h 103"/>
                    <a:gd name="T24" fmla="*/ 40 w 46"/>
                    <a:gd name="T25" fmla="*/ 2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03">
                      <a:moveTo>
                        <a:pt x="40" y="24"/>
                      </a:moveTo>
                      <a:cubicBezTo>
                        <a:pt x="44" y="17"/>
                        <a:pt x="42" y="15"/>
                        <a:pt x="37" y="9"/>
                      </a:cubicBezTo>
                      <a:cubicBezTo>
                        <a:pt x="35" y="0"/>
                        <a:pt x="27" y="3"/>
                        <a:pt x="19" y="4"/>
                      </a:cubicBezTo>
                      <a:cubicBezTo>
                        <a:pt x="15" y="10"/>
                        <a:pt x="12" y="17"/>
                        <a:pt x="6" y="21"/>
                      </a:cubicBezTo>
                      <a:cubicBezTo>
                        <a:pt x="4" y="26"/>
                        <a:pt x="3" y="31"/>
                        <a:pt x="1" y="36"/>
                      </a:cubicBezTo>
                      <a:cubicBezTo>
                        <a:pt x="3" y="49"/>
                        <a:pt x="0" y="59"/>
                        <a:pt x="15" y="61"/>
                      </a:cubicBezTo>
                      <a:cubicBezTo>
                        <a:pt x="18" y="66"/>
                        <a:pt x="22" y="68"/>
                        <a:pt x="25" y="73"/>
                      </a:cubicBezTo>
                      <a:cubicBezTo>
                        <a:pt x="20" y="82"/>
                        <a:pt x="12" y="89"/>
                        <a:pt x="6" y="97"/>
                      </a:cubicBezTo>
                      <a:cubicBezTo>
                        <a:pt x="14" y="103"/>
                        <a:pt x="21" y="91"/>
                        <a:pt x="27" y="85"/>
                      </a:cubicBezTo>
                      <a:cubicBezTo>
                        <a:pt x="28" y="78"/>
                        <a:pt x="31" y="76"/>
                        <a:pt x="28" y="70"/>
                      </a:cubicBezTo>
                      <a:cubicBezTo>
                        <a:pt x="30" y="65"/>
                        <a:pt x="30" y="59"/>
                        <a:pt x="33" y="54"/>
                      </a:cubicBezTo>
                      <a:cubicBezTo>
                        <a:pt x="34" y="48"/>
                        <a:pt x="36" y="42"/>
                        <a:pt x="39" y="36"/>
                      </a:cubicBezTo>
                      <a:cubicBezTo>
                        <a:pt x="39" y="35"/>
                        <a:pt x="46" y="10"/>
                        <a:pt x="40" y="24"/>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5" name="Freeform 130"/>
                <p:cNvSpPr>
                  <a:spLocks/>
                </p:cNvSpPr>
                <p:nvPr/>
              </p:nvSpPr>
              <p:spPr bwMode="auto">
                <a:xfrm>
                  <a:off x="833916" y="2181083"/>
                  <a:ext cx="41885" cy="24143"/>
                </a:xfrm>
                <a:custGeom>
                  <a:avLst/>
                  <a:gdLst>
                    <a:gd name="T0" fmla="*/ 37 w 40"/>
                    <a:gd name="T1" fmla="*/ 0 h 24"/>
                    <a:gd name="T2" fmla="*/ 7 w 40"/>
                    <a:gd name="T3" fmla="*/ 6 h 24"/>
                    <a:gd name="T4" fmla="*/ 9 w 40"/>
                    <a:gd name="T5" fmla="*/ 16 h 24"/>
                    <a:gd name="T6" fmla="*/ 37 w 40"/>
                    <a:gd name="T7" fmla="*/ 0 h 24"/>
                  </a:gdLst>
                  <a:ahLst/>
                  <a:cxnLst>
                    <a:cxn ang="0">
                      <a:pos x="T0" y="T1"/>
                    </a:cxn>
                    <a:cxn ang="0">
                      <a:pos x="T2" y="T3"/>
                    </a:cxn>
                    <a:cxn ang="0">
                      <a:pos x="T4" y="T5"/>
                    </a:cxn>
                    <a:cxn ang="0">
                      <a:pos x="T6" y="T7"/>
                    </a:cxn>
                  </a:cxnLst>
                  <a:rect l="0" t="0" r="r" b="b"/>
                  <a:pathLst>
                    <a:path w="40" h="24">
                      <a:moveTo>
                        <a:pt x="37" y="0"/>
                      </a:moveTo>
                      <a:cubicBezTo>
                        <a:pt x="26" y="1"/>
                        <a:pt x="17" y="4"/>
                        <a:pt x="7" y="6"/>
                      </a:cubicBezTo>
                      <a:cubicBezTo>
                        <a:pt x="2" y="12"/>
                        <a:pt x="0" y="15"/>
                        <a:pt x="9" y="16"/>
                      </a:cubicBezTo>
                      <a:cubicBezTo>
                        <a:pt x="25" y="24"/>
                        <a:pt x="40" y="15"/>
                        <a:pt x="37" y="0"/>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6" name="Freeform 131"/>
                <p:cNvSpPr>
                  <a:spLocks/>
                </p:cNvSpPr>
                <p:nvPr/>
              </p:nvSpPr>
              <p:spPr bwMode="auto">
                <a:xfrm>
                  <a:off x="548483" y="2357632"/>
                  <a:ext cx="96178" cy="40742"/>
                </a:xfrm>
                <a:custGeom>
                  <a:avLst/>
                  <a:gdLst>
                    <a:gd name="T0" fmla="*/ 93 w 93"/>
                    <a:gd name="T1" fmla="*/ 2 h 41"/>
                    <a:gd name="T2" fmla="*/ 74 w 93"/>
                    <a:gd name="T3" fmla="*/ 4 h 41"/>
                    <a:gd name="T4" fmla="*/ 36 w 93"/>
                    <a:gd name="T5" fmla="*/ 17 h 41"/>
                    <a:gd name="T6" fmla="*/ 18 w 93"/>
                    <a:gd name="T7" fmla="*/ 26 h 41"/>
                    <a:gd name="T8" fmla="*/ 0 w 93"/>
                    <a:gd name="T9" fmla="*/ 35 h 41"/>
                    <a:gd name="T10" fmla="*/ 2 w 93"/>
                    <a:gd name="T11" fmla="*/ 40 h 41"/>
                    <a:gd name="T12" fmla="*/ 17 w 93"/>
                    <a:gd name="T13" fmla="*/ 37 h 41"/>
                    <a:gd name="T14" fmla="*/ 29 w 93"/>
                    <a:gd name="T15" fmla="*/ 28 h 41"/>
                    <a:gd name="T16" fmla="*/ 72 w 93"/>
                    <a:gd name="T17" fmla="*/ 20 h 41"/>
                    <a:gd name="T18" fmla="*/ 92 w 93"/>
                    <a:gd name="T19" fmla="*/ 5 h 41"/>
                    <a:gd name="T20" fmla="*/ 93 w 93"/>
                    <a:gd name="T21"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1">
                      <a:moveTo>
                        <a:pt x="93" y="2"/>
                      </a:moveTo>
                      <a:cubicBezTo>
                        <a:pt x="86" y="1"/>
                        <a:pt x="80" y="1"/>
                        <a:pt x="74" y="4"/>
                      </a:cubicBezTo>
                      <a:cubicBezTo>
                        <a:pt x="67" y="18"/>
                        <a:pt x="50" y="16"/>
                        <a:pt x="36" y="17"/>
                      </a:cubicBezTo>
                      <a:cubicBezTo>
                        <a:pt x="30" y="20"/>
                        <a:pt x="24" y="22"/>
                        <a:pt x="18" y="26"/>
                      </a:cubicBezTo>
                      <a:cubicBezTo>
                        <a:pt x="13" y="35"/>
                        <a:pt x="11" y="34"/>
                        <a:pt x="0" y="35"/>
                      </a:cubicBezTo>
                      <a:cubicBezTo>
                        <a:pt x="1" y="37"/>
                        <a:pt x="0" y="40"/>
                        <a:pt x="2" y="40"/>
                      </a:cubicBezTo>
                      <a:cubicBezTo>
                        <a:pt x="7" y="41"/>
                        <a:pt x="17" y="37"/>
                        <a:pt x="17" y="37"/>
                      </a:cubicBezTo>
                      <a:cubicBezTo>
                        <a:pt x="23" y="32"/>
                        <a:pt x="21" y="29"/>
                        <a:pt x="29" y="28"/>
                      </a:cubicBezTo>
                      <a:cubicBezTo>
                        <a:pt x="43" y="21"/>
                        <a:pt x="56" y="21"/>
                        <a:pt x="72" y="20"/>
                      </a:cubicBezTo>
                      <a:cubicBezTo>
                        <a:pt x="83" y="18"/>
                        <a:pt x="83" y="10"/>
                        <a:pt x="92" y="5"/>
                      </a:cubicBezTo>
                      <a:cubicBezTo>
                        <a:pt x="90" y="0"/>
                        <a:pt x="89" y="1"/>
                        <a:pt x="93" y="2"/>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7" name="Freeform 132"/>
                <p:cNvSpPr>
                  <a:spLocks/>
                </p:cNvSpPr>
                <p:nvPr/>
              </p:nvSpPr>
              <p:spPr bwMode="auto">
                <a:xfrm>
                  <a:off x="660174" y="2347070"/>
                  <a:ext cx="24820" cy="10563"/>
                </a:xfrm>
                <a:custGeom>
                  <a:avLst/>
                  <a:gdLst>
                    <a:gd name="T0" fmla="*/ 23 w 25"/>
                    <a:gd name="T1" fmla="*/ 0 h 11"/>
                    <a:gd name="T2" fmla="*/ 0 w 25"/>
                    <a:gd name="T3" fmla="*/ 6 h 11"/>
                    <a:gd name="T4" fmla="*/ 20 w 25"/>
                    <a:gd name="T5" fmla="*/ 8 h 11"/>
                    <a:gd name="T6" fmla="*/ 24 w 25"/>
                    <a:gd name="T7" fmla="*/ 5 h 11"/>
                    <a:gd name="T8" fmla="*/ 23 w 25"/>
                    <a:gd name="T9" fmla="*/ 0 h 11"/>
                  </a:gdLst>
                  <a:ahLst/>
                  <a:cxnLst>
                    <a:cxn ang="0">
                      <a:pos x="T0" y="T1"/>
                    </a:cxn>
                    <a:cxn ang="0">
                      <a:pos x="T2" y="T3"/>
                    </a:cxn>
                    <a:cxn ang="0">
                      <a:pos x="T4" y="T5"/>
                    </a:cxn>
                    <a:cxn ang="0">
                      <a:pos x="T6" y="T7"/>
                    </a:cxn>
                    <a:cxn ang="0">
                      <a:pos x="T8" y="T9"/>
                    </a:cxn>
                  </a:cxnLst>
                  <a:rect l="0" t="0" r="r" b="b"/>
                  <a:pathLst>
                    <a:path w="25" h="11">
                      <a:moveTo>
                        <a:pt x="23" y="0"/>
                      </a:moveTo>
                      <a:cubicBezTo>
                        <a:pt x="16" y="3"/>
                        <a:pt x="8" y="5"/>
                        <a:pt x="0" y="6"/>
                      </a:cubicBezTo>
                      <a:cubicBezTo>
                        <a:pt x="9" y="11"/>
                        <a:pt x="11" y="10"/>
                        <a:pt x="20" y="8"/>
                      </a:cubicBezTo>
                      <a:cubicBezTo>
                        <a:pt x="21" y="7"/>
                        <a:pt x="23" y="7"/>
                        <a:pt x="24" y="5"/>
                      </a:cubicBezTo>
                      <a:cubicBezTo>
                        <a:pt x="25" y="3"/>
                        <a:pt x="23" y="0"/>
                        <a:pt x="23" y="0"/>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8" name="Freeform 133"/>
                <p:cNvSpPr>
                  <a:spLocks/>
                </p:cNvSpPr>
                <p:nvPr/>
              </p:nvSpPr>
              <p:spPr bwMode="auto">
                <a:xfrm>
                  <a:off x="1004556" y="2229370"/>
                  <a:ext cx="103935" cy="51305"/>
                </a:xfrm>
                <a:custGeom>
                  <a:avLst/>
                  <a:gdLst>
                    <a:gd name="T0" fmla="*/ 101 w 101"/>
                    <a:gd name="T1" fmla="*/ 0 h 52"/>
                    <a:gd name="T2" fmla="*/ 87 w 101"/>
                    <a:gd name="T3" fmla="*/ 7 h 52"/>
                    <a:gd name="T4" fmla="*/ 72 w 101"/>
                    <a:gd name="T5" fmla="*/ 13 h 52"/>
                    <a:gd name="T6" fmla="*/ 30 w 101"/>
                    <a:gd name="T7" fmla="*/ 28 h 52"/>
                    <a:gd name="T8" fmla="*/ 12 w 101"/>
                    <a:gd name="T9" fmla="*/ 34 h 52"/>
                    <a:gd name="T10" fmla="*/ 0 w 101"/>
                    <a:gd name="T11" fmla="*/ 42 h 52"/>
                    <a:gd name="T12" fmla="*/ 14 w 101"/>
                    <a:gd name="T13" fmla="*/ 51 h 52"/>
                    <a:gd name="T14" fmla="*/ 39 w 101"/>
                    <a:gd name="T15" fmla="*/ 42 h 52"/>
                    <a:gd name="T16" fmla="*/ 60 w 101"/>
                    <a:gd name="T17" fmla="*/ 33 h 52"/>
                    <a:gd name="T18" fmla="*/ 83 w 101"/>
                    <a:gd name="T19" fmla="*/ 21 h 52"/>
                    <a:gd name="T20" fmla="*/ 95 w 101"/>
                    <a:gd name="T21" fmla="*/ 12 h 52"/>
                    <a:gd name="T22" fmla="*/ 101 w 101"/>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52">
                      <a:moveTo>
                        <a:pt x="101" y="0"/>
                      </a:moveTo>
                      <a:cubicBezTo>
                        <a:pt x="96" y="3"/>
                        <a:pt x="93" y="6"/>
                        <a:pt x="87" y="7"/>
                      </a:cubicBezTo>
                      <a:cubicBezTo>
                        <a:pt x="82" y="11"/>
                        <a:pt x="78" y="12"/>
                        <a:pt x="72" y="13"/>
                      </a:cubicBezTo>
                      <a:cubicBezTo>
                        <a:pt x="54" y="22"/>
                        <a:pt x="53" y="23"/>
                        <a:pt x="30" y="28"/>
                      </a:cubicBezTo>
                      <a:cubicBezTo>
                        <a:pt x="24" y="31"/>
                        <a:pt x="18" y="33"/>
                        <a:pt x="12" y="34"/>
                      </a:cubicBezTo>
                      <a:cubicBezTo>
                        <a:pt x="6" y="37"/>
                        <a:pt x="4" y="36"/>
                        <a:pt x="0" y="42"/>
                      </a:cubicBezTo>
                      <a:cubicBezTo>
                        <a:pt x="3" y="52"/>
                        <a:pt x="4" y="52"/>
                        <a:pt x="14" y="51"/>
                      </a:cubicBezTo>
                      <a:cubicBezTo>
                        <a:pt x="21" y="47"/>
                        <a:pt x="31" y="43"/>
                        <a:pt x="39" y="42"/>
                      </a:cubicBezTo>
                      <a:cubicBezTo>
                        <a:pt x="47" y="34"/>
                        <a:pt x="47" y="34"/>
                        <a:pt x="60" y="33"/>
                      </a:cubicBezTo>
                      <a:cubicBezTo>
                        <a:pt x="69" y="30"/>
                        <a:pt x="73" y="23"/>
                        <a:pt x="83" y="21"/>
                      </a:cubicBezTo>
                      <a:cubicBezTo>
                        <a:pt x="88" y="17"/>
                        <a:pt x="88" y="13"/>
                        <a:pt x="95" y="12"/>
                      </a:cubicBezTo>
                      <a:cubicBezTo>
                        <a:pt x="101" y="7"/>
                        <a:pt x="99" y="11"/>
                        <a:pt x="101" y="0"/>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29" name="Freeform 134"/>
                <p:cNvSpPr>
                  <a:spLocks/>
                </p:cNvSpPr>
                <p:nvPr/>
              </p:nvSpPr>
              <p:spPr bwMode="auto">
                <a:xfrm>
                  <a:off x="1013863" y="2288219"/>
                  <a:ext cx="6205" cy="1509"/>
                </a:xfrm>
                <a:custGeom>
                  <a:avLst/>
                  <a:gdLst>
                    <a:gd name="T0" fmla="*/ 5 w 5"/>
                    <a:gd name="T1" fmla="*/ 1 h 1"/>
                    <a:gd name="T2" fmla="*/ 0 w 5"/>
                    <a:gd name="T3" fmla="*/ 0 h 1"/>
                    <a:gd name="T4" fmla="*/ 5 w 5"/>
                    <a:gd name="T5" fmla="*/ 1 h 1"/>
                  </a:gdLst>
                  <a:ahLst/>
                  <a:cxnLst>
                    <a:cxn ang="0">
                      <a:pos x="T0" y="T1"/>
                    </a:cxn>
                    <a:cxn ang="0">
                      <a:pos x="T2" y="T3"/>
                    </a:cxn>
                    <a:cxn ang="0">
                      <a:pos x="T4" y="T5"/>
                    </a:cxn>
                  </a:cxnLst>
                  <a:rect l="0" t="0" r="r" b="b"/>
                  <a:pathLst>
                    <a:path w="5" h="1">
                      <a:moveTo>
                        <a:pt x="5" y="1"/>
                      </a:moveTo>
                      <a:cubicBezTo>
                        <a:pt x="3" y="1"/>
                        <a:pt x="0" y="0"/>
                        <a:pt x="0" y="0"/>
                      </a:cubicBezTo>
                      <a:cubicBezTo>
                        <a:pt x="0" y="0"/>
                        <a:pt x="3" y="1"/>
                        <a:pt x="5" y="1"/>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0" name="Freeform 135"/>
                <p:cNvSpPr>
                  <a:spLocks/>
                </p:cNvSpPr>
                <p:nvPr/>
              </p:nvSpPr>
              <p:spPr bwMode="auto">
                <a:xfrm>
                  <a:off x="978184" y="2282183"/>
                  <a:ext cx="29475" cy="12072"/>
                </a:xfrm>
                <a:custGeom>
                  <a:avLst/>
                  <a:gdLst>
                    <a:gd name="T0" fmla="*/ 29 w 29"/>
                    <a:gd name="T1" fmla="*/ 10 h 12"/>
                    <a:gd name="T2" fmla="*/ 8 w 29"/>
                    <a:gd name="T3" fmla="*/ 5 h 12"/>
                    <a:gd name="T4" fmla="*/ 13 w 29"/>
                    <a:gd name="T5" fmla="*/ 8 h 12"/>
                    <a:gd name="T6" fmla="*/ 29 w 29"/>
                    <a:gd name="T7" fmla="*/ 10 h 12"/>
                  </a:gdLst>
                  <a:ahLst/>
                  <a:cxnLst>
                    <a:cxn ang="0">
                      <a:pos x="T0" y="T1"/>
                    </a:cxn>
                    <a:cxn ang="0">
                      <a:pos x="T2" y="T3"/>
                    </a:cxn>
                    <a:cxn ang="0">
                      <a:pos x="T4" y="T5"/>
                    </a:cxn>
                    <a:cxn ang="0">
                      <a:pos x="T6" y="T7"/>
                    </a:cxn>
                  </a:cxnLst>
                  <a:rect l="0" t="0" r="r" b="b"/>
                  <a:pathLst>
                    <a:path w="29" h="12">
                      <a:moveTo>
                        <a:pt x="29" y="10"/>
                      </a:moveTo>
                      <a:cubicBezTo>
                        <a:pt x="27" y="0"/>
                        <a:pt x="17" y="4"/>
                        <a:pt x="8" y="5"/>
                      </a:cubicBezTo>
                      <a:cubicBezTo>
                        <a:pt x="0" y="11"/>
                        <a:pt x="8" y="11"/>
                        <a:pt x="13" y="8"/>
                      </a:cubicBezTo>
                      <a:cubicBezTo>
                        <a:pt x="15" y="8"/>
                        <a:pt x="27" y="12"/>
                        <a:pt x="29" y="10"/>
                      </a:cubicBezTo>
                      <a:close/>
                    </a:path>
                  </a:pathLst>
                </a:custGeom>
                <a:grpFill/>
                <a:ln w="6350" cap="flat" cmpd="sng">
                  <a:solidFill>
                    <a:srgbClr val="FFFFFF"/>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1" name="Freeform 136"/>
                <p:cNvSpPr>
                  <a:spLocks/>
                </p:cNvSpPr>
                <p:nvPr/>
              </p:nvSpPr>
              <p:spPr bwMode="auto">
                <a:xfrm>
                  <a:off x="3201150" y="1628800"/>
                  <a:ext cx="1054861" cy="573408"/>
                </a:xfrm>
                <a:custGeom>
                  <a:avLst/>
                  <a:gdLst>
                    <a:gd name="T0" fmla="*/ 190 w 1026"/>
                    <a:gd name="T1" fmla="*/ 64 h 573"/>
                    <a:gd name="T2" fmla="*/ 270 w 1026"/>
                    <a:gd name="T3" fmla="*/ 42 h 573"/>
                    <a:gd name="T4" fmla="*/ 391 w 1026"/>
                    <a:gd name="T5" fmla="*/ 43 h 573"/>
                    <a:gd name="T6" fmla="*/ 442 w 1026"/>
                    <a:gd name="T7" fmla="*/ 36 h 573"/>
                    <a:gd name="T8" fmla="*/ 484 w 1026"/>
                    <a:gd name="T9" fmla="*/ 36 h 573"/>
                    <a:gd name="T10" fmla="*/ 616 w 1026"/>
                    <a:gd name="T11" fmla="*/ 21 h 573"/>
                    <a:gd name="T12" fmla="*/ 781 w 1026"/>
                    <a:gd name="T13" fmla="*/ 9 h 573"/>
                    <a:gd name="T14" fmla="*/ 895 w 1026"/>
                    <a:gd name="T15" fmla="*/ 28 h 573"/>
                    <a:gd name="T16" fmla="*/ 855 w 1026"/>
                    <a:gd name="T17" fmla="*/ 34 h 573"/>
                    <a:gd name="T18" fmla="*/ 850 w 1026"/>
                    <a:gd name="T19" fmla="*/ 45 h 573"/>
                    <a:gd name="T20" fmla="*/ 859 w 1026"/>
                    <a:gd name="T21" fmla="*/ 54 h 573"/>
                    <a:gd name="T22" fmla="*/ 958 w 1026"/>
                    <a:gd name="T23" fmla="*/ 39 h 573"/>
                    <a:gd name="T24" fmla="*/ 1026 w 1026"/>
                    <a:gd name="T25" fmla="*/ 48 h 573"/>
                    <a:gd name="T26" fmla="*/ 939 w 1026"/>
                    <a:gd name="T27" fmla="*/ 73 h 573"/>
                    <a:gd name="T28" fmla="*/ 891 w 1026"/>
                    <a:gd name="T29" fmla="*/ 96 h 573"/>
                    <a:gd name="T30" fmla="*/ 892 w 1026"/>
                    <a:gd name="T31" fmla="*/ 123 h 573"/>
                    <a:gd name="T32" fmla="*/ 868 w 1026"/>
                    <a:gd name="T33" fmla="*/ 142 h 573"/>
                    <a:gd name="T34" fmla="*/ 862 w 1026"/>
                    <a:gd name="T35" fmla="*/ 184 h 573"/>
                    <a:gd name="T36" fmla="*/ 853 w 1026"/>
                    <a:gd name="T37" fmla="*/ 205 h 573"/>
                    <a:gd name="T38" fmla="*/ 766 w 1026"/>
                    <a:gd name="T39" fmla="*/ 229 h 573"/>
                    <a:gd name="T40" fmla="*/ 789 w 1026"/>
                    <a:gd name="T41" fmla="*/ 256 h 573"/>
                    <a:gd name="T42" fmla="*/ 763 w 1026"/>
                    <a:gd name="T43" fmla="*/ 292 h 573"/>
                    <a:gd name="T44" fmla="*/ 712 w 1026"/>
                    <a:gd name="T45" fmla="*/ 291 h 573"/>
                    <a:gd name="T46" fmla="*/ 775 w 1026"/>
                    <a:gd name="T47" fmla="*/ 306 h 573"/>
                    <a:gd name="T48" fmla="*/ 712 w 1026"/>
                    <a:gd name="T49" fmla="*/ 334 h 573"/>
                    <a:gd name="T50" fmla="*/ 586 w 1026"/>
                    <a:gd name="T51" fmla="*/ 346 h 573"/>
                    <a:gd name="T52" fmla="*/ 547 w 1026"/>
                    <a:gd name="T53" fmla="*/ 382 h 573"/>
                    <a:gd name="T54" fmla="*/ 475 w 1026"/>
                    <a:gd name="T55" fmla="*/ 406 h 573"/>
                    <a:gd name="T56" fmla="*/ 381 w 1026"/>
                    <a:gd name="T57" fmla="*/ 432 h 573"/>
                    <a:gd name="T58" fmla="*/ 319 w 1026"/>
                    <a:gd name="T59" fmla="*/ 501 h 573"/>
                    <a:gd name="T60" fmla="*/ 277 w 1026"/>
                    <a:gd name="T61" fmla="*/ 564 h 573"/>
                    <a:gd name="T62" fmla="*/ 189 w 1026"/>
                    <a:gd name="T63" fmla="*/ 540 h 573"/>
                    <a:gd name="T64" fmla="*/ 160 w 1026"/>
                    <a:gd name="T65" fmla="*/ 480 h 573"/>
                    <a:gd name="T66" fmla="*/ 147 w 1026"/>
                    <a:gd name="T67" fmla="*/ 402 h 573"/>
                    <a:gd name="T68" fmla="*/ 189 w 1026"/>
                    <a:gd name="T69" fmla="*/ 343 h 573"/>
                    <a:gd name="T70" fmla="*/ 229 w 1026"/>
                    <a:gd name="T71" fmla="*/ 303 h 573"/>
                    <a:gd name="T72" fmla="*/ 189 w 1026"/>
                    <a:gd name="T73" fmla="*/ 319 h 573"/>
                    <a:gd name="T74" fmla="*/ 244 w 1026"/>
                    <a:gd name="T75" fmla="*/ 294 h 573"/>
                    <a:gd name="T76" fmla="*/ 226 w 1026"/>
                    <a:gd name="T77" fmla="*/ 261 h 573"/>
                    <a:gd name="T78" fmla="*/ 184 w 1026"/>
                    <a:gd name="T79" fmla="*/ 268 h 573"/>
                    <a:gd name="T80" fmla="*/ 210 w 1026"/>
                    <a:gd name="T81" fmla="*/ 220 h 573"/>
                    <a:gd name="T82" fmla="*/ 144 w 1026"/>
                    <a:gd name="T83" fmla="*/ 156 h 573"/>
                    <a:gd name="T84" fmla="*/ 24 w 1026"/>
                    <a:gd name="T85" fmla="*/ 153 h 573"/>
                    <a:gd name="T86" fmla="*/ 36 w 1026"/>
                    <a:gd name="T87" fmla="*/ 136 h 573"/>
                    <a:gd name="T88" fmla="*/ 1 w 1026"/>
                    <a:gd name="T89" fmla="*/ 118 h 573"/>
                    <a:gd name="T90" fmla="*/ 120 w 1026"/>
                    <a:gd name="T91" fmla="*/ 102 h 573"/>
                    <a:gd name="T92" fmla="*/ 162 w 1026"/>
                    <a:gd name="T93" fmla="*/ 78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6" h="573">
                      <a:moveTo>
                        <a:pt x="162" y="78"/>
                      </a:moveTo>
                      <a:cubicBezTo>
                        <a:pt x="137" y="75"/>
                        <a:pt x="140" y="70"/>
                        <a:pt x="162" y="69"/>
                      </a:cubicBezTo>
                      <a:cubicBezTo>
                        <a:pt x="171" y="65"/>
                        <a:pt x="180" y="65"/>
                        <a:pt x="190" y="64"/>
                      </a:cubicBezTo>
                      <a:cubicBezTo>
                        <a:pt x="196" y="55"/>
                        <a:pt x="212" y="58"/>
                        <a:pt x="222" y="57"/>
                      </a:cubicBezTo>
                      <a:cubicBezTo>
                        <a:pt x="235" y="53"/>
                        <a:pt x="244" y="53"/>
                        <a:pt x="259" y="52"/>
                      </a:cubicBezTo>
                      <a:cubicBezTo>
                        <a:pt x="262" y="47"/>
                        <a:pt x="265" y="45"/>
                        <a:pt x="270" y="42"/>
                      </a:cubicBezTo>
                      <a:cubicBezTo>
                        <a:pt x="292" y="43"/>
                        <a:pt x="294" y="40"/>
                        <a:pt x="316" y="39"/>
                      </a:cubicBezTo>
                      <a:cubicBezTo>
                        <a:pt x="322" y="36"/>
                        <a:pt x="329" y="34"/>
                        <a:pt x="336" y="33"/>
                      </a:cubicBezTo>
                      <a:cubicBezTo>
                        <a:pt x="379" y="34"/>
                        <a:pt x="371" y="28"/>
                        <a:pt x="391" y="43"/>
                      </a:cubicBezTo>
                      <a:cubicBezTo>
                        <a:pt x="396" y="42"/>
                        <a:pt x="400" y="40"/>
                        <a:pt x="405" y="39"/>
                      </a:cubicBezTo>
                      <a:cubicBezTo>
                        <a:pt x="415" y="31"/>
                        <a:pt x="429" y="44"/>
                        <a:pt x="441" y="46"/>
                      </a:cubicBezTo>
                      <a:cubicBezTo>
                        <a:pt x="450" y="44"/>
                        <a:pt x="446" y="42"/>
                        <a:pt x="442" y="36"/>
                      </a:cubicBezTo>
                      <a:cubicBezTo>
                        <a:pt x="445" y="29"/>
                        <a:pt x="449" y="28"/>
                        <a:pt x="456" y="27"/>
                      </a:cubicBezTo>
                      <a:cubicBezTo>
                        <a:pt x="460" y="30"/>
                        <a:pt x="464" y="32"/>
                        <a:pt x="469" y="33"/>
                      </a:cubicBezTo>
                      <a:cubicBezTo>
                        <a:pt x="474" y="34"/>
                        <a:pt x="484" y="36"/>
                        <a:pt x="484" y="36"/>
                      </a:cubicBezTo>
                      <a:cubicBezTo>
                        <a:pt x="491" y="34"/>
                        <a:pt x="495" y="31"/>
                        <a:pt x="502" y="30"/>
                      </a:cubicBezTo>
                      <a:cubicBezTo>
                        <a:pt x="527" y="20"/>
                        <a:pt x="557" y="18"/>
                        <a:pt x="583" y="16"/>
                      </a:cubicBezTo>
                      <a:cubicBezTo>
                        <a:pt x="608" y="20"/>
                        <a:pt x="597" y="18"/>
                        <a:pt x="616" y="21"/>
                      </a:cubicBezTo>
                      <a:cubicBezTo>
                        <a:pt x="631" y="18"/>
                        <a:pt x="645" y="17"/>
                        <a:pt x="660" y="15"/>
                      </a:cubicBezTo>
                      <a:cubicBezTo>
                        <a:pt x="690" y="0"/>
                        <a:pt x="726" y="11"/>
                        <a:pt x="759" y="10"/>
                      </a:cubicBezTo>
                      <a:cubicBezTo>
                        <a:pt x="767" y="9"/>
                        <a:pt x="773" y="10"/>
                        <a:pt x="781" y="9"/>
                      </a:cubicBezTo>
                      <a:cubicBezTo>
                        <a:pt x="787" y="10"/>
                        <a:pt x="793" y="12"/>
                        <a:pt x="799" y="13"/>
                      </a:cubicBezTo>
                      <a:cubicBezTo>
                        <a:pt x="805" y="16"/>
                        <a:pt x="808" y="18"/>
                        <a:pt x="814" y="19"/>
                      </a:cubicBezTo>
                      <a:cubicBezTo>
                        <a:pt x="836" y="28"/>
                        <a:pt x="873" y="27"/>
                        <a:pt x="895" y="28"/>
                      </a:cubicBezTo>
                      <a:cubicBezTo>
                        <a:pt x="889" y="38"/>
                        <a:pt x="886" y="32"/>
                        <a:pt x="877" y="30"/>
                      </a:cubicBezTo>
                      <a:cubicBezTo>
                        <a:pt x="871" y="30"/>
                        <a:pt x="865" y="30"/>
                        <a:pt x="859" y="31"/>
                      </a:cubicBezTo>
                      <a:cubicBezTo>
                        <a:pt x="857" y="31"/>
                        <a:pt x="857" y="34"/>
                        <a:pt x="855" y="34"/>
                      </a:cubicBezTo>
                      <a:cubicBezTo>
                        <a:pt x="846" y="36"/>
                        <a:pt x="829" y="37"/>
                        <a:pt x="829" y="37"/>
                      </a:cubicBezTo>
                      <a:cubicBezTo>
                        <a:pt x="823" y="41"/>
                        <a:pt x="818" y="45"/>
                        <a:pt x="811" y="48"/>
                      </a:cubicBezTo>
                      <a:cubicBezTo>
                        <a:pt x="821" y="50"/>
                        <a:pt x="841" y="45"/>
                        <a:pt x="850" y="45"/>
                      </a:cubicBezTo>
                      <a:cubicBezTo>
                        <a:pt x="857" y="41"/>
                        <a:pt x="853" y="38"/>
                        <a:pt x="861" y="36"/>
                      </a:cubicBezTo>
                      <a:cubicBezTo>
                        <a:pt x="868" y="37"/>
                        <a:pt x="875" y="39"/>
                        <a:pt x="882" y="40"/>
                      </a:cubicBezTo>
                      <a:cubicBezTo>
                        <a:pt x="885" y="53"/>
                        <a:pt x="868" y="52"/>
                        <a:pt x="859" y="54"/>
                      </a:cubicBezTo>
                      <a:cubicBezTo>
                        <a:pt x="874" y="63"/>
                        <a:pt x="893" y="48"/>
                        <a:pt x="909" y="46"/>
                      </a:cubicBezTo>
                      <a:cubicBezTo>
                        <a:pt x="915" y="42"/>
                        <a:pt x="917" y="42"/>
                        <a:pt x="924" y="43"/>
                      </a:cubicBezTo>
                      <a:cubicBezTo>
                        <a:pt x="935" y="49"/>
                        <a:pt x="950" y="49"/>
                        <a:pt x="958" y="39"/>
                      </a:cubicBezTo>
                      <a:cubicBezTo>
                        <a:pt x="967" y="40"/>
                        <a:pt x="978" y="38"/>
                        <a:pt x="987" y="40"/>
                      </a:cubicBezTo>
                      <a:cubicBezTo>
                        <a:pt x="995" y="44"/>
                        <a:pt x="1005" y="44"/>
                        <a:pt x="1014" y="46"/>
                      </a:cubicBezTo>
                      <a:cubicBezTo>
                        <a:pt x="1018" y="47"/>
                        <a:pt x="1026" y="48"/>
                        <a:pt x="1026" y="48"/>
                      </a:cubicBezTo>
                      <a:cubicBezTo>
                        <a:pt x="1021" y="66"/>
                        <a:pt x="996" y="62"/>
                        <a:pt x="981" y="63"/>
                      </a:cubicBezTo>
                      <a:cubicBezTo>
                        <a:pt x="973" y="65"/>
                        <a:pt x="966" y="66"/>
                        <a:pt x="958" y="67"/>
                      </a:cubicBezTo>
                      <a:cubicBezTo>
                        <a:pt x="952" y="70"/>
                        <a:pt x="945" y="72"/>
                        <a:pt x="939" y="73"/>
                      </a:cubicBezTo>
                      <a:cubicBezTo>
                        <a:pt x="934" y="76"/>
                        <a:pt x="931" y="78"/>
                        <a:pt x="925" y="79"/>
                      </a:cubicBezTo>
                      <a:cubicBezTo>
                        <a:pt x="921" y="82"/>
                        <a:pt x="916" y="84"/>
                        <a:pt x="912" y="87"/>
                      </a:cubicBezTo>
                      <a:cubicBezTo>
                        <a:pt x="909" y="94"/>
                        <a:pt x="891" y="96"/>
                        <a:pt x="891" y="96"/>
                      </a:cubicBezTo>
                      <a:cubicBezTo>
                        <a:pt x="884" y="100"/>
                        <a:pt x="879" y="105"/>
                        <a:pt x="871" y="106"/>
                      </a:cubicBezTo>
                      <a:cubicBezTo>
                        <a:pt x="866" y="109"/>
                        <a:pt x="863" y="110"/>
                        <a:pt x="859" y="115"/>
                      </a:cubicBezTo>
                      <a:cubicBezTo>
                        <a:pt x="865" y="129"/>
                        <a:pt x="880" y="117"/>
                        <a:pt x="892" y="123"/>
                      </a:cubicBezTo>
                      <a:cubicBezTo>
                        <a:pt x="883" y="135"/>
                        <a:pt x="869" y="134"/>
                        <a:pt x="906" y="136"/>
                      </a:cubicBezTo>
                      <a:cubicBezTo>
                        <a:pt x="916" y="141"/>
                        <a:pt x="899" y="146"/>
                        <a:pt x="895" y="147"/>
                      </a:cubicBezTo>
                      <a:cubicBezTo>
                        <a:pt x="871" y="144"/>
                        <a:pt x="880" y="147"/>
                        <a:pt x="868" y="142"/>
                      </a:cubicBezTo>
                      <a:cubicBezTo>
                        <a:pt x="859" y="144"/>
                        <a:pt x="849" y="152"/>
                        <a:pt x="864" y="154"/>
                      </a:cubicBezTo>
                      <a:cubicBezTo>
                        <a:pt x="870" y="157"/>
                        <a:pt x="875" y="162"/>
                        <a:pt x="882" y="163"/>
                      </a:cubicBezTo>
                      <a:cubicBezTo>
                        <a:pt x="879" y="175"/>
                        <a:pt x="875" y="182"/>
                        <a:pt x="862" y="184"/>
                      </a:cubicBezTo>
                      <a:cubicBezTo>
                        <a:pt x="855" y="187"/>
                        <a:pt x="857" y="192"/>
                        <a:pt x="864" y="193"/>
                      </a:cubicBezTo>
                      <a:cubicBezTo>
                        <a:pt x="870" y="196"/>
                        <a:pt x="877" y="195"/>
                        <a:pt x="883" y="198"/>
                      </a:cubicBezTo>
                      <a:cubicBezTo>
                        <a:pt x="876" y="203"/>
                        <a:pt x="862" y="204"/>
                        <a:pt x="853" y="205"/>
                      </a:cubicBezTo>
                      <a:cubicBezTo>
                        <a:pt x="849" y="207"/>
                        <a:pt x="844" y="208"/>
                        <a:pt x="840" y="210"/>
                      </a:cubicBezTo>
                      <a:cubicBezTo>
                        <a:pt x="851" y="218"/>
                        <a:pt x="839" y="219"/>
                        <a:pt x="831" y="220"/>
                      </a:cubicBezTo>
                      <a:cubicBezTo>
                        <a:pt x="809" y="229"/>
                        <a:pt x="789" y="228"/>
                        <a:pt x="766" y="229"/>
                      </a:cubicBezTo>
                      <a:cubicBezTo>
                        <a:pt x="763" y="230"/>
                        <a:pt x="758" y="228"/>
                        <a:pt x="757" y="231"/>
                      </a:cubicBezTo>
                      <a:cubicBezTo>
                        <a:pt x="751" y="245"/>
                        <a:pt x="766" y="249"/>
                        <a:pt x="774" y="250"/>
                      </a:cubicBezTo>
                      <a:cubicBezTo>
                        <a:pt x="786" y="256"/>
                        <a:pt x="780" y="254"/>
                        <a:pt x="789" y="256"/>
                      </a:cubicBezTo>
                      <a:cubicBezTo>
                        <a:pt x="792" y="262"/>
                        <a:pt x="795" y="264"/>
                        <a:pt x="796" y="271"/>
                      </a:cubicBezTo>
                      <a:cubicBezTo>
                        <a:pt x="796" y="279"/>
                        <a:pt x="801" y="290"/>
                        <a:pt x="795" y="294"/>
                      </a:cubicBezTo>
                      <a:cubicBezTo>
                        <a:pt x="786" y="300"/>
                        <a:pt x="773" y="294"/>
                        <a:pt x="763" y="292"/>
                      </a:cubicBezTo>
                      <a:cubicBezTo>
                        <a:pt x="759" y="291"/>
                        <a:pt x="754" y="285"/>
                        <a:pt x="754" y="285"/>
                      </a:cubicBezTo>
                      <a:cubicBezTo>
                        <a:pt x="753" y="278"/>
                        <a:pt x="751" y="277"/>
                        <a:pt x="745" y="274"/>
                      </a:cubicBezTo>
                      <a:cubicBezTo>
                        <a:pt x="715" y="278"/>
                        <a:pt x="739" y="286"/>
                        <a:pt x="712" y="291"/>
                      </a:cubicBezTo>
                      <a:cubicBezTo>
                        <a:pt x="710" y="292"/>
                        <a:pt x="709" y="298"/>
                        <a:pt x="711" y="298"/>
                      </a:cubicBezTo>
                      <a:cubicBezTo>
                        <a:pt x="718" y="299"/>
                        <a:pt x="726" y="297"/>
                        <a:pt x="733" y="297"/>
                      </a:cubicBezTo>
                      <a:cubicBezTo>
                        <a:pt x="739" y="297"/>
                        <a:pt x="775" y="300"/>
                        <a:pt x="775" y="306"/>
                      </a:cubicBezTo>
                      <a:cubicBezTo>
                        <a:pt x="770" y="312"/>
                        <a:pt x="764" y="315"/>
                        <a:pt x="757" y="316"/>
                      </a:cubicBezTo>
                      <a:cubicBezTo>
                        <a:pt x="751" y="320"/>
                        <a:pt x="746" y="321"/>
                        <a:pt x="739" y="322"/>
                      </a:cubicBezTo>
                      <a:cubicBezTo>
                        <a:pt x="731" y="326"/>
                        <a:pt x="721" y="332"/>
                        <a:pt x="712" y="334"/>
                      </a:cubicBezTo>
                      <a:cubicBezTo>
                        <a:pt x="697" y="341"/>
                        <a:pt x="697" y="341"/>
                        <a:pt x="679" y="342"/>
                      </a:cubicBezTo>
                      <a:cubicBezTo>
                        <a:pt x="672" y="345"/>
                        <a:pt x="653" y="348"/>
                        <a:pt x="646" y="351"/>
                      </a:cubicBezTo>
                      <a:cubicBezTo>
                        <a:pt x="623" y="349"/>
                        <a:pt x="609" y="349"/>
                        <a:pt x="586" y="346"/>
                      </a:cubicBezTo>
                      <a:cubicBezTo>
                        <a:pt x="567" y="350"/>
                        <a:pt x="580" y="356"/>
                        <a:pt x="568" y="358"/>
                      </a:cubicBezTo>
                      <a:cubicBezTo>
                        <a:pt x="571" y="366"/>
                        <a:pt x="567" y="365"/>
                        <a:pt x="561" y="369"/>
                      </a:cubicBezTo>
                      <a:cubicBezTo>
                        <a:pt x="558" y="375"/>
                        <a:pt x="553" y="381"/>
                        <a:pt x="547" y="382"/>
                      </a:cubicBezTo>
                      <a:cubicBezTo>
                        <a:pt x="541" y="385"/>
                        <a:pt x="536" y="390"/>
                        <a:pt x="529" y="391"/>
                      </a:cubicBezTo>
                      <a:cubicBezTo>
                        <a:pt x="524" y="395"/>
                        <a:pt x="520" y="396"/>
                        <a:pt x="513" y="397"/>
                      </a:cubicBezTo>
                      <a:cubicBezTo>
                        <a:pt x="506" y="400"/>
                        <a:pt x="493" y="403"/>
                        <a:pt x="475" y="406"/>
                      </a:cubicBezTo>
                      <a:cubicBezTo>
                        <a:pt x="463" y="409"/>
                        <a:pt x="452" y="416"/>
                        <a:pt x="441" y="417"/>
                      </a:cubicBezTo>
                      <a:cubicBezTo>
                        <a:pt x="430" y="418"/>
                        <a:pt x="416" y="411"/>
                        <a:pt x="406" y="414"/>
                      </a:cubicBezTo>
                      <a:cubicBezTo>
                        <a:pt x="398" y="420"/>
                        <a:pt x="389" y="426"/>
                        <a:pt x="381" y="432"/>
                      </a:cubicBezTo>
                      <a:cubicBezTo>
                        <a:pt x="374" y="446"/>
                        <a:pt x="378" y="455"/>
                        <a:pt x="364" y="463"/>
                      </a:cubicBezTo>
                      <a:cubicBezTo>
                        <a:pt x="359" y="469"/>
                        <a:pt x="354" y="473"/>
                        <a:pt x="346" y="475"/>
                      </a:cubicBezTo>
                      <a:cubicBezTo>
                        <a:pt x="337" y="482"/>
                        <a:pt x="330" y="497"/>
                        <a:pt x="319" y="501"/>
                      </a:cubicBezTo>
                      <a:cubicBezTo>
                        <a:pt x="316" y="517"/>
                        <a:pt x="317" y="540"/>
                        <a:pt x="298" y="544"/>
                      </a:cubicBezTo>
                      <a:cubicBezTo>
                        <a:pt x="293" y="546"/>
                        <a:pt x="289" y="547"/>
                        <a:pt x="285" y="550"/>
                      </a:cubicBezTo>
                      <a:cubicBezTo>
                        <a:pt x="283" y="557"/>
                        <a:pt x="284" y="560"/>
                        <a:pt x="277" y="564"/>
                      </a:cubicBezTo>
                      <a:cubicBezTo>
                        <a:pt x="270" y="573"/>
                        <a:pt x="262" y="568"/>
                        <a:pt x="252" y="567"/>
                      </a:cubicBezTo>
                      <a:cubicBezTo>
                        <a:pt x="243" y="562"/>
                        <a:pt x="241" y="542"/>
                        <a:pt x="228" y="541"/>
                      </a:cubicBezTo>
                      <a:cubicBezTo>
                        <a:pt x="215" y="540"/>
                        <a:pt x="202" y="540"/>
                        <a:pt x="189" y="540"/>
                      </a:cubicBezTo>
                      <a:cubicBezTo>
                        <a:pt x="183" y="536"/>
                        <a:pt x="181" y="533"/>
                        <a:pt x="178" y="526"/>
                      </a:cubicBezTo>
                      <a:cubicBezTo>
                        <a:pt x="177" y="519"/>
                        <a:pt x="173" y="513"/>
                        <a:pt x="169" y="507"/>
                      </a:cubicBezTo>
                      <a:cubicBezTo>
                        <a:pt x="168" y="499"/>
                        <a:pt x="164" y="488"/>
                        <a:pt x="160" y="480"/>
                      </a:cubicBezTo>
                      <a:cubicBezTo>
                        <a:pt x="158" y="470"/>
                        <a:pt x="159" y="464"/>
                        <a:pt x="160" y="453"/>
                      </a:cubicBezTo>
                      <a:cubicBezTo>
                        <a:pt x="159" y="441"/>
                        <a:pt x="158" y="426"/>
                        <a:pt x="154" y="415"/>
                      </a:cubicBezTo>
                      <a:cubicBezTo>
                        <a:pt x="153" y="408"/>
                        <a:pt x="152" y="406"/>
                        <a:pt x="147" y="402"/>
                      </a:cubicBezTo>
                      <a:cubicBezTo>
                        <a:pt x="148" y="395"/>
                        <a:pt x="150" y="394"/>
                        <a:pt x="156" y="390"/>
                      </a:cubicBezTo>
                      <a:cubicBezTo>
                        <a:pt x="159" y="375"/>
                        <a:pt x="161" y="365"/>
                        <a:pt x="174" y="357"/>
                      </a:cubicBezTo>
                      <a:cubicBezTo>
                        <a:pt x="178" y="351"/>
                        <a:pt x="182" y="346"/>
                        <a:pt x="189" y="343"/>
                      </a:cubicBezTo>
                      <a:cubicBezTo>
                        <a:pt x="197" y="333"/>
                        <a:pt x="208" y="338"/>
                        <a:pt x="219" y="340"/>
                      </a:cubicBezTo>
                      <a:cubicBezTo>
                        <a:pt x="225" y="335"/>
                        <a:pt x="232" y="338"/>
                        <a:pt x="238" y="333"/>
                      </a:cubicBezTo>
                      <a:cubicBezTo>
                        <a:pt x="243" y="320"/>
                        <a:pt x="246" y="306"/>
                        <a:pt x="229" y="303"/>
                      </a:cubicBezTo>
                      <a:cubicBezTo>
                        <a:pt x="222" y="299"/>
                        <a:pt x="216" y="300"/>
                        <a:pt x="208" y="301"/>
                      </a:cubicBezTo>
                      <a:cubicBezTo>
                        <a:pt x="212" y="308"/>
                        <a:pt x="219" y="314"/>
                        <a:pt x="208" y="318"/>
                      </a:cubicBezTo>
                      <a:cubicBezTo>
                        <a:pt x="200" y="316"/>
                        <a:pt x="197" y="318"/>
                        <a:pt x="189" y="319"/>
                      </a:cubicBezTo>
                      <a:cubicBezTo>
                        <a:pt x="155" y="317"/>
                        <a:pt x="164" y="299"/>
                        <a:pt x="192" y="297"/>
                      </a:cubicBezTo>
                      <a:cubicBezTo>
                        <a:pt x="194" y="276"/>
                        <a:pt x="208" y="288"/>
                        <a:pt x="225" y="289"/>
                      </a:cubicBezTo>
                      <a:cubicBezTo>
                        <a:pt x="232" y="290"/>
                        <a:pt x="238" y="291"/>
                        <a:pt x="244" y="294"/>
                      </a:cubicBezTo>
                      <a:cubicBezTo>
                        <a:pt x="251" y="292"/>
                        <a:pt x="252" y="290"/>
                        <a:pt x="253" y="283"/>
                      </a:cubicBezTo>
                      <a:cubicBezTo>
                        <a:pt x="249" y="278"/>
                        <a:pt x="246" y="276"/>
                        <a:pt x="241" y="273"/>
                      </a:cubicBezTo>
                      <a:cubicBezTo>
                        <a:pt x="240" y="267"/>
                        <a:pt x="232" y="262"/>
                        <a:pt x="226" y="261"/>
                      </a:cubicBezTo>
                      <a:cubicBezTo>
                        <a:pt x="220" y="258"/>
                        <a:pt x="218" y="260"/>
                        <a:pt x="214" y="265"/>
                      </a:cubicBezTo>
                      <a:cubicBezTo>
                        <a:pt x="212" y="285"/>
                        <a:pt x="211" y="275"/>
                        <a:pt x="199" y="273"/>
                      </a:cubicBezTo>
                      <a:cubicBezTo>
                        <a:pt x="193" y="269"/>
                        <a:pt x="190" y="272"/>
                        <a:pt x="184" y="268"/>
                      </a:cubicBezTo>
                      <a:cubicBezTo>
                        <a:pt x="186" y="260"/>
                        <a:pt x="189" y="254"/>
                        <a:pt x="196" y="249"/>
                      </a:cubicBezTo>
                      <a:cubicBezTo>
                        <a:pt x="199" y="244"/>
                        <a:pt x="201" y="240"/>
                        <a:pt x="204" y="235"/>
                      </a:cubicBezTo>
                      <a:cubicBezTo>
                        <a:pt x="205" y="229"/>
                        <a:pt x="207" y="226"/>
                        <a:pt x="210" y="220"/>
                      </a:cubicBezTo>
                      <a:cubicBezTo>
                        <a:pt x="209" y="206"/>
                        <a:pt x="210" y="193"/>
                        <a:pt x="198" y="184"/>
                      </a:cubicBezTo>
                      <a:cubicBezTo>
                        <a:pt x="193" y="174"/>
                        <a:pt x="184" y="164"/>
                        <a:pt x="172" y="162"/>
                      </a:cubicBezTo>
                      <a:cubicBezTo>
                        <a:pt x="164" y="158"/>
                        <a:pt x="153" y="157"/>
                        <a:pt x="144" y="156"/>
                      </a:cubicBezTo>
                      <a:cubicBezTo>
                        <a:pt x="133" y="152"/>
                        <a:pt x="125" y="153"/>
                        <a:pt x="114" y="156"/>
                      </a:cubicBezTo>
                      <a:cubicBezTo>
                        <a:pt x="96" y="154"/>
                        <a:pt x="79" y="157"/>
                        <a:pt x="60" y="159"/>
                      </a:cubicBezTo>
                      <a:cubicBezTo>
                        <a:pt x="46" y="158"/>
                        <a:pt x="37" y="155"/>
                        <a:pt x="24" y="153"/>
                      </a:cubicBezTo>
                      <a:cubicBezTo>
                        <a:pt x="17" y="150"/>
                        <a:pt x="9" y="144"/>
                        <a:pt x="3" y="139"/>
                      </a:cubicBezTo>
                      <a:cubicBezTo>
                        <a:pt x="0" y="132"/>
                        <a:pt x="2" y="130"/>
                        <a:pt x="9" y="129"/>
                      </a:cubicBezTo>
                      <a:cubicBezTo>
                        <a:pt x="21" y="130"/>
                        <a:pt x="25" y="134"/>
                        <a:pt x="36" y="136"/>
                      </a:cubicBezTo>
                      <a:cubicBezTo>
                        <a:pt x="42" y="139"/>
                        <a:pt x="45" y="139"/>
                        <a:pt x="51" y="138"/>
                      </a:cubicBezTo>
                      <a:cubicBezTo>
                        <a:pt x="57" y="129"/>
                        <a:pt x="44" y="127"/>
                        <a:pt x="36" y="126"/>
                      </a:cubicBezTo>
                      <a:cubicBezTo>
                        <a:pt x="26" y="122"/>
                        <a:pt x="12" y="121"/>
                        <a:pt x="1" y="118"/>
                      </a:cubicBezTo>
                      <a:cubicBezTo>
                        <a:pt x="8" y="96"/>
                        <a:pt x="38" y="107"/>
                        <a:pt x="58" y="105"/>
                      </a:cubicBezTo>
                      <a:cubicBezTo>
                        <a:pt x="69" y="100"/>
                        <a:pt x="82" y="101"/>
                        <a:pt x="94" y="99"/>
                      </a:cubicBezTo>
                      <a:cubicBezTo>
                        <a:pt x="102" y="96"/>
                        <a:pt x="112" y="100"/>
                        <a:pt x="120" y="102"/>
                      </a:cubicBezTo>
                      <a:cubicBezTo>
                        <a:pt x="131" y="101"/>
                        <a:pt x="142" y="100"/>
                        <a:pt x="153" y="97"/>
                      </a:cubicBezTo>
                      <a:cubicBezTo>
                        <a:pt x="158" y="94"/>
                        <a:pt x="162" y="92"/>
                        <a:pt x="165" y="87"/>
                      </a:cubicBezTo>
                      <a:cubicBezTo>
                        <a:pt x="164" y="84"/>
                        <a:pt x="163" y="81"/>
                        <a:pt x="162" y="78"/>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2" name="Freeform 137"/>
                <p:cNvSpPr>
                  <a:spLocks/>
                </p:cNvSpPr>
                <p:nvPr/>
              </p:nvSpPr>
              <p:spPr bwMode="auto">
                <a:xfrm>
                  <a:off x="3936451" y="2022641"/>
                  <a:ext cx="204767" cy="79975"/>
                </a:xfrm>
                <a:custGeom>
                  <a:avLst/>
                  <a:gdLst>
                    <a:gd name="T0" fmla="*/ 143 w 199"/>
                    <a:gd name="T1" fmla="*/ 3 h 80"/>
                    <a:gd name="T2" fmla="*/ 173 w 199"/>
                    <a:gd name="T3" fmla="*/ 5 h 80"/>
                    <a:gd name="T4" fmla="*/ 199 w 199"/>
                    <a:gd name="T5" fmla="*/ 26 h 80"/>
                    <a:gd name="T6" fmla="*/ 178 w 199"/>
                    <a:gd name="T7" fmla="*/ 51 h 80"/>
                    <a:gd name="T8" fmla="*/ 164 w 199"/>
                    <a:gd name="T9" fmla="*/ 57 h 80"/>
                    <a:gd name="T10" fmla="*/ 131 w 199"/>
                    <a:gd name="T11" fmla="*/ 66 h 80"/>
                    <a:gd name="T12" fmla="*/ 113 w 199"/>
                    <a:gd name="T13" fmla="*/ 72 h 80"/>
                    <a:gd name="T14" fmla="*/ 100 w 199"/>
                    <a:gd name="T15" fmla="*/ 80 h 80"/>
                    <a:gd name="T16" fmla="*/ 79 w 199"/>
                    <a:gd name="T17" fmla="*/ 77 h 80"/>
                    <a:gd name="T18" fmla="*/ 65 w 199"/>
                    <a:gd name="T19" fmla="*/ 74 h 80"/>
                    <a:gd name="T20" fmla="*/ 47 w 199"/>
                    <a:gd name="T21" fmla="*/ 65 h 80"/>
                    <a:gd name="T22" fmla="*/ 26 w 199"/>
                    <a:gd name="T23" fmla="*/ 69 h 80"/>
                    <a:gd name="T24" fmla="*/ 28 w 199"/>
                    <a:gd name="T25" fmla="*/ 62 h 80"/>
                    <a:gd name="T26" fmla="*/ 28 w 199"/>
                    <a:gd name="T27" fmla="*/ 45 h 80"/>
                    <a:gd name="T28" fmla="*/ 4 w 199"/>
                    <a:gd name="T29" fmla="*/ 47 h 80"/>
                    <a:gd name="T30" fmla="*/ 28 w 199"/>
                    <a:gd name="T31" fmla="*/ 35 h 80"/>
                    <a:gd name="T32" fmla="*/ 38 w 199"/>
                    <a:gd name="T33" fmla="*/ 27 h 80"/>
                    <a:gd name="T34" fmla="*/ 11 w 199"/>
                    <a:gd name="T35" fmla="*/ 26 h 80"/>
                    <a:gd name="T36" fmla="*/ 2 w 199"/>
                    <a:gd name="T37" fmla="*/ 24 h 80"/>
                    <a:gd name="T38" fmla="*/ 16 w 199"/>
                    <a:gd name="T39" fmla="*/ 9 h 80"/>
                    <a:gd name="T40" fmla="*/ 32 w 199"/>
                    <a:gd name="T41" fmla="*/ 14 h 80"/>
                    <a:gd name="T42" fmla="*/ 37 w 199"/>
                    <a:gd name="T43" fmla="*/ 3 h 80"/>
                    <a:gd name="T44" fmla="*/ 53 w 199"/>
                    <a:gd name="T45" fmla="*/ 11 h 80"/>
                    <a:gd name="T46" fmla="*/ 65 w 199"/>
                    <a:gd name="T47" fmla="*/ 32 h 80"/>
                    <a:gd name="T48" fmla="*/ 76 w 199"/>
                    <a:gd name="T49" fmla="*/ 21 h 80"/>
                    <a:gd name="T50" fmla="*/ 83 w 199"/>
                    <a:gd name="T51" fmla="*/ 6 h 80"/>
                    <a:gd name="T52" fmla="*/ 100 w 199"/>
                    <a:gd name="T53" fmla="*/ 20 h 80"/>
                    <a:gd name="T54" fmla="*/ 113 w 199"/>
                    <a:gd name="T55" fmla="*/ 12 h 80"/>
                    <a:gd name="T56" fmla="*/ 125 w 199"/>
                    <a:gd name="T57" fmla="*/ 14 h 80"/>
                    <a:gd name="T58" fmla="*/ 134 w 199"/>
                    <a:gd name="T59" fmla="*/ 11 h 80"/>
                    <a:gd name="T60" fmla="*/ 143 w 199"/>
                    <a:gd name="T61"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80">
                      <a:moveTo>
                        <a:pt x="143" y="3"/>
                      </a:moveTo>
                      <a:cubicBezTo>
                        <a:pt x="153" y="2"/>
                        <a:pt x="164" y="0"/>
                        <a:pt x="173" y="5"/>
                      </a:cubicBezTo>
                      <a:cubicBezTo>
                        <a:pt x="180" y="14"/>
                        <a:pt x="191" y="18"/>
                        <a:pt x="199" y="26"/>
                      </a:cubicBezTo>
                      <a:cubicBezTo>
                        <a:pt x="197" y="43"/>
                        <a:pt x="195" y="49"/>
                        <a:pt x="178" y="51"/>
                      </a:cubicBezTo>
                      <a:cubicBezTo>
                        <a:pt x="173" y="53"/>
                        <a:pt x="170" y="56"/>
                        <a:pt x="164" y="57"/>
                      </a:cubicBezTo>
                      <a:cubicBezTo>
                        <a:pt x="152" y="66"/>
                        <a:pt x="148" y="65"/>
                        <a:pt x="131" y="66"/>
                      </a:cubicBezTo>
                      <a:cubicBezTo>
                        <a:pt x="125" y="69"/>
                        <a:pt x="119" y="71"/>
                        <a:pt x="113" y="72"/>
                      </a:cubicBezTo>
                      <a:cubicBezTo>
                        <a:pt x="108" y="74"/>
                        <a:pt x="104" y="77"/>
                        <a:pt x="100" y="80"/>
                      </a:cubicBezTo>
                      <a:cubicBezTo>
                        <a:pt x="97" y="80"/>
                        <a:pt x="84" y="78"/>
                        <a:pt x="79" y="77"/>
                      </a:cubicBezTo>
                      <a:cubicBezTo>
                        <a:pt x="74" y="76"/>
                        <a:pt x="65" y="74"/>
                        <a:pt x="65" y="74"/>
                      </a:cubicBezTo>
                      <a:cubicBezTo>
                        <a:pt x="59" y="70"/>
                        <a:pt x="54" y="66"/>
                        <a:pt x="47" y="65"/>
                      </a:cubicBezTo>
                      <a:cubicBezTo>
                        <a:pt x="38" y="66"/>
                        <a:pt x="34" y="67"/>
                        <a:pt x="26" y="69"/>
                      </a:cubicBezTo>
                      <a:cubicBezTo>
                        <a:pt x="6" y="64"/>
                        <a:pt x="18" y="64"/>
                        <a:pt x="28" y="62"/>
                      </a:cubicBezTo>
                      <a:cubicBezTo>
                        <a:pt x="36" y="58"/>
                        <a:pt x="35" y="50"/>
                        <a:pt x="28" y="45"/>
                      </a:cubicBezTo>
                      <a:cubicBezTo>
                        <a:pt x="22" y="46"/>
                        <a:pt x="9" y="44"/>
                        <a:pt x="4" y="47"/>
                      </a:cubicBezTo>
                      <a:cubicBezTo>
                        <a:pt x="0" y="37"/>
                        <a:pt x="20" y="37"/>
                        <a:pt x="28" y="35"/>
                      </a:cubicBezTo>
                      <a:cubicBezTo>
                        <a:pt x="34" y="32"/>
                        <a:pt x="37" y="34"/>
                        <a:pt x="38" y="27"/>
                      </a:cubicBezTo>
                      <a:cubicBezTo>
                        <a:pt x="31" y="18"/>
                        <a:pt x="20" y="24"/>
                        <a:pt x="11" y="26"/>
                      </a:cubicBezTo>
                      <a:cubicBezTo>
                        <a:pt x="8" y="25"/>
                        <a:pt x="4" y="26"/>
                        <a:pt x="2" y="24"/>
                      </a:cubicBezTo>
                      <a:cubicBezTo>
                        <a:pt x="0" y="22"/>
                        <a:pt x="12" y="10"/>
                        <a:pt x="16" y="9"/>
                      </a:cubicBezTo>
                      <a:cubicBezTo>
                        <a:pt x="22" y="11"/>
                        <a:pt x="27" y="11"/>
                        <a:pt x="32" y="14"/>
                      </a:cubicBezTo>
                      <a:cubicBezTo>
                        <a:pt x="40" y="11"/>
                        <a:pt x="34" y="10"/>
                        <a:pt x="37" y="3"/>
                      </a:cubicBezTo>
                      <a:cubicBezTo>
                        <a:pt x="44" y="5"/>
                        <a:pt x="48" y="7"/>
                        <a:pt x="53" y="11"/>
                      </a:cubicBezTo>
                      <a:cubicBezTo>
                        <a:pt x="55" y="25"/>
                        <a:pt x="51" y="34"/>
                        <a:pt x="65" y="32"/>
                      </a:cubicBezTo>
                      <a:cubicBezTo>
                        <a:pt x="69" y="25"/>
                        <a:pt x="72" y="28"/>
                        <a:pt x="76" y="21"/>
                      </a:cubicBezTo>
                      <a:cubicBezTo>
                        <a:pt x="77" y="14"/>
                        <a:pt x="77" y="10"/>
                        <a:pt x="83" y="6"/>
                      </a:cubicBezTo>
                      <a:cubicBezTo>
                        <a:pt x="87" y="13"/>
                        <a:pt x="93" y="16"/>
                        <a:pt x="100" y="20"/>
                      </a:cubicBezTo>
                      <a:cubicBezTo>
                        <a:pt x="105" y="12"/>
                        <a:pt x="104" y="11"/>
                        <a:pt x="113" y="12"/>
                      </a:cubicBezTo>
                      <a:cubicBezTo>
                        <a:pt x="120" y="16"/>
                        <a:pt x="117" y="13"/>
                        <a:pt x="125" y="14"/>
                      </a:cubicBezTo>
                      <a:cubicBezTo>
                        <a:pt x="134" y="19"/>
                        <a:pt x="131" y="16"/>
                        <a:pt x="134" y="11"/>
                      </a:cubicBezTo>
                      <a:cubicBezTo>
                        <a:pt x="137" y="7"/>
                        <a:pt x="143" y="10"/>
                        <a:pt x="143" y="3"/>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3" name="Freeform 138"/>
                <p:cNvSpPr>
                  <a:spLocks/>
                </p:cNvSpPr>
                <p:nvPr/>
              </p:nvSpPr>
              <p:spPr bwMode="auto">
                <a:xfrm>
                  <a:off x="2323132" y="3199637"/>
                  <a:ext cx="21718" cy="31689"/>
                </a:xfrm>
                <a:custGeom>
                  <a:avLst/>
                  <a:gdLst>
                    <a:gd name="T0" fmla="*/ 11 w 22"/>
                    <a:gd name="T1" fmla="*/ 0 h 32"/>
                    <a:gd name="T2" fmla="*/ 0 w 22"/>
                    <a:gd name="T3" fmla="*/ 17 h 32"/>
                    <a:gd name="T4" fmla="*/ 14 w 22"/>
                    <a:gd name="T5" fmla="*/ 32 h 32"/>
                    <a:gd name="T6" fmla="*/ 11 w 22"/>
                    <a:gd name="T7" fmla="*/ 0 h 32"/>
                  </a:gdLst>
                  <a:ahLst/>
                  <a:cxnLst>
                    <a:cxn ang="0">
                      <a:pos x="T0" y="T1"/>
                    </a:cxn>
                    <a:cxn ang="0">
                      <a:pos x="T2" y="T3"/>
                    </a:cxn>
                    <a:cxn ang="0">
                      <a:pos x="T4" y="T5"/>
                    </a:cxn>
                    <a:cxn ang="0">
                      <a:pos x="T6" y="T7"/>
                    </a:cxn>
                  </a:cxnLst>
                  <a:rect l="0" t="0" r="r" b="b"/>
                  <a:pathLst>
                    <a:path w="22" h="32">
                      <a:moveTo>
                        <a:pt x="11" y="0"/>
                      </a:moveTo>
                      <a:cubicBezTo>
                        <a:pt x="5" y="4"/>
                        <a:pt x="4" y="10"/>
                        <a:pt x="0" y="17"/>
                      </a:cubicBezTo>
                      <a:cubicBezTo>
                        <a:pt x="4" y="24"/>
                        <a:pt x="7" y="29"/>
                        <a:pt x="14" y="32"/>
                      </a:cubicBezTo>
                      <a:cubicBezTo>
                        <a:pt x="22" y="22"/>
                        <a:pt x="20" y="9"/>
                        <a:pt x="11"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4" name="Freeform 139"/>
                <p:cNvSpPr>
                  <a:spLocks/>
                </p:cNvSpPr>
                <p:nvPr/>
              </p:nvSpPr>
              <p:spPr bwMode="auto">
                <a:xfrm>
                  <a:off x="5267438" y="4222718"/>
                  <a:ext cx="49640" cy="158442"/>
                </a:xfrm>
                <a:custGeom>
                  <a:avLst/>
                  <a:gdLst>
                    <a:gd name="T0" fmla="*/ 0 w 48"/>
                    <a:gd name="T1" fmla="*/ 0 h 158"/>
                    <a:gd name="T2" fmla="*/ 9 w 48"/>
                    <a:gd name="T3" fmla="*/ 35 h 158"/>
                    <a:gd name="T4" fmla="*/ 1 w 48"/>
                    <a:gd name="T5" fmla="*/ 68 h 158"/>
                    <a:gd name="T6" fmla="*/ 3 w 48"/>
                    <a:gd name="T7" fmla="*/ 96 h 158"/>
                    <a:gd name="T8" fmla="*/ 13 w 48"/>
                    <a:gd name="T9" fmla="*/ 131 h 158"/>
                    <a:gd name="T10" fmla="*/ 48 w 48"/>
                    <a:gd name="T11" fmla="*/ 158 h 158"/>
                    <a:gd name="T12" fmla="*/ 28 w 48"/>
                    <a:gd name="T13" fmla="*/ 125 h 158"/>
                    <a:gd name="T14" fmla="*/ 16 w 48"/>
                    <a:gd name="T15" fmla="*/ 113 h 158"/>
                    <a:gd name="T16" fmla="*/ 16 w 48"/>
                    <a:gd name="T17" fmla="*/ 80 h 158"/>
                    <a:gd name="T18" fmla="*/ 33 w 48"/>
                    <a:gd name="T19" fmla="*/ 62 h 158"/>
                    <a:gd name="T20" fmla="*/ 16 w 48"/>
                    <a:gd name="T21" fmla="*/ 15 h 158"/>
                    <a:gd name="T22" fmla="*/ 0 w 48"/>
                    <a:gd name="T2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58">
                      <a:moveTo>
                        <a:pt x="0" y="0"/>
                      </a:moveTo>
                      <a:lnTo>
                        <a:pt x="9" y="35"/>
                      </a:lnTo>
                      <a:lnTo>
                        <a:pt x="1" y="68"/>
                      </a:lnTo>
                      <a:lnTo>
                        <a:pt x="3" y="96"/>
                      </a:lnTo>
                      <a:lnTo>
                        <a:pt x="13" y="131"/>
                      </a:lnTo>
                      <a:lnTo>
                        <a:pt x="48" y="158"/>
                      </a:lnTo>
                      <a:lnTo>
                        <a:pt x="28" y="125"/>
                      </a:lnTo>
                      <a:lnTo>
                        <a:pt x="16" y="113"/>
                      </a:lnTo>
                      <a:lnTo>
                        <a:pt x="16" y="80"/>
                      </a:lnTo>
                      <a:lnTo>
                        <a:pt x="33" y="62"/>
                      </a:lnTo>
                      <a:lnTo>
                        <a:pt x="16" y="15"/>
                      </a:lnTo>
                      <a:lnTo>
                        <a:pt x="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5" name="Freeform 140"/>
                <p:cNvSpPr>
                  <a:spLocks/>
                </p:cNvSpPr>
                <p:nvPr/>
              </p:nvSpPr>
              <p:spPr bwMode="auto">
                <a:xfrm>
                  <a:off x="5138683" y="4038624"/>
                  <a:ext cx="46538" cy="137317"/>
                </a:xfrm>
                <a:custGeom>
                  <a:avLst/>
                  <a:gdLst>
                    <a:gd name="T0" fmla="*/ 16 w 46"/>
                    <a:gd name="T1" fmla="*/ 0 h 137"/>
                    <a:gd name="T2" fmla="*/ 19 w 46"/>
                    <a:gd name="T3" fmla="*/ 27 h 137"/>
                    <a:gd name="T4" fmla="*/ 21 w 46"/>
                    <a:gd name="T5" fmla="*/ 68 h 137"/>
                    <a:gd name="T6" fmla="*/ 18 w 46"/>
                    <a:gd name="T7" fmla="*/ 92 h 137"/>
                    <a:gd name="T8" fmla="*/ 33 w 46"/>
                    <a:gd name="T9" fmla="*/ 98 h 137"/>
                    <a:gd name="T10" fmla="*/ 40 w 46"/>
                    <a:gd name="T11" fmla="*/ 122 h 137"/>
                    <a:gd name="T12" fmla="*/ 46 w 46"/>
                    <a:gd name="T13" fmla="*/ 137 h 137"/>
                    <a:gd name="T14" fmla="*/ 27 w 46"/>
                    <a:gd name="T15" fmla="*/ 129 h 137"/>
                    <a:gd name="T16" fmla="*/ 6 w 46"/>
                    <a:gd name="T17" fmla="*/ 87 h 137"/>
                    <a:gd name="T18" fmla="*/ 4 w 46"/>
                    <a:gd name="T19" fmla="*/ 69 h 137"/>
                    <a:gd name="T20" fmla="*/ 0 w 46"/>
                    <a:gd name="T21" fmla="*/ 56 h 137"/>
                    <a:gd name="T22" fmla="*/ 0 w 46"/>
                    <a:gd name="T23" fmla="*/ 18 h 137"/>
                    <a:gd name="T24" fmla="*/ 16 w 46"/>
                    <a:gd name="T2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37">
                      <a:moveTo>
                        <a:pt x="16" y="0"/>
                      </a:moveTo>
                      <a:lnTo>
                        <a:pt x="19" y="27"/>
                      </a:lnTo>
                      <a:lnTo>
                        <a:pt x="21" y="68"/>
                      </a:lnTo>
                      <a:lnTo>
                        <a:pt x="18" y="92"/>
                      </a:lnTo>
                      <a:lnTo>
                        <a:pt x="33" y="98"/>
                      </a:lnTo>
                      <a:lnTo>
                        <a:pt x="40" y="122"/>
                      </a:lnTo>
                      <a:lnTo>
                        <a:pt x="46" y="137"/>
                      </a:lnTo>
                      <a:lnTo>
                        <a:pt x="27" y="129"/>
                      </a:lnTo>
                      <a:lnTo>
                        <a:pt x="6" y="87"/>
                      </a:lnTo>
                      <a:lnTo>
                        <a:pt x="4" y="69"/>
                      </a:lnTo>
                      <a:lnTo>
                        <a:pt x="0" y="56"/>
                      </a:lnTo>
                      <a:lnTo>
                        <a:pt x="0" y="18"/>
                      </a:lnTo>
                      <a:lnTo>
                        <a:pt x="16"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6" name="Freeform 141"/>
                <p:cNvSpPr>
                  <a:spLocks/>
                </p:cNvSpPr>
                <p:nvPr/>
              </p:nvSpPr>
              <p:spPr bwMode="auto">
                <a:xfrm>
                  <a:off x="5210041" y="3928469"/>
                  <a:ext cx="80666" cy="99592"/>
                </a:xfrm>
                <a:custGeom>
                  <a:avLst/>
                  <a:gdLst>
                    <a:gd name="T0" fmla="*/ 56 w 78"/>
                    <a:gd name="T1" fmla="*/ 0 h 99"/>
                    <a:gd name="T2" fmla="*/ 42 w 78"/>
                    <a:gd name="T3" fmla="*/ 3 h 99"/>
                    <a:gd name="T4" fmla="*/ 14 w 78"/>
                    <a:gd name="T5" fmla="*/ 9 h 99"/>
                    <a:gd name="T6" fmla="*/ 0 w 78"/>
                    <a:gd name="T7" fmla="*/ 29 h 99"/>
                    <a:gd name="T8" fmla="*/ 9 w 78"/>
                    <a:gd name="T9" fmla="*/ 44 h 99"/>
                    <a:gd name="T10" fmla="*/ 0 w 78"/>
                    <a:gd name="T11" fmla="*/ 75 h 99"/>
                    <a:gd name="T12" fmla="*/ 3 w 78"/>
                    <a:gd name="T13" fmla="*/ 99 h 99"/>
                    <a:gd name="T14" fmla="*/ 17 w 78"/>
                    <a:gd name="T15" fmla="*/ 86 h 99"/>
                    <a:gd name="T16" fmla="*/ 38 w 78"/>
                    <a:gd name="T17" fmla="*/ 89 h 99"/>
                    <a:gd name="T18" fmla="*/ 51 w 78"/>
                    <a:gd name="T19" fmla="*/ 86 h 99"/>
                    <a:gd name="T20" fmla="*/ 50 w 78"/>
                    <a:gd name="T21" fmla="*/ 68 h 99"/>
                    <a:gd name="T22" fmla="*/ 56 w 78"/>
                    <a:gd name="T23" fmla="*/ 47 h 99"/>
                    <a:gd name="T24" fmla="*/ 66 w 78"/>
                    <a:gd name="T25" fmla="*/ 30 h 99"/>
                    <a:gd name="T26" fmla="*/ 78 w 78"/>
                    <a:gd name="T27" fmla="*/ 18 h 99"/>
                    <a:gd name="T28" fmla="*/ 62 w 78"/>
                    <a:gd name="T29" fmla="*/ 18 h 99"/>
                    <a:gd name="T30" fmla="*/ 56 w 78"/>
                    <a:gd name="T3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99">
                      <a:moveTo>
                        <a:pt x="56" y="0"/>
                      </a:moveTo>
                      <a:lnTo>
                        <a:pt x="42" y="3"/>
                      </a:lnTo>
                      <a:lnTo>
                        <a:pt x="14" y="9"/>
                      </a:lnTo>
                      <a:lnTo>
                        <a:pt x="0" y="29"/>
                      </a:lnTo>
                      <a:lnTo>
                        <a:pt x="9" y="44"/>
                      </a:lnTo>
                      <a:lnTo>
                        <a:pt x="0" y="75"/>
                      </a:lnTo>
                      <a:lnTo>
                        <a:pt x="3" y="99"/>
                      </a:lnTo>
                      <a:lnTo>
                        <a:pt x="17" y="86"/>
                      </a:lnTo>
                      <a:lnTo>
                        <a:pt x="38" y="89"/>
                      </a:lnTo>
                      <a:lnTo>
                        <a:pt x="51" y="86"/>
                      </a:lnTo>
                      <a:lnTo>
                        <a:pt x="50" y="68"/>
                      </a:lnTo>
                      <a:lnTo>
                        <a:pt x="56" y="47"/>
                      </a:lnTo>
                      <a:lnTo>
                        <a:pt x="66" y="30"/>
                      </a:lnTo>
                      <a:lnTo>
                        <a:pt x="78" y="18"/>
                      </a:lnTo>
                      <a:lnTo>
                        <a:pt x="62" y="18"/>
                      </a:lnTo>
                      <a:lnTo>
                        <a:pt x="56"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7" name="Freeform 142"/>
                <p:cNvSpPr>
                  <a:spLocks/>
                </p:cNvSpPr>
                <p:nvPr/>
              </p:nvSpPr>
              <p:spPr bwMode="auto">
                <a:xfrm>
                  <a:off x="5459795" y="3588950"/>
                  <a:ext cx="276125" cy="401385"/>
                </a:xfrm>
                <a:custGeom>
                  <a:avLst/>
                  <a:gdLst>
                    <a:gd name="T0" fmla="*/ 48 w 269"/>
                    <a:gd name="T1" fmla="*/ 26 h 401"/>
                    <a:gd name="T2" fmla="*/ 39 w 269"/>
                    <a:gd name="T3" fmla="*/ 42 h 401"/>
                    <a:gd name="T4" fmla="*/ 54 w 269"/>
                    <a:gd name="T5" fmla="*/ 63 h 401"/>
                    <a:gd name="T6" fmla="*/ 78 w 269"/>
                    <a:gd name="T7" fmla="*/ 89 h 401"/>
                    <a:gd name="T8" fmla="*/ 158 w 269"/>
                    <a:gd name="T9" fmla="*/ 120 h 401"/>
                    <a:gd name="T10" fmla="*/ 173 w 269"/>
                    <a:gd name="T11" fmla="*/ 120 h 401"/>
                    <a:gd name="T12" fmla="*/ 111 w 269"/>
                    <a:gd name="T13" fmla="*/ 198 h 401"/>
                    <a:gd name="T14" fmla="*/ 65 w 269"/>
                    <a:gd name="T15" fmla="*/ 213 h 401"/>
                    <a:gd name="T16" fmla="*/ 17 w 269"/>
                    <a:gd name="T17" fmla="*/ 230 h 401"/>
                    <a:gd name="T18" fmla="*/ 2 w 269"/>
                    <a:gd name="T19" fmla="*/ 276 h 401"/>
                    <a:gd name="T20" fmla="*/ 0 w 269"/>
                    <a:gd name="T21" fmla="*/ 369 h 401"/>
                    <a:gd name="T22" fmla="*/ 17 w 269"/>
                    <a:gd name="T23" fmla="*/ 401 h 401"/>
                    <a:gd name="T24" fmla="*/ 32 w 269"/>
                    <a:gd name="T25" fmla="*/ 371 h 401"/>
                    <a:gd name="T26" fmla="*/ 45 w 269"/>
                    <a:gd name="T27" fmla="*/ 359 h 401"/>
                    <a:gd name="T28" fmla="*/ 59 w 269"/>
                    <a:gd name="T29" fmla="*/ 347 h 401"/>
                    <a:gd name="T30" fmla="*/ 74 w 269"/>
                    <a:gd name="T31" fmla="*/ 332 h 401"/>
                    <a:gd name="T32" fmla="*/ 95 w 269"/>
                    <a:gd name="T33" fmla="*/ 308 h 401"/>
                    <a:gd name="T34" fmla="*/ 113 w 269"/>
                    <a:gd name="T35" fmla="*/ 302 h 401"/>
                    <a:gd name="T36" fmla="*/ 134 w 269"/>
                    <a:gd name="T37" fmla="*/ 285 h 401"/>
                    <a:gd name="T38" fmla="*/ 155 w 269"/>
                    <a:gd name="T39" fmla="*/ 261 h 401"/>
                    <a:gd name="T40" fmla="*/ 179 w 269"/>
                    <a:gd name="T41" fmla="*/ 230 h 401"/>
                    <a:gd name="T42" fmla="*/ 188 w 269"/>
                    <a:gd name="T43" fmla="*/ 207 h 401"/>
                    <a:gd name="T44" fmla="*/ 201 w 269"/>
                    <a:gd name="T45" fmla="*/ 186 h 401"/>
                    <a:gd name="T46" fmla="*/ 224 w 269"/>
                    <a:gd name="T47" fmla="*/ 140 h 401"/>
                    <a:gd name="T48" fmla="*/ 239 w 269"/>
                    <a:gd name="T49" fmla="*/ 101 h 401"/>
                    <a:gd name="T50" fmla="*/ 245 w 269"/>
                    <a:gd name="T51" fmla="*/ 83 h 401"/>
                    <a:gd name="T52" fmla="*/ 254 w 269"/>
                    <a:gd name="T53" fmla="*/ 65 h 401"/>
                    <a:gd name="T54" fmla="*/ 246 w 269"/>
                    <a:gd name="T55" fmla="*/ 0 h 401"/>
                    <a:gd name="T56" fmla="*/ 216 w 269"/>
                    <a:gd name="T57" fmla="*/ 12 h 401"/>
                    <a:gd name="T58" fmla="*/ 201 w 269"/>
                    <a:gd name="T59" fmla="*/ 15 h 401"/>
                    <a:gd name="T60" fmla="*/ 168 w 269"/>
                    <a:gd name="T61" fmla="*/ 18 h 401"/>
                    <a:gd name="T62" fmla="*/ 141 w 269"/>
                    <a:gd name="T63" fmla="*/ 35 h 401"/>
                    <a:gd name="T64" fmla="*/ 99 w 269"/>
                    <a:gd name="T65" fmla="*/ 42 h 401"/>
                    <a:gd name="T66" fmla="*/ 80 w 269"/>
                    <a:gd name="T67" fmla="*/ 41 h 401"/>
                    <a:gd name="T68" fmla="*/ 57 w 269"/>
                    <a:gd name="T69" fmla="*/ 20 h 401"/>
                    <a:gd name="T70" fmla="*/ 47 w 269"/>
                    <a:gd name="T71" fmla="*/ 12 h 401"/>
                    <a:gd name="T72" fmla="*/ 48 w 269"/>
                    <a:gd name="T73" fmla="*/ 2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401">
                      <a:moveTo>
                        <a:pt x="48" y="26"/>
                      </a:moveTo>
                      <a:lnTo>
                        <a:pt x="39" y="42"/>
                      </a:lnTo>
                      <a:lnTo>
                        <a:pt x="54" y="63"/>
                      </a:lnTo>
                      <a:lnTo>
                        <a:pt x="78" y="89"/>
                      </a:lnTo>
                      <a:lnTo>
                        <a:pt x="158" y="120"/>
                      </a:lnTo>
                      <a:lnTo>
                        <a:pt x="173" y="120"/>
                      </a:lnTo>
                      <a:lnTo>
                        <a:pt x="111" y="198"/>
                      </a:lnTo>
                      <a:lnTo>
                        <a:pt x="65" y="213"/>
                      </a:lnTo>
                      <a:lnTo>
                        <a:pt x="17" y="230"/>
                      </a:lnTo>
                      <a:lnTo>
                        <a:pt x="2" y="276"/>
                      </a:lnTo>
                      <a:lnTo>
                        <a:pt x="0" y="369"/>
                      </a:lnTo>
                      <a:lnTo>
                        <a:pt x="17" y="401"/>
                      </a:lnTo>
                      <a:cubicBezTo>
                        <a:pt x="22" y="391"/>
                        <a:pt x="26" y="380"/>
                        <a:pt x="32" y="371"/>
                      </a:cubicBezTo>
                      <a:cubicBezTo>
                        <a:pt x="36" y="366"/>
                        <a:pt x="45" y="359"/>
                        <a:pt x="45" y="359"/>
                      </a:cubicBezTo>
                      <a:cubicBezTo>
                        <a:pt x="48" y="354"/>
                        <a:pt x="54" y="351"/>
                        <a:pt x="59" y="347"/>
                      </a:cubicBezTo>
                      <a:cubicBezTo>
                        <a:pt x="64" y="340"/>
                        <a:pt x="66" y="334"/>
                        <a:pt x="74" y="332"/>
                      </a:cubicBezTo>
                      <a:cubicBezTo>
                        <a:pt x="81" y="324"/>
                        <a:pt x="84" y="310"/>
                        <a:pt x="95" y="308"/>
                      </a:cubicBezTo>
                      <a:cubicBezTo>
                        <a:pt x="101" y="305"/>
                        <a:pt x="107" y="306"/>
                        <a:pt x="113" y="302"/>
                      </a:cubicBezTo>
                      <a:cubicBezTo>
                        <a:pt x="118" y="294"/>
                        <a:pt x="126" y="290"/>
                        <a:pt x="134" y="285"/>
                      </a:cubicBezTo>
                      <a:cubicBezTo>
                        <a:pt x="141" y="276"/>
                        <a:pt x="145" y="267"/>
                        <a:pt x="155" y="261"/>
                      </a:cubicBezTo>
                      <a:cubicBezTo>
                        <a:pt x="160" y="251"/>
                        <a:pt x="169" y="236"/>
                        <a:pt x="179" y="230"/>
                      </a:cubicBezTo>
                      <a:cubicBezTo>
                        <a:pt x="180" y="223"/>
                        <a:pt x="183" y="213"/>
                        <a:pt x="188" y="207"/>
                      </a:cubicBezTo>
                      <a:cubicBezTo>
                        <a:pt x="195" y="199"/>
                        <a:pt x="197" y="196"/>
                        <a:pt x="201" y="186"/>
                      </a:cubicBezTo>
                      <a:cubicBezTo>
                        <a:pt x="202" y="166"/>
                        <a:pt x="206" y="151"/>
                        <a:pt x="224" y="140"/>
                      </a:cubicBezTo>
                      <a:cubicBezTo>
                        <a:pt x="227" y="125"/>
                        <a:pt x="230" y="113"/>
                        <a:pt x="239" y="101"/>
                      </a:cubicBezTo>
                      <a:cubicBezTo>
                        <a:pt x="240" y="95"/>
                        <a:pt x="242" y="89"/>
                        <a:pt x="245" y="83"/>
                      </a:cubicBezTo>
                      <a:cubicBezTo>
                        <a:pt x="246" y="76"/>
                        <a:pt x="251" y="71"/>
                        <a:pt x="254" y="65"/>
                      </a:cubicBezTo>
                      <a:cubicBezTo>
                        <a:pt x="259" y="42"/>
                        <a:pt x="269" y="14"/>
                        <a:pt x="246" y="0"/>
                      </a:cubicBezTo>
                      <a:cubicBezTo>
                        <a:pt x="234" y="6"/>
                        <a:pt x="232" y="9"/>
                        <a:pt x="216" y="12"/>
                      </a:cubicBezTo>
                      <a:cubicBezTo>
                        <a:pt x="211" y="13"/>
                        <a:pt x="201" y="15"/>
                        <a:pt x="201" y="15"/>
                      </a:cubicBezTo>
                      <a:cubicBezTo>
                        <a:pt x="188" y="22"/>
                        <a:pt x="203" y="15"/>
                        <a:pt x="168" y="18"/>
                      </a:cubicBezTo>
                      <a:cubicBezTo>
                        <a:pt x="160" y="19"/>
                        <a:pt x="149" y="32"/>
                        <a:pt x="141" y="35"/>
                      </a:cubicBezTo>
                      <a:cubicBezTo>
                        <a:pt x="118" y="32"/>
                        <a:pt x="116" y="39"/>
                        <a:pt x="99" y="42"/>
                      </a:cubicBezTo>
                      <a:cubicBezTo>
                        <a:pt x="93" y="42"/>
                        <a:pt x="86" y="42"/>
                        <a:pt x="80" y="41"/>
                      </a:cubicBezTo>
                      <a:cubicBezTo>
                        <a:pt x="71" y="40"/>
                        <a:pt x="65" y="25"/>
                        <a:pt x="57" y="20"/>
                      </a:cubicBezTo>
                      <a:cubicBezTo>
                        <a:pt x="54" y="15"/>
                        <a:pt x="53" y="12"/>
                        <a:pt x="47" y="12"/>
                      </a:cubicBezTo>
                      <a:lnTo>
                        <a:pt x="48" y="2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8" name="Freeform 143"/>
                <p:cNvSpPr>
                  <a:spLocks/>
                </p:cNvSpPr>
                <p:nvPr/>
              </p:nvSpPr>
              <p:spPr bwMode="auto">
                <a:xfrm>
                  <a:off x="4679507" y="4068803"/>
                  <a:ext cx="26372" cy="45269"/>
                </a:xfrm>
                <a:custGeom>
                  <a:avLst/>
                  <a:gdLst>
                    <a:gd name="T0" fmla="*/ 0 w 26"/>
                    <a:gd name="T1" fmla="*/ 20 h 45"/>
                    <a:gd name="T2" fmla="*/ 26 w 26"/>
                    <a:gd name="T3" fmla="*/ 0 h 45"/>
                    <a:gd name="T4" fmla="*/ 26 w 26"/>
                    <a:gd name="T5" fmla="*/ 14 h 45"/>
                    <a:gd name="T6" fmla="*/ 9 w 26"/>
                    <a:gd name="T7" fmla="*/ 45 h 45"/>
                    <a:gd name="T8" fmla="*/ 0 w 26"/>
                    <a:gd name="T9" fmla="*/ 20 h 45"/>
                  </a:gdLst>
                  <a:ahLst/>
                  <a:cxnLst>
                    <a:cxn ang="0">
                      <a:pos x="T0" y="T1"/>
                    </a:cxn>
                    <a:cxn ang="0">
                      <a:pos x="T2" y="T3"/>
                    </a:cxn>
                    <a:cxn ang="0">
                      <a:pos x="T4" y="T5"/>
                    </a:cxn>
                    <a:cxn ang="0">
                      <a:pos x="T6" y="T7"/>
                    </a:cxn>
                    <a:cxn ang="0">
                      <a:pos x="T8" y="T9"/>
                    </a:cxn>
                  </a:cxnLst>
                  <a:rect l="0" t="0" r="r" b="b"/>
                  <a:pathLst>
                    <a:path w="26" h="45">
                      <a:moveTo>
                        <a:pt x="0" y="20"/>
                      </a:moveTo>
                      <a:lnTo>
                        <a:pt x="26" y="0"/>
                      </a:lnTo>
                      <a:lnTo>
                        <a:pt x="26" y="14"/>
                      </a:lnTo>
                      <a:lnTo>
                        <a:pt x="9" y="45"/>
                      </a:lnTo>
                      <a:lnTo>
                        <a:pt x="0" y="2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39" name="Freeform 144"/>
                <p:cNvSpPr>
                  <a:spLocks/>
                </p:cNvSpPr>
                <p:nvPr/>
              </p:nvSpPr>
              <p:spPr bwMode="auto">
                <a:xfrm>
                  <a:off x="4141218" y="2697150"/>
                  <a:ext cx="91525" cy="150897"/>
                </a:xfrm>
                <a:custGeom>
                  <a:avLst/>
                  <a:gdLst>
                    <a:gd name="T0" fmla="*/ 49 w 88"/>
                    <a:gd name="T1" fmla="*/ 145 h 151"/>
                    <a:gd name="T2" fmla="*/ 39 w 88"/>
                    <a:gd name="T3" fmla="*/ 151 h 151"/>
                    <a:gd name="T4" fmla="*/ 13 w 88"/>
                    <a:gd name="T5" fmla="*/ 151 h 151"/>
                    <a:gd name="T6" fmla="*/ 19 w 88"/>
                    <a:gd name="T7" fmla="*/ 108 h 151"/>
                    <a:gd name="T8" fmla="*/ 7 w 88"/>
                    <a:gd name="T9" fmla="*/ 108 h 151"/>
                    <a:gd name="T10" fmla="*/ 0 w 88"/>
                    <a:gd name="T11" fmla="*/ 94 h 151"/>
                    <a:gd name="T12" fmla="*/ 9 w 88"/>
                    <a:gd name="T13" fmla="*/ 79 h 151"/>
                    <a:gd name="T14" fmla="*/ 21 w 88"/>
                    <a:gd name="T15" fmla="*/ 58 h 151"/>
                    <a:gd name="T16" fmla="*/ 25 w 88"/>
                    <a:gd name="T17" fmla="*/ 33 h 151"/>
                    <a:gd name="T18" fmla="*/ 24 w 88"/>
                    <a:gd name="T19" fmla="*/ 16 h 151"/>
                    <a:gd name="T20" fmla="*/ 25 w 88"/>
                    <a:gd name="T21" fmla="*/ 4 h 151"/>
                    <a:gd name="T22" fmla="*/ 45 w 88"/>
                    <a:gd name="T23" fmla="*/ 0 h 151"/>
                    <a:gd name="T24" fmla="*/ 43 w 88"/>
                    <a:gd name="T25" fmla="*/ 12 h 151"/>
                    <a:gd name="T26" fmla="*/ 58 w 88"/>
                    <a:gd name="T27" fmla="*/ 12 h 151"/>
                    <a:gd name="T28" fmla="*/ 67 w 88"/>
                    <a:gd name="T29" fmla="*/ 6 h 151"/>
                    <a:gd name="T30" fmla="*/ 78 w 88"/>
                    <a:gd name="T31" fmla="*/ 6 h 151"/>
                    <a:gd name="T32" fmla="*/ 88 w 88"/>
                    <a:gd name="T33" fmla="*/ 16 h 151"/>
                    <a:gd name="T34" fmla="*/ 76 w 88"/>
                    <a:gd name="T35" fmla="*/ 28 h 151"/>
                    <a:gd name="T36" fmla="*/ 69 w 88"/>
                    <a:gd name="T37" fmla="*/ 52 h 151"/>
                    <a:gd name="T38" fmla="*/ 69 w 88"/>
                    <a:gd name="T39" fmla="*/ 69 h 151"/>
                    <a:gd name="T40" fmla="*/ 63 w 88"/>
                    <a:gd name="T41" fmla="*/ 78 h 151"/>
                    <a:gd name="T42" fmla="*/ 51 w 88"/>
                    <a:gd name="T43" fmla="*/ 75 h 151"/>
                    <a:gd name="T44" fmla="*/ 63 w 88"/>
                    <a:gd name="T45" fmla="*/ 96 h 151"/>
                    <a:gd name="T46" fmla="*/ 54 w 88"/>
                    <a:gd name="T47" fmla="*/ 109 h 151"/>
                    <a:gd name="T48" fmla="*/ 61 w 88"/>
                    <a:gd name="T49" fmla="*/ 118 h 151"/>
                    <a:gd name="T50" fmla="*/ 45 w 88"/>
                    <a:gd name="T51" fmla="*/ 133 h 151"/>
                    <a:gd name="T52" fmla="*/ 49 w 88"/>
                    <a:gd name="T53" fmla="*/ 14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151">
                      <a:moveTo>
                        <a:pt x="49" y="145"/>
                      </a:moveTo>
                      <a:lnTo>
                        <a:pt x="39" y="151"/>
                      </a:lnTo>
                      <a:lnTo>
                        <a:pt x="13" y="151"/>
                      </a:lnTo>
                      <a:lnTo>
                        <a:pt x="19" y="108"/>
                      </a:lnTo>
                      <a:lnTo>
                        <a:pt x="7" y="108"/>
                      </a:lnTo>
                      <a:lnTo>
                        <a:pt x="0" y="94"/>
                      </a:lnTo>
                      <a:lnTo>
                        <a:pt x="9" y="79"/>
                      </a:lnTo>
                      <a:lnTo>
                        <a:pt x="21" y="58"/>
                      </a:lnTo>
                      <a:lnTo>
                        <a:pt x="25" y="33"/>
                      </a:lnTo>
                      <a:lnTo>
                        <a:pt x="24" y="16"/>
                      </a:lnTo>
                      <a:lnTo>
                        <a:pt x="25" y="4"/>
                      </a:lnTo>
                      <a:lnTo>
                        <a:pt x="45" y="0"/>
                      </a:lnTo>
                      <a:lnTo>
                        <a:pt x="43" y="12"/>
                      </a:lnTo>
                      <a:lnTo>
                        <a:pt x="58" y="12"/>
                      </a:lnTo>
                      <a:lnTo>
                        <a:pt x="67" y="6"/>
                      </a:lnTo>
                      <a:lnTo>
                        <a:pt x="78" y="6"/>
                      </a:lnTo>
                      <a:lnTo>
                        <a:pt x="88" y="16"/>
                      </a:lnTo>
                      <a:lnTo>
                        <a:pt x="76" y="28"/>
                      </a:lnTo>
                      <a:lnTo>
                        <a:pt x="69" y="52"/>
                      </a:lnTo>
                      <a:lnTo>
                        <a:pt x="69" y="69"/>
                      </a:lnTo>
                      <a:lnTo>
                        <a:pt x="63" y="78"/>
                      </a:lnTo>
                      <a:lnTo>
                        <a:pt x="51" y="75"/>
                      </a:lnTo>
                      <a:lnTo>
                        <a:pt x="63" y="96"/>
                      </a:lnTo>
                      <a:lnTo>
                        <a:pt x="54" y="109"/>
                      </a:lnTo>
                      <a:lnTo>
                        <a:pt x="61" y="118"/>
                      </a:lnTo>
                      <a:lnTo>
                        <a:pt x="45" y="133"/>
                      </a:lnTo>
                      <a:lnTo>
                        <a:pt x="49" y="14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0" name="Freeform 145"/>
                <p:cNvSpPr>
                  <a:spLocks/>
                </p:cNvSpPr>
                <p:nvPr/>
              </p:nvSpPr>
              <p:spPr bwMode="auto">
                <a:xfrm>
                  <a:off x="4161385" y="2648863"/>
                  <a:ext cx="302497" cy="227855"/>
                </a:xfrm>
                <a:custGeom>
                  <a:avLst/>
                  <a:gdLst>
                    <a:gd name="T0" fmla="*/ 30 w 294"/>
                    <a:gd name="T1" fmla="*/ 193 h 228"/>
                    <a:gd name="T2" fmla="*/ 51 w 294"/>
                    <a:gd name="T3" fmla="*/ 198 h 228"/>
                    <a:gd name="T4" fmla="*/ 54 w 294"/>
                    <a:gd name="T5" fmla="*/ 214 h 228"/>
                    <a:gd name="T6" fmla="*/ 71 w 294"/>
                    <a:gd name="T7" fmla="*/ 228 h 228"/>
                    <a:gd name="T8" fmla="*/ 86 w 294"/>
                    <a:gd name="T9" fmla="*/ 214 h 228"/>
                    <a:gd name="T10" fmla="*/ 95 w 294"/>
                    <a:gd name="T11" fmla="*/ 217 h 228"/>
                    <a:gd name="T12" fmla="*/ 107 w 294"/>
                    <a:gd name="T13" fmla="*/ 208 h 228"/>
                    <a:gd name="T14" fmla="*/ 158 w 294"/>
                    <a:gd name="T15" fmla="*/ 210 h 228"/>
                    <a:gd name="T16" fmla="*/ 177 w 294"/>
                    <a:gd name="T17" fmla="*/ 186 h 228"/>
                    <a:gd name="T18" fmla="*/ 197 w 294"/>
                    <a:gd name="T19" fmla="*/ 184 h 228"/>
                    <a:gd name="T20" fmla="*/ 192 w 294"/>
                    <a:gd name="T21" fmla="*/ 174 h 228"/>
                    <a:gd name="T22" fmla="*/ 201 w 294"/>
                    <a:gd name="T23" fmla="*/ 157 h 228"/>
                    <a:gd name="T24" fmla="*/ 216 w 294"/>
                    <a:gd name="T25" fmla="*/ 150 h 228"/>
                    <a:gd name="T26" fmla="*/ 206 w 294"/>
                    <a:gd name="T27" fmla="*/ 127 h 228"/>
                    <a:gd name="T28" fmla="*/ 233 w 294"/>
                    <a:gd name="T29" fmla="*/ 94 h 228"/>
                    <a:gd name="T30" fmla="*/ 237 w 294"/>
                    <a:gd name="T31" fmla="*/ 79 h 228"/>
                    <a:gd name="T32" fmla="*/ 261 w 294"/>
                    <a:gd name="T33" fmla="*/ 76 h 228"/>
                    <a:gd name="T34" fmla="*/ 291 w 294"/>
                    <a:gd name="T35" fmla="*/ 60 h 228"/>
                    <a:gd name="T36" fmla="*/ 294 w 294"/>
                    <a:gd name="T37" fmla="*/ 39 h 228"/>
                    <a:gd name="T38" fmla="*/ 266 w 294"/>
                    <a:gd name="T39" fmla="*/ 40 h 228"/>
                    <a:gd name="T40" fmla="*/ 231 w 294"/>
                    <a:gd name="T41" fmla="*/ 33 h 228"/>
                    <a:gd name="T42" fmla="*/ 209 w 294"/>
                    <a:gd name="T43" fmla="*/ 33 h 228"/>
                    <a:gd name="T44" fmla="*/ 177 w 294"/>
                    <a:gd name="T45" fmla="*/ 15 h 228"/>
                    <a:gd name="T46" fmla="*/ 138 w 294"/>
                    <a:gd name="T47" fmla="*/ 7 h 228"/>
                    <a:gd name="T48" fmla="*/ 116 w 294"/>
                    <a:gd name="T49" fmla="*/ 15 h 228"/>
                    <a:gd name="T50" fmla="*/ 78 w 294"/>
                    <a:gd name="T51" fmla="*/ 6 h 228"/>
                    <a:gd name="T52" fmla="*/ 38 w 294"/>
                    <a:gd name="T53" fmla="*/ 0 h 228"/>
                    <a:gd name="T54" fmla="*/ 27 w 294"/>
                    <a:gd name="T55" fmla="*/ 10 h 228"/>
                    <a:gd name="T56" fmla="*/ 0 w 294"/>
                    <a:gd name="T57" fmla="*/ 19 h 228"/>
                    <a:gd name="T58" fmla="*/ 12 w 294"/>
                    <a:gd name="T59" fmla="*/ 48 h 228"/>
                    <a:gd name="T60" fmla="*/ 26 w 294"/>
                    <a:gd name="T61" fmla="*/ 48 h 228"/>
                    <a:gd name="T62" fmla="*/ 24 w 294"/>
                    <a:gd name="T63" fmla="*/ 60 h 228"/>
                    <a:gd name="T64" fmla="*/ 39 w 294"/>
                    <a:gd name="T65" fmla="*/ 60 h 228"/>
                    <a:gd name="T66" fmla="*/ 48 w 294"/>
                    <a:gd name="T67" fmla="*/ 54 h 228"/>
                    <a:gd name="T68" fmla="*/ 59 w 294"/>
                    <a:gd name="T69" fmla="*/ 54 h 228"/>
                    <a:gd name="T70" fmla="*/ 69 w 294"/>
                    <a:gd name="T71" fmla="*/ 64 h 228"/>
                    <a:gd name="T72" fmla="*/ 57 w 294"/>
                    <a:gd name="T73" fmla="*/ 76 h 228"/>
                    <a:gd name="T74" fmla="*/ 50 w 294"/>
                    <a:gd name="T75" fmla="*/ 100 h 228"/>
                    <a:gd name="T76" fmla="*/ 50 w 294"/>
                    <a:gd name="T77" fmla="*/ 117 h 228"/>
                    <a:gd name="T78" fmla="*/ 44 w 294"/>
                    <a:gd name="T79" fmla="*/ 126 h 228"/>
                    <a:gd name="T80" fmla="*/ 32 w 294"/>
                    <a:gd name="T81" fmla="*/ 123 h 228"/>
                    <a:gd name="T82" fmla="*/ 44 w 294"/>
                    <a:gd name="T83" fmla="*/ 144 h 228"/>
                    <a:gd name="T84" fmla="*/ 35 w 294"/>
                    <a:gd name="T85" fmla="*/ 157 h 228"/>
                    <a:gd name="T86" fmla="*/ 42 w 294"/>
                    <a:gd name="T87" fmla="*/ 166 h 228"/>
                    <a:gd name="T88" fmla="*/ 26 w 294"/>
                    <a:gd name="T89" fmla="*/ 181 h 228"/>
                    <a:gd name="T90" fmla="*/ 30 w 294"/>
                    <a:gd name="T91" fmla="*/ 193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4" h="228">
                      <a:moveTo>
                        <a:pt x="30" y="193"/>
                      </a:moveTo>
                      <a:lnTo>
                        <a:pt x="51" y="198"/>
                      </a:lnTo>
                      <a:lnTo>
                        <a:pt x="54" y="214"/>
                      </a:lnTo>
                      <a:lnTo>
                        <a:pt x="71" y="228"/>
                      </a:lnTo>
                      <a:lnTo>
                        <a:pt x="86" y="214"/>
                      </a:lnTo>
                      <a:lnTo>
                        <a:pt x="95" y="217"/>
                      </a:lnTo>
                      <a:lnTo>
                        <a:pt x="107" y="208"/>
                      </a:lnTo>
                      <a:lnTo>
                        <a:pt x="158" y="210"/>
                      </a:lnTo>
                      <a:lnTo>
                        <a:pt x="177" y="186"/>
                      </a:lnTo>
                      <a:lnTo>
                        <a:pt x="197" y="184"/>
                      </a:lnTo>
                      <a:lnTo>
                        <a:pt x="192" y="174"/>
                      </a:lnTo>
                      <a:lnTo>
                        <a:pt x="201" y="157"/>
                      </a:lnTo>
                      <a:lnTo>
                        <a:pt x="216" y="150"/>
                      </a:lnTo>
                      <a:lnTo>
                        <a:pt x="206" y="127"/>
                      </a:lnTo>
                      <a:lnTo>
                        <a:pt x="233" y="94"/>
                      </a:lnTo>
                      <a:lnTo>
                        <a:pt x="237" y="79"/>
                      </a:lnTo>
                      <a:lnTo>
                        <a:pt x="261" y="76"/>
                      </a:lnTo>
                      <a:lnTo>
                        <a:pt x="291" y="60"/>
                      </a:lnTo>
                      <a:lnTo>
                        <a:pt x="294" y="39"/>
                      </a:lnTo>
                      <a:lnTo>
                        <a:pt x="266" y="40"/>
                      </a:lnTo>
                      <a:lnTo>
                        <a:pt x="231" y="33"/>
                      </a:lnTo>
                      <a:lnTo>
                        <a:pt x="209" y="33"/>
                      </a:lnTo>
                      <a:lnTo>
                        <a:pt x="177" y="15"/>
                      </a:lnTo>
                      <a:lnTo>
                        <a:pt x="138" y="7"/>
                      </a:lnTo>
                      <a:lnTo>
                        <a:pt x="116" y="15"/>
                      </a:lnTo>
                      <a:lnTo>
                        <a:pt x="78" y="6"/>
                      </a:lnTo>
                      <a:lnTo>
                        <a:pt x="38" y="0"/>
                      </a:lnTo>
                      <a:lnTo>
                        <a:pt x="27" y="10"/>
                      </a:lnTo>
                      <a:lnTo>
                        <a:pt x="0" y="19"/>
                      </a:lnTo>
                      <a:lnTo>
                        <a:pt x="12" y="48"/>
                      </a:lnTo>
                      <a:lnTo>
                        <a:pt x="26" y="48"/>
                      </a:lnTo>
                      <a:lnTo>
                        <a:pt x="24" y="60"/>
                      </a:lnTo>
                      <a:lnTo>
                        <a:pt x="39" y="60"/>
                      </a:lnTo>
                      <a:lnTo>
                        <a:pt x="48" y="54"/>
                      </a:lnTo>
                      <a:lnTo>
                        <a:pt x="59" y="54"/>
                      </a:lnTo>
                      <a:lnTo>
                        <a:pt x="69" y="64"/>
                      </a:lnTo>
                      <a:lnTo>
                        <a:pt x="57" y="76"/>
                      </a:lnTo>
                      <a:lnTo>
                        <a:pt x="50" y="100"/>
                      </a:lnTo>
                      <a:lnTo>
                        <a:pt x="50" y="117"/>
                      </a:lnTo>
                      <a:lnTo>
                        <a:pt x="44" y="126"/>
                      </a:lnTo>
                      <a:lnTo>
                        <a:pt x="32" y="123"/>
                      </a:lnTo>
                      <a:lnTo>
                        <a:pt x="44" y="144"/>
                      </a:lnTo>
                      <a:lnTo>
                        <a:pt x="35" y="157"/>
                      </a:lnTo>
                      <a:lnTo>
                        <a:pt x="42" y="166"/>
                      </a:lnTo>
                      <a:lnTo>
                        <a:pt x="26" y="181"/>
                      </a:lnTo>
                      <a:lnTo>
                        <a:pt x="30" y="19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1" name="Freeform 146"/>
                <p:cNvSpPr>
                  <a:spLocks/>
                </p:cNvSpPr>
                <p:nvPr/>
              </p:nvSpPr>
              <p:spPr bwMode="auto">
                <a:xfrm>
                  <a:off x="4287037" y="2439116"/>
                  <a:ext cx="299395" cy="250489"/>
                </a:xfrm>
                <a:custGeom>
                  <a:avLst/>
                  <a:gdLst>
                    <a:gd name="T0" fmla="*/ 55 w 292"/>
                    <a:gd name="T1" fmla="*/ 227 h 251"/>
                    <a:gd name="T2" fmla="*/ 87 w 292"/>
                    <a:gd name="T3" fmla="*/ 243 h 251"/>
                    <a:gd name="T4" fmla="*/ 109 w 292"/>
                    <a:gd name="T5" fmla="*/ 243 h 251"/>
                    <a:gd name="T6" fmla="*/ 144 w 292"/>
                    <a:gd name="T7" fmla="*/ 251 h 251"/>
                    <a:gd name="T8" fmla="*/ 172 w 292"/>
                    <a:gd name="T9" fmla="*/ 249 h 251"/>
                    <a:gd name="T10" fmla="*/ 169 w 292"/>
                    <a:gd name="T11" fmla="*/ 234 h 251"/>
                    <a:gd name="T12" fmla="*/ 190 w 292"/>
                    <a:gd name="T13" fmla="*/ 219 h 251"/>
                    <a:gd name="T14" fmla="*/ 213 w 292"/>
                    <a:gd name="T15" fmla="*/ 224 h 251"/>
                    <a:gd name="T16" fmla="*/ 225 w 292"/>
                    <a:gd name="T17" fmla="*/ 228 h 251"/>
                    <a:gd name="T18" fmla="*/ 247 w 292"/>
                    <a:gd name="T19" fmla="*/ 233 h 251"/>
                    <a:gd name="T20" fmla="*/ 274 w 292"/>
                    <a:gd name="T21" fmla="*/ 215 h 251"/>
                    <a:gd name="T22" fmla="*/ 268 w 292"/>
                    <a:gd name="T23" fmla="*/ 201 h 251"/>
                    <a:gd name="T24" fmla="*/ 256 w 292"/>
                    <a:gd name="T25" fmla="*/ 194 h 251"/>
                    <a:gd name="T26" fmla="*/ 264 w 292"/>
                    <a:gd name="T27" fmla="*/ 183 h 251"/>
                    <a:gd name="T28" fmla="*/ 253 w 292"/>
                    <a:gd name="T29" fmla="*/ 177 h 251"/>
                    <a:gd name="T30" fmla="*/ 265 w 292"/>
                    <a:gd name="T31" fmla="*/ 167 h 251"/>
                    <a:gd name="T32" fmla="*/ 261 w 292"/>
                    <a:gd name="T33" fmla="*/ 156 h 251"/>
                    <a:gd name="T34" fmla="*/ 258 w 292"/>
                    <a:gd name="T35" fmla="*/ 135 h 251"/>
                    <a:gd name="T36" fmla="*/ 238 w 292"/>
                    <a:gd name="T37" fmla="*/ 144 h 251"/>
                    <a:gd name="T38" fmla="*/ 243 w 292"/>
                    <a:gd name="T39" fmla="*/ 128 h 251"/>
                    <a:gd name="T40" fmla="*/ 267 w 292"/>
                    <a:gd name="T41" fmla="*/ 102 h 251"/>
                    <a:gd name="T42" fmla="*/ 280 w 292"/>
                    <a:gd name="T43" fmla="*/ 104 h 251"/>
                    <a:gd name="T44" fmla="*/ 280 w 292"/>
                    <a:gd name="T45" fmla="*/ 86 h 251"/>
                    <a:gd name="T46" fmla="*/ 292 w 292"/>
                    <a:gd name="T47" fmla="*/ 63 h 251"/>
                    <a:gd name="T48" fmla="*/ 258 w 292"/>
                    <a:gd name="T49" fmla="*/ 59 h 251"/>
                    <a:gd name="T50" fmla="*/ 243 w 292"/>
                    <a:gd name="T51" fmla="*/ 51 h 251"/>
                    <a:gd name="T52" fmla="*/ 211 w 292"/>
                    <a:gd name="T53" fmla="*/ 39 h 251"/>
                    <a:gd name="T54" fmla="*/ 187 w 292"/>
                    <a:gd name="T55" fmla="*/ 24 h 251"/>
                    <a:gd name="T56" fmla="*/ 160 w 292"/>
                    <a:gd name="T57" fmla="*/ 0 h 251"/>
                    <a:gd name="T58" fmla="*/ 145 w 292"/>
                    <a:gd name="T59" fmla="*/ 12 h 251"/>
                    <a:gd name="T60" fmla="*/ 141 w 292"/>
                    <a:gd name="T61" fmla="*/ 33 h 251"/>
                    <a:gd name="T62" fmla="*/ 106 w 292"/>
                    <a:gd name="T63" fmla="*/ 44 h 251"/>
                    <a:gd name="T64" fmla="*/ 109 w 292"/>
                    <a:gd name="T65" fmla="*/ 54 h 251"/>
                    <a:gd name="T66" fmla="*/ 81 w 292"/>
                    <a:gd name="T67" fmla="*/ 51 h 251"/>
                    <a:gd name="T68" fmla="*/ 76 w 292"/>
                    <a:gd name="T69" fmla="*/ 38 h 251"/>
                    <a:gd name="T70" fmla="*/ 58 w 292"/>
                    <a:gd name="T71" fmla="*/ 38 h 251"/>
                    <a:gd name="T72" fmla="*/ 70 w 292"/>
                    <a:gd name="T73" fmla="*/ 72 h 251"/>
                    <a:gd name="T74" fmla="*/ 43 w 292"/>
                    <a:gd name="T75" fmla="*/ 75 h 251"/>
                    <a:gd name="T76" fmla="*/ 33 w 292"/>
                    <a:gd name="T77" fmla="*/ 60 h 251"/>
                    <a:gd name="T78" fmla="*/ 27 w 292"/>
                    <a:gd name="T79" fmla="*/ 71 h 251"/>
                    <a:gd name="T80" fmla="*/ 0 w 292"/>
                    <a:gd name="T81" fmla="*/ 71 h 251"/>
                    <a:gd name="T82" fmla="*/ 0 w 292"/>
                    <a:gd name="T83" fmla="*/ 93 h 251"/>
                    <a:gd name="T84" fmla="*/ 19 w 292"/>
                    <a:gd name="T85" fmla="*/ 98 h 251"/>
                    <a:gd name="T86" fmla="*/ 48 w 292"/>
                    <a:gd name="T87" fmla="*/ 107 h 251"/>
                    <a:gd name="T88" fmla="*/ 54 w 292"/>
                    <a:gd name="T89" fmla="*/ 123 h 251"/>
                    <a:gd name="T90" fmla="*/ 66 w 292"/>
                    <a:gd name="T91" fmla="*/ 138 h 251"/>
                    <a:gd name="T92" fmla="*/ 79 w 292"/>
                    <a:gd name="T93" fmla="*/ 143 h 251"/>
                    <a:gd name="T94" fmla="*/ 73 w 292"/>
                    <a:gd name="T95" fmla="*/ 155 h 251"/>
                    <a:gd name="T96" fmla="*/ 85 w 292"/>
                    <a:gd name="T97" fmla="*/ 177 h 251"/>
                    <a:gd name="T98" fmla="*/ 70 w 292"/>
                    <a:gd name="T99" fmla="*/ 168 h 251"/>
                    <a:gd name="T100" fmla="*/ 69 w 292"/>
                    <a:gd name="T101" fmla="*/ 203 h 251"/>
                    <a:gd name="T102" fmla="*/ 63 w 292"/>
                    <a:gd name="T103" fmla="*/ 218 h 251"/>
                    <a:gd name="T104" fmla="*/ 55 w 292"/>
                    <a:gd name="T105" fmla="*/ 22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51">
                      <a:moveTo>
                        <a:pt x="55" y="227"/>
                      </a:moveTo>
                      <a:lnTo>
                        <a:pt x="87" y="243"/>
                      </a:lnTo>
                      <a:lnTo>
                        <a:pt x="109" y="243"/>
                      </a:lnTo>
                      <a:lnTo>
                        <a:pt x="144" y="251"/>
                      </a:lnTo>
                      <a:lnTo>
                        <a:pt x="172" y="249"/>
                      </a:lnTo>
                      <a:lnTo>
                        <a:pt x="169" y="234"/>
                      </a:lnTo>
                      <a:lnTo>
                        <a:pt x="190" y="219"/>
                      </a:lnTo>
                      <a:lnTo>
                        <a:pt x="213" y="224"/>
                      </a:lnTo>
                      <a:lnTo>
                        <a:pt x="225" y="228"/>
                      </a:lnTo>
                      <a:lnTo>
                        <a:pt x="247" y="233"/>
                      </a:lnTo>
                      <a:lnTo>
                        <a:pt x="274" y="215"/>
                      </a:lnTo>
                      <a:lnTo>
                        <a:pt x="268" y="201"/>
                      </a:lnTo>
                      <a:lnTo>
                        <a:pt x="256" y="194"/>
                      </a:lnTo>
                      <a:lnTo>
                        <a:pt x="264" y="183"/>
                      </a:lnTo>
                      <a:lnTo>
                        <a:pt x="253" y="177"/>
                      </a:lnTo>
                      <a:lnTo>
                        <a:pt x="265" y="167"/>
                      </a:lnTo>
                      <a:lnTo>
                        <a:pt x="261" y="156"/>
                      </a:lnTo>
                      <a:lnTo>
                        <a:pt x="258" y="135"/>
                      </a:lnTo>
                      <a:lnTo>
                        <a:pt x="238" y="144"/>
                      </a:lnTo>
                      <a:lnTo>
                        <a:pt x="243" y="128"/>
                      </a:lnTo>
                      <a:lnTo>
                        <a:pt x="267" y="102"/>
                      </a:lnTo>
                      <a:lnTo>
                        <a:pt x="280" y="104"/>
                      </a:lnTo>
                      <a:lnTo>
                        <a:pt x="280" y="86"/>
                      </a:lnTo>
                      <a:lnTo>
                        <a:pt x="292" y="63"/>
                      </a:lnTo>
                      <a:lnTo>
                        <a:pt x="258" y="59"/>
                      </a:lnTo>
                      <a:lnTo>
                        <a:pt x="243" y="51"/>
                      </a:lnTo>
                      <a:lnTo>
                        <a:pt x="211" y="39"/>
                      </a:lnTo>
                      <a:lnTo>
                        <a:pt x="187" y="24"/>
                      </a:lnTo>
                      <a:lnTo>
                        <a:pt x="160" y="0"/>
                      </a:lnTo>
                      <a:lnTo>
                        <a:pt x="145" y="12"/>
                      </a:lnTo>
                      <a:lnTo>
                        <a:pt x="141" y="33"/>
                      </a:lnTo>
                      <a:lnTo>
                        <a:pt x="106" y="44"/>
                      </a:lnTo>
                      <a:lnTo>
                        <a:pt x="109" y="54"/>
                      </a:lnTo>
                      <a:lnTo>
                        <a:pt x="81" y="51"/>
                      </a:lnTo>
                      <a:lnTo>
                        <a:pt x="76" y="38"/>
                      </a:lnTo>
                      <a:lnTo>
                        <a:pt x="58" y="38"/>
                      </a:lnTo>
                      <a:lnTo>
                        <a:pt x="70" y="72"/>
                      </a:lnTo>
                      <a:lnTo>
                        <a:pt x="43" y="75"/>
                      </a:lnTo>
                      <a:lnTo>
                        <a:pt x="33" y="60"/>
                      </a:lnTo>
                      <a:lnTo>
                        <a:pt x="27" y="71"/>
                      </a:lnTo>
                      <a:lnTo>
                        <a:pt x="0" y="71"/>
                      </a:lnTo>
                      <a:lnTo>
                        <a:pt x="0" y="93"/>
                      </a:lnTo>
                      <a:lnTo>
                        <a:pt x="19" y="98"/>
                      </a:lnTo>
                      <a:lnTo>
                        <a:pt x="48" y="107"/>
                      </a:lnTo>
                      <a:lnTo>
                        <a:pt x="54" y="123"/>
                      </a:lnTo>
                      <a:lnTo>
                        <a:pt x="66" y="138"/>
                      </a:lnTo>
                      <a:lnTo>
                        <a:pt x="79" y="143"/>
                      </a:lnTo>
                      <a:lnTo>
                        <a:pt x="73" y="155"/>
                      </a:lnTo>
                      <a:lnTo>
                        <a:pt x="85" y="177"/>
                      </a:lnTo>
                      <a:lnTo>
                        <a:pt x="70" y="168"/>
                      </a:lnTo>
                      <a:lnTo>
                        <a:pt x="69" y="203"/>
                      </a:lnTo>
                      <a:lnTo>
                        <a:pt x="63" y="218"/>
                      </a:lnTo>
                      <a:lnTo>
                        <a:pt x="55" y="22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2" name="Freeform 147"/>
                <p:cNvSpPr>
                  <a:spLocks/>
                </p:cNvSpPr>
                <p:nvPr/>
              </p:nvSpPr>
              <p:spPr bwMode="auto">
                <a:xfrm>
                  <a:off x="4266871" y="2226351"/>
                  <a:ext cx="169088" cy="245962"/>
                </a:xfrm>
                <a:custGeom>
                  <a:avLst/>
                  <a:gdLst>
                    <a:gd name="T0" fmla="*/ 76 w 164"/>
                    <a:gd name="T1" fmla="*/ 0 h 246"/>
                    <a:gd name="T2" fmla="*/ 58 w 164"/>
                    <a:gd name="T3" fmla="*/ 15 h 246"/>
                    <a:gd name="T4" fmla="*/ 47 w 164"/>
                    <a:gd name="T5" fmla="*/ 26 h 246"/>
                    <a:gd name="T6" fmla="*/ 79 w 164"/>
                    <a:gd name="T7" fmla="*/ 27 h 246"/>
                    <a:gd name="T8" fmla="*/ 101 w 164"/>
                    <a:gd name="T9" fmla="*/ 29 h 246"/>
                    <a:gd name="T10" fmla="*/ 89 w 164"/>
                    <a:gd name="T11" fmla="*/ 50 h 246"/>
                    <a:gd name="T12" fmla="*/ 77 w 164"/>
                    <a:gd name="T13" fmla="*/ 60 h 246"/>
                    <a:gd name="T14" fmla="*/ 73 w 164"/>
                    <a:gd name="T15" fmla="*/ 66 h 246"/>
                    <a:gd name="T16" fmla="*/ 62 w 164"/>
                    <a:gd name="T17" fmla="*/ 72 h 246"/>
                    <a:gd name="T18" fmla="*/ 67 w 164"/>
                    <a:gd name="T19" fmla="*/ 78 h 246"/>
                    <a:gd name="T20" fmla="*/ 71 w 164"/>
                    <a:gd name="T21" fmla="*/ 80 h 246"/>
                    <a:gd name="T22" fmla="*/ 88 w 164"/>
                    <a:gd name="T23" fmla="*/ 81 h 246"/>
                    <a:gd name="T24" fmla="*/ 95 w 164"/>
                    <a:gd name="T25" fmla="*/ 89 h 246"/>
                    <a:gd name="T26" fmla="*/ 113 w 164"/>
                    <a:gd name="T27" fmla="*/ 113 h 246"/>
                    <a:gd name="T28" fmla="*/ 130 w 164"/>
                    <a:gd name="T29" fmla="*/ 134 h 246"/>
                    <a:gd name="T30" fmla="*/ 136 w 164"/>
                    <a:gd name="T31" fmla="*/ 149 h 246"/>
                    <a:gd name="T32" fmla="*/ 133 w 164"/>
                    <a:gd name="T33" fmla="*/ 165 h 246"/>
                    <a:gd name="T34" fmla="*/ 151 w 164"/>
                    <a:gd name="T35" fmla="*/ 164 h 246"/>
                    <a:gd name="T36" fmla="*/ 164 w 164"/>
                    <a:gd name="T37" fmla="*/ 176 h 246"/>
                    <a:gd name="T38" fmla="*/ 140 w 164"/>
                    <a:gd name="T39" fmla="*/ 197 h 246"/>
                    <a:gd name="T40" fmla="*/ 158 w 164"/>
                    <a:gd name="T41" fmla="*/ 206 h 246"/>
                    <a:gd name="T42" fmla="*/ 94 w 164"/>
                    <a:gd name="T43" fmla="*/ 221 h 246"/>
                    <a:gd name="T44" fmla="*/ 38 w 164"/>
                    <a:gd name="T45" fmla="*/ 227 h 246"/>
                    <a:gd name="T46" fmla="*/ 10 w 164"/>
                    <a:gd name="T47" fmla="*/ 237 h 246"/>
                    <a:gd name="T48" fmla="*/ 1 w 164"/>
                    <a:gd name="T49" fmla="*/ 243 h 246"/>
                    <a:gd name="T50" fmla="*/ 8 w 164"/>
                    <a:gd name="T51" fmla="*/ 234 h 246"/>
                    <a:gd name="T52" fmla="*/ 40 w 164"/>
                    <a:gd name="T53" fmla="*/ 215 h 246"/>
                    <a:gd name="T54" fmla="*/ 55 w 164"/>
                    <a:gd name="T55" fmla="*/ 209 h 246"/>
                    <a:gd name="T56" fmla="*/ 68 w 164"/>
                    <a:gd name="T57" fmla="*/ 203 h 246"/>
                    <a:gd name="T58" fmla="*/ 59 w 164"/>
                    <a:gd name="T59" fmla="*/ 197 h 246"/>
                    <a:gd name="T60" fmla="*/ 46 w 164"/>
                    <a:gd name="T61" fmla="*/ 203 h 246"/>
                    <a:gd name="T62" fmla="*/ 14 w 164"/>
                    <a:gd name="T63" fmla="*/ 195 h 246"/>
                    <a:gd name="T64" fmla="*/ 25 w 164"/>
                    <a:gd name="T65" fmla="*/ 188 h 246"/>
                    <a:gd name="T66" fmla="*/ 37 w 164"/>
                    <a:gd name="T67" fmla="*/ 171 h 246"/>
                    <a:gd name="T68" fmla="*/ 59 w 164"/>
                    <a:gd name="T69" fmla="*/ 147 h 246"/>
                    <a:gd name="T70" fmla="*/ 61 w 164"/>
                    <a:gd name="T71" fmla="*/ 128 h 246"/>
                    <a:gd name="T72" fmla="*/ 62 w 164"/>
                    <a:gd name="T73" fmla="*/ 111 h 246"/>
                    <a:gd name="T74" fmla="*/ 37 w 164"/>
                    <a:gd name="T75" fmla="*/ 116 h 246"/>
                    <a:gd name="T76" fmla="*/ 28 w 164"/>
                    <a:gd name="T77" fmla="*/ 92 h 246"/>
                    <a:gd name="T78" fmla="*/ 31 w 164"/>
                    <a:gd name="T79" fmla="*/ 78 h 246"/>
                    <a:gd name="T80" fmla="*/ 17 w 164"/>
                    <a:gd name="T81" fmla="*/ 71 h 246"/>
                    <a:gd name="T82" fmla="*/ 11 w 164"/>
                    <a:gd name="T83" fmla="*/ 62 h 246"/>
                    <a:gd name="T84" fmla="*/ 19 w 164"/>
                    <a:gd name="T85" fmla="*/ 44 h 246"/>
                    <a:gd name="T86" fmla="*/ 23 w 164"/>
                    <a:gd name="T87" fmla="*/ 24 h 246"/>
                    <a:gd name="T88" fmla="*/ 46 w 164"/>
                    <a:gd name="T89" fmla="*/ 5 h 246"/>
                    <a:gd name="T90" fmla="*/ 59 w 164"/>
                    <a:gd name="T91" fmla="*/ 0 h 246"/>
                    <a:gd name="T92" fmla="*/ 76 w 164"/>
                    <a:gd name="T93"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 h="246">
                      <a:moveTo>
                        <a:pt x="76" y="0"/>
                      </a:moveTo>
                      <a:cubicBezTo>
                        <a:pt x="72" y="11"/>
                        <a:pt x="69" y="13"/>
                        <a:pt x="58" y="15"/>
                      </a:cubicBezTo>
                      <a:cubicBezTo>
                        <a:pt x="52" y="18"/>
                        <a:pt x="50" y="20"/>
                        <a:pt x="47" y="26"/>
                      </a:cubicBezTo>
                      <a:cubicBezTo>
                        <a:pt x="52" y="35"/>
                        <a:pt x="70" y="28"/>
                        <a:pt x="79" y="27"/>
                      </a:cubicBezTo>
                      <a:cubicBezTo>
                        <a:pt x="86" y="28"/>
                        <a:pt x="94" y="27"/>
                        <a:pt x="101" y="29"/>
                      </a:cubicBezTo>
                      <a:cubicBezTo>
                        <a:pt x="112" y="33"/>
                        <a:pt x="91" y="49"/>
                        <a:pt x="89" y="50"/>
                      </a:cubicBezTo>
                      <a:cubicBezTo>
                        <a:pt x="81" y="60"/>
                        <a:pt x="86" y="58"/>
                        <a:pt x="77" y="60"/>
                      </a:cubicBezTo>
                      <a:cubicBezTo>
                        <a:pt x="67" y="65"/>
                        <a:pt x="55" y="62"/>
                        <a:pt x="73" y="66"/>
                      </a:cubicBezTo>
                      <a:cubicBezTo>
                        <a:pt x="82" y="73"/>
                        <a:pt x="67" y="72"/>
                        <a:pt x="62" y="72"/>
                      </a:cubicBezTo>
                      <a:cubicBezTo>
                        <a:pt x="54" y="76"/>
                        <a:pt x="63" y="77"/>
                        <a:pt x="67" y="78"/>
                      </a:cubicBezTo>
                      <a:cubicBezTo>
                        <a:pt x="68" y="79"/>
                        <a:pt x="70" y="80"/>
                        <a:pt x="71" y="80"/>
                      </a:cubicBezTo>
                      <a:cubicBezTo>
                        <a:pt x="77" y="81"/>
                        <a:pt x="83" y="79"/>
                        <a:pt x="88" y="81"/>
                      </a:cubicBezTo>
                      <a:cubicBezTo>
                        <a:pt x="91" y="82"/>
                        <a:pt x="92" y="87"/>
                        <a:pt x="95" y="89"/>
                      </a:cubicBezTo>
                      <a:cubicBezTo>
                        <a:pt x="100" y="100"/>
                        <a:pt x="101" y="107"/>
                        <a:pt x="113" y="113"/>
                      </a:cubicBezTo>
                      <a:cubicBezTo>
                        <a:pt x="119" y="121"/>
                        <a:pt x="125" y="124"/>
                        <a:pt x="130" y="134"/>
                      </a:cubicBezTo>
                      <a:cubicBezTo>
                        <a:pt x="131" y="140"/>
                        <a:pt x="134" y="143"/>
                        <a:pt x="136" y="149"/>
                      </a:cubicBezTo>
                      <a:cubicBezTo>
                        <a:pt x="137" y="156"/>
                        <a:pt x="137" y="159"/>
                        <a:pt x="133" y="165"/>
                      </a:cubicBezTo>
                      <a:cubicBezTo>
                        <a:pt x="135" y="173"/>
                        <a:pt x="143" y="165"/>
                        <a:pt x="151" y="164"/>
                      </a:cubicBezTo>
                      <a:cubicBezTo>
                        <a:pt x="163" y="165"/>
                        <a:pt x="162" y="165"/>
                        <a:pt x="164" y="176"/>
                      </a:cubicBezTo>
                      <a:cubicBezTo>
                        <a:pt x="162" y="187"/>
                        <a:pt x="149" y="192"/>
                        <a:pt x="140" y="197"/>
                      </a:cubicBezTo>
                      <a:cubicBezTo>
                        <a:pt x="133" y="207"/>
                        <a:pt x="152" y="205"/>
                        <a:pt x="158" y="206"/>
                      </a:cubicBezTo>
                      <a:cubicBezTo>
                        <a:pt x="140" y="224"/>
                        <a:pt x="119" y="220"/>
                        <a:pt x="94" y="221"/>
                      </a:cubicBezTo>
                      <a:cubicBezTo>
                        <a:pt x="78" y="230"/>
                        <a:pt x="52" y="226"/>
                        <a:pt x="38" y="227"/>
                      </a:cubicBezTo>
                      <a:cubicBezTo>
                        <a:pt x="36" y="237"/>
                        <a:pt x="10" y="237"/>
                        <a:pt x="10" y="237"/>
                      </a:cubicBezTo>
                      <a:cubicBezTo>
                        <a:pt x="7" y="239"/>
                        <a:pt x="2" y="246"/>
                        <a:pt x="1" y="243"/>
                      </a:cubicBezTo>
                      <a:cubicBezTo>
                        <a:pt x="0" y="239"/>
                        <a:pt x="6" y="235"/>
                        <a:pt x="8" y="234"/>
                      </a:cubicBezTo>
                      <a:cubicBezTo>
                        <a:pt x="18" y="228"/>
                        <a:pt x="29" y="217"/>
                        <a:pt x="40" y="215"/>
                      </a:cubicBezTo>
                      <a:cubicBezTo>
                        <a:pt x="45" y="211"/>
                        <a:pt x="49" y="210"/>
                        <a:pt x="55" y="209"/>
                      </a:cubicBezTo>
                      <a:cubicBezTo>
                        <a:pt x="60" y="207"/>
                        <a:pt x="64" y="206"/>
                        <a:pt x="68" y="203"/>
                      </a:cubicBezTo>
                      <a:cubicBezTo>
                        <a:pt x="71" y="194"/>
                        <a:pt x="66" y="195"/>
                        <a:pt x="59" y="197"/>
                      </a:cubicBezTo>
                      <a:cubicBezTo>
                        <a:pt x="55" y="200"/>
                        <a:pt x="51" y="201"/>
                        <a:pt x="46" y="203"/>
                      </a:cubicBezTo>
                      <a:cubicBezTo>
                        <a:pt x="33" y="198"/>
                        <a:pt x="30" y="197"/>
                        <a:pt x="14" y="195"/>
                      </a:cubicBezTo>
                      <a:cubicBezTo>
                        <a:pt x="17" y="189"/>
                        <a:pt x="19" y="189"/>
                        <a:pt x="25" y="188"/>
                      </a:cubicBezTo>
                      <a:cubicBezTo>
                        <a:pt x="29" y="181"/>
                        <a:pt x="34" y="178"/>
                        <a:pt x="37" y="171"/>
                      </a:cubicBezTo>
                      <a:cubicBezTo>
                        <a:pt x="38" y="152"/>
                        <a:pt x="42" y="152"/>
                        <a:pt x="59" y="147"/>
                      </a:cubicBezTo>
                      <a:cubicBezTo>
                        <a:pt x="67" y="142"/>
                        <a:pt x="76" y="130"/>
                        <a:pt x="61" y="128"/>
                      </a:cubicBezTo>
                      <a:cubicBezTo>
                        <a:pt x="55" y="122"/>
                        <a:pt x="54" y="117"/>
                        <a:pt x="62" y="111"/>
                      </a:cubicBezTo>
                      <a:cubicBezTo>
                        <a:pt x="55" y="101"/>
                        <a:pt x="45" y="112"/>
                        <a:pt x="37" y="116"/>
                      </a:cubicBezTo>
                      <a:cubicBezTo>
                        <a:pt x="23" y="113"/>
                        <a:pt x="21" y="106"/>
                        <a:pt x="28" y="92"/>
                      </a:cubicBezTo>
                      <a:cubicBezTo>
                        <a:pt x="29" y="86"/>
                        <a:pt x="32" y="85"/>
                        <a:pt x="31" y="78"/>
                      </a:cubicBezTo>
                      <a:cubicBezTo>
                        <a:pt x="23" y="79"/>
                        <a:pt x="0" y="84"/>
                        <a:pt x="17" y="71"/>
                      </a:cubicBezTo>
                      <a:cubicBezTo>
                        <a:pt x="23" y="61"/>
                        <a:pt x="34" y="64"/>
                        <a:pt x="11" y="62"/>
                      </a:cubicBezTo>
                      <a:cubicBezTo>
                        <a:pt x="10" y="55"/>
                        <a:pt x="16" y="51"/>
                        <a:pt x="19" y="44"/>
                      </a:cubicBezTo>
                      <a:cubicBezTo>
                        <a:pt x="17" y="33"/>
                        <a:pt x="14" y="29"/>
                        <a:pt x="23" y="24"/>
                      </a:cubicBezTo>
                      <a:cubicBezTo>
                        <a:pt x="31" y="15"/>
                        <a:pt x="34" y="7"/>
                        <a:pt x="46" y="5"/>
                      </a:cubicBezTo>
                      <a:cubicBezTo>
                        <a:pt x="50" y="3"/>
                        <a:pt x="55" y="2"/>
                        <a:pt x="59" y="0"/>
                      </a:cubicBezTo>
                      <a:cubicBezTo>
                        <a:pt x="75" y="2"/>
                        <a:pt x="70" y="6"/>
                        <a:pt x="76"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3" name="Freeform 148"/>
                <p:cNvSpPr>
                  <a:spLocks/>
                </p:cNvSpPr>
                <p:nvPr/>
              </p:nvSpPr>
              <p:spPr bwMode="auto">
                <a:xfrm>
                  <a:off x="4212576" y="2321417"/>
                  <a:ext cx="65153" cy="40742"/>
                </a:xfrm>
                <a:custGeom>
                  <a:avLst/>
                  <a:gdLst>
                    <a:gd name="T0" fmla="*/ 54 w 64"/>
                    <a:gd name="T1" fmla="*/ 2 h 41"/>
                    <a:gd name="T2" fmla="*/ 64 w 64"/>
                    <a:gd name="T3" fmla="*/ 22 h 41"/>
                    <a:gd name="T4" fmla="*/ 55 w 64"/>
                    <a:gd name="T5" fmla="*/ 35 h 41"/>
                    <a:gd name="T6" fmla="*/ 42 w 64"/>
                    <a:gd name="T7" fmla="*/ 37 h 41"/>
                    <a:gd name="T8" fmla="*/ 31 w 64"/>
                    <a:gd name="T9" fmla="*/ 29 h 41"/>
                    <a:gd name="T10" fmla="*/ 16 w 64"/>
                    <a:gd name="T11" fmla="*/ 35 h 41"/>
                    <a:gd name="T12" fmla="*/ 39 w 64"/>
                    <a:gd name="T13" fmla="*/ 4 h 41"/>
                    <a:gd name="T14" fmla="*/ 54 w 64"/>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1">
                      <a:moveTo>
                        <a:pt x="54" y="2"/>
                      </a:moveTo>
                      <a:cubicBezTo>
                        <a:pt x="62" y="6"/>
                        <a:pt x="59" y="14"/>
                        <a:pt x="64" y="22"/>
                      </a:cubicBezTo>
                      <a:cubicBezTo>
                        <a:pt x="63" y="30"/>
                        <a:pt x="63" y="33"/>
                        <a:pt x="55" y="35"/>
                      </a:cubicBezTo>
                      <a:cubicBezTo>
                        <a:pt x="50" y="39"/>
                        <a:pt x="48" y="41"/>
                        <a:pt x="42" y="37"/>
                      </a:cubicBezTo>
                      <a:cubicBezTo>
                        <a:pt x="38" y="30"/>
                        <a:pt x="39" y="28"/>
                        <a:pt x="31" y="29"/>
                      </a:cubicBezTo>
                      <a:cubicBezTo>
                        <a:pt x="26" y="37"/>
                        <a:pt x="26" y="37"/>
                        <a:pt x="16" y="35"/>
                      </a:cubicBezTo>
                      <a:cubicBezTo>
                        <a:pt x="0" y="23"/>
                        <a:pt x="27" y="6"/>
                        <a:pt x="39" y="4"/>
                      </a:cubicBezTo>
                      <a:cubicBezTo>
                        <a:pt x="46" y="0"/>
                        <a:pt x="42" y="2"/>
                        <a:pt x="54" y="2"/>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4" name="Freeform 149"/>
                <p:cNvSpPr>
                  <a:spLocks/>
                </p:cNvSpPr>
                <p:nvPr/>
              </p:nvSpPr>
              <p:spPr bwMode="auto">
                <a:xfrm>
                  <a:off x="4155180" y="2315381"/>
                  <a:ext cx="110140" cy="116191"/>
                </a:xfrm>
                <a:custGeom>
                  <a:avLst/>
                  <a:gdLst>
                    <a:gd name="T0" fmla="*/ 86 w 107"/>
                    <a:gd name="T1" fmla="*/ 10 h 115"/>
                    <a:gd name="T2" fmla="*/ 55 w 107"/>
                    <a:gd name="T3" fmla="*/ 9 h 115"/>
                    <a:gd name="T4" fmla="*/ 47 w 107"/>
                    <a:gd name="T5" fmla="*/ 22 h 115"/>
                    <a:gd name="T6" fmla="*/ 41 w 107"/>
                    <a:gd name="T7" fmla="*/ 37 h 115"/>
                    <a:gd name="T8" fmla="*/ 19 w 107"/>
                    <a:gd name="T9" fmla="*/ 36 h 115"/>
                    <a:gd name="T10" fmla="*/ 28 w 107"/>
                    <a:gd name="T11" fmla="*/ 55 h 115"/>
                    <a:gd name="T12" fmla="*/ 23 w 107"/>
                    <a:gd name="T13" fmla="*/ 76 h 115"/>
                    <a:gd name="T14" fmla="*/ 2 w 107"/>
                    <a:gd name="T15" fmla="*/ 93 h 115"/>
                    <a:gd name="T16" fmla="*/ 1 w 107"/>
                    <a:gd name="T17" fmla="*/ 99 h 115"/>
                    <a:gd name="T18" fmla="*/ 7 w 107"/>
                    <a:gd name="T19" fmla="*/ 100 h 115"/>
                    <a:gd name="T20" fmla="*/ 8 w 107"/>
                    <a:gd name="T21" fmla="*/ 105 h 115"/>
                    <a:gd name="T22" fmla="*/ 22 w 107"/>
                    <a:gd name="T23" fmla="*/ 112 h 115"/>
                    <a:gd name="T24" fmla="*/ 37 w 107"/>
                    <a:gd name="T25" fmla="*/ 111 h 115"/>
                    <a:gd name="T26" fmla="*/ 61 w 107"/>
                    <a:gd name="T27" fmla="*/ 99 h 115"/>
                    <a:gd name="T28" fmla="*/ 85 w 107"/>
                    <a:gd name="T29" fmla="*/ 93 h 115"/>
                    <a:gd name="T30" fmla="*/ 98 w 107"/>
                    <a:gd name="T31" fmla="*/ 87 h 115"/>
                    <a:gd name="T32" fmla="*/ 106 w 107"/>
                    <a:gd name="T33" fmla="*/ 64 h 115"/>
                    <a:gd name="T34" fmla="*/ 98 w 107"/>
                    <a:gd name="T35" fmla="*/ 45 h 115"/>
                    <a:gd name="T36" fmla="*/ 83 w 107"/>
                    <a:gd name="T37" fmla="*/ 37 h 115"/>
                    <a:gd name="T38" fmla="*/ 76 w 107"/>
                    <a:gd name="T39" fmla="*/ 21 h 115"/>
                    <a:gd name="T40" fmla="*/ 86 w 107"/>
                    <a:gd name="T41" fmla="*/ 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15">
                      <a:moveTo>
                        <a:pt x="86" y="10"/>
                      </a:moveTo>
                      <a:cubicBezTo>
                        <a:pt x="79" y="0"/>
                        <a:pt x="65" y="4"/>
                        <a:pt x="55" y="9"/>
                      </a:cubicBezTo>
                      <a:cubicBezTo>
                        <a:pt x="52" y="13"/>
                        <a:pt x="49" y="17"/>
                        <a:pt x="47" y="22"/>
                      </a:cubicBezTo>
                      <a:cubicBezTo>
                        <a:pt x="62" y="28"/>
                        <a:pt x="52" y="35"/>
                        <a:pt x="41" y="37"/>
                      </a:cubicBezTo>
                      <a:cubicBezTo>
                        <a:pt x="30" y="35"/>
                        <a:pt x="32" y="34"/>
                        <a:pt x="19" y="36"/>
                      </a:cubicBezTo>
                      <a:cubicBezTo>
                        <a:pt x="5" y="45"/>
                        <a:pt x="16" y="53"/>
                        <a:pt x="28" y="55"/>
                      </a:cubicBezTo>
                      <a:cubicBezTo>
                        <a:pt x="32" y="62"/>
                        <a:pt x="32" y="74"/>
                        <a:pt x="23" y="76"/>
                      </a:cubicBezTo>
                      <a:cubicBezTo>
                        <a:pt x="18" y="84"/>
                        <a:pt x="10" y="88"/>
                        <a:pt x="2" y="93"/>
                      </a:cubicBezTo>
                      <a:cubicBezTo>
                        <a:pt x="2" y="95"/>
                        <a:pt x="0" y="97"/>
                        <a:pt x="1" y="99"/>
                      </a:cubicBezTo>
                      <a:cubicBezTo>
                        <a:pt x="2" y="101"/>
                        <a:pt x="5" y="99"/>
                        <a:pt x="7" y="100"/>
                      </a:cubicBezTo>
                      <a:cubicBezTo>
                        <a:pt x="8" y="101"/>
                        <a:pt x="7" y="104"/>
                        <a:pt x="8" y="105"/>
                      </a:cubicBezTo>
                      <a:cubicBezTo>
                        <a:pt x="11" y="109"/>
                        <a:pt x="18" y="111"/>
                        <a:pt x="22" y="112"/>
                      </a:cubicBezTo>
                      <a:cubicBezTo>
                        <a:pt x="28" y="115"/>
                        <a:pt x="31" y="112"/>
                        <a:pt x="37" y="111"/>
                      </a:cubicBezTo>
                      <a:cubicBezTo>
                        <a:pt x="45" y="105"/>
                        <a:pt x="51" y="101"/>
                        <a:pt x="61" y="99"/>
                      </a:cubicBezTo>
                      <a:cubicBezTo>
                        <a:pt x="69" y="95"/>
                        <a:pt x="76" y="94"/>
                        <a:pt x="85" y="93"/>
                      </a:cubicBezTo>
                      <a:cubicBezTo>
                        <a:pt x="90" y="91"/>
                        <a:pt x="94" y="90"/>
                        <a:pt x="98" y="87"/>
                      </a:cubicBezTo>
                      <a:cubicBezTo>
                        <a:pt x="100" y="78"/>
                        <a:pt x="103" y="72"/>
                        <a:pt x="106" y="64"/>
                      </a:cubicBezTo>
                      <a:cubicBezTo>
                        <a:pt x="107" y="57"/>
                        <a:pt x="105" y="46"/>
                        <a:pt x="98" y="45"/>
                      </a:cubicBezTo>
                      <a:cubicBezTo>
                        <a:pt x="93" y="36"/>
                        <a:pt x="94" y="36"/>
                        <a:pt x="83" y="37"/>
                      </a:cubicBezTo>
                      <a:cubicBezTo>
                        <a:pt x="66" y="45"/>
                        <a:pt x="60" y="24"/>
                        <a:pt x="76" y="21"/>
                      </a:cubicBezTo>
                      <a:cubicBezTo>
                        <a:pt x="78" y="20"/>
                        <a:pt x="93" y="10"/>
                        <a:pt x="86" y="1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5" name="Freeform 150"/>
                <p:cNvSpPr>
                  <a:spLocks/>
                </p:cNvSpPr>
                <p:nvPr/>
              </p:nvSpPr>
              <p:spPr bwMode="auto">
                <a:xfrm>
                  <a:off x="3930246" y="2019623"/>
                  <a:ext cx="217177" cy="86011"/>
                </a:xfrm>
                <a:custGeom>
                  <a:avLst/>
                  <a:gdLst>
                    <a:gd name="T0" fmla="*/ 194 w 211"/>
                    <a:gd name="T1" fmla="*/ 15 h 85"/>
                    <a:gd name="T2" fmla="*/ 211 w 211"/>
                    <a:gd name="T3" fmla="*/ 29 h 85"/>
                    <a:gd name="T4" fmla="*/ 173 w 211"/>
                    <a:gd name="T5" fmla="*/ 60 h 85"/>
                    <a:gd name="T6" fmla="*/ 149 w 211"/>
                    <a:gd name="T7" fmla="*/ 69 h 85"/>
                    <a:gd name="T8" fmla="*/ 119 w 211"/>
                    <a:gd name="T9" fmla="*/ 78 h 85"/>
                    <a:gd name="T10" fmla="*/ 74 w 211"/>
                    <a:gd name="T11" fmla="*/ 77 h 85"/>
                    <a:gd name="T12" fmla="*/ 58 w 211"/>
                    <a:gd name="T13" fmla="*/ 63 h 85"/>
                    <a:gd name="T14" fmla="*/ 22 w 211"/>
                    <a:gd name="T15" fmla="*/ 62 h 85"/>
                    <a:gd name="T16" fmla="*/ 40 w 211"/>
                    <a:gd name="T17" fmla="*/ 57 h 85"/>
                    <a:gd name="T18" fmla="*/ 7 w 211"/>
                    <a:gd name="T19" fmla="*/ 45 h 85"/>
                    <a:gd name="T20" fmla="*/ 2 w 211"/>
                    <a:gd name="T21" fmla="*/ 44 h 85"/>
                    <a:gd name="T22" fmla="*/ 4 w 211"/>
                    <a:gd name="T23" fmla="*/ 39 h 85"/>
                    <a:gd name="T24" fmla="*/ 23 w 211"/>
                    <a:gd name="T25" fmla="*/ 36 h 85"/>
                    <a:gd name="T26" fmla="*/ 29 w 211"/>
                    <a:gd name="T27" fmla="*/ 35 h 85"/>
                    <a:gd name="T28" fmla="*/ 38 w 211"/>
                    <a:gd name="T29" fmla="*/ 24 h 85"/>
                    <a:gd name="T30" fmla="*/ 8 w 211"/>
                    <a:gd name="T31" fmla="*/ 30 h 85"/>
                    <a:gd name="T32" fmla="*/ 20 w 211"/>
                    <a:gd name="T33" fmla="*/ 9 h 85"/>
                    <a:gd name="T34" fmla="*/ 37 w 211"/>
                    <a:gd name="T35" fmla="*/ 0 h 85"/>
                    <a:gd name="T36" fmla="*/ 56 w 211"/>
                    <a:gd name="T37" fmla="*/ 6 h 85"/>
                    <a:gd name="T38" fmla="*/ 56 w 211"/>
                    <a:gd name="T39" fmla="*/ 23 h 85"/>
                    <a:gd name="T40" fmla="*/ 61 w 211"/>
                    <a:gd name="T41" fmla="*/ 33 h 85"/>
                    <a:gd name="T42" fmla="*/ 64 w 211"/>
                    <a:gd name="T43" fmla="*/ 29 h 85"/>
                    <a:gd name="T44" fmla="*/ 82 w 211"/>
                    <a:gd name="T45" fmla="*/ 24 h 85"/>
                    <a:gd name="T46" fmla="*/ 85 w 211"/>
                    <a:gd name="T47" fmla="*/ 11 h 85"/>
                    <a:gd name="T48" fmla="*/ 97 w 211"/>
                    <a:gd name="T49" fmla="*/ 23 h 85"/>
                    <a:gd name="T50" fmla="*/ 115 w 211"/>
                    <a:gd name="T51" fmla="*/ 14 h 85"/>
                    <a:gd name="T52" fmla="*/ 130 w 211"/>
                    <a:gd name="T53" fmla="*/ 18 h 85"/>
                    <a:gd name="T54" fmla="*/ 167 w 211"/>
                    <a:gd name="T55" fmla="*/ 9 h 85"/>
                    <a:gd name="T56" fmla="*/ 181 w 211"/>
                    <a:gd name="T57" fmla="*/ 5 h 85"/>
                    <a:gd name="T58" fmla="*/ 194 w 211"/>
                    <a:gd name="T59" fmla="*/ 3 h 85"/>
                    <a:gd name="T60" fmla="*/ 194 w 211"/>
                    <a:gd name="T61"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1" h="85">
                      <a:moveTo>
                        <a:pt x="194" y="15"/>
                      </a:moveTo>
                      <a:cubicBezTo>
                        <a:pt x="202" y="20"/>
                        <a:pt x="206" y="21"/>
                        <a:pt x="211" y="29"/>
                      </a:cubicBezTo>
                      <a:cubicBezTo>
                        <a:pt x="208" y="47"/>
                        <a:pt x="191" y="57"/>
                        <a:pt x="173" y="60"/>
                      </a:cubicBezTo>
                      <a:cubicBezTo>
                        <a:pt x="165" y="64"/>
                        <a:pt x="159" y="67"/>
                        <a:pt x="149" y="69"/>
                      </a:cubicBezTo>
                      <a:cubicBezTo>
                        <a:pt x="139" y="73"/>
                        <a:pt x="130" y="76"/>
                        <a:pt x="119" y="78"/>
                      </a:cubicBezTo>
                      <a:cubicBezTo>
                        <a:pt x="105" y="85"/>
                        <a:pt x="89" y="80"/>
                        <a:pt x="74" y="77"/>
                      </a:cubicBezTo>
                      <a:cubicBezTo>
                        <a:pt x="68" y="73"/>
                        <a:pt x="64" y="66"/>
                        <a:pt x="58" y="63"/>
                      </a:cubicBezTo>
                      <a:cubicBezTo>
                        <a:pt x="52" y="64"/>
                        <a:pt x="1" y="66"/>
                        <a:pt x="22" y="62"/>
                      </a:cubicBezTo>
                      <a:cubicBezTo>
                        <a:pt x="28" y="59"/>
                        <a:pt x="34" y="59"/>
                        <a:pt x="40" y="57"/>
                      </a:cubicBezTo>
                      <a:cubicBezTo>
                        <a:pt x="36" y="41"/>
                        <a:pt x="26" y="46"/>
                        <a:pt x="7" y="45"/>
                      </a:cubicBezTo>
                      <a:cubicBezTo>
                        <a:pt x="5" y="45"/>
                        <a:pt x="3" y="46"/>
                        <a:pt x="2" y="44"/>
                      </a:cubicBezTo>
                      <a:cubicBezTo>
                        <a:pt x="1" y="42"/>
                        <a:pt x="2" y="40"/>
                        <a:pt x="4" y="39"/>
                      </a:cubicBezTo>
                      <a:cubicBezTo>
                        <a:pt x="10" y="37"/>
                        <a:pt x="17" y="37"/>
                        <a:pt x="23" y="36"/>
                      </a:cubicBezTo>
                      <a:cubicBezTo>
                        <a:pt x="25" y="36"/>
                        <a:pt x="29" y="35"/>
                        <a:pt x="29" y="35"/>
                      </a:cubicBezTo>
                      <a:cubicBezTo>
                        <a:pt x="37" y="31"/>
                        <a:pt x="41" y="33"/>
                        <a:pt x="38" y="24"/>
                      </a:cubicBezTo>
                      <a:cubicBezTo>
                        <a:pt x="28" y="26"/>
                        <a:pt x="18" y="28"/>
                        <a:pt x="8" y="30"/>
                      </a:cubicBezTo>
                      <a:cubicBezTo>
                        <a:pt x="0" y="19"/>
                        <a:pt x="11" y="13"/>
                        <a:pt x="20" y="9"/>
                      </a:cubicBezTo>
                      <a:cubicBezTo>
                        <a:pt x="33" y="11"/>
                        <a:pt x="34" y="13"/>
                        <a:pt x="37" y="0"/>
                      </a:cubicBezTo>
                      <a:cubicBezTo>
                        <a:pt x="54" y="3"/>
                        <a:pt x="48" y="0"/>
                        <a:pt x="56" y="6"/>
                      </a:cubicBezTo>
                      <a:cubicBezTo>
                        <a:pt x="61" y="14"/>
                        <a:pt x="66" y="17"/>
                        <a:pt x="56" y="23"/>
                      </a:cubicBezTo>
                      <a:cubicBezTo>
                        <a:pt x="56" y="23"/>
                        <a:pt x="59" y="33"/>
                        <a:pt x="61" y="33"/>
                      </a:cubicBezTo>
                      <a:cubicBezTo>
                        <a:pt x="63" y="33"/>
                        <a:pt x="63" y="30"/>
                        <a:pt x="64" y="29"/>
                      </a:cubicBezTo>
                      <a:cubicBezTo>
                        <a:pt x="68" y="26"/>
                        <a:pt x="77" y="25"/>
                        <a:pt x="82" y="24"/>
                      </a:cubicBezTo>
                      <a:cubicBezTo>
                        <a:pt x="77" y="18"/>
                        <a:pt x="79" y="16"/>
                        <a:pt x="85" y="11"/>
                      </a:cubicBezTo>
                      <a:cubicBezTo>
                        <a:pt x="95" y="12"/>
                        <a:pt x="93" y="15"/>
                        <a:pt x="97" y="23"/>
                      </a:cubicBezTo>
                      <a:cubicBezTo>
                        <a:pt x="103" y="19"/>
                        <a:pt x="108" y="15"/>
                        <a:pt x="115" y="14"/>
                      </a:cubicBezTo>
                      <a:cubicBezTo>
                        <a:pt x="128" y="16"/>
                        <a:pt x="115" y="24"/>
                        <a:pt x="130" y="18"/>
                      </a:cubicBezTo>
                      <a:cubicBezTo>
                        <a:pt x="140" y="5"/>
                        <a:pt x="145" y="10"/>
                        <a:pt x="167" y="9"/>
                      </a:cubicBezTo>
                      <a:cubicBezTo>
                        <a:pt x="172" y="3"/>
                        <a:pt x="174" y="3"/>
                        <a:pt x="181" y="5"/>
                      </a:cubicBezTo>
                      <a:cubicBezTo>
                        <a:pt x="187" y="9"/>
                        <a:pt x="189" y="7"/>
                        <a:pt x="194" y="3"/>
                      </a:cubicBezTo>
                      <a:cubicBezTo>
                        <a:pt x="197" y="9"/>
                        <a:pt x="194" y="9"/>
                        <a:pt x="194" y="15"/>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6" name="Freeform 151"/>
                <p:cNvSpPr>
                  <a:spLocks/>
                </p:cNvSpPr>
                <p:nvPr/>
              </p:nvSpPr>
              <p:spPr bwMode="auto">
                <a:xfrm>
                  <a:off x="4527483" y="2478349"/>
                  <a:ext cx="21718" cy="15090"/>
                </a:xfrm>
                <a:custGeom>
                  <a:avLst/>
                  <a:gdLst>
                    <a:gd name="T0" fmla="*/ 0 w 20"/>
                    <a:gd name="T1" fmla="*/ 9 h 15"/>
                    <a:gd name="T2" fmla="*/ 5 w 20"/>
                    <a:gd name="T3" fmla="*/ 0 h 15"/>
                    <a:gd name="T4" fmla="*/ 20 w 20"/>
                    <a:gd name="T5" fmla="*/ 0 h 15"/>
                    <a:gd name="T6" fmla="*/ 12 w 20"/>
                    <a:gd name="T7" fmla="*/ 15 h 15"/>
                    <a:gd name="T8" fmla="*/ 0 w 20"/>
                    <a:gd name="T9" fmla="*/ 9 h 15"/>
                  </a:gdLst>
                  <a:ahLst/>
                  <a:cxnLst>
                    <a:cxn ang="0">
                      <a:pos x="T0" y="T1"/>
                    </a:cxn>
                    <a:cxn ang="0">
                      <a:pos x="T2" y="T3"/>
                    </a:cxn>
                    <a:cxn ang="0">
                      <a:pos x="T4" y="T5"/>
                    </a:cxn>
                    <a:cxn ang="0">
                      <a:pos x="T6" y="T7"/>
                    </a:cxn>
                    <a:cxn ang="0">
                      <a:pos x="T8" y="T9"/>
                    </a:cxn>
                  </a:cxnLst>
                  <a:rect l="0" t="0" r="r" b="b"/>
                  <a:pathLst>
                    <a:path w="20" h="15">
                      <a:moveTo>
                        <a:pt x="0" y="9"/>
                      </a:moveTo>
                      <a:lnTo>
                        <a:pt x="5" y="0"/>
                      </a:lnTo>
                      <a:lnTo>
                        <a:pt x="20" y="0"/>
                      </a:lnTo>
                      <a:lnTo>
                        <a:pt x="12" y="15"/>
                      </a:lnTo>
                      <a:lnTo>
                        <a:pt x="0" y="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7" name="Freeform 152"/>
                <p:cNvSpPr>
                  <a:spLocks/>
                </p:cNvSpPr>
                <p:nvPr/>
              </p:nvSpPr>
              <p:spPr bwMode="auto">
                <a:xfrm>
                  <a:off x="4449920" y="2430063"/>
                  <a:ext cx="89973" cy="57341"/>
                </a:xfrm>
                <a:custGeom>
                  <a:avLst/>
                  <a:gdLst>
                    <a:gd name="T0" fmla="*/ 87 w 87"/>
                    <a:gd name="T1" fmla="*/ 48 h 57"/>
                    <a:gd name="T2" fmla="*/ 87 w 87"/>
                    <a:gd name="T3" fmla="*/ 33 h 57"/>
                    <a:gd name="T4" fmla="*/ 81 w 87"/>
                    <a:gd name="T5" fmla="*/ 12 h 57"/>
                    <a:gd name="T6" fmla="*/ 64 w 87"/>
                    <a:gd name="T7" fmla="*/ 0 h 57"/>
                    <a:gd name="T8" fmla="*/ 40 w 87"/>
                    <a:gd name="T9" fmla="*/ 3 h 57"/>
                    <a:gd name="T10" fmla="*/ 15 w 87"/>
                    <a:gd name="T11" fmla="*/ 3 h 57"/>
                    <a:gd name="T12" fmla="*/ 0 w 87"/>
                    <a:gd name="T13" fmla="*/ 10 h 57"/>
                    <a:gd name="T14" fmla="*/ 28 w 87"/>
                    <a:gd name="T15" fmla="*/ 34 h 57"/>
                    <a:gd name="T16" fmla="*/ 52 w 87"/>
                    <a:gd name="T17" fmla="*/ 48 h 57"/>
                    <a:gd name="T18" fmla="*/ 75 w 87"/>
                    <a:gd name="T19" fmla="*/ 57 h 57"/>
                    <a:gd name="T20" fmla="*/ 87 w 87"/>
                    <a:gd name="T21"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57">
                      <a:moveTo>
                        <a:pt x="87" y="48"/>
                      </a:moveTo>
                      <a:lnTo>
                        <a:pt x="87" y="33"/>
                      </a:lnTo>
                      <a:lnTo>
                        <a:pt x="81" y="12"/>
                      </a:lnTo>
                      <a:lnTo>
                        <a:pt x="64" y="0"/>
                      </a:lnTo>
                      <a:lnTo>
                        <a:pt x="40" y="3"/>
                      </a:lnTo>
                      <a:lnTo>
                        <a:pt x="15" y="3"/>
                      </a:lnTo>
                      <a:lnTo>
                        <a:pt x="0" y="10"/>
                      </a:lnTo>
                      <a:lnTo>
                        <a:pt x="28" y="34"/>
                      </a:lnTo>
                      <a:lnTo>
                        <a:pt x="52" y="48"/>
                      </a:lnTo>
                      <a:lnTo>
                        <a:pt x="75" y="57"/>
                      </a:lnTo>
                      <a:lnTo>
                        <a:pt x="87" y="4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8" name="Freeform 153"/>
                <p:cNvSpPr>
                  <a:spLocks/>
                </p:cNvSpPr>
                <p:nvPr/>
              </p:nvSpPr>
              <p:spPr bwMode="auto">
                <a:xfrm>
                  <a:off x="4480945" y="2369704"/>
                  <a:ext cx="86871" cy="72430"/>
                </a:xfrm>
                <a:custGeom>
                  <a:avLst/>
                  <a:gdLst>
                    <a:gd name="T0" fmla="*/ 0 w 84"/>
                    <a:gd name="T1" fmla="*/ 60 h 72"/>
                    <a:gd name="T2" fmla="*/ 16 w 84"/>
                    <a:gd name="T3" fmla="*/ 40 h 72"/>
                    <a:gd name="T4" fmla="*/ 25 w 84"/>
                    <a:gd name="T5" fmla="*/ 28 h 72"/>
                    <a:gd name="T6" fmla="*/ 39 w 84"/>
                    <a:gd name="T7" fmla="*/ 36 h 72"/>
                    <a:gd name="T8" fmla="*/ 51 w 84"/>
                    <a:gd name="T9" fmla="*/ 31 h 72"/>
                    <a:gd name="T10" fmla="*/ 30 w 84"/>
                    <a:gd name="T11" fmla="*/ 24 h 72"/>
                    <a:gd name="T12" fmla="*/ 33 w 84"/>
                    <a:gd name="T13" fmla="*/ 12 h 72"/>
                    <a:gd name="T14" fmla="*/ 57 w 84"/>
                    <a:gd name="T15" fmla="*/ 0 h 72"/>
                    <a:gd name="T16" fmla="*/ 78 w 84"/>
                    <a:gd name="T17" fmla="*/ 4 h 72"/>
                    <a:gd name="T18" fmla="*/ 84 w 84"/>
                    <a:gd name="T19" fmla="*/ 22 h 72"/>
                    <a:gd name="T20" fmla="*/ 69 w 84"/>
                    <a:gd name="T21" fmla="*/ 31 h 72"/>
                    <a:gd name="T22" fmla="*/ 79 w 84"/>
                    <a:gd name="T23" fmla="*/ 37 h 72"/>
                    <a:gd name="T24" fmla="*/ 69 w 84"/>
                    <a:gd name="T25" fmla="*/ 51 h 72"/>
                    <a:gd name="T26" fmla="*/ 55 w 84"/>
                    <a:gd name="T27" fmla="*/ 43 h 72"/>
                    <a:gd name="T28" fmla="*/ 51 w 84"/>
                    <a:gd name="T29" fmla="*/ 52 h 72"/>
                    <a:gd name="T30" fmla="*/ 60 w 84"/>
                    <a:gd name="T31" fmla="*/ 63 h 72"/>
                    <a:gd name="T32" fmla="*/ 49 w 84"/>
                    <a:gd name="T33" fmla="*/ 72 h 72"/>
                    <a:gd name="T34" fmla="*/ 36 w 84"/>
                    <a:gd name="T35" fmla="*/ 58 h 72"/>
                    <a:gd name="T36" fmla="*/ 15 w 84"/>
                    <a:gd name="T37" fmla="*/ 63 h 72"/>
                    <a:gd name="T38" fmla="*/ 0 w 84"/>
                    <a:gd name="T39"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72">
                      <a:moveTo>
                        <a:pt x="0" y="60"/>
                      </a:moveTo>
                      <a:lnTo>
                        <a:pt x="16" y="40"/>
                      </a:lnTo>
                      <a:lnTo>
                        <a:pt x="25" y="28"/>
                      </a:lnTo>
                      <a:lnTo>
                        <a:pt x="39" y="36"/>
                      </a:lnTo>
                      <a:lnTo>
                        <a:pt x="51" y="31"/>
                      </a:lnTo>
                      <a:lnTo>
                        <a:pt x="30" y="24"/>
                      </a:lnTo>
                      <a:lnTo>
                        <a:pt x="33" y="12"/>
                      </a:lnTo>
                      <a:lnTo>
                        <a:pt x="57" y="0"/>
                      </a:lnTo>
                      <a:lnTo>
                        <a:pt x="78" y="4"/>
                      </a:lnTo>
                      <a:lnTo>
                        <a:pt x="84" y="22"/>
                      </a:lnTo>
                      <a:lnTo>
                        <a:pt x="69" y="31"/>
                      </a:lnTo>
                      <a:lnTo>
                        <a:pt x="79" y="37"/>
                      </a:lnTo>
                      <a:lnTo>
                        <a:pt x="69" y="51"/>
                      </a:lnTo>
                      <a:lnTo>
                        <a:pt x="55" y="43"/>
                      </a:lnTo>
                      <a:lnTo>
                        <a:pt x="51" y="52"/>
                      </a:lnTo>
                      <a:lnTo>
                        <a:pt x="60" y="63"/>
                      </a:lnTo>
                      <a:lnTo>
                        <a:pt x="49" y="72"/>
                      </a:lnTo>
                      <a:lnTo>
                        <a:pt x="36" y="58"/>
                      </a:lnTo>
                      <a:lnTo>
                        <a:pt x="15" y="63"/>
                      </a:lnTo>
                      <a:lnTo>
                        <a:pt x="0" y="6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49" name="Freeform 154"/>
                <p:cNvSpPr>
                  <a:spLocks/>
                </p:cNvSpPr>
                <p:nvPr/>
              </p:nvSpPr>
              <p:spPr bwMode="auto">
                <a:xfrm>
                  <a:off x="4530586" y="2330470"/>
                  <a:ext cx="214075" cy="215783"/>
                </a:xfrm>
                <a:custGeom>
                  <a:avLst/>
                  <a:gdLst>
                    <a:gd name="T0" fmla="*/ 29 w 207"/>
                    <a:gd name="T1" fmla="*/ 45 h 216"/>
                    <a:gd name="T2" fmla="*/ 35 w 207"/>
                    <a:gd name="T3" fmla="*/ 33 h 216"/>
                    <a:gd name="T4" fmla="*/ 48 w 207"/>
                    <a:gd name="T5" fmla="*/ 31 h 216"/>
                    <a:gd name="T6" fmla="*/ 59 w 207"/>
                    <a:gd name="T7" fmla="*/ 46 h 216"/>
                    <a:gd name="T8" fmla="*/ 63 w 207"/>
                    <a:gd name="T9" fmla="*/ 31 h 216"/>
                    <a:gd name="T10" fmla="*/ 75 w 207"/>
                    <a:gd name="T11" fmla="*/ 31 h 216"/>
                    <a:gd name="T12" fmla="*/ 69 w 207"/>
                    <a:gd name="T13" fmla="*/ 21 h 216"/>
                    <a:gd name="T14" fmla="*/ 68 w 207"/>
                    <a:gd name="T15" fmla="*/ 9 h 216"/>
                    <a:gd name="T16" fmla="*/ 59 w 207"/>
                    <a:gd name="T17" fmla="*/ 0 h 216"/>
                    <a:gd name="T18" fmla="*/ 72 w 207"/>
                    <a:gd name="T19" fmla="*/ 0 h 216"/>
                    <a:gd name="T20" fmla="*/ 81 w 207"/>
                    <a:gd name="T21" fmla="*/ 4 h 216"/>
                    <a:gd name="T22" fmla="*/ 93 w 207"/>
                    <a:gd name="T23" fmla="*/ 3 h 216"/>
                    <a:gd name="T24" fmla="*/ 93 w 207"/>
                    <a:gd name="T25" fmla="*/ 13 h 216"/>
                    <a:gd name="T26" fmla="*/ 107 w 207"/>
                    <a:gd name="T27" fmla="*/ 16 h 216"/>
                    <a:gd name="T28" fmla="*/ 120 w 207"/>
                    <a:gd name="T29" fmla="*/ 15 h 216"/>
                    <a:gd name="T30" fmla="*/ 113 w 207"/>
                    <a:gd name="T31" fmla="*/ 27 h 216"/>
                    <a:gd name="T32" fmla="*/ 123 w 207"/>
                    <a:gd name="T33" fmla="*/ 31 h 216"/>
                    <a:gd name="T34" fmla="*/ 141 w 207"/>
                    <a:gd name="T35" fmla="*/ 19 h 216"/>
                    <a:gd name="T36" fmla="*/ 152 w 207"/>
                    <a:gd name="T37" fmla="*/ 13 h 216"/>
                    <a:gd name="T38" fmla="*/ 170 w 207"/>
                    <a:gd name="T39" fmla="*/ 10 h 216"/>
                    <a:gd name="T40" fmla="*/ 180 w 207"/>
                    <a:gd name="T41" fmla="*/ 25 h 216"/>
                    <a:gd name="T42" fmla="*/ 192 w 207"/>
                    <a:gd name="T43" fmla="*/ 45 h 216"/>
                    <a:gd name="T44" fmla="*/ 188 w 207"/>
                    <a:gd name="T45" fmla="*/ 58 h 216"/>
                    <a:gd name="T46" fmla="*/ 198 w 207"/>
                    <a:gd name="T47" fmla="*/ 70 h 216"/>
                    <a:gd name="T48" fmla="*/ 198 w 207"/>
                    <a:gd name="T49" fmla="*/ 90 h 216"/>
                    <a:gd name="T50" fmla="*/ 207 w 207"/>
                    <a:gd name="T51" fmla="*/ 103 h 216"/>
                    <a:gd name="T52" fmla="*/ 207 w 207"/>
                    <a:gd name="T53" fmla="*/ 115 h 216"/>
                    <a:gd name="T54" fmla="*/ 194 w 207"/>
                    <a:gd name="T55" fmla="*/ 111 h 216"/>
                    <a:gd name="T56" fmla="*/ 162 w 207"/>
                    <a:gd name="T57" fmla="*/ 129 h 216"/>
                    <a:gd name="T58" fmla="*/ 141 w 207"/>
                    <a:gd name="T59" fmla="*/ 130 h 216"/>
                    <a:gd name="T60" fmla="*/ 152 w 207"/>
                    <a:gd name="T61" fmla="*/ 151 h 216"/>
                    <a:gd name="T62" fmla="*/ 168 w 207"/>
                    <a:gd name="T63" fmla="*/ 166 h 216"/>
                    <a:gd name="T64" fmla="*/ 180 w 207"/>
                    <a:gd name="T65" fmla="*/ 177 h 216"/>
                    <a:gd name="T66" fmla="*/ 167 w 207"/>
                    <a:gd name="T67" fmla="*/ 186 h 216"/>
                    <a:gd name="T68" fmla="*/ 158 w 207"/>
                    <a:gd name="T69" fmla="*/ 193 h 216"/>
                    <a:gd name="T70" fmla="*/ 164 w 207"/>
                    <a:gd name="T71" fmla="*/ 211 h 216"/>
                    <a:gd name="T72" fmla="*/ 149 w 207"/>
                    <a:gd name="T73" fmla="*/ 205 h 216"/>
                    <a:gd name="T74" fmla="*/ 117 w 207"/>
                    <a:gd name="T75" fmla="*/ 213 h 216"/>
                    <a:gd name="T76" fmla="*/ 105 w 207"/>
                    <a:gd name="T77" fmla="*/ 205 h 216"/>
                    <a:gd name="T78" fmla="*/ 98 w 207"/>
                    <a:gd name="T79" fmla="*/ 216 h 216"/>
                    <a:gd name="T80" fmla="*/ 90 w 207"/>
                    <a:gd name="T81" fmla="*/ 208 h 216"/>
                    <a:gd name="T82" fmla="*/ 75 w 207"/>
                    <a:gd name="T83" fmla="*/ 208 h 216"/>
                    <a:gd name="T84" fmla="*/ 42 w 207"/>
                    <a:gd name="T85" fmla="*/ 210 h 216"/>
                    <a:gd name="T86" fmla="*/ 42 w 207"/>
                    <a:gd name="T87" fmla="*/ 195 h 216"/>
                    <a:gd name="T88" fmla="*/ 54 w 207"/>
                    <a:gd name="T89" fmla="*/ 169 h 216"/>
                    <a:gd name="T90" fmla="*/ 20 w 207"/>
                    <a:gd name="T91" fmla="*/ 168 h 216"/>
                    <a:gd name="T92" fmla="*/ 9 w 207"/>
                    <a:gd name="T93" fmla="*/ 160 h 216"/>
                    <a:gd name="T94" fmla="*/ 17 w 207"/>
                    <a:gd name="T95" fmla="*/ 145 h 216"/>
                    <a:gd name="T96" fmla="*/ 6 w 207"/>
                    <a:gd name="T97" fmla="*/ 145 h 216"/>
                    <a:gd name="T98" fmla="*/ 9 w 207"/>
                    <a:gd name="T99" fmla="*/ 132 h 216"/>
                    <a:gd name="T100" fmla="*/ 0 w 207"/>
                    <a:gd name="T101" fmla="*/ 111 h 216"/>
                    <a:gd name="T102" fmla="*/ 9 w 207"/>
                    <a:gd name="T103" fmla="*/ 103 h 216"/>
                    <a:gd name="T104" fmla="*/ 2 w 207"/>
                    <a:gd name="T105" fmla="*/ 90 h 216"/>
                    <a:gd name="T106" fmla="*/ 6 w 207"/>
                    <a:gd name="T107" fmla="*/ 81 h 216"/>
                    <a:gd name="T108" fmla="*/ 20 w 207"/>
                    <a:gd name="T109" fmla="*/ 90 h 216"/>
                    <a:gd name="T110" fmla="*/ 30 w 207"/>
                    <a:gd name="T111" fmla="*/ 75 h 216"/>
                    <a:gd name="T112" fmla="*/ 21 w 207"/>
                    <a:gd name="T113" fmla="*/ 70 h 216"/>
                    <a:gd name="T114" fmla="*/ 35 w 207"/>
                    <a:gd name="T115" fmla="*/ 61 h 216"/>
                    <a:gd name="T116" fmla="*/ 29 w 207"/>
                    <a:gd name="T117" fmla="*/ 4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7" h="216">
                      <a:moveTo>
                        <a:pt x="29" y="45"/>
                      </a:moveTo>
                      <a:lnTo>
                        <a:pt x="35" y="33"/>
                      </a:lnTo>
                      <a:lnTo>
                        <a:pt x="48" y="31"/>
                      </a:lnTo>
                      <a:lnTo>
                        <a:pt x="59" y="46"/>
                      </a:lnTo>
                      <a:lnTo>
                        <a:pt x="63" y="31"/>
                      </a:lnTo>
                      <a:lnTo>
                        <a:pt x="75" y="31"/>
                      </a:lnTo>
                      <a:lnTo>
                        <a:pt x="69" y="21"/>
                      </a:lnTo>
                      <a:lnTo>
                        <a:pt x="68" y="9"/>
                      </a:lnTo>
                      <a:lnTo>
                        <a:pt x="59" y="0"/>
                      </a:lnTo>
                      <a:lnTo>
                        <a:pt x="72" y="0"/>
                      </a:lnTo>
                      <a:lnTo>
                        <a:pt x="81" y="4"/>
                      </a:lnTo>
                      <a:lnTo>
                        <a:pt x="93" y="3"/>
                      </a:lnTo>
                      <a:lnTo>
                        <a:pt x="93" y="13"/>
                      </a:lnTo>
                      <a:lnTo>
                        <a:pt x="107" y="16"/>
                      </a:lnTo>
                      <a:lnTo>
                        <a:pt x="120" y="15"/>
                      </a:lnTo>
                      <a:lnTo>
                        <a:pt x="113" y="27"/>
                      </a:lnTo>
                      <a:lnTo>
                        <a:pt x="123" y="31"/>
                      </a:lnTo>
                      <a:lnTo>
                        <a:pt x="141" y="19"/>
                      </a:lnTo>
                      <a:lnTo>
                        <a:pt x="152" y="13"/>
                      </a:lnTo>
                      <a:lnTo>
                        <a:pt x="170" y="10"/>
                      </a:lnTo>
                      <a:lnTo>
                        <a:pt x="180" y="25"/>
                      </a:lnTo>
                      <a:lnTo>
                        <a:pt x="192" y="45"/>
                      </a:lnTo>
                      <a:lnTo>
                        <a:pt x="188" y="58"/>
                      </a:lnTo>
                      <a:lnTo>
                        <a:pt x="198" y="70"/>
                      </a:lnTo>
                      <a:lnTo>
                        <a:pt x="198" y="90"/>
                      </a:lnTo>
                      <a:lnTo>
                        <a:pt x="207" y="103"/>
                      </a:lnTo>
                      <a:lnTo>
                        <a:pt x="207" y="115"/>
                      </a:lnTo>
                      <a:lnTo>
                        <a:pt x="194" y="111"/>
                      </a:lnTo>
                      <a:lnTo>
                        <a:pt x="162" y="129"/>
                      </a:lnTo>
                      <a:lnTo>
                        <a:pt x="141" y="130"/>
                      </a:lnTo>
                      <a:lnTo>
                        <a:pt x="152" y="151"/>
                      </a:lnTo>
                      <a:lnTo>
                        <a:pt x="168" y="166"/>
                      </a:lnTo>
                      <a:lnTo>
                        <a:pt x="180" y="177"/>
                      </a:lnTo>
                      <a:lnTo>
                        <a:pt x="167" y="186"/>
                      </a:lnTo>
                      <a:lnTo>
                        <a:pt x="158" y="193"/>
                      </a:lnTo>
                      <a:lnTo>
                        <a:pt x="164" y="211"/>
                      </a:lnTo>
                      <a:lnTo>
                        <a:pt x="149" y="205"/>
                      </a:lnTo>
                      <a:lnTo>
                        <a:pt x="117" y="213"/>
                      </a:lnTo>
                      <a:lnTo>
                        <a:pt x="105" y="205"/>
                      </a:lnTo>
                      <a:lnTo>
                        <a:pt x="98" y="216"/>
                      </a:lnTo>
                      <a:lnTo>
                        <a:pt x="90" y="208"/>
                      </a:lnTo>
                      <a:lnTo>
                        <a:pt x="75" y="208"/>
                      </a:lnTo>
                      <a:lnTo>
                        <a:pt x="42" y="210"/>
                      </a:lnTo>
                      <a:lnTo>
                        <a:pt x="42" y="195"/>
                      </a:lnTo>
                      <a:lnTo>
                        <a:pt x="54" y="169"/>
                      </a:lnTo>
                      <a:lnTo>
                        <a:pt x="20" y="168"/>
                      </a:lnTo>
                      <a:lnTo>
                        <a:pt x="9" y="160"/>
                      </a:lnTo>
                      <a:lnTo>
                        <a:pt x="17" y="145"/>
                      </a:lnTo>
                      <a:lnTo>
                        <a:pt x="6" y="145"/>
                      </a:lnTo>
                      <a:lnTo>
                        <a:pt x="9" y="132"/>
                      </a:lnTo>
                      <a:lnTo>
                        <a:pt x="0" y="111"/>
                      </a:lnTo>
                      <a:lnTo>
                        <a:pt x="9" y="103"/>
                      </a:lnTo>
                      <a:lnTo>
                        <a:pt x="2" y="90"/>
                      </a:lnTo>
                      <a:lnTo>
                        <a:pt x="6" y="81"/>
                      </a:lnTo>
                      <a:lnTo>
                        <a:pt x="20" y="90"/>
                      </a:lnTo>
                      <a:lnTo>
                        <a:pt x="30" y="75"/>
                      </a:lnTo>
                      <a:lnTo>
                        <a:pt x="21" y="70"/>
                      </a:lnTo>
                      <a:lnTo>
                        <a:pt x="35" y="61"/>
                      </a:lnTo>
                      <a:lnTo>
                        <a:pt x="29" y="45"/>
                      </a:lnTo>
                      <a:close/>
                    </a:path>
                  </a:pathLst>
                </a:custGeom>
                <a:solidFill>
                  <a:srgbClr val="005A8C"/>
                </a:solid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0" name="Freeform 155"/>
                <p:cNvSpPr>
                  <a:spLocks/>
                </p:cNvSpPr>
                <p:nvPr/>
              </p:nvSpPr>
              <p:spPr bwMode="auto">
                <a:xfrm>
                  <a:off x="4583329" y="2253513"/>
                  <a:ext cx="57397" cy="81485"/>
                </a:xfrm>
                <a:custGeom>
                  <a:avLst/>
                  <a:gdLst>
                    <a:gd name="T0" fmla="*/ 8 w 56"/>
                    <a:gd name="T1" fmla="*/ 79 h 82"/>
                    <a:gd name="T2" fmla="*/ 9 w 56"/>
                    <a:gd name="T3" fmla="*/ 69 h 82"/>
                    <a:gd name="T4" fmla="*/ 0 w 56"/>
                    <a:gd name="T5" fmla="*/ 61 h 82"/>
                    <a:gd name="T6" fmla="*/ 2 w 56"/>
                    <a:gd name="T7" fmla="*/ 43 h 82"/>
                    <a:gd name="T8" fmla="*/ 6 w 56"/>
                    <a:gd name="T9" fmla="*/ 27 h 82"/>
                    <a:gd name="T10" fmla="*/ 20 w 56"/>
                    <a:gd name="T11" fmla="*/ 15 h 82"/>
                    <a:gd name="T12" fmla="*/ 33 w 56"/>
                    <a:gd name="T13" fmla="*/ 15 h 82"/>
                    <a:gd name="T14" fmla="*/ 50 w 56"/>
                    <a:gd name="T15" fmla="*/ 0 h 82"/>
                    <a:gd name="T16" fmla="*/ 56 w 56"/>
                    <a:gd name="T17" fmla="*/ 19 h 82"/>
                    <a:gd name="T18" fmla="*/ 50 w 56"/>
                    <a:gd name="T19" fmla="*/ 33 h 82"/>
                    <a:gd name="T20" fmla="*/ 51 w 56"/>
                    <a:gd name="T21" fmla="*/ 49 h 82"/>
                    <a:gd name="T22" fmla="*/ 39 w 56"/>
                    <a:gd name="T23" fmla="*/ 58 h 82"/>
                    <a:gd name="T24" fmla="*/ 36 w 56"/>
                    <a:gd name="T25" fmla="*/ 69 h 82"/>
                    <a:gd name="T26" fmla="*/ 41 w 56"/>
                    <a:gd name="T27" fmla="*/ 82 h 82"/>
                    <a:gd name="T28" fmla="*/ 27 w 56"/>
                    <a:gd name="T29" fmla="*/ 82 h 82"/>
                    <a:gd name="T30" fmla="*/ 8 w 56"/>
                    <a:gd name="T31"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82">
                      <a:moveTo>
                        <a:pt x="8" y="79"/>
                      </a:moveTo>
                      <a:lnTo>
                        <a:pt x="9" y="69"/>
                      </a:lnTo>
                      <a:lnTo>
                        <a:pt x="0" y="61"/>
                      </a:lnTo>
                      <a:lnTo>
                        <a:pt x="2" y="43"/>
                      </a:lnTo>
                      <a:lnTo>
                        <a:pt x="6" y="27"/>
                      </a:lnTo>
                      <a:lnTo>
                        <a:pt x="20" y="15"/>
                      </a:lnTo>
                      <a:lnTo>
                        <a:pt x="33" y="15"/>
                      </a:lnTo>
                      <a:lnTo>
                        <a:pt x="50" y="0"/>
                      </a:lnTo>
                      <a:lnTo>
                        <a:pt x="56" y="19"/>
                      </a:lnTo>
                      <a:lnTo>
                        <a:pt x="50" y="33"/>
                      </a:lnTo>
                      <a:lnTo>
                        <a:pt x="51" y="49"/>
                      </a:lnTo>
                      <a:lnTo>
                        <a:pt x="39" y="58"/>
                      </a:lnTo>
                      <a:lnTo>
                        <a:pt x="36" y="69"/>
                      </a:lnTo>
                      <a:lnTo>
                        <a:pt x="41" y="82"/>
                      </a:lnTo>
                      <a:lnTo>
                        <a:pt x="27" y="82"/>
                      </a:lnTo>
                      <a:lnTo>
                        <a:pt x="8" y="7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1" name="Freeform 156"/>
                <p:cNvSpPr>
                  <a:spLocks/>
                </p:cNvSpPr>
                <p:nvPr/>
              </p:nvSpPr>
              <p:spPr bwMode="auto">
                <a:xfrm>
                  <a:off x="4646931" y="2307836"/>
                  <a:ext cx="43435" cy="33198"/>
                </a:xfrm>
                <a:custGeom>
                  <a:avLst/>
                  <a:gdLst>
                    <a:gd name="T0" fmla="*/ 4 w 41"/>
                    <a:gd name="T1" fmla="*/ 3 h 33"/>
                    <a:gd name="T2" fmla="*/ 28 w 41"/>
                    <a:gd name="T3" fmla="*/ 2 h 33"/>
                    <a:gd name="T4" fmla="*/ 13 w 41"/>
                    <a:gd name="T5" fmla="*/ 33 h 33"/>
                    <a:gd name="T6" fmla="*/ 13 w 41"/>
                    <a:gd name="T7" fmla="*/ 20 h 33"/>
                    <a:gd name="T8" fmla="*/ 12 w 41"/>
                    <a:gd name="T9" fmla="*/ 12 h 33"/>
                    <a:gd name="T10" fmla="*/ 7 w 41"/>
                    <a:gd name="T11" fmla="*/ 11 h 33"/>
                    <a:gd name="T12" fmla="*/ 4 w 41"/>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 y="3"/>
                      </a:moveTo>
                      <a:cubicBezTo>
                        <a:pt x="16" y="1"/>
                        <a:pt x="12" y="0"/>
                        <a:pt x="28" y="2"/>
                      </a:cubicBezTo>
                      <a:cubicBezTo>
                        <a:pt x="41" y="19"/>
                        <a:pt x="31" y="31"/>
                        <a:pt x="13" y="33"/>
                      </a:cubicBezTo>
                      <a:cubicBezTo>
                        <a:pt x="0" y="31"/>
                        <a:pt x="8" y="26"/>
                        <a:pt x="13" y="20"/>
                      </a:cubicBezTo>
                      <a:cubicBezTo>
                        <a:pt x="13" y="17"/>
                        <a:pt x="13" y="14"/>
                        <a:pt x="12" y="12"/>
                      </a:cubicBezTo>
                      <a:cubicBezTo>
                        <a:pt x="11" y="11"/>
                        <a:pt x="8" y="12"/>
                        <a:pt x="7" y="11"/>
                      </a:cubicBezTo>
                      <a:cubicBezTo>
                        <a:pt x="5" y="9"/>
                        <a:pt x="6" y="5"/>
                        <a:pt x="4" y="3"/>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2" name="Freeform 157"/>
                <p:cNvSpPr>
                  <a:spLocks/>
                </p:cNvSpPr>
                <p:nvPr/>
              </p:nvSpPr>
              <p:spPr bwMode="auto">
                <a:xfrm>
                  <a:off x="4676405" y="2442134"/>
                  <a:ext cx="156678" cy="69413"/>
                </a:xfrm>
                <a:custGeom>
                  <a:avLst/>
                  <a:gdLst>
                    <a:gd name="T0" fmla="*/ 66 w 153"/>
                    <a:gd name="T1" fmla="*/ 1 h 69"/>
                    <a:gd name="T2" fmla="*/ 86 w 153"/>
                    <a:gd name="T3" fmla="*/ 7 h 69"/>
                    <a:gd name="T4" fmla="*/ 101 w 153"/>
                    <a:gd name="T5" fmla="*/ 16 h 69"/>
                    <a:gd name="T6" fmla="*/ 113 w 153"/>
                    <a:gd name="T7" fmla="*/ 24 h 69"/>
                    <a:gd name="T8" fmla="*/ 125 w 153"/>
                    <a:gd name="T9" fmla="*/ 19 h 69"/>
                    <a:gd name="T10" fmla="*/ 153 w 153"/>
                    <a:gd name="T11" fmla="*/ 37 h 69"/>
                    <a:gd name="T12" fmla="*/ 129 w 153"/>
                    <a:gd name="T13" fmla="*/ 61 h 69"/>
                    <a:gd name="T14" fmla="*/ 105 w 153"/>
                    <a:gd name="T15" fmla="*/ 66 h 69"/>
                    <a:gd name="T16" fmla="*/ 75 w 153"/>
                    <a:gd name="T17" fmla="*/ 60 h 69"/>
                    <a:gd name="T18" fmla="*/ 57 w 153"/>
                    <a:gd name="T19" fmla="*/ 69 h 69"/>
                    <a:gd name="T20" fmla="*/ 36 w 153"/>
                    <a:gd name="T21" fmla="*/ 64 h 69"/>
                    <a:gd name="T22" fmla="*/ 11 w 153"/>
                    <a:gd name="T23" fmla="*/ 42 h 69"/>
                    <a:gd name="T24" fmla="*/ 0 w 153"/>
                    <a:gd name="T25" fmla="*/ 18 h 69"/>
                    <a:gd name="T26" fmla="*/ 18 w 153"/>
                    <a:gd name="T27" fmla="*/ 18 h 69"/>
                    <a:gd name="T28" fmla="*/ 51 w 153"/>
                    <a:gd name="T29" fmla="*/ 0 h 69"/>
                    <a:gd name="T30" fmla="*/ 66 w 153"/>
                    <a:gd name="T31"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69">
                      <a:moveTo>
                        <a:pt x="66" y="1"/>
                      </a:moveTo>
                      <a:lnTo>
                        <a:pt x="86" y="7"/>
                      </a:lnTo>
                      <a:lnTo>
                        <a:pt x="101" y="16"/>
                      </a:lnTo>
                      <a:lnTo>
                        <a:pt x="113" y="24"/>
                      </a:lnTo>
                      <a:lnTo>
                        <a:pt x="125" y="19"/>
                      </a:lnTo>
                      <a:lnTo>
                        <a:pt x="153" y="37"/>
                      </a:lnTo>
                      <a:lnTo>
                        <a:pt x="129" y="61"/>
                      </a:lnTo>
                      <a:lnTo>
                        <a:pt x="105" y="66"/>
                      </a:lnTo>
                      <a:lnTo>
                        <a:pt x="75" y="60"/>
                      </a:lnTo>
                      <a:lnTo>
                        <a:pt x="57" y="69"/>
                      </a:lnTo>
                      <a:lnTo>
                        <a:pt x="36" y="64"/>
                      </a:lnTo>
                      <a:lnTo>
                        <a:pt x="11" y="42"/>
                      </a:lnTo>
                      <a:lnTo>
                        <a:pt x="0" y="18"/>
                      </a:lnTo>
                      <a:lnTo>
                        <a:pt x="18" y="18"/>
                      </a:lnTo>
                      <a:lnTo>
                        <a:pt x="51" y="0"/>
                      </a:lnTo>
                      <a:lnTo>
                        <a:pt x="66" y="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3" name="Freeform 158"/>
                <p:cNvSpPr>
                  <a:spLocks/>
                </p:cNvSpPr>
                <p:nvPr/>
              </p:nvSpPr>
              <p:spPr bwMode="auto">
                <a:xfrm>
                  <a:off x="4527483" y="2538708"/>
                  <a:ext cx="111691" cy="52814"/>
                </a:xfrm>
                <a:custGeom>
                  <a:avLst/>
                  <a:gdLst>
                    <a:gd name="T0" fmla="*/ 33 w 108"/>
                    <a:gd name="T1" fmla="*/ 3 h 54"/>
                    <a:gd name="T2" fmla="*/ 47 w 108"/>
                    <a:gd name="T3" fmla="*/ 3 h 54"/>
                    <a:gd name="T4" fmla="*/ 92 w 108"/>
                    <a:gd name="T5" fmla="*/ 0 h 54"/>
                    <a:gd name="T6" fmla="*/ 87 w 108"/>
                    <a:gd name="T7" fmla="*/ 18 h 54"/>
                    <a:gd name="T8" fmla="*/ 108 w 108"/>
                    <a:gd name="T9" fmla="*/ 24 h 54"/>
                    <a:gd name="T10" fmla="*/ 99 w 108"/>
                    <a:gd name="T11" fmla="*/ 40 h 54"/>
                    <a:gd name="T12" fmla="*/ 83 w 108"/>
                    <a:gd name="T13" fmla="*/ 36 h 54"/>
                    <a:gd name="T14" fmla="*/ 71 w 108"/>
                    <a:gd name="T15" fmla="*/ 54 h 54"/>
                    <a:gd name="T16" fmla="*/ 57 w 108"/>
                    <a:gd name="T17" fmla="*/ 34 h 54"/>
                    <a:gd name="T18" fmla="*/ 47 w 108"/>
                    <a:gd name="T19" fmla="*/ 49 h 54"/>
                    <a:gd name="T20" fmla="*/ 24 w 108"/>
                    <a:gd name="T21" fmla="*/ 51 h 54"/>
                    <a:gd name="T22" fmla="*/ 23 w 108"/>
                    <a:gd name="T23" fmla="*/ 36 h 54"/>
                    <a:gd name="T24" fmla="*/ 0 w 108"/>
                    <a:gd name="T25" fmla="*/ 45 h 54"/>
                    <a:gd name="T26" fmla="*/ 8 w 108"/>
                    <a:gd name="T27" fmla="*/ 30 h 54"/>
                    <a:gd name="T28" fmla="*/ 33 w 108"/>
                    <a:gd name="T29" fmla="*/ 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54">
                      <a:moveTo>
                        <a:pt x="33" y="3"/>
                      </a:moveTo>
                      <a:lnTo>
                        <a:pt x="47" y="3"/>
                      </a:lnTo>
                      <a:lnTo>
                        <a:pt x="92" y="0"/>
                      </a:lnTo>
                      <a:lnTo>
                        <a:pt x="87" y="18"/>
                      </a:lnTo>
                      <a:lnTo>
                        <a:pt x="108" y="24"/>
                      </a:lnTo>
                      <a:lnTo>
                        <a:pt x="99" y="40"/>
                      </a:lnTo>
                      <a:lnTo>
                        <a:pt x="83" y="36"/>
                      </a:lnTo>
                      <a:lnTo>
                        <a:pt x="71" y="54"/>
                      </a:lnTo>
                      <a:lnTo>
                        <a:pt x="57" y="34"/>
                      </a:lnTo>
                      <a:lnTo>
                        <a:pt x="47" y="49"/>
                      </a:lnTo>
                      <a:lnTo>
                        <a:pt x="24" y="51"/>
                      </a:lnTo>
                      <a:lnTo>
                        <a:pt x="23" y="36"/>
                      </a:lnTo>
                      <a:lnTo>
                        <a:pt x="0" y="45"/>
                      </a:lnTo>
                      <a:lnTo>
                        <a:pt x="8" y="30"/>
                      </a:lnTo>
                      <a:lnTo>
                        <a:pt x="33" y="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4" name="Freeform 159"/>
                <p:cNvSpPr>
                  <a:spLocks/>
                </p:cNvSpPr>
                <p:nvPr/>
              </p:nvSpPr>
              <p:spPr bwMode="auto">
                <a:xfrm>
                  <a:off x="4617457" y="2502493"/>
                  <a:ext cx="181499" cy="72430"/>
                </a:xfrm>
                <a:custGeom>
                  <a:avLst/>
                  <a:gdLst>
                    <a:gd name="T0" fmla="*/ 162 w 176"/>
                    <a:gd name="T1" fmla="*/ 6 h 73"/>
                    <a:gd name="T2" fmla="*/ 132 w 176"/>
                    <a:gd name="T3" fmla="*/ 0 h 73"/>
                    <a:gd name="T4" fmla="*/ 111 w 176"/>
                    <a:gd name="T5" fmla="*/ 10 h 73"/>
                    <a:gd name="T6" fmla="*/ 96 w 176"/>
                    <a:gd name="T7" fmla="*/ 4 h 73"/>
                    <a:gd name="T8" fmla="*/ 74 w 176"/>
                    <a:gd name="T9" fmla="*/ 21 h 73"/>
                    <a:gd name="T10" fmla="*/ 78 w 176"/>
                    <a:gd name="T11" fmla="*/ 40 h 73"/>
                    <a:gd name="T12" fmla="*/ 66 w 176"/>
                    <a:gd name="T13" fmla="*/ 33 h 73"/>
                    <a:gd name="T14" fmla="*/ 30 w 176"/>
                    <a:gd name="T15" fmla="*/ 40 h 73"/>
                    <a:gd name="T16" fmla="*/ 21 w 176"/>
                    <a:gd name="T17" fmla="*/ 33 h 73"/>
                    <a:gd name="T18" fmla="*/ 12 w 176"/>
                    <a:gd name="T19" fmla="*/ 45 h 73"/>
                    <a:gd name="T20" fmla="*/ 6 w 176"/>
                    <a:gd name="T21" fmla="*/ 36 h 73"/>
                    <a:gd name="T22" fmla="*/ 0 w 176"/>
                    <a:gd name="T23" fmla="*/ 54 h 73"/>
                    <a:gd name="T24" fmla="*/ 21 w 176"/>
                    <a:gd name="T25" fmla="*/ 61 h 73"/>
                    <a:gd name="T26" fmla="*/ 36 w 176"/>
                    <a:gd name="T27" fmla="*/ 58 h 73"/>
                    <a:gd name="T28" fmla="*/ 60 w 176"/>
                    <a:gd name="T29" fmla="*/ 52 h 73"/>
                    <a:gd name="T30" fmla="*/ 63 w 176"/>
                    <a:gd name="T31" fmla="*/ 67 h 73"/>
                    <a:gd name="T32" fmla="*/ 78 w 176"/>
                    <a:gd name="T33" fmla="*/ 64 h 73"/>
                    <a:gd name="T34" fmla="*/ 92 w 176"/>
                    <a:gd name="T35" fmla="*/ 73 h 73"/>
                    <a:gd name="T36" fmla="*/ 102 w 176"/>
                    <a:gd name="T37" fmla="*/ 69 h 73"/>
                    <a:gd name="T38" fmla="*/ 125 w 176"/>
                    <a:gd name="T39" fmla="*/ 66 h 73"/>
                    <a:gd name="T40" fmla="*/ 146 w 176"/>
                    <a:gd name="T41" fmla="*/ 66 h 73"/>
                    <a:gd name="T42" fmla="*/ 158 w 176"/>
                    <a:gd name="T43" fmla="*/ 54 h 73"/>
                    <a:gd name="T44" fmla="*/ 162 w 176"/>
                    <a:gd name="T45" fmla="*/ 34 h 73"/>
                    <a:gd name="T46" fmla="*/ 173 w 176"/>
                    <a:gd name="T47" fmla="*/ 34 h 73"/>
                    <a:gd name="T48" fmla="*/ 176 w 176"/>
                    <a:gd name="T49" fmla="*/ 21 h 73"/>
                    <a:gd name="T50" fmla="*/ 162 w 176"/>
                    <a:gd name="T51"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 h="73">
                      <a:moveTo>
                        <a:pt x="162" y="6"/>
                      </a:moveTo>
                      <a:lnTo>
                        <a:pt x="132" y="0"/>
                      </a:lnTo>
                      <a:lnTo>
                        <a:pt x="111" y="10"/>
                      </a:lnTo>
                      <a:lnTo>
                        <a:pt x="96" y="4"/>
                      </a:lnTo>
                      <a:lnTo>
                        <a:pt x="74" y="21"/>
                      </a:lnTo>
                      <a:lnTo>
                        <a:pt x="78" y="40"/>
                      </a:lnTo>
                      <a:lnTo>
                        <a:pt x="66" y="33"/>
                      </a:lnTo>
                      <a:lnTo>
                        <a:pt x="30" y="40"/>
                      </a:lnTo>
                      <a:lnTo>
                        <a:pt x="21" y="33"/>
                      </a:lnTo>
                      <a:lnTo>
                        <a:pt x="12" y="45"/>
                      </a:lnTo>
                      <a:lnTo>
                        <a:pt x="6" y="36"/>
                      </a:lnTo>
                      <a:lnTo>
                        <a:pt x="0" y="54"/>
                      </a:lnTo>
                      <a:lnTo>
                        <a:pt x="21" y="61"/>
                      </a:lnTo>
                      <a:lnTo>
                        <a:pt x="36" y="58"/>
                      </a:lnTo>
                      <a:lnTo>
                        <a:pt x="60" y="52"/>
                      </a:lnTo>
                      <a:lnTo>
                        <a:pt x="63" y="67"/>
                      </a:lnTo>
                      <a:lnTo>
                        <a:pt x="78" y="64"/>
                      </a:lnTo>
                      <a:lnTo>
                        <a:pt x="92" y="73"/>
                      </a:lnTo>
                      <a:lnTo>
                        <a:pt x="102" y="69"/>
                      </a:lnTo>
                      <a:lnTo>
                        <a:pt x="125" y="66"/>
                      </a:lnTo>
                      <a:lnTo>
                        <a:pt x="146" y="66"/>
                      </a:lnTo>
                      <a:lnTo>
                        <a:pt x="158" y="54"/>
                      </a:lnTo>
                      <a:lnTo>
                        <a:pt x="162" y="34"/>
                      </a:lnTo>
                      <a:lnTo>
                        <a:pt x="173" y="34"/>
                      </a:lnTo>
                      <a:lnTo>
                        <a:pt x="176" y="21"/>
                      </a:lnTo>
                      <a:lnTo>
                        <a:pt x="162" y="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5" name="Freeform 160"/>
                <p:cNvSpPr>
                  <a:spLocks/>
                </p:cNvSpPr>
                <p:nvPr/>
              </p:nvSpPr>
              <p:spPr bwMode="auto">
                <a:xfrm>
                  <a:off x="4546098" y="2553798"/>
                  <a:ext cx="302497" cy="274632"/>
                </a:xfrm>
                <a:custGeom>
                  <a:avLst/>
                  <a:gdLst>
                    <a:gd name="T0" fmla="*/ 159 w 293"/>
                    <a:gd name="T1" fmla="*/ 21 h 275"/>
                    <a:gd name="T2" fmla="*/ 147 w 293"/>
                    <a:gd name="T3" fmla="*/ 12 h 275"/>
                    <a:gd name="T4" fmla="*/ 132 w 293"/>
                    <a:gd name="T5" fmla="*/ 14 h 275"/>
                    <a:gd name="T6" fmla="*/ 129 w 293"/>
                    <a:gd name="T7" fmla="*/ 0 h 275"/>
                    <a:gd name="T8" fmla="*/ 87 w 293"/>
                    <a:gd name="T9" fmla="*/ 9 h 275"/>
                    <a:gd name="T10" fmla="*/ 81 w 293"/>
                    <a:gd name="T11" fmla="*/ 24 h 275"/>
                    <a:gd name="T12" fmla="*/ 65 w 293"/>
                    <a:gd name="T13" fmla="*/ 20 h 275"/>
                    <a:gd name="T14" fmla="*/ 53 w 293"/>
                    <a:gd name="T15" fmla="*/ 38 h 275"/>
                    <a:gd name="T16" fmla="*/ 38 w 293"/>
                    <a:gd name="T17" fmla="*/ 18 h 275"/>
                    <a:gd name="T18" fmla="*/ 27 w 293"/>
                    <a:gd name="T19" fmla="*/ 35 h 275"/>
                    <a:gd name="T20" fmla="*/ 6 w 293"/>
                    <a:gd name="T21" fmla="*/ 33 h 275"/>
                    <a:gd name="T22" fmla="*/ 12 w 293"/>
                    <a:gd name="T23" fmla="*/ 53 h 275"/>
                    <a:gd name="T24" fmla="*/ 0 w 293"/>
                    <a:gd name="T25" fmla="*/ 62 h 275"/>
                    <a:gd name="T26" fmla="*/ 9 w 293"/>
                    <a:gd name="T27" fmla="*/ 68 h 275"/>
                    <a:gd name="T28" fmla="*/ 3 w 293"/>
                    <a:gd name="T29" fmla="*/ 81 h 275"/>
                    <a:gd name="T30" fmla="*/ 14 w 293"/>
                    <a:gd name="T31" fmla="*/ 84 h 275"/>
                    <a:gd name="T32" fmla="*/ 20 w 293"/>
                    <a:gd name="T33" fmla="*/ 96 h 275"/>
                    <a:gd name="T34" fmla="*/ 33 w 293"/>
                    <a:gd name="T35" fmla="*/ 96 h 275"/>
                    <a:gd name="T36" fmla="*/ 45 w 293"/>
                    <a:gd name="T37" fmla="*/ 84 h 275"/>
                    <a:gd name="T38" fmla="*/ 68 w 293"/>
                    <a:gd name="T39" fmla="*/ 81 h 275"/>
                    <a:gd name="T40" fmla="*/ 86 w 293"/>
                    <a:gd name="T41" fmla="*/ 93 h 275"/>
                    <a:gd name="T42" fmla="*/ 92 w 293"/>
                    <a:gd name="T43" fmla="*/ 108 h 275"/>
                    <a:gd name="T44" fmla="*/ 101 w 293"/>
                    <a:gd name="T45" fmla="*/ 126 h 275"/>
                    <a:gd name="T46" fmla="*/ 141 w 293"/>
                    <a:gd name="T47" fmla="*/ 158 h 275"/>
                    <a:gd name="T48" fmla="*/ 161 w 293"/>
                    <a:gd name="T49" fmla="*/ 174 h 275"/>
                    <a:gd name="T50" fmla="*/ 180 w 293"/>
                    <a:gd name="T51" fmla="*/ 186 h 275"/>
                    <a:gd name="T52" fmla="*/ 213 w 293"/>
                    <a:gd name="T53" fmla="*/ 213 h 275"/>
                    <a:gd name="T54" fmla="*/ 224 w 293"/>
                    <a:gd name="T55" fmla="*/ 222 h 275"/>
                    <a:gd name="T56" fmla="*/ 218 w 293"/>
                    <a:gd name="T57" fmla="*/ 264 h 275"/>
                    <a:gd name="T58" fmla="*/ 233 w 293"/>
                    <a:gd name="T59" fmla="*/ 267 h 275"/>
                    <a:gd name="T60" fmla="*/ 237 w 293"/>
                    <a:gd name="T61" fmla="*/ 251 h 275"/>
                    <a:gd name="T62" fmla="*/ 248 w 293"/>
                    <a:gd name="T63" fmla="*/ 242 h 275"/>
                    <a:gd name="T64" fmla="*/ 243 w 293"/>
                    <a:gd name="T65" fmla="*/ 224 h 275"/>
                    <a:gd name="T66" fmla="*/ 237 w 293"/>
                    <a:gd name="T67" fmla="*/ 210 h 275"/>
                    <a:gd name="T68" fmla="*/ 251 w 293"/>
                    <a:gd name="T69" fmla="*/ 200 h 275"/>
                    <a:gd name="T70" fmla="*/ 278 w 293"/>
                    <a:gd name="T71" fmla="*/ 215 h 275"/>
                    <a:gd name="T72" fmla="*/ 270 w 293"/>
                    <a:gd name="T73" fmla="*/ 189 h 275"/>
                    <a:gd name="T74" fmla="*/ 240 w 293"/>
                    <a:gd name="T75" fmla="*/ 170 h 275"/>
                    <a:gd name="T76" fmla="*/ 225 w 293"/>
                    <a:gd name="T77" fmla="*/ 165 h 275"/>
                    <a:gd name="T78" fmla="*/ 230 w 293"/>
                    <a:gd name="T79" fmla="*/ 155 h 275"/>
                    <a:gd name="T80" fmla="*/ 191 w 293"/>
                    <a:gd name="T81" fmla="*/ 143 h 275"/>
                    <a:gd name="T82" fmla="*/ 168 w 293"/>
                    <a:gd name="T83" fmla="*/ 120 h 275"/>
                    <a:gd name="T84" fmla="*/ 158 w 293"/>
                    <a:gd name="T85" fmla="*/ 101 h 275"/>
                    <a:gd name="T86" fmla="*/ 132 w 293"/>
                    <a:gd name="T87" fmla="*/ 84 h 275"/>
                    <a:gd name="T88" fmla="*/ 132 w 293"/>
                    <a:gd name="T89" fmla="*/ 53 h 275"/>
                    <a:gd name="T90" fmla="*/ 158 w 293"/>
                    <a:gd name="T91" fmla="*/ 42 h 275"/>
                    <a:gd name="T92" fmla="*/ 159 w 293"/>
                    <a:gd name="T93" fmla="*/ 2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3" h="275">
                      <a:moveTo>
                        <a:pt x="159" y="21"/>
                      </a:moveTo>
                      <a:lnTo>
                        <a:pt x="147" y="12"/>
                      </a:lnTo>
                      <a:lnTo>
                        <a:pt x="132" y="14"/>
                      </a:lnTo>
                      <a:lnTo>
                        <a:pt x="129" y="0"/>
                      </a:lnTo>
                      <a:lnTo>
                        <a:pt x="87" y="9"/>
                      </a:lnTo>
                      <a:lnTo>
                        <a:pt x="81" y="24"/>
                      </a:lnTo>
                      <a:lnTo>
                        <a:pt x="65" y="20"/>
                      </a:lnTo>
                      <a:lnTo>
                        <a:pt x="53" y="38"/>
                      </a:lnTo>
                      <a:lnTo>
                        <a:pt x="38" y="18"/>
                      </a:lnTo>
                      <a:lnTo>
                        <a:pt x="27" y="35"/>
                      </a:lnTo>
                      <a:lnTo>
                        <a:pt x="6" y="33"/>
                      </a:lnTo>
                      <a:lnTo>
                        <a:pt x="12" y="53"/>
                      </a:lnTo>
                      <a:lnTo>
                        <a:pt x="0" y="62"/>
                      </a:lnTo>
                      <a:lnTo>
                        <a:pt x="9" y="68"/>
                      </a:lnTo>
                      <a:lnTo>
                        <a:pt x="3" y="81"/>
                      </a:lnTo>
                      <a:lnTo>
                        <a:pt x="14" y="84"/>
                      </a:lnTo>
                      <a:lnTo>
                        <a:pt x="20" y="96"/>
                      </a:lnTo>
                      <a:lnTo>
                        <a:pt x="33" y="96"/>
                      </a:lnTo>
                      <a:lnTo>
                        <a:pt x="45" y="84"/>
                      </a:lnTo>
                      <a:cubicBezTo>
                        <a:pt x="52" y="75"/>
                        <a:pt x="57" y="79"/>
                        <a:pt x="68" y="81"/>
                      </a:cubicBezTo>
                      <a:cubicBezTo>
                        <a:pt x="74" y="85"/>
                        <a:pt x="80" y="89"/>
                        <a:pt x="86" y="93"/>
                      </a:cubicBezTo>
                      <a:cubicBezTo>
                        <a:pt x="87" y="99"/>
                        <a:pt x="88" y="103"/>
                        <a:pt x="92" y="108"/>
                      </a:cubicBezTo>
                      <a:cubicBezTo>
                        <a:pt x="93" y="115"/>
                        <a:pt x="95" y="121"/>
                        <a:pt x="101" y="126"/>
                      </a:cubicBezTo>
                      <a:cubicBezTo>
                        <a:pt x="104" y="141"/>
                        <a:pt x="130" y="149"/>
                        <a:pt x="141" y="158"/>
                      </a:cubicBezTo>
                      <a:cubicBezTo>
                        <a:pt x="145" y="165"/>
                        <a:pt x="153" y="172"/>
                        <a:pt x="161" y="174"/>
                      </a:cubicBezTo>
                      <a:cubicBezTo>
                        <a:pt x="166" y="180"/>
                        <a:pt x="172" y="185"/>
                        <a:pt x="180" y="186"/>
                      </a:cubicBezTo>
                      <a:cubicBezTo>
                        <a:pt x="196" y="192"/>
                        <a:pt x="195" y="210"/>
                        <a:pt x="213" y="213"/>
                      </a:cubicBezTo>
                      <a:cubicBezTo>
                        <a:pt x="219" y="215"/>
                        <a:pt x="221" y="217"/>
                        <a:pt x="224" y="222"/>
                      </a:cubicBezTo>
                      <a:cubicBezTo>
                        <a:pt x="225" y="237"/>
                        <a:pt x="228" y="251"/>
                        <a:pt x="218" y="264"/>
                      </a:cubicBezTo>
                      <a:cubicBezTo>
                        <a:pt x="220" y="275"/>
                        <a:pt x="226" y="271"/>
                        <a:pt x="233" y="267"/>
                      </a:cubicBezTo>
                      <a:cubicBezTo>
                        <a:pt x="238" y="260"/>
                        <a:pt x="242" y="260"/>
                        <a:pt x="237" y="251"/>
                      </a:cubicBezTo>
                      <a:cubicBezTo>
                        <a:pt x="240" y="245"/>
                        <a:pt x="241" y="243"/>
                        <a:pt x="248" y="242"/>
                      </a:cubicBezTo>
                      <a:cubicBezTo>
                        <a:pt x="255" y="233"/>
                        <a:pt x="256" y="227"/>
                        <a:pt x="243" y="224"/>
                      </a:cubicBezTo>
                      <a:cubicBezTo>
                        <a:pt x="242" y="218"/>
                        <a:pt x="239" y="215"/>
                        <a:pt x="237" y="210"/>
                      </a:cubicBezTo>
                      <a:cubicBezTo>
                        <a:pt x="243" y="205"/>
                        <a:pt x="243" y="201"/>
                        <a:pt x="251" y="200"/>
                      </a:cubicBezTo>
                      <a:cubicBezTo>
                        <a:pt x="263" y="201"/>
                        <a:pt x="268" y="209"/>
                        <a:pt x="278" y="215"/>
                      </a:cubicBezTo>
                      <a:cubicBezTo>
                        <a:pt x="293" y="207"/>
                        <a:pt x="279" y="194"/>
                        <a:pt x="270" y="189"/>
                      </a:cubicBezTo>
                      <a:cubicBezTo>
                        <a:pt x="264" y="181"/>
                        <a:pt x="250" y="172"/>
                        <a:pt x="240" y="170"/>
                      </a:cubicBezTo>
                      <a:cubicBezTo>
                        <a:pt x="235" y="168"/>
                        <a:pt x="230" y="167"/>
                        <a:pt x="225" y="165"/>
                      </a:cubicBezTo>
                      <a:cubicBezTo>
                        <a:pt x="220" y="158"/>
                        <a:pt x="226" y="161"/>
                        <a:pt x="230" y="155"/>
                      </a:cubicBezTo>
                      <a:cubicBezTo>
                        <a:pt x="226" y="139"/>
                        <a:pt x="205" y="145"/>
                        <a:pt x="191" y="143"/>
                      </a:cubicBezTo>
                      <a:cubicBezTo>
                        <a:pt x="181" y="139"/>
                        <a:pt x="174" y="129"/>
                        <a:pt x="168" y="120"/>
                      </a:cubicBezTo>
                      <a:cubicBezTo>
                        <a:pt x="167" y="112"/>
                        <a:pt x="164" y="106"/>
                        <a:pt x="158" y="101"/>
                      </a:cubicBezTo>
                      <a:cubicBezTo>
                        <a:pt x="153" y="93"/>
                        <a:pt x="140" y="89"/>
                        <a:pt x="132" y="84"/>
                      </a:cubicBezTo>
                      <a:cubicBezTo>
                        <a:pt x="133" y="73"/>
                        <a:pt x="143" y="60"/>
                        <a:pt x="132" y="53"/>
                      </a:cubicBezTo>
                      <a:cubicBezTo>
                        <a:pt x="135" y="44"/>
                        <a:pt x="158" y="42"/>
                        <a:pt x="158" y="42"/>
                      </a:cubicBezTo>
                      <a:cubicBezTo>
                        <a:pt x="162" y="36"/>
                        <a:pt x="165" y="27"/>
                        <a:pt x="159" y="21"/>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6" name="Freeform 161"/>
                <p:cNvSpPr>
                  <a:spLocks/>
                </p:cNvSpPr>
                <p:nvPr/>
              </p:nvSpPr>
              <p:spPr bwMode="auto">
                <a:xfrm>
                  <a:off x="4586431" y="2671497"/>
                  <a:ext cx="32577" cy="49796"/>
                </a:xfrm>
                <a:custGeom>
                  <a:avLst/>
                  <a:gdLst>
                    <a:gd name="T0" fmla="*/ 27 w 32"/>
                    <a:gd name="T1" fmla="*/ 0 h 50"/>
                    <a:gd name="T2" fmla="*/ 14 w 32"/>
                    <a:gd name="T3" fmla="*/ 9 h 50"/>
                    <a:gd name="T4" fmla="*/ 17 w 32"/>
                    <a:gd name="T5" fmla="*/ 45 h 50"/>
                    <a:gd name="T6" fmla="*/ 26 w 32"/>
                    <a:gd name="T7" fmla="*/ 39 h 50"/>
                    <a:gd name="T8" fmla="*/ 32 w 32"/>
                    <a:gd name="T9" fmla="*/ 18 h 50"/>
                    <a:gd name="T10" fmla="*/ 27 w 32"/>
                    <a:gd name="T11" fmla="*/ 0 h 50"/>
                  </a:gdLst>
                  <a:ahLst/>
                  <a:cxnLst>
                    <a:cxn ang="0">
                      <a:pos x="T0" y="T1"/>
                    </a:cxn>
                    <a:cxn ang="0">
                      <a:pos x="T2" y="T3"/>
                    </a:cxn>
                    <a:cxn ang="0">
                      <a:pos x="T4" y="T5"/>
                    </a:cxn>
                    <a:cxn ang="0">
                      <a:pos x="T6" y="T7"/>
                    </a:cxn>
                    <a:cxn ang="0">
                      <a:pos x="T8" y="T9"/>
                    </a:cxn>
                    <a:cxn ang="0">
                      <a:pos x="T10" y="T11"/>
                    </a:cxn>
                  </a:cxnLst>
                  <a:rect l="0" t="0" r="r" b="b"/>
                  <a:pathLst>
                    <a:path w="32" h="50">
                      <a:moveTo>
                        <a:pt x="27" y="0"/>
                      </a:moveTo>
                      <a:cubicBezTo>
                        <a:pt x="23" y="7"/>
                        <a:pt x="22" y="8"/>
                        <a:pt x="14" y="9"/>
                      </a:cubicBezTo>
                      <a:cubicBezTo>
                        <a:pt x="8" y="20"/>
                        <a:pt x="0" y="42"/>
                        <a:pt x="17" y="45"/>
                      </a:cubicBezTo>
                      <a:cubicBezTo>
                        <a:pt x="23" y="50"/>
                        <a:pt x="22" y="45"/>
                        <a:pt x="26" y="39"/>
                      </a:cubicBezTo>
                      <a:cubicBezTo>
                        <a:pt x="27" y="32"/>
                        <a:pt x="30" y="25"/>
                        <a:pt x="32" y="18"/>
                      </a:cubicBezTo>
                      <a:cubicBezTo>
                        <a:pt x="30" y="3"/>
                        <a:pt x="32" y="9"/>
                        <a:pt x="27"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7" name="Freeform 162"/>
                <p:cNvSpPr>
                  <a:spLocks/>
                </p:cNvSpPr>
                <p:nvPr/>
              </p:nvSpPr>
              <p:spPr bwMode="auto">
                <a:xfrm>
                  <a:off x="4580226" y="2724312"/>
                  <a:ext cx="44987" cy="69413"/>
                </a:xfrm>
                <a:custGeom>
                  <a:avLst/>
                  <a:gdLst>
                    <a:gd name="T0" fmla="*/ 30 w 45"/>
                    <a:gd name="T1" fmla="*/ 0 h 70"/>
                    <a:gd name="T2" fmla="*/ 10 w 45"/>
                    <a:gd name="T3" fmla="*/ 10 h 70"/>
                    <a:gd name="T4" fmla="*/ 0 w 45"/>
                    <a:gd name="T5" fmla="*/ 15 h 70"/>
                    <a:gd name="T6" fmla="*/ 9 w 45"/>
                    <a:gd name="T7" fmla="*/ 34 h 70"/>
                    <a:gd name="T8" fmla="*/ 4 w 45"/>
                    <a:gd name="T9" fmla="*/ 55 h 70"/>
                    <a:gd name="T10" fmla="*/ 15 w 45"/>
                    <a:gd name="T11" fmla="*/ 70 h 70"/>
                    <a:gd name="T12" fmla="*/ 36 w 45"/>
                    <a:gd name="T13" fmla="*/ 61 h 70"/>
                    <a:gd name="T14" fmla="*/ 42 w 45"/>
                    <a:gd name="T15" fmla="*/ 52 h 70"/>
                    <a:gd name="T16" fmla="*/ 39 w 45"/>
                    <a:gd name="T17" fmla="*/ 34 h 70"/>
                    <a:gd name="T18" fmla="*/ 45 w 45"/>
                    <a:gd name="T19" fmla="*/ 19 h 70"/>
                    <a:gd name="T20" fmla="*/ 36 w 45"/>
                    <a:gd name="T21" fmla="*/ 7 h 70"/>
                    <a:gd name="T22" fmla="*/ 30 w 45"/>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70">
                      <a:moveTo>
                        <a:pt x="30" y="0"/>
                      </a:moveTo>
                      <a:cubicBezTo>
                        <a:pt x="23" y="4"/>
                        <a:pt x="18" y="9"/>
                        <a:pt x="10" y="10"/>
                      </a:cubicBezTo>
                      <a:cubicBezTo>
                        <a:pt x="3" y="5"/>
                        <a:pt x="1" y="8"/>
                        <a:pt x="0" y="15"/>
                      </a:cubicBezTo>
                      <a:cubicBezTo>
                        <a:pt x="1" y="22"/>
                        <a:pt x="6" y="27"/>
                        <a:pt x="9" y="34"/>
                      </a:cubicBezTo>
                      <a:cubicBezTo>
                        <a:pt x="10" y="41"/>
                        <a:pt x="7" y="49"/>
                        <a:pt x="4" y="55"/>
                      </a:cubicBezTo>
                      <a:cubicBezTo>
                        <a:pt x="6" y="66"/>
                        <a:pt x="5" y="68"/>
                        <a:pt x="15" y="70"/>
                      </a:cubicBezTo>
                      <a:cubicBezTo>
                        <a:pt x="25" y="63"/>
                        <a:pt x="19" y="63"/>
                        <a:pt x="36" y="61"/>
                      </a:cubicBezTo>
                      <a:cubicBezTo>
                        <a:pt x="37" y="60"/>
                        <a:pt x="42" y="53"/>
                        <a:pt x="42" y="52"/>
                      </a:cubicBezTo>
                      <a:cubicBezTo>
                        <a:pt x="42" y="46"/>
                        <a:pt x="39" y="34"/>
                        <a:pt x="39" y="34"/>
                      </a:cubicBezTo>
                      <a:cubicBezTo>
                        <a:pt x="40" y="28"/>
                        <a:pt x="42" y="25"/>
                        <a:pt x="45" y="19"/>
                      </a:cubicBezTo>
                      <a:cubicBezTo>
                        <a:pt x="42" y="14"/>
                        <a:pt x="41" y="10"/>
                        <a:pt x="36" y="7"/>
                      </a:cubicBezTo>
                      <a:cubicBezTo>
                        <a:pt x="35" y="4"/>
                        <a:pt x="30" y="0"/>
                        <a:pt x="30"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8" name="Freeform 163"/>
                <p:cNvSpPr>
                  <a:spLocks/>
                </p:cNvSpPr>
                <p:nvPr/>
              </p:nvSpPr>
              <p:spPr bwMode="auto">
                <a:xfrm>
                  <a:off x="4442163" y="2760527"/>
                  <a:ext cx="24820" cy="24143"/>
                </a:xfrm>
                <a:custGeom>
                  <a:avLst/>
                  <a:gdLst>
                    <a:gd name="T0" fmla="*/ 20 w 25"/>
                    <a:gd name="T1" fmla="*/ 3 h 24"/>
                    <a:gd name="T2" fmla="*/ 3 w 25"/>
                    <a:gd name="T3" fmla="*/ 6 h 24"/>
                    <a:gd name="T4" fmla="*/ 11 w 25"/>
                    <a:gd name="T5" fmla="*/ 19 h 24"/>
                    <a:gd name="T6" fmla="*/ 23 w 25"/>
                    <a:gd name="T7" fmla="*/ 18 h 24"/>
                    <a:gd name="T8" fmla="*/ 20 w 25"/>
                    <a:gd name="T9" fmla="*/ 3 h 24"/>
                  </a:gdLst>
                  <a:ahLst/>
                  <a:cxnLst>
                    <a:cxn ang="0">
                      <a:pos x="T0" y="T1"/>
                    </a:cxn>
                    <a:cxn ang="0">
                      <a:pos x="T2" y="T3"/>
                    </a:cxn>
                    <a:cxn ang="0">
                      <a:pos x="T4" y="T5"/>
                    </a:cxn>
                    <a:cxn ang="0">
                      <a:pos x="T6" y="T7"/>
                    </a:cxn>
                    <a:cxn ang="0">
                      <a:pos x="T8" y="T9"/>
                    </a:cxn>
                  </a:cxnLst>
                  <a:rect l="0" t="0" r="r" b="b"/>
                  <a:pathLst>
                    <a:path w="25" h="24">
                      <a:moveTo>
                        <a:pt x="20" y="3"/>
                      </a:moveTo>
                      <a:cubicBezTo>
                        <a:pt x="14" y="3"/>
                        <a:pt x="4" y="0"/>
                        <a:pt x="3" y="6"/>
                      </a:cubicBezTo>
                      <a:cubicBezTo>
                        <a:pt x="0" y="19"/>
                        <a:pt x="4" y="18"/>
                        <a:pt x="11" y="19"/>
                      </a:cubicBezTo>
                      <a:cubicBezTo>
                        <a:pt x="17" y="22"/>
                        <a:pt x="19" y="24"/>
                        <a:pt x="23" y="18"/>
                      </a:cubicBezTo>
                      <a:cubicBezTo>
                        <a:pt x="24" y="12"/>
                        <a:pt x="25" y="8"/>
                        <a:pt x="20" y="3"/>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59" name="Freeform 164"/>
                <p:cNvSpPr>
                  <a:spLocks/>
                </p:cNvSpPr>
                <p:nvPr/>
              </p:nvSpPr>
              <p:spPr bwMode="auto">
                <a:xfrm>
                  <a:off x="4684162" y="2808814"/>
                  <a:ext cx="85320" cy="52814"/>
                </a:xfrm>
                <a:custGeom>
                  <a:avLst/>
                  <a:gdLst>
                    <a:gd name="T0" fmla="*/ 80 w 84"/>
                    <a:gd name="T1" fmla="*/ 2 h 53"/>
                    <a:gd name="T2" fmla="*/ 59 w 84"/>
                    <a:gd name="T3" fmla="*/ 11 h 53"/>
                    <a:gd name="T4" fmla="*/ 26 w 84"/>
                    <a:gd name="T5" fmla="*/ 0 h 53"/>
                    <a:gd name="T6" fmla="*/ 14 w 84"/>
                    <a:gd name="T7" fmla="*/ 11 h 53"/>
                    <a:gd name="T8" fmla="*/ 16 w 84"/>
                    <a:gd name="T9" fmla="*/ 24 h 53"/>
                    <a:gd name="T10" fmla="*/ 49 w 84"/>
                    <a:gd name="T11" fmla="*/ 41 h 53"/>
                    <a:gd name="T12" fmla="*/ 67 w 84"/>
                    <a:gd name="T13" fmla="*/ 53 h 53"/>
                    <a:gd name="T14" fmla="*/ 73 w 84"/>
                    <a:gd name="T15" fmla="*/ 27 h 53"/>
                    <a:gd name="T16" fmla="*/ 80 w 84"/>
                    <a:gd name="T17"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3">
                      <a:moveTo>
                        <a:pt x="80" y="2"/>
                      </a:moveTo>
                      <a:cubicBezTo>
                        <a:pt x="72" y="3"/>
                        <a:pt x="67" y="8"/>
                        <a:pt x="59" y="11"/>
                      </a:cubicBezTo>
                      <a:cubicBezTo>
                        <a:pt x="33" y="9"/>
                        <a:pt x="43" y="7"/>
                        <a:pt x="26" y="0"/>
                      </a:cubicBezTo>
                      <a:cubicBezTo>
                        <a:pt x="17" y="3"/>
                        <a:pt x="22" y="6"/>
                        <a:pt x="14" y="11"/>
                      </a:cubicBezTo>
                      <a:cubicBezTo>
                        <a:pt x="2" y="2"/>
                        <a:pt x="0" y="21"/>
                        <a:pt x="16" y="24"/>
                      </a:cubicBezTo>
                      <a:cubicBezTo>
                        <a:pt x="28" y="30"/>
                        <a:pt x="37" y="37"/>
                        <a:pt x="49" y="41"/>
                      </a:cubicBezTo>
                      <a:cubicBezTo>
                        <a:pt x="55" y="45"/>
                        <a:pt x="61" y="49"/>
                        <a:pt x="67" y="53"/>
                      </a:cubicBezTo>
                      <a:cubicBezTo>
                        <a:pt x="81" y="48"/>
                        <a:pt x="75" y="39"/>
                        <a:pt x="73" y="27"/>
                      </a:cubicBezTo>
                      <a:cubicBezTo>
                        <a:pt x="75" y="17"/>
                        <a:pt x="84" y="14"/>
                        <a:pt x="80" y="2"/>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0" name="Freeform 165"/>
                <p:cNvSpPr>
                  <a:spLocks/>
                </p:cNvSpPr>
                <p:nvPr/>
              </p:nvSpPr>
              <p:spPr bwMode="auto">
                <a:xfrm>
                  <a:off x="4713635" y="2559834"/>
                  <a:ext cx="69807" cy="40742"/>
                </a:xfrm>
                <a:custGeom>
                  <a:avLst/>
                  <a:gdLst>
                    <a:gd name="T0" fmla="*/ 60 w 68"/>
                    <a:gd name="T1" fmla="*/ 0 h 41"/>
                    <a:gd name="T2" fmla="*/ 51 w 68"/>
                    <a:gd name="T3" fmla="*/ 8 h 41"/>
                    <a:gd name="T4" fmla="*/ 23 w 68"/>
                    <a:gd name="T5" fmla="*/ 9 h 41"/>
                    <a:gd name="T6" fmla="*/ 3 w 68"/>
                    <a:gd name="T7" fmla="*/ 12 h 41"/>
                    <a:gd name="T8" fmla="*/ 0 w 68"/>
                    <a:gd name="T9" fmla="*/ 26 h 41"/>
                    <a:gd name="T10" fmla="*/ 8 w 68"/>
                    <a:gd name="T11" fmla="*/ 39 h 41"/>
                    <a:gd name="T12" fmla="*/ 24 w 68"/>
                    <a:gd name="T13" fmla="*/ 35 h 41"/>
                    <a:gd name="T14" fmla="*/ 41 w 68"/>
                    <a:gd name="T15" fmla="*/ 41 h 41"/>
                    <a:gd name="T16" fmla="*/ 41 w 68"/>
                    <a:gd name="T17" fmla="*/ 30 h 41"/>
                    <a:gd name="T18" fmla="*/ 51 w 68"/>
                    <a:gd name="T19" fmla="*/ 30 h 41"/>
                    <a:gd name="T20" fmla="*/ 68 w 68"/>
                    <a:gd name="T21" fmla="*/ 6 h 41"/>
                    <a:gd name="T22" fmla="*/ 60 w 68"/>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41">
                      <a:moveTo>
                        <a:pt x="60" y="0"/>
                      </a:moveTo>
                      <a:lnTo>
                        <a:pt x="51" y="8"/>
                      </a:lnTo>
                      <a:lnTo>
                        <a:pt x="23" y="9"/>
                      </a:lnTo>
                      <a:lnTo>
                        <a:pt x="3" y="12"/>
                      </a:lnTo>
                      <a:lnTo>
                        <a:pt x="0" y="26"/>
                      </a:lnTo>
                      <a:lnTo>
                        <a:pt x="8" y="39"/>
                      </a:lnTo>
                      <a:lnTo>
                        <a:pt x="24" y="35"/>
                      </a:lnTo>
                      <a:lnTo>
                        <a:pt x="41" y="41"/>
                      </a:lnTo>
                      <a:lnTo>
                        <a:pt x="41" y="30"/>
                      </a:lnTo>
                      <a:lnTo>
                        <a:pt x="51" y="30"/>
                      </a:lnTo>
                      <a:lnTo>
                        <a:pt x="68" y="6"/>
                      </a:lnTo>
                      <a:lnTo>
                        <a:pt x="6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1" name="Freeform 166"/>
                <p:cNvSpPr>
                  <a:spLocks/>
                </p:cNvSpPr>
                <p:nvPr/>
              </p:nvSpPr>
              <p:spPr bwMode="auto">
                <a:xfrm>
                  <a:off x="4721392" y="2565870"/>
                  <a:ext cx="127204" cy="99592"/>
                </a:xfrm>
                <a:custGeom>
                  <a:avLst/>
                  <a:gdLst>
                    <a:gd name="T0" fmla="*/ 45 w 123"/>
                    <a:gd name="T1" fmla="*/ 54 h 99"/>
                    <a:gd name="T2" fmla="*/ 66 w 123"/>
                    <a:gd name="T3" fmla="*/ 80 h 99"/>
                    <a:gd name="T4" fmla="*/ 67 w 123"/>
                    <a:gd name="T5" fmla="*/ 99 h 99"/>
                    <a:gd name="T6" fmla="*/ 48 w 123"/>
                    <a:gd name="T7" fmla="*/ 89 h 99"/>
                    <a:gd name="T8" fmla="*/ 28 w 123"/>
                    <a:gd name="T9" fmla="*/ 68 h 99"/>
                    <a:gd name="T10" fmla="*/ 10 w 123"/>
                    <a:gd name="T11" fmla="*/ 53 h 99"/>
                    <a:gd name="T12" fmla="*/ 0 w 123"/>
                    <a:gd name="T13" fmla="*/ 33 h 99"/>
                    <a:gd name="T14" fmla="*/ 16 w 123"/>
                    <a:gd name="T15" fmla="*/ 29 h 99"/>
                    <a:gd name="T16" fmla="*/ 33 w 123"/>
                    <a:gd name="T17" fmla="*/ 35 h 99"/>
                    <a:gd name="T18" fmla="*/ 33 w 123"/>
                    <a:gd name="T19" fmla="*/ 24 h 99"/>
                    <a:gd name="T20" fmla="*/ 43 w 123"/>
                    <a:gd name="T21" fmla="*/ 24 h 99"/>
                    <a:gd name="T22" fmla="*/ 60 w 123"/>
                    <a:gd name="T23" fmla="*/ 0 h 99"/>
                    <a:gd name="T24" fmla="*/ 75 w 123"/>
                    <a:gd name="T25" fmla="*/ 18 h 99"/>
                    <a:gd name="T26" fmla="*/ 91 w 123"/>
                    <a:gd name="T27" fmla="*/ 29 h 99"/>
                    <a:gd name="T28" fmla="*/ 115 w 123"/>
                    <a:gd name="T29" fmla="*/ 26 h 99"/>
                    <a:gd name="T30" fmla="*/ 123 w 123"/>
                    <a:gd name="T31" fmla="*/ 53 h 99"/>
                    <a:gd name="T32" fmla="*/ 94 w 123"/>
                    <a:gd name="T33" fmla="*/ 47 h 99"/>
                    <a:gd name="T34" fmla="*/ 69 w 123"/>
                    <a:gd name="T35" fmla="*/ 41 h 99"/>
                    <a:gd name="T36" fmla="*/ 58 w 123"/>
                    <a:gd name="T37" fmla="*/ 47 h 99"/>
                    <a:gd name="T38" fmla="*/ 43 w 123"/>
                    <a:gd name="T39" fmla="*/ 44 h 99"/>
                    <a:gd name="T40" fmla="*/ 45 w 123"/>
                    <a:gd name="T41" fmla="*/ 5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9">
                      <a:moveTo>
                        <a:pt x="45" y="54"/>
                      </a:moveTo>
                      <a:lnTo>
                        <a:pt x="66" y="80"/>
                      </a:lnTo>
                      <a:lnTo>
                        <a:pt x="67" y="99"/>
                      </a:lnTo>
                      <a:lnTo>
                        <a:pt x="48" y="89"/>
                      </a:lnTo>
                      <a:lnTo>
                        <a:pt x="28" y="68"/>
                      </a:lnTo>
                      <a:lnTo>
                        <a:pt x="10" y="53"/>
                      </a:lnTo>
                      <a:lnTo>
                        <a:pt x="0" y="33"/>
                      </a:lnTo>
                      <a:lnTo>
                        <a:pt x="16" y="29"/>
                      </a:lnTo>
                      <a:lnTo>
                        <a:pt x="33" y="35"/>
                      </a:lnTo>
                      <a:lnTo>
                        <a:pt x="33" y="24"/>
                      </a:lnTo>
                      <a:lnTo>
                        <a:pt x="43" y="24"/>
                      </a:lnTo>
                      <a:lnTo>
                        <a:pt x="60" y="0"/>
                      </a:lnTo>
                      <a:lnTo>
                        <a:pt x="75" y="18"/>
                      </a:lnTo>
                      <a:lnTo>
                        <a:pt x="91" y="29"/>
                      </a:lnTo>
                      <a:lnTo>
                        <a:pt x="115" y="26"/>
                      </a:lnTo>
                      <a:lnTo>
                        <a:pt x="123" y="53"/>
                      </a:lnTo>
                      <a:lnTo>
                        <a:pt x="94" y="47"/>
                      </a:lnTo>
                      <a:lnTo>
                        <a:pt x="69" y="41"/>
                      </a:lnTo>
                      <a:lnTo>
                        <a:pt x="58" y="47"/>
                      </a:lnTo>
                      <a:lnTo>
                        <a:pt x="43" y="44"/>
                      </a:lnTo>
                      <a:lnTo>
                        <a:pt x="45" y="54"/>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2" name="Freeform 167"/>
                <p:cNvSpPr>
                  <a:spLocks/>
                </p:cNvSpPr>
                <p:nvPr/>
              </p:nvSpPr>
              <p:spPr bwMode="auto">
                <a:xfrm>
                  <a:off x="4763276" y="2605103"/>
                  <a:ext cx="94628" cy="81485"/>
                </a:xfrm>
                <a:custGeom>
                  <a:avLst/>
                  <a:gdLst>
                    <a:gd name="T0" fmla="*/ 27 w 93"/>
                    <a:gd name="T1" fmla="*/ 59 h 81"/>
                    <a:gd name="T2" fmla="*/ 72 w 93"/>
                    <a:gd name="T3" fmla="*/ 81 h 81"/>
                    <a:gd name="T4" fmla="*/ 72 w 93"/>
                    <a:gd name="T5" fmla="*/ 62 h 81"/>
                    <a:gd name="T6" fmla="*/ 93 w 93"/>
                    <a:gd name="T7" fmla="*/ 50 h 81"/>
                    <a:gd name="T8" fmla="*/ 89 w 93"/>
                    <a:gd name="T9" fmla="*/ 41 h 81"/>
                    <a:gd name="T10" fmla="*/ 83 w 93"/>
                    <a:gd name="T11" fmla="*/ 26 h 81"/>
                    <a:gd name="T12" fmla="*/ 83 w 93"/>
                    <a:gd name="T13" fmla="*/ 12 h 81"/>
                    <a:gd name="T14" fmla="*/ 51 w 93"/>
                    <a:gd name="T15" fmla="*/ 8 h 81"/>
                    <a:gd name="T16" fmla="*/ 27 w 93"/>
                    <a:gd name="T17" fmla="*/ 0 h 81"/>
                    <a:gd name="T18" fmla="*/ 18 w 93"/>
                    <a:gd name="T19" fmla="*/ 8 h 81"/>
                    <a:gd name="T20" fmla="*/ 0 w 93"/>
                    <a:gd name="T21" fmla="*/ 8 h 81"/>
                    <a:gd name="T22" fmla="*/ 26 w 93"/>
                    <a:gd name="T23" fmla="*/ 42 h 81"/>
                    <a:gd name="T24" fmla="*/ 27 w 93"/>
                    <a:gd name="T25" fmla="*/ 5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81">
                      <a:moveTo>
                        <a:pt x="27" y="59"/>
                      </a:moveTo>
                      <a:lnTo>
                        <a:pt x="72" y="81"/>
                      </a:lnTo>
                      <a:lnTo>
                        <a:pt x="72" y="62"/>
                      </a:lnTo>
                      <a:lnTo>
                        <a:pt x="93" y="50"/>
                      </a:lnTo>
                      <a:lnTo>
                        <a:pt x="89" y="41"/>
                      </a:lnTo>
                      <a:lnTo>
                        <a:pt x="83" y="26"/>
                      </a:lnTo>
                      <a:lnTo>
                        <a:pt x="83" y="12"/>
                      </a:lnTo>
                      <a:lnTo>
                        <a:pt x="51" y="8"/>
                      </a:lnTo>
                      <a:lnTo>
                        <a:pt x="27" y="0"/>
                      </a:lnTo>
                      <a:lnTo>
                        <a:pt x="18" y="8"/>
                      </a:lnTo>
                      <a:lnTo>
                        <a:pt x="0" y="8"/>
                      </a:lnTo>
                      <a:lnTo>
                        <a:pt x="26" y="42"/>
                      </a:lnTo>
                      <a:lnTo>
                        <a:pt x="27" y="5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3" name="Freeform 168"/>
                <p:cNvSpPr>
                  <a:spLocks/>
                </p:cNvSpPr>
                <p:nvPr/>
              </p:nvSpPr>
              <p:spPr bwMode="auto">
                <a:xfrm>
                  <a:off x="4839288" y="2577942"/>
                  <a:ext cx="100833" cy="135807"/>
                </a:xfrm>
                <a:custGeom>
                  <a:avLst/>
                  <a:gdLst>
                    <a:gd name="T0" fmla="*/ 0 w 65"/>
                    <a:gd name="T1" fmla="*/ 8 h 90"/>
                    <a:gd name="T2" fmla="*/ 13 w 65"/>
                    <a:gd name="T3" fmla="*/ 0 h 90"/>
                    <a:gd name="T4" fmla="*/ 30 w 65"/>
                    <a:gd name="T5" fmla="*/ 8 h 90"/>
                    <a:gd name="T6" fmla="*/ 31 w 65"/>
                    <a:gd name="T7" fmla="*/ 17 h 90"/>
                    <a:gd name="T8" fmla="*/ 42 w 65"/>
                    <a:gd name="T9" fmla="*/ 17 h 90"/>
                    <a:gd name="T10" fmla="*/ 45 w 65"/>
                    <a:gd name="T11" fmla="*/ 31 h 90"/>
                    <a:gd name="T12" fmla="*/ 61 w 65"/>
                    <a:gd name="T13" fmla="*/ 33 h 90"/>
                    <a:gd name="T14" fmla="*/ 62 w 65"/>
                    <a:gd name="T15" fmla="*/ 42 h 90"/>
                    <a:gd name="T16" fmla="*/ 56 w 65"/>
                    <a:gd name="T17" fmla="*/ 46 h 90"/>
                    <a:gd name="T18" fmla="*/ 59 w 65"/>
                    <a:gd name="T19" fmla="*/ 56 h 90"/>
                    <a:gd name="T20" fmla="*/ 65 w 65"/>
                    <a:gd name="T21" fmla="*/ 60 h 90"/>
                    <a:gd name="T22" fmla="*/ 57 w 65"/>
                    <a:gd name="T23" fmla="*/ 68 h 90"/>
                    <a:gd name="T24" fmla="*/ 59 w 65"/>
                    <a:gd name="T25" fmla="*/ 79 h 90"/>
                    <a:gd name="T26" fmla="*/ 46 w 65"/>
                    <a:gd name="T27" fmla="*/ 77 h 90"/>
                    <a:gd name="T28" fmla="*/ 35 w 65"/>
                    <a:gd name="T29" fmla="*/ 83 h 90"/>
                    <a:gd name="T30" fmla="*/ 30 w 65"/>
                    <a:gd name="T31" fmla="*/ 90 h 90"/>
                    <a:gd name="T32" fmla="*/ 30 w 65"/>
                    <a:gd name="T33" fmla="*/ 79 h 90"/>
                    <a:gd name="T34" fmla="*/ 20 w 65"/>
                    <a:gd name="T35" fmla="*/ 72 h 90"/>
                    <a:gd name="T36" fmla="*/ 12 w 65"/>
                    <a:gd name="T37" fmla="*/ 51 h 90"/>
                    <a:gd name="T38" fmla="*/ 8 w 65"/>
                    <a:gd name="T39" fmla="*/ 44 h 90"/>
                    <a:gd name="T40" fmla="*/ 5 w 65"/>
                    <a:gd name="T41" fmla="*/ 34 h 90"/>
                    <a:gd name="T42" fmla="*/ 5 w 65"/>
                    <a:gd name="T43" fmla="*/ 25 h 90"/>
                    <a:gd name="T44" fmla="*/ 0 w 65"/>
                    <a:gd name="T45"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90">
                      <a:moveTo>
                        <a:pt x="0" y="8"/>
                      </a:moveTo>
                      <a:lnTo>
                        <a:pt x="13" y="0"/>
                      </a:lnTo>
                      <a:lnTo>
                        <a:pt x="30" y="8"/>
                      </a:lnTo>
                      <a:lnTo>
                        <a:pt x="31" y="17"/>
                      </a:lnTo>
                      <a:lnTo>
                        <a:pt x="42" y="17"/>
                      </a:lnTo>
                      <a:lnTo>
                        <a:pt x="45" y="31"/>
                      </a:lnTo>
                      <a:lnTo>
                        <a:pt x="61" y="33"/>
                      </a:lnTo>
                      <a:lnTo>
                        <a:pt x="62" y="42"/>
                      </a:lnTo>
                      <a:lnTo>
                        <a:pt x="56" y="46"/>
                      </a:lnTo>
                      <a:lnTo>
                        <a:pt x="59" y="56"/>
                      </a:lnTo>
                      <a:lnTo>
                        <a:pt x="65" y="60"/>
                      </a:lnTo>
                      <a:lnTo>
                        <a:pt x="57" y="68"/>
                      </a:lnTo>
                      <a:lnTo>
                        <a:pt x="59" y="79"/>
                      </a:lnTo>
                      <a:lnTo>
                        <a:pt x="46" y="77"/>
                      </a:lnTo>
                      <a:lnTo>
                        <a:pt x="35" y="83"/>
                      </a:lnTo>
                      <a:lnTo>
                        <a:pt x="30" y="90"/>
                      </a:lnTo>
                      <a:lnTo>
                        <a:pt x="30" y="79"/>
                      </a:lnTo>
                      <a:lnTo>
                        <a:pt x="20" y="72"/>
                      </a:lnTo>
                      <a:lnTo>
                        <a:pt x="12" y="51"/>
                      </a:lnTo>
                      <a:lnTo>
                        <a:pt x="8" y="44"/>
                      </a:lnTo>
                      <a:lnTo>
                        <a:pt x="5" y="34"/>
                      </a:lnTo>
                      <a:lnTo>
                        <a:pt x="5" y="25"/>
                      </a:lnTo>
                      <a:lnTo>
                        <a:pt x="0" y="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4" name="Freeform 169"/>
                <p:cNvSpPr>
                  <a:spLocks/>
                </p:cNvSpPr>
                <p:nvPr/>
              </p:nvSpPr>
              <p:spPr bwMode="auto">
                <a:xfrm>
                  <a:off x="4851698" y="2686587"/>
                  <a:ext cx="48090" cy="86011"/>
                </a:xfrm>
                <a:custGeom>
                  <a:avLst/>
                  <a:gdLst>
                    <a:gd name="T0" fmla="*/ 0 w 47"/>
                    <a:gd name="T1" fmla="*/ 11 h 86"/>
                    <a:gd name="T2" fmla="*/ 17 w 47"/>
                    <a:gd name="T3" fmla="*/ 0 h 86"/>
                    <a:gd name="T4" fmla="*/ 32 w 47"/>
                    <a:gd name="T5" fmla="*/ 9 h 86"/>
                    <a:gd name="T6" fmla="*/ 33 w 47"/>
                    <a:gd name="T7" fmla="*/ 26 h 86"/>
                    <a:gd name="T8" fmla="*/ 32 w 47"/>
                    <a:gd name="T9" fmla="*/ 42 h 86"/>
                    <a:gd name="T10" fmla="*/ 47 w 47"/>
                    <a:gd name="T11" fmla="*/ 56 h 86"/>
                    <a:gd name="T12" fmla="*/ 27 w 47"/>
                    <a:gd name="T13" fmla="*/ 86 h 86"/>
                    <a:gd name="T14" fmla="*/ 17 w 47"/>
                    <a:gd name="T15" fmla="*/ 74 h 86"/>
                    <a:gd name="T16" fmla="*/ 5 w 47"/>
                    <a:gd name="T17" fmla="*/ 66 h 86"/>
                    <a:gd name="T18" fmla="*/ 6 w 47"/>
                    <a:gd name="T19" fmla="*/ 48 h 86"/>
                    <a:gd name="T20" fmla="*/ 8 w 47"/>
                    <a:gd name="T21" fmla="*/ 35 h 86"/>
                    <a:gd name="T22" fmla="*/ 9 w 47"/>
                    <a:gd name="T23" fmla="*/ 23 h 86"/>
                    <a:gd name="T24" fmla="*/ 0 w 47"/>
                    <a:gd name="T25" fmla="*/ 1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86">
                      <a:moveTo>
                        <a:pt x="0" y="11"/>
                      </a:moveTo>
                      <a:lnTo>
                        <a:pt x="17" y="0"/>
                      </a:lnTo>
                      <a:lnTo>
                        <a:pt x="32" y="9"/>
                      </a:lnTo>
                      <a:lnTo>
                        <a:pt x="33" y="26"/>
                      </a:lnTo>
                      <a:lnTo>
                        <a:pt x="32" y="42"/>
                      </a:lnTo>
                      <a:lnTo>
                        <a:pt x="47" y="56"/>
                      </a:lnTo>
                      <a:lnTo>
                        <a:pt x="27" y="86"/>
                      </a:lnTo>
                      <a:lnTo>
                        <a:pt x="17" y="74"/>
                      </a:lnTo>
                      <a:lnTo>
                        <a:pt x="5" y="66"/>
                      </a:lnTo>
                      <a:lnTo>
                        <a:pt x="6" y="48"/>
                      </a:lnTo>
                      <a:lnTo>
                        <a:pt x="8" y="35"/>
                      </a:lnTo>
                      <a:lnTo>
                        <a:pt x="9" y="23"/>
                      </a:lnTo>
                      <a:lnTo>
                        <a:pt x="0" y="1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5" name="Freeform 170"/>
                <p:cNvSpPr>
                  <a:spLocks/>
                </p:cNvSpPr>
                <p:nvPr/>
              </p:nvSpPr>
              <p:spPr bwMode="auto">
                <a:xfrm>
                  <a:off x="4885826" y="2692623"/>
                  <a:ext cx="58948" cy="46778"/>
                </a:xfrm>
                <a:custGeom>
                  <a:avLst/>
                  <a:gdLst>
                    <a:gd name="T0" fmla="*/ 0 w 57"/>
                    <a:gd name="T1" fmla="*/ 18 h 48"/>
                    <a:gd name="T2" fmla="*/ 12 w 57"/>
                    <a:gd name="T3" fmla="*/ 8 h 48"/>
                    <a:gd name="T4" fmla="*/ 24 w 57"/>
                    <a:gd name="T5" fmla="*/ 0 h 48"/>
                    <a:gd name="T6" fmla="*/ 44 w 57"/>
                    <a:gd name="T7" fmla="*/ 5 h 48"/>
                    <a:gd name="T8" fmla="*/ 57 w 57"/>
                    <a:gd name="T9" fmla="*/ 14 h 48"/>
                    <a:gd name="T10" fmla="*/ 54 w 57"/>
                    <a:gd name="T11" fmla="*/ 32 h 48"/>
                    <a:gd name="T12" fmla="*/ 36 w 57"/>
                    <a:gd name="T13" fmla="*/ 35 h 48"/>
                    <a:gd name="T14" fmla="*/ 14 w 57"/>
                    <a:gd name="T15" fmla="*/ 48 h 48"/>
                    <a:gd name="T16" fmla="*/ 0 w 57"/>
                    <a:gd name="T17" fmla="*/ 36 h 48"/>
                    <a:gd name="T18" fmla="*/ 0 w 57"/>
                    <a:gd name="T19"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8">
                      <a:moveTo>
                        <a:pt x="0" y="18"/>
                      </a:moveTo>
                      <a:lnTo>
                        <a:pt x="12" y="8"/>
                      </a:lnTo>
                      <a:lnTo>
                        <a:pt x="24" y="0"/>
                      </a:lnTo>
                      <a:lnTo>
                        <a:pt x="44" y="5"/>
                      </a:lnTo>
                      <a:lnTo>
                        <a:pt x="57" y="14"/>
                      </a:lnTo>
                      <a:lnTo>
                        <a:pt x="54" y="32"/>
                      </a:lnTo>
                      <a:lnTo>
                        <a:pt x="36" y="35"/>
                      </a:lnTo>
                      <a:lnTo>
                        <a:pt x="14" y="48"/>
                      </a:lnTo>
                      <a:lnTo>
                        <a:pt x="0" y="36"/>
                      </a:lnTo>
                      <a:lnTo>
                        <a:pt x="0" y="1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6" name="Freeform 171"/>
                <p:cNvSpPr>
                  <a:spLocks/>
                </p:cNvSpPr>
                <p:nvPr/>
              </p:nvSpPr>
              <p:spPr bwMode="auto">
                <a:xfrm>
                  <a:off x="4879621" y="2709221"/>
                  <a:ext cx="156678" cy="165987"/>
                </a:xfrm>
                <a:custGeom>
                  <a:avLst/>
                  <a:gdLst>
                    <a:gd name="T0" fmla="*/ 0 w 152"/>
                    <a:gd name="T1" fmla="*/ 63 h 166"/>
                    <a:gd name="T2" fmla="*/ 21 w 152"/>
                    <a:gd name="T3" fmla="*/ 30 h 166"/>
                    <a:gd name="T4" fmla="*/ 42 w 152"/>
                    <a:gd name="T5" fmla="*/ 16 h 166"/>
                    <a:gd name="T6" fmla="*/ 59 w 152"/>
                    <a:gd name="T7" fmla="*/ 13 h 166"/>
                    <a:gd name="T8" fmla="*/ 74 w 152"/>
                    <a:gd name="T9" fmla="*/ 10 h 166"/>
                    <a:gd name="T10" fmla="*/ 87 w 152"/>
                    <a:gd name="T11" fmla="*/ 6 h 166"/>
                    <a:gd name="T12" fmla="*/ 102 w 152"/>
                    <a:gd name="T13" fmla="*/ 6 h 166"/>
                    <a:gd name="T14" fmla="*/ 120 w 152"/>
                    <a:gd name="T15" fmla="*/ 15 h 166"/>
                    <a:gd name="T16" fmla="*/ 137 w 152"/>
                    <a:gd name="T17" fmla="*/ 12 h 166"/>
                    <a:gd name="T18" fmla="*/ 138 w 152"/>
                    <a:gd name="T19" fmla="*/ 1 h 166"/>
                    <a:gd name="T20" fmla="*/ 150 w 152"/>
                    <a:gd name="T21" fmla="*/ 0 h 166"/>
                    <a:gd name="T22" fmla="*/ 152 w 152"/>
                    <a:gd name="T23" fmla="*/ 10 h 166"/>
                    <a:gd name="T24" fmla="*/ 144 w 152"/>
                    <a:gd name="T25" fmla="*/ 30 h 166"/>
                    <a:gd name="T26" fmla="*/ 129 w 152"/>
                    <a:gd name="T27" fmla="*/ 24 h 166"/>
                    <a:gd name="T28" fmla="*/ 87 w 152"/>
                    <a:gd name="T29" fmla="*/ 28 h 166"/>
                    <a:gd name="T30" fmla="*/ 95 w 152"/>
                    <a:gd name="T31" fmla="*/ 39 h 166"/>
                    <a:gd name="T32" fmla="*/ 96 w 152"/>
                    <a:gd name="T33" fmla="*/ 52 h 166"/>
                    <a:gd name="T34" fmla="*/ 78 w 152"/>
                    <a:gd name="T35" fmla="*/ 40 h 166"/>
                    <a:gd name="T36" fmla="*/ 63 w 152"/>
                    <a:gd name="T37" fmla="*/ 42 h 166"/>
                    <a:gd name="T38" fmla="*/ 53 w 152"/>
                    <a:gd name="T39" fmla="*/ 43 h 166"/>
                    <a:gd name="T40" fmla="*/ 65 w 152"/>
                    <a:gd name="T41" fmla="*/ 58 h 166"/>
                    <a:gd name="T42" fmla="*/ 74 w 152"/>
                    <a:gd name="T43" fmla="*/ 70 h 166"/>
                    <a:gd name="T44" fmla="*/ 89 w 152"/>
                    <a:gd name="T45" fmla="*/ 91 h 166"/>
                    <a:gd name="T46" fmla="*/ 98 w 152"/>
                    <a:gd name="T47" fmla="*/ 94 h 166"/>
                    <a:gd name="T48" fmla="*/ 107 w 152"/>
                    <a:gd name="T49" fmla="*/ 105 h 166"/>
                    <a:gd name="T50" fmla="*/ 123 w 152"/>
                    <a:gd name="T51" fmla="*/ 117 h 166"/>
                    <a:gd name="T52" fmla="*/ 111 w 152"/>
                    <a:gd name="T53" fmla="*/ 120 h 166"/>
                    <a:gd name="T54" fmla="*/ 95 w 152"/>
                    <a:gd name="T55" fmla="*/ 105 h 166"/>
                    <a:gd name="T56" fmla="*/ 96 w 152"/>
                    <a:gd name="T57" fmla="*/ 118 h 166"/>
                    <a:gd name="T58" fmla="*/ 93 w 152"/>
                    <a:gd name="T59" fmla="*/ 123 h 166"/>
                    <a:gd name="T60" fmla="*/ 86 w 152"/>
                    <a:gd name="T61" fmla="*/ 117 h 166"/>
                    <a:gd name="T62" fmla="*/ 59 w 152"/>
                    <a:gd name="T63" fmla="*/ 97 h 166"/>
                    <a:gd name="T64" fmla="*/ 56 w 152"/>
                    <a:gd name="T65" fmla="*/ 106 h 166"/>
                    <a:gd name="T66" fmla="*/ 74 w 152"/>
                    <a:gd name="T67" fmla="*/ 117 h 166"/>
                    <a:gd name="T68" fmla="*/ 80 w 152"/>
                    <a:gd name="T69" fmla="*/ 130 h 166"/>
                    <a:gd name="T70" fmla="*/ 66 w 152"/>
                    <a:gd name="T71" fmla="*/ 130 h 166"/>
                    <a:gd name="T72" fmla="*/ 77 w 152"/>
                    <a:gd name="T73" fmla="*/ 148 h 166"/>
                    <a:gd name="T74" fmla="*/ 75 w 152"/>
                    <a:gd name="T75" fmla="*/ 166 h 166"/>
                    <a:gd name="T76" fmla="*/ 66 w 152"/>
                    <a:gd name="T77" fmla="*/ 147 h 166"/>
                    <a:gd name="T78" fmla="*/ 56 w 152"/>
                    <a:gd name="T79" fmla="*/ 160 h 166"/>
                    <a:gd name="T80" fmla="*/ 48 w 152"/>
                    <a:gd name="T81" fmla="*/ 144 h 166"/>
                    <a:gd name="T82" fmla="*/ 36 w 152"/>
                    <a:gd name="T83" fmla="*/ 150 h 166"/>
                    <a:gd name="T84" fmla="*/ 38 w 152"/>
                    <a:gd name="T85" fmla="*/ 133 h 166"/>
                    <a:gd name="T86" fmla="*/ 24 w 152"/>
                    <a:gd name="T87" fmla="*/ 135 h 166"/>
                    <a:gd name="T88" fmla="*/ 21 w 152"/>
                    <a:gd name="T89" fmla="*/ 117 h 166"/>
                    <a:gd name="T90" fmla="*/ 39 w 152"/>
                    <a:gd name="T91" fmla="*/ 108 h 166"/>
                    <a:gd name="T92" fmla="*/ 26 w 152"/>
                    <a:gd name="T93" fmla="*/ 102 h 166"/>
                    <a:gd name="T94" fmla="*/ 23 w 152"/>
                    <a:gd name="T95" fmla="*/ 97 h 166"/>
                    <a:gd name="T96" fmla="*/ 5 w 152"/>
                    <a:gd name="T97" fmla="*/ 90 h 166"/>
                    <a:gd name="T98" fmla="*/ 12 w 152"/>
                    <a:gd name="T99" fmla="*/ 82 h 166"/>
                    <a:gd name="T100" fmla="*/ 0 w 152"/>
                    <a:gd name="T101" fmla="*/ 6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2" h="166">
                      <a:moveTo>
                        <a:pt x="0" y="63"/>
                      </a:moveTo>
                      <a:lnTo>
                        <a:pt x="21" y="30"/>
                      </a:lnTo>
                      <a:lnTo>
                        <a:pt x="42" y="16"/>
                      </a:lnTo>
                      <a:lnTo>
                        <a:pt x="59" y="13"/>
                      </a:lnTo>
                      <a:lnTo>
                        <a:pt x="74" y="10"/>
                      </a:lnTo>
                      <a:lnTo>
                        <a:pt x="87" y="6"/>
                      </a:lnTo>
                      <a:lnTo>
                        <a:pt x="102" y="6"/>
                      </a:lnTo>
                      <a:lnTo>
                        <a:pt x="120" y="15"/>
                      </a:lnTo>
                      <a:lnTo>
                        <a:pt x="137" y="12"/>
                      </a:lnTo>
                      <a:lnTo>
                        <a:pt x="138" y="1"/>
                      </a:lnTo>
                      <a:lnTo>
                        <a:pt x="150" y="0"/>
                      </a:lnTo>
                      <a:lnTo>
                        <a:pt x="152" y="10"/>
                      </a:lnTo>
                      <a:lnTo>
                        <a:pt x="144" y="30"/>
                      </a:lnTo>
                      <a:cubicBezTo>
                        <a:pt x="139" y="26"/>
                        <a:pt x="135" y="25"/>
                        <a:pt x="129" y="24"/>
                      </a:cubicBezTo>
                      <a:cubicBezTo>
                        <a:pt x="115" y="25"/>
                        <a:pt x="101" y="26"/>
                        <a:pt x="87" y="28"/>
                      </a:cubicBezTo>
                      <a:cubicBezTo>
                        <a:pt x="78" y="32"/>
                        <a:pt x="90" y="37"/>
                        <a:pt x="95" y="39"/>
                      </a:cubicBezTo>
                      <a:cubicBezTo>
                        <a:pt x="99" y="44"/>
                        <a:pt x="100" y="46"/>
                        <a:pt x="96" y="52"/>
                      </a:cubicBezTo>
                      <a:cubicBezTo>
                        <a:pt x="89" y="49"/>
                        <a:pt x="85" y="43"/>
                        <a:pt x="78" y="40"/>
                      </a:cubicBezTo>
                      <a:cubicBezTo>
                        <a:pt x="72" y="43"/>
                        <a:pt x="69" y="43"/>
                        <a:pt x="63" y="42"/>
                      </a:cubicBezTo>
                      <a:cubicBezTo>
                        <a:pt x="61" y="33"/>
                        <a:pt x="57" y="38"/>
                        <a:pt x="53" y="43"/>
                      </a:cubicBezTo>
                      <a:cubicBezTo>
                        <a:pt x="54" y="53"/>
                        <a:pt x="55" y="56"/>
                        <a:pt x="65" y="58"/>
                      </a:cubicBezTo>
                      <a:cubicBezTo>
                        <a:pt x="70" y="61"/>
                        <a:pt x="71" y="65"/>
                        <a:pt x="74" y="70"/>
                      </a:cubicBezTo>
                      <a:cubicBezTo>
                        <a:pt x="67" y="86"/>
                        <a:pt x="72" y="90"/>
                        <a:pt x="89" y="91"/>
                      </a:cubicBezTo>
                      <a:cubicBezTo>
                        <a:pt x="92" y="92"/>
                        <a:pt x="96" y="92"/>
                        <a:pt x="98" y="94"/>
                      </a:cubicBezTo>
                      <a:cubicBezTo>
                        <a:pt x="104" y="100"/>
                        <a:pt x="96" y="101"/>
                        <a:pt x="107" y="105"/>
                      </a:cubicBezTo>
                      <a:cubicBezTo>
                        <a:pt x="113" y="109"/>
                        <a:pt x="117" y="113"/>
                        <a:pt x="123" y="117"/>
                      </a:cubicBezTo>
                      <a:cubicBezTo>
                        <a:pt x="121" y="127"/>
                        <a:pt x="119" y="122"/>
                        <a:pt x="111" y="120"/>
                      </a:cubicBezTo>
                      <a:cubicBezTo>
                        <a:pt x="107" y="114"/>
                        <a:pt x="101" y="109"/>
                        <a:pt x="95" y="105"/>
                      </a:cubicBezTo>
                      <a:cubicBezTo>
                        <a:pt x="91" y="111"/>
                        <a:pt x="92" y="113"/>
                        <a:pt x="96" y="118"/>
                      </a:cubicBezTo>
                      <a:cubicBezTo>
                        <a:pt x="95" y="120"/>
                        <a:pt x="95" y="122"/>
                        <a:pt x="93" y="123"/>
                      </a:cubicBezTo>
                      <a:cubicBezTo>
                        <a:pt x="90" y="124"/>
                        <a:pt x="87" y="118"/>
                        <a:pt x="86" y="117"/>
                      </a:cubicBezTo>
                      <a:cubicBezTo>
                        <a:pt x="78" y="108"/>
                        <a:pt x="70" y="101"/>
                        <a:pt x="59" y="97"/>
                      </a:cubicBezTo>
                      <a:cubicBezTo>
                        <a:pt x="47" y="99"/>
                        <a:pt x="43" y="104"/>
                        <a:pt x="56" y="106"/>
                      </a:cubicBezTo>
                      <a:cubicBezTo>
                        <a:pt x="62" y="109"/>
                        <a:pt x="68" y="113"/>
                        <a:pt x="74" y="117"/>
                      </a:cubicBezTo>
                      <a:cubicBezTo>
                        <a:pt x="77" y="121"/>
                        <a:pt x="78" y="125"/>
                        <a:pt x="80" y="130"/>
                      </a:cubicBezTo>
                      <a:cubicBezTo>
                        <a:pt x="73" y="133"/>
                        <a:pt x="73" y="129"/>
                        <a:pt x="66" y="130"/>
                      </a:cubicBezTo>
                      <a:cubicBezTo>
                        <a:pt x="70" y="136"/>
                        <a:pt x="73" y="142"/>
                        <a:pt x="77" y="148"/>
                      </a:cubicBezTo>
                      <a:cubicBezTo>
                        <a:pt x="78" y="155"/>
                        <a:pt x="78" y="160"/>
                        <a:pt x="75" y="166"/>
                      </a:cubicBezTo>
                      <a:cubicBezTo>
                        <a:pt x="63" y="164"/>
                        <a:pt x="70" y="156"/>
                        <a:pt x="66" y="147"/>
                      </a:cubicBezTo>
                      <a:cubicBezTo>
                        <a:pt x="60" y="153"/>
                        <a:pt x="65" y="164"/>
                        <a:pt x="56" y="160"/>
                      </a:cubicBezTo>
                      <a:cubicBezTo>
                        <a:pt x="54" y="152"/>
                        <a:pt x="56" y="146"/>
                        <a:pt x="48" y="144"/>
                      </a:cubicBezTo>
                      <a:cubicBezTo>
                        <a:pt x="43" y="148"/>
                        <a:pt x="43" y="151"/>
                        <a:pt x="36" y="150"/>
                      </a:cubicBezTo>
                      <a:cubicBezTo>
                        <a:pt x="35" y="143"/>
                        <a:pt x="36" y="139"/>
                        <a:pt x="38" y="133"/>
                      </a:cubicBezTo>
                      <a:cubicBezTo>
                        <a:pt x="34" y="121"/>
                        <a:pt x="29" y="127"/>
                        <a:pt x="24" y="135"/>
                      </a:cubicBezTo>
                      <a:cubicBezTo>
                        <a:pt x="4" y="132"/>
                        <a:pt x="0" y="120"/>
                        <a:pt x="21" y="117"/>
                      </a:cubicBezTo>
                      <a:cubicBezTo>
                        <a:pt x="29" y="114"/>
                        <a:pt x="30" y="109"/>
                        <a:pt x="39" y="108"/>
                      </a:cubicBezTo>
                      <a:cubicBezTo>
                        <a:pt x="37" y="97"/>
                        <a:pt x="41" y="108"/>
                        <a:pt x="26" y="102"/>
                      </a:cubicBezTo>
                      <a:cubicBezTo>
                        <a:pt x="24" y="101"/>
                        <a:pt x="24" y="98"/>
                        <a:pt x="23" y="97"/>
                      </a:cubicBezTo>
                      <a:cubicBezTo>
                        <a:pt x="18" y="92"/>
                        <a:pt x="12" y="91"/>
                        <a:pt x="5" y="90"/>
                      </a:cubicBezTo>
                      <a:cubicBezTo>
                        <a:pt x="7" y="87"/>
                        <a:pt x="11" y="85"/>
                        <a:pt x="12" y="82"/>
                      </a:cubicBezTo>
                      <a:cubicBezTo>
                        <a:pt x="15" y="70"/>
                        <a:pt x="5" y="70"/>
                        <a:pt x="0" y="63"/>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7" name="Freeform 172"/>
                <p:cNvSpPr>
                  <a:spLocks/>
                </p:cNvSpPr>
                <p:nvPr/>
              </p:nvSpPr>
              <p:spPr bwMode="auto">
                <a:xfrm>
                  <a:off x="4957184" y="2888789"/>
                  <a:ext cx="83768" cy="27162"/>
                </a:xfrm>
                <a:custGeom>
                  <a:avLst/>
                  <a:gdLst>
                    <a:gd name="T0" fmla="*/ 78 w 82"/>
                    <a:gd name="T1" fmla="*/ 11 h 28"/>
                    <a:gd name="T2" fmla="*/ 54 w 82"/>
                    <a:gd name="T3" fmla="*/ 7 h 28"/>
                    <a:gd name="T4" fmla="*/ 27 w 82"/>
                    <a:gd name="T5" fmla="*/ 11 h 28"/>
                    <a:gd name="T6" fmla="*/ 12 w 82"/>
                    <a:gd name="T7" fmla="*/ 2 h 28"/>
                    <a:gd name="T8" fmla="*/ 38 w 82"/>
                    <a:gd name="T9" fmla="*/ 20 h 28"/>
                    <a:gd name="T10" fmla="*/ 54 w 82"/>
                    <a:gd name="T11" fmla="*/ 28 h 28"/>
                    <a:gd name="T12" fmla="*/ 77 w 82"/>
                    <a:gd name="T13" fmla="*/ 23 h 28"/>
                    <a:gd name="T14" fmla="*/ 78 w 82"/>
                    <a:gd name="T15" fmla="*/ 1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8">
                      <a:moveTo>
                        <a:pt x="78" y="11"/>
                      </a:moveTo>
                      <a:cubicBezTo>
                        <a:pt x="66" y="10"/>
                        <a:pt x="64" y="9"/>
                        <a:pt x="54" y="7"/>
                      </a:cubicBezTo>
                      <a:cubicBezTo>
                        <a:pt x="43" y="2"/>
                        <a:pt x="38" y="9"/>
                        <a:pt x="27" y="11"/>
                      </a:cubicBezTo>
                      <a:cubicBezTo>
                        <a:pt x="25" y="0"/>
                        <a:pt x="23" y="1"/>
                        <a:pt x="12" y="2"/>
                      </a:cubicBezTo>
                      <a:cubicBezTo>
                        <a:pt x="0" y="21"/>
                        <a:pt x="24" y="19"/>
                        <a:pt x="38" y="20"/>
                      </a:cubicBezTo>
                      <a:cubicBezTo>
                        <a:pt x="46" y="24"/>
                        <a:pt x="44" y="26"/>
                        <a:pt x="54" y="28"/>
                      </a:cubicBezTo>
                      <a:cubicBezTo>
                        <a:pt x="62" y="27"/>
                        <a:pt x="70" y="26"/>
                        <a:pt x="77" y="23"/>
                      </a:cubicBezTo>
                      <a:cubicBezTo>
                        <a:pt x="82" y="17"/>
                        <a:pt x="80" y="21"/>
                        <a:pt x="78" y="11"/>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8" name="Freeform 173"/>
                <p:cNvSpPr>
                  <a:spLocks/>
                </p:cNvSpPr>
                <p:nvPr/>
              </p:nvSpPr>
              <p:spPr bwMode="auto">
                <a:xfrm>
                  <a:off x="4721392" y="2333489"/>
                  <a:ext cx="234242" cy="169004"/>
                </a:xfrm>
                <a:custGeom>
                  <a:avLst/>
                  <a:gdLst>
                    <a:gd name="T0" fmla="*/ 0 w 228"/>
                    <a:gd name="T1" fmla="*/ 27 h 168"/>
                    <a:gd name="T2" fmla="*/ 42 w 228"/>
                    <a:gd name="T3" fmla="*/ 16 h 168"/>
                    <a:gd name="T4" fmla="*/ 48 w 228"/>
                    <a:gd name="T5" fmla="*/ 7 h 168"/>
                    <a:gd name="T6" fmla="*/ 75 w 228"/>
                    <a:gd name="T7" fmla="*/ 0 h 168"/>
                    <a:gd name="T8" fmla="*/ 99 w 228"/>
                    <a:gd name="T9" fmla="*/ 1 h 168"/>
                    <a:gd name="T10" fmla="*/ 109 w 228"/>
                    <a:gd name="T11" fmla="*/ 15 h 168"/>
                    <a:gd name="T12" fmla="*/ 124 w 228"/>
                    <a:gd name="T13" fmla="*/ 6 h 168"/>
                    <a:gd name="T14" fmla="*/ 139 w 228"/>
                    <a:gd name="T15" fmla="*/ 13 h 168"/>
                    <a:gd name="T16" fmla="*/ 186 w 228"/>
                    <a:gd name="T17" fmla="*/ 15 h 168"/>
                    <a:gd name="T18" fmla="*/ 205 w 228"/>
                    <a:gd name="T19" fmla="*/ 18 h 168"/>
                    <a:gd name="T20" fmla="*/ 216 w 228"/>
                    <a:gd name="T21" fmla="*/ 55 h 168"/>
                    <a:gd name="T22" fmla="*/ 204 w 228"/>
                    <a:gd name="T23" fmla="*/ 70 h 168"/>
                    <a:gd name="T24" fmla="*/ 213 w 228"/>
                    <a:gd name="T25" fmla="*/ 78 h 168"/>
                    <a:gd name="T26" fmla="*/ 213 w 228"/>
                    <a:gd name="T27" fmla="*/ 94 h 168"/>
                    <a:gd name="T28" fmla="*/ 228 w 228"/>
                    <a:gd name="T29" fmla="*/ 118 h 168"/>
                    <a:gd name="T30" fmla="*/ 214 w 228"/>
                    <a:gd name="T31" fmla="*/ 133 h 168"/>
                    <a:gd name="T32" fmla="*/ 196 w 228"/>
                    <a:gd name="T33" fmla="*/ 147 h 168"/>
                    <a:gd name="T34" fmla="*/ 202 w 228"/>
                    <a:gd name="T35" fmla="*/ 163 h 168"/>
                    <a:gd name="T36" fmla="*/ 193 w 228"/>
                    <a:gd name="T37" fmla="*/ 168 h 168"/>
                    <a:gd name="T38" fmla="*/ 180 w 228"/>
                    <a:gd name="T39" fmla="*/ 154 h 168"/>
                    <a:gd name="T40" fmla="*/ 145 w 228"/>
                    <a:gd name="T41" fmla="*/ 154 h 168"/>
                    <a:gd name="T42" fmla="*/ 138 w 228"/>
                    <a:gd name="T43" fmla="*/ 162 h 168"/>
                    <a:gd name="T44" fmla="*/ 126 w 228"/>
                    <a:gd name="T45" fmla="*/ 145 h 168"/>
                    <a:gd name="T46" fmla="*/ 108 w 228"/>
                    <a:gd name="T47" fmla="*/ 145 h 168"/>
                    <a:gd name="T48" fmla="*/ 82 w 228"/>
                    <a:gd name="T49" fmla="*/ 127 h 168"/>
                    <a:gd name="T50" fmla="*/ 69 w 228"/>
                    <a:gd name="T51" fmla="*/ 132 h 168"/>
                    <a:gd name="T52" fmla="*/ 46 w 228"/>
                    <a:gd name="T53" fmla="*/ 117 h 168"/>
                    <a:gd name="T54" fmla="*/ 21 w 228"/>
                    <a:gd name="T55" fmla="*/ 109 h 168"/>
                    <a:gd name="T56" fmla="*/ 22 w 228"/>
                    <a:gd name="T57" fmla="*/ 97 h 168"/>
                    <a:gd name="T58" fmla="*/ 13 w 228"/>
                    <a:gd name="T59" fmla="*/ 85 h 168"/>
                    <a:gd name="T60" fmla="*/ 12 w 228"/>
                    <a:gd name="T61" fmla="*/ 63 h 168"/>
                    <a:gd name="T62" fmla="*/ 4 w 228"/>
                    <a:gd name="T63" fmla="*/ 55 h 168"/>
                    <a:gd name="T64" fmla="*/ 7 w 228"/>
                    <a:gd name="T65" fmla="*/ 39 h 168"/>
                    <a:gd name="T66" fmla="*/ 0 w 228"/>
                    <a:gd name="T67"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8" h="168">
                      <a:moveTo>
                        <a:pt x="0" y="27"/>
                      </a:moveTo>
                      <a:lnTo>
                        <a:pt x="42" y="16"/>
                      </a:lnTo>
                      <a:lnTo>
                        <a:pt x="48" y="7"/>
                      </a:lnTo>
                      <a:lnTo>
                        <a:pt x="75" y="0"/>
                      </a:lnTo>
                      <a:lnTo>
                        <a:pt x="99" y="1"/>
                      </a:lnTo>
                      <a:lnTo>
                        <a:pt x="109" y="15"/>
                      </a:lnTo>
                      <a:lnTo>
                        <a:pt x="124" y="6"/>
                      </a:lnTo>
                      <a:lnTo>
                        <a:pt x="139" y="13"/>
                      </a:lnTo>
                      <a:lnTo>
                        <a:pt x="186" y="15"/>
                      </a:lnTo>
                      <a:lnTo>
                        <a:pt x="205" y="18"/>
                      </a:lnTo>
                      <a:lnTo>
                        <a:pt x="216" y="55"/>
                      </a:lnTo>
                      <a:lnTo>
                        <a:pt x="204" y="70"/>
                      </a:lnTo>
                      <a:lnTo>
                        <a:pt x="213" y="78"/>
                      </a:lnTo>
                      <a:lnTo>
                        <a:pt x="213" y="94"/>
                      </a:lnTo>
                      <a:lnTo>
                        <a:pt x="228" y="118"/>
                      </a:lnTo>
                      <a:lnTo>
                        <a:pt x="214" y="133"/>
                      </a:lnTo>
                      <a:lnTo>
                        <a:pt x="196" y="147"/>
                      </a:lnTo>
                      <a:lnTo>
                        <a:pt x="202" y="163"/>
                      </a:lnTo>
                      <a:lnTo>
                        <a:pt x="193" y="168"/>
                      </a:lnTo>
                      <a:lnTo>
                        <a:pt x="180" y="154"/>
                      </a:lnTo>
                      <a:lnTo>
                        <a:pt x="145" y="154"/>
                      </a:lnTo>
                      <a:lnTo>
                        <a:pt x="138" y="162"/>
                      </a:lnTo>
                      <a:lnTo>
                        <a:pt x="126" y="145"/>
                      </a:lnTo>
                      <a:lnTo>
                        <a:pt x="108" y="145"/>
                      </a:lnTo>
                      <a:lnTo>
                        <a:pt x="82" y="127"/>
                      </a:lnTo>
                      <a:lnTo>
                        <a:pt x="69" y="132"/>
                      </a:lnTo>
                      <a:lnTo>
                        <a:pt x="46" y="117"/>
                      </a:lnTo>
                      <a:lnTo>
                        <a:pt x="21" y="109"/>
                      </a:lnTo>
                      <a:lnTo>
                        <a:pt x="22" y="97"/>
                      </a:lnTo>
                      <a:lnTo>
                        <a:pt x="13" y="85"/>
                      </a:lnTo>
                      <a:lnTo>
                        <a:pt x="12" y="63"/>
                      </a:lnTo>
                      <a:lnTo>
                        <a:pt x="4" y="55"/>
                      </a:lnTo>
                      <a:lnTo>
                        <a:pt x="7" y="39"/>
                      </a:lnTo>
                      <a:lnTo>
                        <a:pt x="0" y="2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69" name="Freeform 174"/>
                <p:cNvSpPr>
                  <a:spLocks/>
                </p:cNvSpPr>
                <p:nvPr/>
              </p:nvSpPr>
              <p:spPr bwMode="auto">
                <a:xfrm>
                  <a:off x="4784993" y="2478349"/>
                  <a:ext cx="136511" cy="57341"/>
                </a:xfrm>
                <a:custGeom>
                  <a:avLst/>
                  <a:gdLst>
                    <a:gd name="T0" fmla="*/ 0 w 134"/>
                    <a:gd name="T1" fmla="*/ 30 h 57"/>
                    <a:gd name="T2" fmla="*/ 24 w 134"/>
                    <a:gd name="T3" fmla="*/ 25 h 57"/>
                    <a:gd name="T4" fmla="*/ 47 w 134"/>
                    <a:gd name="T5" fmla="*/ 0 h 57"/>
                    <a:gd name="T6" fmla="*/ 66 w 134"/>
                    <a:gd name="T7" fmla="*/ 0 h 57"/>
                    <a:gd name="T8" fmla="*/ 78 w 134"/>
                    <a:gd name="T9" fmla="*/ 15 h 57"/>
                    <a:gd name="T10" fmla="*/ 87 w 134"/>
                    <a:gd name="T11" fmla="*/ 10 h 57"/>
                    <a:gd name="T12" fmla="*/ 122 w 134"/>
                    <a:gd name="T13" fmla="*/ 9 h 57"/>
                    <a:gd name="T14" fmla="*/ 134 w 134"/>
                    <a:gd name="T15" fmla="*/ 21 h 57"/>
                    <a:gd name="T16" fmla="*/ 128 w 134"/>
                    <a:gd name="T17" fmla="*/ 36 h 57"/>
                    <a:gd name="T18" fmla="*/ 108 w 134"/>
                    <a:gd name="T19" fmla="*/ 36 h 57"/>
                    <a:gd name="T20" fmla="*/ 89 w 134"/>
                    <a:gd name="T21" fmla="*/ 34 h 57"/>
                    <a:gd name="T22" fmla="*/ 74 w 134"/>
                    <a:gd name="T23" fmla="*/ 45 h 57"/>
                    <a:gd name="T24" fmla="*/ 48 w 134"/>
                    <a:gd name="T25" fmla="*/ 46 h 57"/>
                    <a:gd name="T26" fmla="*/ 51 w 134"/>
                    <a:gd name="T27" fmla="*/ 57 h 57"/>
                    <a:gd name="T28" fmla="*/ 27 w 134"/>
                    <a:gd name="T29" fmla="*/ 57 h 57"/>
                    <a:gd name="T30" fmla="*/ 11 w 134"/>
                    <a:gd name="T31" fmla="*/ 43 h 57"/>
                    <a:gd name="T32" fmla="*/ 0 w 134"/>
                    <a:gd name="T33"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57">
                      <a:moveTo>
                        <a:pt x="0" y="30"/>
                      </a:moveTo>
                      <a:lnTo>
                        <a:pt x="24" y="25"/>
                      </a:lnTo>
                      <a:lnTo>
                        <a:pt x="47" y="0"/>
                      </a:lnTo>
                      <a:lnTo>
                        <a:pt x="66" y="0"/>
                      </a:lnTo>
                      <a:lnTo>
                        <a:pt x="78" y="15"/>
                      </a:lnTo>
                      <a:lnTo>
                        <a:pt x="87" y="10"/>
                      </a:lnTo>
                      <a:lnTo>
                        <a:pt x="122" y="9"/>
                      </a:lnTo>
                      <a:lnTo>
                        <a:pt x="134" y="21"/>
                      </a:lnTo>
                      <a:lnTo>
                        <a:pt x="128" y="36"/>
                      </a:lnTo>
                      <a:lnTo>
                        <a:pt x="108" y="36"/>
                      </a:lnTo>
                      <a:lnTo>
                        <a:pt x="89" y="34"/>
                      </a:lnTo>
                      <a:lnTo>
                        <a:pt x="74" y="45"/>
                      </a:lnTo>
                      <a:lnTo>
                        <a:pt x="48" y="46"/>
                      </a:lnTo>
                      <a:lnTo>
                        <a:pt x="51" y="57"/>
                      </a:lnTo>
                      <a:lnTo>
                        <a:pt x="27" y="57"/>
                      </a:lnTo>
                      <a:lnTo>
                        <a:pt x="11" y="43"/>
                      </a:lnTo>
                      <a:lnTo>
                        <a:pt x="0" y="3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0" name="Freeform 175"/>
                <p:cNvSpPr>
                  <a:spLocks/>
                </p:cNvSpPr>
                <p:nvPr/>
              </p:nvSpPr>
              <p:spPr bwMode="auto">
                <a:xfrm>
                  <a:off x="4780340" y="2511547"/>
                  <a:ext cx="155127" cy="82993"/>
                </a:xfrm>
                <a:custGeom>
                  <a:avLst/>
                  <a:gdLst>
                    <a:gd name="T0" fmla="*/ 132 w 151"/>
                    <a:gd name="T1" fmla="*/ 0 h 83"/>
                    <a:gd name="T2" fmla="*/ 112 w 151"/>
                    <a:gd name="T3" fmla="*/ 2 h 83"/>
                    <a:gd name="T4" fmla="*/ 91 w 151"/>
                    <a:gd name="T5" fmla="*/ 0 h 83"/>
                    <a:gd name="T6" fmla="*/ 78 w 151"/>
                    <a:gd name="T7" fmla="*/ 11 h 83"/>
                    <a:gd name="T8" fmla="*/ 51 w 151"/>
                    <a:gd name="T9" fmla="*/ 11 h 83"/>
                    <a:gd name="T10" fmla="*/ 55 w 151"/>
                    <a:gd name="T11" fmla="*/ 23 h 83"/>
                    <a:gd name="T12" fmla="*/ 30 w 151"/>
                    <a:gd name="T13" fmla="*/ 21 h 83"/>
                    <a:gd name="T14" fmla="*/ 13 w 151"/>
                    <a:gd name="T15" fmla="*/ 8 h 83"/>
                    <a:gd name="T16" fmla="*/ 15 w 151"/>
                    <a:gd name="T17" fmla="*/ 24 h 83"/>
                    <a:gd name="T18" fmla="*/ 3 w 151"/>
                    <a:gd name="T19" fmla="*/ 24 h 83"/>
                    <a:gd name="T20" fmla="*/ 0 w 151"/>
                    <a:gd name="T21" fmla="*/ 48 h 83"/>
                    <a:gd name="T22" fmla="*/ 6 w 151"/>
                    <a:gd name="T23" fmla="*/ 59 h 83"/>
                    <a:gd name="T24" fmla="*/ 16 w 151"/>
                    <a:gd name="T25" fmla="*/ 71 h 83"/>
                    <a:gd name="T26" fmla="*/ 31 w 151"/>
                    <a:gd name="T27" fmla="*/ 83 h 83"/>
                    <a:gd name="T28" fmla="*/ 55 w 151"/>
                    <a:gd name="T29" fmla="*/ 81 h 83"/>
                    <a:gd name="T30" fmla="*/ 76 w 151"/>
                    <a:gd name="T31" fmla="*/ 65 h 83"/>
                    <a:gd name="T32" fmla="*/ 87 w 151"/>
                    <a:gd name="T33" fmla="*/ 71 h 83"/>
                    <a:gd name="T34" fmla="*/ 109 w 151"/>
                    <a:gd name="T35" fmla="*/ 63 h 83"/>
                    <a:gd name="T36" fmla="*/ 120 w 151"/>
                    <a:gd name="T37" fmla="*/ 47 h 83"/>
                    <a:gd name="T38" fmla="*/ 132 w 151"/>
                    <a:gd name="T39" fmla="*/ 27 h 83"/>
                    <a:gd name="T40" fmla="*/ 151 w 151"/>
                    <a:gd name="T41" fmla="*/ 15 h 83"/>
                    <a:gd name="T42" fmla="*/ 139 w 151"/>
                    <a:gd name="T43" fmla="*/ 11 h 83"/>
                    <a:gd name="T44" fmla="*/ 132 w 151"/>
                    <a:gd name="T4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83">
                      <a:moveTo>
                        <a:pt x="132" y="0"/>
                      </a:moveTo>
                      <a:lnTo>
                        <a:pt x="112" y="2"/>
                      </a:lnTo>
                      <a:lnTo>
                        <a:pt x="91" y="0"/>
                      </a:lnTo>
                      <a:lnTo>
                        <a:pt x="78" y="11"/>
                      </a:lnTo>
                      <a:lnTo>
                        <a:pt x="51" y="11"/>
                      </a:lnTo>
                      <a:lnTo>
                        <a:pt x="55" y="23"/>
                      </a:lnTo>
                      <a:lnTo>
                        <a:pt x="30" y="21"/>
                      </a:lnTo>
                      <a:lnTo>
                        <a:pt x="13" y="8"/>
                      </a:lnTo>
                      <a:lnTo>
                        <a:pt x="15" y="24"/>
                      </a:lnTo>
                      <a:lnTo>
                        <a:pt x="3" y="24"/>
                      </a:lnTo>
                      <a:lnTo>
                        <a:pt x="0" y="48"/>
                      </a:lnTo>
                      <a:lnTo>
                        <a:pt x="6" y="59"/>
                      </a:lnTo>
                      <a:lnTo>
                        <a:pt x="16" y="71"/>
                      </a:lnTo>
                      <a:lnTo>
                        <a:pt x="31" y="83"/>
                      </a:lnTo>
                      <a:lnTo>
                        <a:pt x="55" y="81"/>
                      </a:lnTo>
                      <a:lnTo>
                        <a:pt x="76" y="65"/>
                      </a:lnTo>
                      <a:lnTo>
                        <a:pt x="87" y="71"/>
                      </a:lnTo>
                      <a:lnTo>
                        <a:pt x="109" y="63"/>
                      </a:lnTo>
                      <a:lnTo>
                        <a:pt x="120" y="47"/>
                      </a:lnTo>
                      <a:lnTo>
                        <a:pt x="132" y="27"/>
                      </a:lnTo>
                      <a:lnTo>
                        <a:pt x="151" y="15"/>
                      </a:lnTo>
                      <a:lnTo>
                        <a:pt x="139" y="11"/>
                      </a:lnTo>
                      <a:lnTo>
                        <a:pt x="132"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1" name="Freeform 176"/>
                <p:cNvSpPr>
                  <a:spLocks/>
                </p:cNvSpPr>
                <p:nvPr/>
              </p:nvSpPr>
              <p:spPr bwMode="auto">
                <a:xfrm>
                  <a:off x="4927711" y="2635282"/>
                  <a:ext cx="148921" cy="89029"/>
                </a:xfrm>
                <a:custGeom>
                  <a:avLst/>
                  <a:gdLst>
                    <a:gd name="T0" fmla="*/ 103 w 144"/>
                    <a:gd name="T1" fmla="*/ 74 h 89"/>
                    <a:gd name="T2" fmla="*/ 117 w 144"/>
                    <a:gd name="T3" fmla="*/ 63 h 89"/>
                    <a:gd name="T4" fmla="*/ 135 w 144"/>
                    <a:gd name="T5" fmla="*/ 72 h 89"/>
                    <a:gd name="T6" fmla="*/ 132 w 144"/>
                    <a:gd name="T7" fmla="*/ 60 h 89"/>
                    <a:gd name="T8" fmla="*/ 124 w 144"/>
                    <a:gd name="T9" fmla="*/ 51 h 89"/>
                    <a:gd name="T10" fmla="*/ 133 w 144"/>
                    <a:gd name="T11" fmla="*/ 47 h 89"/>
                    <a:gd name="T12" fmla="*/ 132 w 144"/>
                    <a:gd name="T13" fmla="*/ 35 h 89"/>
                    <a:gd name="T14" fmla="*/ 144 w 144"/>
                    <a:gd name="T15" fmla="*/ 20 h 89"/>
                    <a:gd name="T16" fmla="*/ 118 w 144"/>
                    <a:gd name="T17" fmla="*/ 9 h 89"/>
                    <a:gd name="T18" fmla="*/ 105 w 144"/>
                    <a:gd name="T19" fmla="*/ 3 h 89"/>
                    <a:gd name="T20" fmla="*/ 88 w 144"/>
                    <a:gd name="T21" fmla="*/ 9 h 89"/>
                    <a:gd name="T22" fmla="*/ 75 w 144"/>
                    <a:gd name="T23" fmla="*/ 21 h 89"/>
                    <a:gd name="T24" fmla="*/ 60 w 144"/>
                    <a:gd name="T25" fmla="*/ 17 h 89"/>
                    <a:gd name="T26" fmla="*/ 39 w 144"/>
                    <a:gd name="T27" fmla="*/ 18 h 89"/>
                    <a:gd name="T28" fmla="*/ 27 w 144"/>
                    <a:gd name="T29" fmla="*/ 12 h 89"/>
                    <a:gd name="T30" fmla="*/ 13 w 144"/>
                    <a:gd name="T31" fmla="*/ 14 h 89"/>
                    <a:gd name="T32" fmla="*/ 7 w 144"/>
                    <a:gd name="T33" fmla="*/ 0 h 89"/>
                    <a:gd name="T34" fmla="*/ 0 w 144"/>
                    <a:gd name="T35" fmla="*/ 12 h 89"/>
                    <a:gd name="T36" fmla="*/ 1 w 144"/>
                    <a:gd name="T37" fmla="*/ 24 h 89"/>
                    <a:gd name="T38" fmla="*/ 12 w 144"/>
                    <a:gd name="T39" fmla="*/ 32 h 89"/>
                    <a:gd name="T40" fmla="*/ 0 w 144"/>
                    <a:gd name="T41" fmla="*/ 45 h 89"/>
                    <a:gd name="T42" fmla="*/ 1 w 144"/>
                    <a:gd name="T43" fmla="*/ 62 h 89"/>
                    <a:gd name="T44" fmla="*/ 16 w 144"/>
                    <a:gd name="T45" fmla="*/ 69 h 89"/>
                    <a:gd name="T46" fmla="*/ 12 w 144"/>
                    <a:gd name="T47" fmla="*/ 87 h 89"/>
                    <a:gd name="T48" fmla="*/ 28 w 144"/>
                    <a:gd name="T49" fmla="*/ 84 h 89"/>
                    <a:gd name="T50" fmla="*/ 40 w 144"/>
                    <a:gd name="T51" fmla="*/ 80 h 89"/>
                    <a:gd name="T52" fmla="*/ 52 w 144"/>
                    <a:gd name="T53" fmla="*/ 78 h 89"/>
                    <a:gd name="T54" fmla="*/ 72 w 144"/>
                    <a:gd name="T55" fmla="*/ 89 h 89"/>
                    <a:gd name="T56" fmla="*/ 90 w 144"/>
                    <a:gd name="T57" fmla="*/ 84 h 89"/>
                    <a:gd name="T58" fmla="*/ 90 w 144"/>
                    <a:gd name="T59" fmla="*/ 72 h 89"/>
                    <a:gd name="T60" fmla="*/ 103 w 144"/>
                    <a:gd name="T61" fmla="*/ 7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89">
                      <a:moveTo>
                        <a:pt x="103" y="74"/>
                      </a:moveTo>
                      <a:lnTo>
                        <a:pt x="117" y="63"/>
                      </a:lnTo>
                      <a:lnTo>
                        <a:pt x="135" y="72"/>
                      </a:lnTo>
                      <a:lnTo>
                        <a:pt x="132" y="60"/>
                      </a:lnTo>
                      <a:lnTo>
                        <a:pt x="124" y="51"/>
                      </a:lnTo>
                      <a:lnTo>
                        <a:pt x="133" y="47"/>
                      </a:lnTo>
                      <a:lnTo>
                        <a:pt x="132" y="35"/>
                      </a:lnTo>
                      <a:lnTo>
                        <a:pt x="144" y="20"/>
                      </a:lnTo>
                      <a:lnTo>
                        <a:pt x="118" y="9"/>
                      </a:lnTo>
                      <a:lnTo>
                        <a:pt x="105" y="3"/>
                      </a:lnTo>
                      <a:lnTo>
                        <a:pt x="88" y="9"/>
                      </a:lnTo>
                      <a:lnTo>
                        <a:pt x="75" y="21"/>
                      </a:lnTo>
                      <a:lnTo>
                        <a:pt x="60" y="17"/>
                      </a:lnTo>
                      <a:lnTo>
                        <a:pt x="39" y="18"/>
                      </a:lnTo>
                      <a:lnTo>
                        <a:pt x="27" y="12"/>
                      </a:lnTo>
                      <a:lnTo>
                        <a:pt x="13" y="14"/>
                      </a:lnTo>
                      <a:lnTo>
                        <a:pt x="7" y="0"/>
                      </a:lnTo>
                      <a:lnTo>
                        <a:pt x="0" y="12"/>
                      </a:lnTo>
                      <a:lnTo>
                        <a:pt x="1" y="24"/>
                      </a:lnTo>
                      <a:lnTo>
                        <a:pt x="12" y="32"/>
                      </a:lnTo>
                      <a:lnTo>
                        <a:pt x="0" y="45"/>
                      </a:lnTo>
                      <a:lnTo>
                        <a:pt x="1" y="62"/>
                      </a:lnTo>
                      <a:lnTo>
                        <a:pt x="16" y="69"/>
                      </a:lnTo>
                      <a:lnTo>
                        <a:pt x="12" y="87"/>
                      </a:lnTo>
                      <a:lnTo>
                        <a:pt x="28" y="84"/>
                      </a:lnTo>
                      <a:lnTo>
                        <a:pt x="40" y="80"/>
                      </a:lnTo>
                      <a:lnTo>
                        <a:pt x="52" y="78"/>
                      </a:lnTo>
                      <a:lnTo>
                        <a:pt x="72" y="89"/>
                      </a:lnTo>
                      <a:lnTo>
                        <a:pt x="90" y="84"/>
                      </a:lnTo>
                      <a:lnTo>
                        <a:pt x="90" y="72"/>
                      </a:lnTo>
                      <a:lnTo>
                        <a:pt x="103" y="74"/>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2" name="Freeform 177"/>
                <p:cNvSpPr>
                  <a:spLocks/>
                </p:cNvSpPr>
                <p:nvPr/>
              </p:nvSpPr>
              <p:spPr bwMode="auto">
                <a:xfrm>
                  <a:off x="4870313" y="2517583"/>
                  <a:ext cx="234242" cy="138825"/>
                </a:xfrm>
                <a:custGeom>
                  <a:avLst/>
                  <a:gdLst>
                    <a:gd name="T0" fmla="*/ 63 w 227"/>
                    <a:gd name="T1" fmla="*/ 8 h 138"/>
                    <a:gd name="T2" fmla="*/ 42 w 227"/>
                    <a:gd name="T3" fmla="*/ 23 h 138"/>
                    <a:gd name="T4" fmla="*/ 21 w 227"/>
                    <a:gd name="T5" fmla="*/ 57 h 138"/>
                    <a:gd name="T6" fmla="*/ 0 w 227"/>
                    <a:gd name="T7" fmla="*/ 65 h 138"/>
                    <a:gd name="T8" fmla="*/ 15 w 227"/>
                    <a:gd name="T9" fmla="*/ 72 h 138"/>
                    <a:gd name="T10" fmla="*/ 15 w 227"/>
                    <a:gd name="T11" fmla="*/ 86 h 138"/>
                    <a:gd name="T12" fmla="*/ 32 w 227"/>
                    <a:gd name="T13" fmla="*/ 86 h 138"/>
                    <a:gd name="T14" fmla="*/ 38 w 227"/>
                    <a:gd name="T15" fmla="*/ 107 h 138"/>
                    <a:gd name="T16" fmla="*/ 60 w 227"/>
                    <a:gd name="T17" fmla="*/ 108 h 138"/>
                    <a:gd name="T18" fmla="*/ 62 w 227"/>
                    <a:gd name="T19" fmla="*/ 119 h 138"/>
                    <a:gd name="T20" fmla="*/ 69 w 227"/>
                    <a:gd name="T21" fmla="*/ 129 h 138"/>
                    <a:gd name="T22" fmla="*/ 81 w 227"/>
                    <a:gd name="T23" fmla="*/ 128 h 138"/>
                    <a:gd name="T24" fmla="*/ 93 w 227"/>
                    <a:gd name="T25" fmla="*/ 135 h 138"/>
                    <a:gd name="T26" fmla="*/ 116 w 227"/>
                    <a:gd name="T27" fmla="*/ 132 h 138"/>
                    <a:gd name="T28" fmla="*/ 131 w 227"/>
                    <a:gd name="T29" fmla="*/ 138 h 138"/>
                    <a:gd name="T30" fmla="*/ 141 w 227"/>
                    <a:gd name="T31" fmla="*/ 128 h 138"/>
                    <a:gd name="T32" fmla="*/ 159 w 227"/>
                    <a:gd name="T33" fmla="*/ 120 h 138"/>
                    <a:gd name="T34" fmla="*/ 200 w 227"/>
                    <a:gd name="T35" fmla="*/ 137 h 138"/>
                    <a:gd name="T36" fmla="*/ 204 w 227"/>
                    <a:gd name="T37" fmla="*/ 123 h 138"/>
                    <a:gd name="T38" fmla="*/ 203 w 227"/>
                    <a:gd name="T39" fmla="*/ 107 h 138"/>
                    <a:gd name="T40" fmla="*/ 219 w 227"/>
                    <a:gd name="T41" fmla="*/ 101 h 138"/>
                    <a:gd name="T42" fmla="*/ 227 w 227"/>
                    <a:gd name="T43" fmla="*/ 90 h 138"/>
                    <a:gd name="T44" fmla="*/ 215 w 227"/>
                    <a:gd name="T45" fmla="*/ 81 h 138"/>
                    <a:gd name="T46" fmla="*/ 198 w 227"/>
                    <a:gd name="T47" fmla="*/ 90 h 138"/>
                    <a:gd name="T48" fmla="*/ 186 w 227"/>
                    <a:gd name="T49" fmla="*/ 83 h 138"/>
                    <a:gd name="T50" fmla="*/ 185 w 227"/>
                    <a:gd name="T51" fmla="*/ 66 h 138"/>
                    <a:gd name="T52" fmla="*/ 188 w 227"/>
                    <a:gd name="T53" fmla="*/ 51 h 138"/>
                    <a:gd name="T54" fmla="*/ 174 w 227"/>
                    <a:gd name="T55" fmla="*/ 35 h 138"/>
                    <a:gd name="T56" fmla="*/ 161 w 227"/>
                    <a:gd name="T57" fmla="*/ 17 h 138"/>
                    <a:gd name="T58" fmla="*/ 149 w 227"/>
                    <a:gd name="T59" fmla="*/ 0 h 138"/>
                    <a:gd name="T60" fmla="*/ 128 w 227"/>
                    <a:gd name="T61" fmla="*/ 12 h 138"/>
                    <a:gd name="T62" fmla="*/ 105 w 227"/>
                    <a:gd name="T63" fmla="*/ 17 h 138"/>
                    <a:gd name="T64" fmla="*/ 96 w 227"/>
                    <a:gd name="T65" fmla="*/ 8 h 138"/>
                    <a:gd name="T66" fmla="*/ 63 w 227"/>
                    <a:gd name="T67" fmla="*/ 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138">
                      <a:moveTo>
                        <a:pt x="63" y="8"/>
                      </a:moveTo>
                      <a:lnTo>
                        <a:pt x="42" y="23"/>
                      </a:lnTo>
                      <a:lnTo>
                        <a:pt x="21" y="57"/>
                      </a:lnTo>
                      <a:lnTo>
                        <a:pt x="0" y="65"/>
                      </a:lnTo>
                      <a:lnTo>
                        <a:pt x="15" y="72"/>
                      </a:lnTo>
                      <a:lnTo>
                        <a:pt x="15" y="86"/>
                      </a:lnTo>
                      <a:lnTo>
                        <a:pt x="32" y="86"/>
                      </a:lnTo>
                      <a:lnTo>
                        <a:pt x="38" y="107"/>
                      </a:lnTo>
                      <a:lnTo>
                        <a:pt x="60" y="108"/>
                      </a:lnTo>
                      <a:lnTo>
                        <a:pt x="62" y="119"/>
                      </a:lnTo>
                      <a:lnTo>
                        <a:pt x="69" y="129"/>
                      </a:lnTo>
                      <a:lnTo>
                        <a:pt x="81" y="128"/>
                      </a:lnTo>
                      <a:lnTo>
                        <a:pt x="93" y="135"/>
                      </a:lnTo>
                      <a:lnTo>
                        <a:pt x="116" y="132"/>
                      </a:lnTo>
                      <a:lnTo>
                        <a:pt x="131" y="138"/>
                      </a:lnTo>
                      <a:lnTo>
                        <a:pt x="141" y="128"/>
                      </a:lnTo>
                      <a:lnTo>
                        <a:pt x="159" y="120"/>
                      </a:lnTo>
                      <a:lnTo>
                        <a:pt x="200" y="137"/>
                      </a:lnTo>
                      <a:lnTo>
                        <a:pt x="204" y="123"/>
                      </a:lnTo>
                      <a:lnTo>
                        <a:pt x="203" y="107"/>
                      </a:lnTo>
                      <a:lnTo>
                        <a:pt x="219" y="101"/>
                      </a:lnTo>
                      <a:lnTo>
                        <a:pt x="227" y="90"/>
                      </a:lnTo>
                      <a:lnTo>
                        <a:pt x="215" y="81"/>
                      </a:lnTo>
                      <a:lnTo>
                        <a:pt x="198" y="90"/>
                      </a:lnTo>
                      <a:lnTo>
                        <a:pt x="186" y="83"/>
                      </a:lnTo>
                      <a:lnTo>
                        <a:pt x="185" y="66"/>
                      </a:lnTo>
                      <a:lnTo>
                        <a:pt x="188" y="51"/>
                      </a:lnTo>
                      <a:lnTo>
                        <a:pt x="174" y="35"/>
                      </a:lnTo>
                      <a:lnTo>
                        <a:pt x="161" y="17"/>
                      </a:lnTo>
                      <a:lnTo>
                        <a:pt x="149" y="0"/>
                      </a:lnTo>
                      <a:lnTo>
                        <a:pt x="128" y="12"/>
                      </a:lnTo>
                      <a:lnTo>
                        <a:pt x="105" y="17"/>
                      </a:lnTo>
                      <a:lnTo>
                        <a:pt x="96" y="8"/>
                      </a:lnTo>
                      <a:lnTo>
                        <a:pt x="63" y="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3" name="Freeform 178"/>
                <p:cNvSpPr>
                  <a:spLocks/>
                </p:cNvSpPr>
                <p:nvPr/>
              </p:nvSpPr>
              <p:spPr bwMode="auto">
                <a:xfrm>
                  <a:off x="4848596" y="2316889"/>
                  <a:ext cx="65153" cy="31689"/>
                </a:xfrm>
                <a:custGeom>
                  <a:avLst/>
                  <a:gdLst>
                    <a:gd name="T0" fmla="*/ 0 w 63"/>
                    <a:gd name="T1" fmla="*/ 21 h 32"/>
                    <a:gd name="T2" fmla="*/ 2 w 63"/>
                    <a:gd name="T3" fmla="*/ 11 h 32"/>
                    <a:gd name="T4" fmla="*/ 27 w 63"/>
                    <a:gd name="T5" fmla="*/ 14 h 32"/>
                    <a:gd name="T6" fmla="*/ 30 w 63"/>
                    <a:gd name="T7" fmla="*/ 0 h 32"/>
                    <a:gd name="T8" fmla="*/ 47 w 63"/>
                    <a:gd name="T9" fmla="*/ 8 h 32"/>
                    <a:gd name="T10" fmla="*/ 63 w 63"/>
                    <a:gd name="T11" fmla="*/ 14 h 32"/>
                    <a:gd name="T12" fmla="*/ 62 w 63"/>
                    <a:gd name="T13" fmla="*/ 32 h 32"/>
                    <a:gd name="T14" fmla="*/ 12 w 63"/>
                    <a:gd name="T15" fmla="*/ 30 h 32"/>
                    <a:gd name="T16" fmla="*/ 0 w 63"/>
                    <a:gd name="T1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2">
                      <a:moveTo>
                        <a:pt x="0" y="21"/>
                      </a:moveTo>
                      <a:lnTo>
                        <a:pt x="2" y="11"/>
                      </a:lnTo>
                      <a:lnTo>
                        <a:pt x="27" y="14"/>
                      </a:lnTo>
                      <a:lnTo>
                        <a:pt x="30" y="0"/>
                      </a:lnTo>
                      <a:lnTo>
                        <a:pt x="47" y="8"/>
                      </a:lnTo>
                      <a:lnTo>
                        <a:pt x="63" y="14"/>
                      </a:lnTo>
                      <a:lnTo>
                        <a:pt x="62" y="32"/>
                      </a:lnTo>
                      <a:lnTo>
                        <a:pt x="12" y="30"/>
                      </a:lnTo>
                      <a:lnTo>
                        <a:pt x="0" y="2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4" name="Freeform 179"/>
                <p:cNvSpPr>
                  <a:spLocks/>
                </p:cNvSpPr>
                <p:nvPr/>
              </p:nvSpPr>
              <p:spPr bwMode="auto">
                <a:xfrm>
                  <a:off x="4876518" y="2286710"/>
                  <a:ext cx="130306" cy="73940"/>
                </a:xfrm>
                <a:custGeom>
                  <a:avLst/>
                  <a:gdLst>
                    <a:gd name="T0" fmla="*/ 6 w 127"/>
                    <a:gd name="T1" fmla="*/ 32 h 74"/>
                    <a:gd name="T2" fmla="*/ 0 w 127"/>
                    <a:gd name="T3" fmla="*/ 14 h 74"/>
                    <a:gd name="T4" fmla="*/ 12 w 127"/>
                    <a:gd name="T5" fmla="*/ 5 h 74"/>
                    <a:gd name="T6" fmla="*/ 34 w 127"/>
                    <a:gd name="T7" fmla="*/ 5 h 74"/>
                    <a:gd name="T8" fmla="*/ 66 w 127"/>
                    <a:gd name="T9" fmla="*/ 8 h 74"/>
                    <a:gd name="T10" fmla="*/ 79 w 127"/>
                    <a:gd name="T11" fmla="*/ 0 h 74"/>
                    <a:gd name="T12" fmla="*/ 85 w 127"/>
                    <a:gd name="T13" fmla="*/ 9 h 74"/>
                    <a:gd name="T14" fmla="*/ 100 w 127"/>
                    <a:gd name="T15" fmla="*/ 9 h 74"/>
                    <a:gd name="T16" fmla="*/ 120 w 127"/>
                    <a:gd name="T17" fmla="*/ 27 h 74"/>
                    <a:gd name="T18" fmla="*/ 127 w 127"/>
                    <a:gd name="T19" fmla="*/ 35 h 74"/>
                    <a:gd name="T20" fmla="*/ 97 w 127"/>
                    <a:gd name="T21" fmla="*/ 50 h 74"/>
                    <a:gd name="T22" fmla="*/ 108 w 127"/>
                    <a:gd name="T23" fmla="*/ 65 h 74"/>
                    <a:gd name="T24" fmla="*/ 87 w 127"/>
                    <a:gd name="T25" fmla="*/ 66 h 74"/>
                    <a:gd name="T26" fmla="*/ 78 w 127"/>
                    <a:gd name="T27" fmla="*/ 74 h 74"/>
                    <a:gd name="T28" fmla="*/ 55 w 127"/>
                    <a:gd name="T29" fmla="*/ 74 h 74"/>
                    <a:gd name="T30" fmla="*/ 54 w 127"/>
                    <a:gd name="T31" fmla="*/ 63 h 74"/>
                    <a:gd name="T32" fmla="*/ 36 w 127"/>
                    <a:gd name="T33" fmla="*/ 62 h 74"/>
                    <a:gd name="T34" fmla="*/ 36 w 127"/>
                    <a:gd name="T35" fmla="*/ 44 h 74"/>
                    <a:gd name="T36" fmla="*/ 6 w 127"/>
                    <a:gd name="T3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74">
                      <a:moveTo>
                        <a:pt x="6" y="32"/>
                      </a:moveTo>
                      <a:lnTo>
                        <a:pt x="0" y="14"/>
                      </a:lnTo>
                      <a:lnTo>
                        <a:pt x="12" y="5"/>
                      </a:lnTo>
                      <a:lnTo>
                        <a:pt x="34" y="5"/>
                      </a:lnTo>
                      <a:lnTo>
                        <a:pt x="66" y="8"/>
                      </a:lnTo>
                      <a:lnTo>
                        <a:pt x="79" y="0"/>
                      </a:lnTo>
                      <a:lnTo>
                        <a:pt x="85" y="9"/>
                      </a:lnTo>
                      <a:lnTo>
                        <a:pt x="100" y="9"/>
                      </a:lnTo>
                      <a:lnTo>
                        <a:pt x="120" y="27"/>
                      </a:lnTo>
                      <a:lnTo>
                        <a:pt x="127" y="35"/>
                      </a:lnTo>
                      <a:lnTo>
                        <a:pt x="97" y="50"/>
                      </a:lnTo>
                      <a:lnTo>
                        <a:pt x="108" y="65"/>
                      </a:lnTo>
                      <a:lnTo>
                        <a:pt x="87" y="66"/>
                      </a:lnTo>
                      <a:lnTo>
                        <a:pt x="78" y="74"/>
                      </a:lnTo>
                      <a:lnTo>
                        <a:pt x="55" y="74"/>
                      </a:lnTo>
                      <a:lnTo>
                        <a:pt x="54" y="63"/>
                      </a:lnTo>
                      <a:lnTo>
                        <a:pt x="36" y="62"/>
                      </a:lnTo>
                      <a:lnTo>
                        <a:pt x="36" y="44"/>
                      </a:lnTo>
                      <a:lnTo>
                        <a:pt x="6" y="32"/>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5" name="Freeform 180"/>
                <p:cNvSpPr>
                  <a:spLocks/>
                </p:cNvSpPr>
                <p:nvPr/>
              </p:nvSpPr>
              <p:spPr bwMode="auto">
                <a:xfrm>
                  <a:off x="4870313" y="2244459"/>
                  <a:ext cx="162883" cy="67904"/>
                </a:xfrm>
                <a:custGeom>
                  <a:avLst/>
                  <a:gdLst>
                    <a:gd name="T0" fmla="*/ 123 w 158"/>
                    <a:gd name="T1" fmla="*/ 69 h 69"/>
                    <a:gd name="T2" fmla="*/ 105 w 158"/>
                    <a:gd name="T3" fmla="*/ 51 h 69"/>
                    <a:gd name="T4" fmla="*/ 89 w 158"/>
                    <a:gd name="T5" fmla="*/ 52 h 69"/>
                    <a:gd name="T6" fmla="*/ 84 w 158"/>
                    <a:gd name="T7" fmla="*/ 42 h 69"/>
                    <a:gd name="T8" fmla="*/ 71 w 158"/>
                    <a:gd name="T9" fmla="*/ 51 h 69"/>
                    <a:gd name="T10" fmla="*/ 38 w 158"/>
                    <a:gd name="T11" fmla="*/ 48 h 69"/>
                    <a:gd name="T12" fmla="*/ 15 w 158"/>
                    <a:gd name="T13" fmla="*/ 46 h 69"/>
                    <a:gd name="T14" fmla="*/ 3 w 158"/>
                    <a:gd name="T15" fmla="*/ 57 h 69"/>
                    <a:gd name="T16" fmla="*/ 0 w 158"/>
                    <a:gd name="T17" fmla="*/ 34 h 69"/>
                    <a:gd name="T18" fmla="*/ 9 w 158"/>
                    <a:gd name="T19" fmla="*/ 27 h 69"/>
                    <a:gd name="T20" fmla="*/ 11 w 158"/>
                    <a:gd name="T21" fmla="*/ 13 h 69"/>
                    <a:gd name="T22" fmla="*/ 32 w 158"/>
                    <a:gd name="T23" fmla="*/ 10 h 69"/>
                    <a:gd name="T24" fmla="*/ 48 w 158"/>
                    <a:gd name="T25" fmla="*/ 18 h 69"/>
                    <a:gd name="T26" fmla="*/ 54 w 158"/>
                    <a:gd name="T27" fmla="*/ 27 h 69"/>
                    <a:gd name="T28" fmla="*/ 71 w 158"/>
                    <a:gd name="T29" fmla="*/ 27 h 69"/>
                    <a:gd name="T30" fmla="*/ 69 w 158"/>
                    <a:gd name="T31" fmla="*/ 10 h 69"/>
                    <a:gd name="T32" fmla="*/ 90 w 158"/>
                    <a:gd name="T33" fmla="*/ 0 h 69"/>
                    <a:gd name="T34" fmla="*/ 111 w 158"/>
                    <a:gd name="T35" fmla="*/ 9 h 69"/>
                    <a:gd name="T36" fmla="*/ 120 w 158"/>
                    <a:gd name="T37" fmla="*/ 16 h 69"/>
                    <a:gd name="T38" fmla="*/ 140 w 158"/>
                    <a:gd name="T39" fmla="*/ 13 h 69"/>
                    <a:gd name="T40" fmla="*/ 158 w 158"/>
                    <a:gd name="T41" fmla="*/ 52 h 69"/>
                    <a:gd name="T42" fmla="*/ 144 w 158"/>
                    <a:gd name="T43" fmla="*/ 63 h 69"/>
                    <a:gd name="T44" fmla="*/ 123 w 158"/>
                    <a:gd name="T4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69">
                      <a:moveTo>
                        <a:pt x="123" y="69"/>
                      </a:moveTo>
                      <a:lnTo>
                        <a:pt x="105" y="51"/>
                      </a:lnTo>
                      <a:lnTo>
                        <a:pt x="89" y="52"/>
                      </a:lnTo>
                      <a:lnTo>
                        <a:pt x="84" y="42"/>
                      </a:lnTo>
                      <a:lnTo>
                        <a:pt x="71" y="51"/>
                      </a:lnTo>
                      <a:lnTo>
                        <a:pt x="38" y="48"/>
                      </a:lnTo>
                      <a:lnTo>
                        <a:pt x="15" y="46"/>
                      </a:lnTo>
                      <a:lnTo>
                        <a:pt x="3" y="57"/>
                      </a:lnTo>
                      <a:lnTo>
                        <a:pt x="0" y="34"/>
                      </a:lnTo>
                      <a:lnTo>
                        <a:pt x="9" y="27"/>
                      </a:lnTo>
                      <a:lnTo>
                        <a:pt x="11" y="13"/>
                      </a:lnTo>
                      <a:lnTo>
                        <a:pt x="32" y="10"/>
                      </a:lnTo>
                      <a:lnTo>
                        <a:pt x="48" y="18"/>
                      </a:lnTo>
                      <a:lnTo>
                        <a:pt x="54" y="27"/>
                      </a:lnTo>
                      <a:lnTo>
                        <a:pt x="71" y="27"/>
                      </a:lnTo>
                      <a:lnTo>
                        <a:pt x="69" y="10"/>
                      </a:lnTo>
                      <a:lnTo>
                        <a:pt x="90" y="0"/>
                      </a:lnTo>
                      <a:lnTo>
                        <a:pt x="111" y="9"/>
                      </a:lnTo>
                      <a:lnTo>
                        <a:pt x="120" y="16"/>
                      </a:lnTo>
                      <a:lnTo>
                        <a:pt x="140" y="13"/>
                      </a:lnTo>
                      <a:lnTo>
                        <a:pt x="158" y="52"/>
                      </a:lnTo>
                      <a:lnTo>
                        <a:pt x="144" y="63"/>
                      </a:lnTo>
                      <a:lnTo>
                        <a:pt x="123" y="6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6" name="Freeform 181"/>
                <p:cNvSpPr>
                  <a:spLocks/>
                </p:cNvSpPr>
                <p:nvPr/>
              </p:nvSpPr>
              <p:spPr bwMode="auto">
                <a:xfrm>
                  <a:off x="4885826" y="2202208"/>
                  <a:ext cx="134961" cy="57341"/>
                </a:xfrm>
                <a:custGeom>
                  <a:avLst/>
                  <a:gdLst>
                    <a:gd name="T0" fmla="*/ 56 w 131"/>
                    <a:gd name="T1" fmla="*/ 48 h 56"/>
                    <a:gd name="T2" fmla="*/ 57 w 131"/>
                    <a:gd name="T3" fmla="*/ 32 h 56"/>
                    <a:gd name="T4" fmla="*/ 42 w 131"/>
                    <a:gd name="T5" fmla="*/ 32 h 56"/>
                    <a:gd name="T6" fmla="*/ 17 w 131"/>
                    <a:gd name="T7" fmla="*/ 36 h 56"/>
                    <a:gd name="T8" fmla="*/ 5 w 131"/>
                    <a:gd name="T9" fmla="*/ 42 h 56"/>
                    <a:gd name="T10" fmla="*/ 0 w 131"/>
                    <a:gd name="T11" fmla="*/ 30 h 56"/>
                    <a:gd name="T12" fmla="*/ 32 w 131"/>
                    <a:gd name="T13" fmla="*/ 11 h 56"/>
                    <a:gd name="T14" fmla="*/ 57 w 131"/>
                    <a:gd name="T15" fmla="*/ 0 h 56"/>
                    <a:gd name="T16" fmla="*/ 84 w 131"/>
                    <a:gd name="T17" fmla="*/ 2 h 56"/>
                    <a:gd name="T18" fmla="*/ 110 w 131"/>
                    <a:gd name="T19" fmla="*/ 5 h 56"/>
                    <a:gd name="T20" fmla="*/ 128 w 131"/>
                    <a:gd name="T21" fmla="*/ 5 h 56"/>
                    <a:gd name="T22" fmla="*/ 119 w 131"/>
                    <a:gd name="T23" fmla="*/ 23 h 56"/>
                    <a:gd name="T24" fmla="*/ 131 w 131"/>
                    <a:gd name="T25" fmla="*/ 44 h 56"/>
                    <a:gd name="T26" fmla="*/ 126 w 131"/>
                    <a:gd name="T27" fmla="*/ 53 h 56"/>
                    <a:gd name="T28" fmla="*/ 104 w 131"/>
                    <a:gd name="T29" fmla="*/ 56 h 56"/>
                    <a:gd name="T30" fmla="*/ 90 w 131"/>
                    <a:gd name="T31" fmla="*/ 47 h 56"/>
                    <a:gd name="T32" fmla="*/ 74 w 131"/>
                    <a:gd name="T33" fmla="*/ 41 h 56"/>
                    <a:gd name="T34" fmla="*/ 56 w 131"/>
                    <a:gd name="T3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56">
                      <a:moveTo>
                        <a:pt x="56" y="48"/>
                      </a:moveTo>
                      <a:lnTo>
                        <a:pt x="57" y="32"/>
                      </a:lnTo>
                      <a:lnTo>
                        <a:pt x="42" y="32"/>
                      </a:lnTo>
                      <a:lnTo>
                        <a:pt x="17" y="36"/>
                      </a:lnTo>
                      <a:lnTo>
                        <a:pt x="5" y="42"/>
                      </a:lnTo>
                      <a:lnTo>
                        <a:pt x="0" y="30"/>
                      </a:lnTo>
                      <a:lnTo>
                        <a:pt x="32" y="11"/>
                      </a:lnTo>
                      <a:lnTo>
                        <a:pt x="57" y="0"/>
                      </a:lnTo>
                      <a:lnTo>
                        <a:pt x="84" y="2"/>
                      </a:lnTo>
                      <a:lnTo>
                        <a:pt x="110" y="5"/>
                      </a:lnTo>
                      <a:lnTo>
                        <a:pt x="128" y="5"/>
                      </a:lnTo>
                      <a:lnTo>
                        <a:pt x="119" y="23"/>
                      </a:lnTo>
                      <a:lnTo>
                        <a:pt x="131" y="44"/>
                      </a:lnTo>
                      <a:lnTo>
                        <a:pt x="126" y="53"/>
                      </a:lnTo>
                      <a:lnTo>
                        <a:pt x="104" y="56"/>
                      </a:lnTo>
                      <a:lnTo>
                        <a:pt x="90" y="47"/>
                      </a:lnTo>
                      <a:lnTo>
                        <a:pt x="74" y="41"/>
                      </a:lnTo>
                      <a:lnTo>
                        <a:pt x="56" y="4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7" name="Freeform 182"/>
                <p:cNvSpPr>
                  <a:spLocks/>
                </p:cNvSpPr>
                <p:nvPr/>
              </p:nvSpPr>
              <p:spPr bwMode="auto">
                <a:xfrm>
                  <a:off x="4930813" y="2295764"/>
                  <a:ext cx="214075" cy="140334"/>
                </a:xfrm>
                <a:custGeom>
                  <a:avLst/>
                  <a:gdLst>
                    <a:gd name="T0" fmla="*/ 97 w 208"/>
                    <a:gd name="T1" fmla="*/ 0 h 140"/>
                    <a:gd name="T2" fmla="*/ 112 w 208"/>
                    <a:gd name="T3" fmla="*/ 6 h 140"/>
                    <a:gd name="T4" fmla="*/ 124 w 208"/>
                    <a:gd name="T5" fmla="*/ 3 h 140"/>
                    <a:gd name="T6" fmla="*/ 130 w 208"/>
                    <a:gd name="T7" fmla="*/ 14 h 140"/>
                    <a:gd name="T8" fmla="*/ 151 w 208"/>
                    <a:gd name="T9" fmla="*/ 11 h 140"/>
                    <a:gd name="T10" fmla="*/ 160 w 208"/>
                    <a:gd name="T11" fmla="*/ 23 h 140"/>
                    <a:gd name="T12" fmla="*/ 163 w 208"/>
                    <a:gd name="T13" fmla="*/ 39 h 140"/>
                    <a:gd name="T14" fmla="*/ 186 w 208"/>
                    <a:gd name="T15" fmla="*/ 65 h 140"/>
                    <a:gd name="T16" fmla="*/ 208 w 208"/>
                    <a:gd name="T17" fmla="*/ 75 h 140"/>
                    <a:gd name="T18" fmla="*/ 196 w 208"/>
                    <a:gd name="T19" fmla="*/ 87 h 140"/>
                    <a:gd name="T20" fmla="*/ 181 w 208"/>
                    <a:gd name="T21" fmla="*/ 83 h 140"/>
                    <a:gd name="T22" fmla="*/ 187 w 208"/>
                    <a:gd name="T23" fmla="*/ 114 h 140"/>
                    <a:gd name="T24" fmla="*/ 171 w 208"/>
                    <a:gd name="T25" fmla="*/ 117 h 140"/>
                    <a:gd name="T26" fmla="*/ 166 w 208"/>
                    <a:gd name="T27" fmla="*/ 140 h 140"/>
                    <a:gd name="T28" fmla="*/ 147 w 208"/>
                    <a:gd name="T29" fmla="*/ 135 h 140"/>
                    <a:gd name="T30" fmla="*/ 85 w 208"/>
                    <a:gd name="T31" fmla="*/ 129 h 140"/>
                    <a:gd name="T32" fmla="*/ 64 w 208"/>
                    <a:gd name="T33" fmla="*/ 119 h 140"/>
                    <a:gd name="T34" fmla="*/ 28 w 208"/>
                    <a:gd name="T35" fmla="*/ 123 h 140"/>
                    <a:gd name="T36" fmla="*/ 7 w 208"/>
                    <a:gd name="T37" fmla="*/ 131 h 140"/>
                    <a:gd name="T38" fmla="*/ 10 w 208"/>
                    <a:gd name="T39" fmla="*/ 116 h 140"/>
                    <a:gd name="T40" fmla="*/ 0 w 208"/>
                    <a:gd name="T41" fmla="*/ 108 h 140"/>
                    <a:gd name="T42" fmla="*/ 13 w 208"/>
                    <a:gd name="T43" fmla="*/ 90 h 140"/>
                    <a:gd name="T44" fmla="*/ 4 w 208"/>
                    <a:gd name="T45" fmla="*/ 65 h 140"/>
                    <a:gd name="T46" fmla="*/ 22 w 208"/>
                    <a:gd name="T47" fmla="*/ 65 h 140"/>
                    <a:gd name="T48" fmla="*/ 34 w 208"/>
                    <a:gd name="T49" fmla="*/ 56 h 140"/>
                    <a:gd name="T50" fmla="*/ 52 w 208"/>
                    <a:gd name="T51" fmla="*/ 56 h 140"/>
                    <a:gd name="T52" fmla="*/ 45 w 208"/>
                    <a:gd name="T53" fmla="*/ 39 h 140"/>
                    <a:gd name="T54" fmla="*/ 73 w 208"/>
                    <a:gd name="T55" fmla="*/ 26 h 140"/>
                    <a:gd name="T56" fmla="*/ 66 w 208"/>
                    <a:gd name="T57" fmla="*/ 17 h 140"/>
                    <a:gd name="T58" fmla="*/ 84 w 208"/>
                    <a:gd name="T59" fmla="*/ 11 h 140"/>
                    <a:gd name="T60" fmla="*/ 97 w 208"/>
                    <a:gd name="T6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8" h="140">
                      <a:moveTo>
                        <a:pt x="97" y="0"/>
                      </a:moveTo>
                      <a:lnTo>
                        <a:pt x="112" y="6"/>
                      </a:lnTo>
                      <a:lnTo>
                        <a:pt x="124" y="3"/>
                      </a:lnTo>
                      <a:lnTo>
                        <a:pt x="130" y="14"/>
                      </a:lnTo>
                      <a:lnTo>
                        <a:pt x="151" y="11"/>
                      </a:lnTo>
                      <a:lnTo>
                        <a:pt x="160" y="23"/>
                      </a:lnTo>
                      <a:lnTo>
                        <a:pt x="163" y="39"/>
                      </a:lnTo>
                      <a:lnTo>
                        <a:pt x="186" y="65"/>
                      </a:lnTo>
                      <a:lnTo>
                        <a:pt x="208" y="75"/>
                      </a:lnTo>
                      <a:lnTo>
                        <a:pt x="196" y="87"/>
                      </a:lnTo>
                      <a:lnTo>
                        <a:pt x="181" y="83"/>
                      </a:lnTo>
                      <a:lnTo>
                        <a:pt x="187" y="114"/>
                      </a:lnTo>
                      <a:lnTo>
                        <a:pt x="171" y="117"/>
                      </a:lnTo>
                      <a:lnTo>
                        <a:pt x="166" y="140"/>
                      </a:lnTo>
                      <a:lnTo>
                        <a:pt x="147" y="135"/>
                      </a:lnTo>
                      <a:lnTo>
                        <a:pt x="85" y="129"/>
                      </a:lnTo>
                      <a:lnTo>
                        <a:pt x="64" y="119"/>
                      </a:lnTo>
                      <a:lnTo>
                        <a:pt x="28" y="123"/>
                      </a:lnTo>
                      <a:lnTo>
                        <a:pt x="7" y="131"/>
                      </a:lnTo>
                      <a:lnTo>
                        <a:pt x="10" y="116"/>
                      </a:lnTo>
                      <a:lnTo>
                        <a:pt x="0" y="108"/>
                      </a:lnTo>
                      <a:lnTo>
                        <a:pt x="13" y="90"/>
                      </a:lnTo>
                      <a:lnTo>
                        <a:pt x="4" y="65"/>
                      </a:lnTo>
                      <a:lnTo>
                        <a:pt x="22" y="65"/>
                      </a:lnTo>
                      <a:lnTo>
                        <a:pt x="34" y="56"/>
                      </a:lnTo>
                      <a:lnTo>
                        <a:pt x="52" y="56"/>
                      </a:lnTo>
                      <a:lnTo>
                        <a:pt x="45" y="39"/>
                      </a:lnTo>
                      <a:lnTo>
                        <a:pt x="73" y="26"/>
                      </a:lnTo>
                      <a:lnTo>
                        <a:pt x="66" y="17"/>
                      </a:lnTo>
                      <a:lnTo>
                        <a:pt x="84" y="11"/>
                      </a:lnTo>
                      <a:lnTo>
                        <a:pt x="97"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8" name="Freeform 183"/>
                <p:cNvSpPr>
                  <a:spLocks/>
                </p:cNvSpPr>
                <p:nvPr/>
              </p:nvSpPr>
              <p:spPr bwMode="auto">
                <a:xfrm>
                  <a:off x="5023889" y="2514565"/>
                  <a:ext cx="83768" cy="87521"/>
                </a:xfrm>
                <a:custGeom>
                  <a:avLst/>
                  <a:gdLst>
                    <a:gd name="T0" fmla="*/ 0 w 82"/>
                    <a:gd name="T1" fmla="*/ 6 h 88"/>
                    <a:gd name="T2" fmla="*/ 16 w 82"/>
                    <a:gd name="T3" fmla="*/ 0 h 88"/>
                    <a:gd name="T4" fmla="*/ 34 w 82"/>
                    <a:gd name="T5" fmla="*/ 7 h 88"/>
                    <a:gd name="T6" fmla="*/ 51 w 82"/>
                    <a:gd name="T7" fmla="*/ 10 h 88"/>
                    <a:gd name="T8" fmla="*/ 61 w 82"/>
                    <a:gd name="T9" fmla="*/ 30 h 88"/>
                    <a:gd name="T10" fmla="*/ 82 w 82"/>
                    <a:gd name="T11" fmla="*/ 55 h 88"/>
                    <a:gd name="T12" fmla="*/ 76 w 82"/>
                    <a:gd name="T13" fmla="*/ 63 h 88"/>
                    <a:gd name="T14" fmla="*/ 54 w 82"/>
                    <a:gd name="T15" fmla="*/ 57 h 88"/>
                    <a:gd name="T16" fmla="*/ 58 w 82"/>
                    <a:gd name="T17" fmla="*/ 72 h 88"/>
                    <a:gd name="T18" fmla="*/ 37 w 82"/>
                    <a:gd name="T19" fmla="*/ 88 h 88"/>
                    <a:gd name="T20" fmla="*/ 34 w 82"/>
                    <a:gd name="T21" fmla="*/ 69 h 88"/>
                    <a:gd name="T22" fmla="*/ 39 w 82"/>
                    <a:gd name="T23" fmla="*/ 52 h 88"/>
                    <a:gd name="T24" fmla="*/ 19 w 82"/>
                    <a:gd name="T25" fmla="*/ 34 h 88"/>
                    <a:gd name="T26" fmla="*/ 0 w 82"/>
                    <a:gd name="T2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88">
                      <a:moveTo>
                        <a:pt x="0" y="6"/>
                      </a:moveTo>
                      <a:lnTo>
                        <a:pt x="16" y="0"/>
                      </a:lnTo>
                      <a:lnTo>
                        <a:pt x="34" y="7"/>
                      </a:lnTo>
                      <a:lnTo>
                        <a:pt x="51" y="10"/>
                      </a:lnTo>
                      <a:lnTo>
                        <a:pt x="61" y="30"/>
                      </a:lnTo>
                      <a:lnTo>
                        <a:pt x="82" y="55"/>
                      </a:lnTo>
                      <a:lnTo>
                        <a:pt x="76" y="63"/>
                      </a:lnTo>
                      <a:lnTo>
                        <a:pt x="54" y="57"/>
                      </a:lnTo>
                      <a:lnTo>
                        <a:pt x="58" y="72"/>
                      </a:lnTo>
                      <a:lnTo>
                        <a:pt x="37" y="88"/>
                      </a:lnTo>
                      <a:lnTo>
                        <a:pt x="34" y="69"/>
                      </a:lnTo>
                      <a:lnTo>
                        <a:pt x="39" y="52"/>
                      </a:lnTo>
                      <a:lnTo>
                        <a:pt x="19" y="34"/>
                      </a:lnTo>
                      <a:lnTo>
                        <a:pt x="0" y="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79" name="Freeform 184"/>
                <p:cNvSpPr>
                  <a:spLocks/>
                </p:cNvSpPr>
                <p:nvPr/>
              </p:nvSpPr>
              <p:spPr bwMode="auto">
                <a:xfrm>
                  <a:off x="4913749" y="2404410"/>
                  <a:ext cx="421945" cy="203711"/>
                </a:xfrm>
                <a:custGeom>
                  <a:avLst/>
                  <a:gdLst>
                    <a:gd name="T0" fmla="*/ 174 w 411"/>
                    <a:gd name="T1" fmla="*/ 195 h 204"/>
                    <a:gd name="T2" fmla="*/ 155 w 411"/>
                    <a:gd name="T3" fmla="*/ 204 h 204"/>
                    <a:gd name="T4" fmla="*/ 146 w 411"/>
                    <a:gd name="T5" fmla="*/ 195 h 204"/>
                    <a:gd name="T6" fmla="*/ 164 w 411"/>
                    <a:gd name="T7" fmla="*/ 183 h 204"/>
                    <a:gd name="T8" fmla="*/ 162 w 411"/>
                    <a:gd name="T9" fmla="*/ 165 h 204"/>
                    <a:gd name="T10" fmla="*/ 182 w 411"/>
                    <a:gd name="T11" fmla="*/ 171 h 204"/>
                    <a:gd name="T12" fmla="*/ 185 w 411"/>
                    <a:gd name="T13" fmla="*/ 159 h 204"/>
                    <a:gd name="T14" fmla="*/ 168 w 411"/>
                    <a:gd name="T15" fmla="*/ 141 h 204"/>
                    <a:gd name="T16" fmla="*/ 158 w 411"/>
                    <a:gd name="T17" fmla="*/ 117 h 204"/>
                    <a:gd name="T18" fmla="*/ 143 w 411"/>
                    <a:gd name="T19" fmla="*/ 119 h 204"/>
                    <a:gd name="T20" fmla="*/ 125 w 411"/>
                    <a:gd name="T21" fmla="*/ 110 h 204"/>
                    <a:gd name="T22" fmla="*/ 107 w 411"/>
                    <a:gd name="T23" fmla="*/ 114 h 204"/>
                    <a:gd name="T24" fmla="*/ 87 w 411"/>
                    <a:gd name="T25" fmla="*/ 125 h 204"/>
                    <a:gd name="T26" fmla="*/ 62 w 411"/>
                    <a:gd name="T27" fmla="*/ 131 h 204"/>
                    <a:gd name="T28" fmla="*/ 53 w 411"/>
                    <a:gd name="T29" fmla="*/ 120 h 204"/>
                    <a:gd name="T30" fmla="*/ 15 w 411"/>
                    <a:gd name="T31" fmla="*/ 120 h 204"/>
                    <a:gd name="T32" fmla="*/ 0 w 411"/>
                    <a:gd name="T33" fmla="*/ 110 h 204"/>
                    <a:gd name="T34" fmla="*/ 8 w 411"/>
                    <a:gd name="T35" fmla="*/ 95 h 204"/>
                    <a:gd name="T36" fmla="*/ 18 w 411"/>
                    <a:gd name="T37" fmla="*/ 92 h 204"/>
                    <a:gd name="T38" fmla="*/ 9 w 411"/>
                    <a:gd name="T39" fmla="*/ 78 h 204"/>
                    <a:gd name="T40" fmla="*/ 24 w 411"/>
                    <a:gd name="T41" fmla="*/ 66 h 204"/>
                    <a:gd name="T42" fmla="*/ 42 w 411"/>
                    <a:gd name="T43" fmla="*/ 47 h 204"/>
                    <a:gd name="T44" fmla="*/ 26 w 411"/>
                    <a:gd name="T45" fmla="*/ 23 h 204"/>
                    <a:gd name="T46" fmla="*/ 45 w 411"/>
                    <a:gd name="T47" fmla="*/ 12 h 204"/>
                    <a:gd name="T48" fmla="*/ 81 w 411"/>
                    <a:gd name="T49" fmla="*/ 12 h 204"/>
                    <a:gd name="T50" fmla="*/ 105 w 411"/>
                    <a:gd name="T51" fmla="*/ 23 h 204"/>
                    <a:gd name="T52" fmla="*/ 158 w 411"/>
                    <a:gd name="T53" fmla="*/ 26 h 204"/>
                    <a:gd name="T54" fmla="*/ 183 w 411"/>
                    <a:gd name="T55" fmla="*/ 32 h 204"/>
                    <a:gd name="T56" fmla="*/ 188 w 411"/>
                    <a:gd name="T57" fmla="*/ 9 h 204"/>
                    <a:gd name="T58" fmla="*/ 201 w 411"/>
                    <a:gd name="T59" fmla="*/ 5 h 204"/>
                    <a:gd name="T60" fmla="*/ 212 w 411"/>
                    <a:gd name="T61" fmla="*/ 9 h 204"/>
                    <a:gd name="T62" fmla="*/ 224 w 411"/>
                    <a:gd name="T63" fmla="*/ 0 h 204"/>
                    <a:gd name="T64" fmla="*/ 255 w 411"/>
                    <a:gd name="T65" fmla="*/ 0 h 204"/>
                    <a:gd name="T66" fmla="*/ 270 w 411"/>
                    <a:gd name="T67" fmla="*/ 11 h 204"/>
                    <a:gd name="T68" fmla="*/ 266 w 411"/>
                    <a:gd name="T69" fmla="*/ 24 h 204"/>
                    <a:gd name="T70" fmla="*/ 291 w 411"/>
                    <a:gd name="T71" fmla="*/ 35 h 204"/>
                    <a:gd name="T72" fmla="*/ 299 w 411"/>
                    <a:gd name="T73" fmla="*/ 56 h 204"/>
                    <a:gd name="T74" fmla="*/ 339 w 411"/>
                    <a:gd name="T75" fmla="*/ 56 h 204"/>
                    <a:gd name="T76" fmla="*/ 371 w 411"/>
                    <a:gd name="T77" fmla="*/ 71 h 204"/>
                    <a:gd name="T78" fmla="*/ 408 w 411"/>
                    <a:gd name="T79" fmla="*/ 78 h 204"/>
                    <a:gd name="T80" fmla="*/ 405 w 411"/>
                    <a:gd name="T81" fmla="*/ 111 h 204"/>
                    <a:gd name="T82" fmla="*/ 411 w 411"/>
                    <a:gd name="T83" fmla="*/ 125 h 204"/>
                    <a:gd name="T84" fmla="*/ 402 w 411"/>
                    <a:gd name="T85" fmla="*/ 134 h 204"/>
                    <a:gd name="T86" fmla="*/ 381 w 411"/>
                    <a:gd name="T87" fmla="*/ 134 h 204"/>
                    <a:gd name="T88" fmla="*/ 377 w 411"/>
                    <a:gd name="T89" fmla="*/ 147 h 204"/>
                    <a:gd name="T90" fmla="*/ 300 w 411"/>
                    <a:gd name="T91" fmla="*/ 180 h 204"/>
                    <a:gd name="T92" fmla="*/ 272 w 411"/>
                    <a:gd name="T93" fmla="*/ 176 h 204"/>
                    <a:gd name="T94" fmla="*/ 231 w 411"/>
                    <a:gd name="T95" fmla="*/ 179 h 204"/>
                    <a:gd name="T96" fmla="*/ 245 w 411"/>
                    <a:gd name="T97" fmla="*/ 161 h 204"/>
                    <a:gd name="T98" fmla="*/ 213 w 411"/>
                    <a:gd name="T99" fmla="*/ 161 h 204"/>
                    <a:gd name="T100" fmla="*/ 201 w 411"/>
                    <a:gd name="T101" fmla="*/ 185 h 204"/>
                    <a:gd name="T102" fmla="*/ 174 w 411"/>
                    <a:gd name="T103" fmla="*/ 19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1" h="204">
                      <a:moveTo>
                        <a:pt x="174" y="195"/>
                      </a:moveTo>
                      <a:lnTo>
                        <a:pt x="155" y="204"/>
                      </a:lnTo>
                      <a:lnTo>
                        <a:pt x="146" y="195"/>
                      </a:lnTo>
                      <a:lnTo>
                        <a:pt x="164" y="183"/>
                      </a:lnTo>
                      <a:lnTo>
                        <a:pt x="162" y="165"/>
                      </a:lnTo>
                      <a:lnTo>
                        <a:pt x="182" y="171"/>
                      </a:lnTo>
                      <a:lnTo>
                        <a:pt x="185" y="159"/>
                      </a:lnTo>
                      <a:lnTo>
                        <a:pt x="168" y="141"/>
                      </a:lnTo>
                      <a:lnTo>
                        <a:pt x="158" y="117"/>
                      </a:lnTo>
                      <a:lnTo>
                        <a:pt x="143" y="119"/>
                      </a:lnTo>
                      <a:lnTo>
                        <a:pt x="125" y="110"/>
                      </a:lnTo>
                      <a:lnTo>
                        <a:pt x="107" y="114"/>
                      </a:lnTo>
                      <a:lnTo>
                        <a:pt x="87" y="125"/>
                      </a:lnTo>
                      <a:lnTo>
                        <a:pt x="62" y="131"/>
                      </a:lnTo>
                      <a:lnTo>
                        <a:pt x="53" y="120"/>
                      </a:lnTo>
                      <a:lnTo>
                        <a:pt x="15" y="120"/>
                      </a:lnTo>
                      <a:lnTo>
                        <a:pt x="0" y="110"/>
                      </a:lnTo>
                      <a:lnTo>
                        <a:pt x="8" y="95"/>
                      </a:lnTo>
                      <a:lnTo>
                        <a:pt x="18" y="92"/>
                      </a:lnTo>
                      <a:lnTo>
                        <a:pt x="9" y="78"/>
                      </a:lnTo>
                      <a:lnTo>
                        <a:pt x="24" y="66"/>
                      </a:lnTo>
                      <a:lnTo>
                        <a:pt x="42" y="47"/>
                      </a:lnTo>
                      <a:lnTo>
                        <a:pt x="26" y="23"/>
                      </a:lnTo>
                      <a:lnTo>
                        <a:pt x="45" y="12"/>
                      </a:lnTo>
                      <a:lnTo>
                        <a:pt x="81" y="12"/>
                      </a:lnTo>
                      <a:lnTo>
                        <a:pt x="105" y="23"/>
                      </a:lnTo>
                      <a:lnTo>
                        <a:pt x="158" y="26"/>
                      </a:lnTo>
                      <a:lnTo>
                        <a:pt x="183" y="32"/>
                      </a:lnTo>
                      <a:lnTo>
                        <a:pt x="188" y="9"/>
                      </a:lnTo>
                      <a:lnTo>
                        <a:pt x="201" y="5"/>
                      </a:lnTo>
                      <a:lnTo>
                        <a:pt x="212" y="9"/>
                      </a:lnTo>
                      <a:lnTo>
                        <a:pt x="224" y="0"/>
                      </a:lnTo>
                      <a:lnTo>
                        <a:pt x="255" y="0"/>
                      </a:lnTo>
                      <a:lnTo>
                        <a:pt x="270" y="11"/>
                      </a:lnTo>
                      <a:lnTo>
                        <a:pt x="266" y="24"/>
                      </a:lnTo>
                      <a:lnTo>
                        <a:pt x="291" y="35"/>
                      </a:lnTo>
                      <a:lnTo>
                        <a:pt x="299" y="56"/>
                      </a:lnTo>
                      <a:lnTo>
                        <a:pt x="339" y="56"/>
                      </a:lnTo>
                      <a:lnTo>
                        <a:pt x="371" y="71"/>
                      </a:lnTo>
                      <a:lnTo>
                        <a:pt x="408" y="78"/>
                      </a:lnTo>
                      <a:lnTo>
                        <a:pt x="405" y="111"/>
                      </a:lnTo>
                      <a:lnTo>
                        <a:pt x="411" y="125"/>
                      </a:lnTo>
                      <a:lnTo>
                        <a:pt x="402" y="134"/>
                      </a:lnTo>
                      <a:lnTo>
                        <a:pt x="381" y="134"/>
                      </a:lnTo>
                      <a:lnTo>
                        <a:pt x="377" y="147"/>
                      </a:lnTo>
                      <a:lnTo>
                        <a:pt x="300" y="180"/>
                      </a:lnTo>
                      <a:lnTo>
                        <a:pt x="272" y="176"/>
                      </a:lnTo>
                      <a:lnTo>
                        <a:pt x="231" y="179"/>
                      </a:lnTo>
                      <a:lnTo>
                        <a:pt x="245" y="161"/>
                      </a:lnTo>
                      <a:lnTo>
                        <a:pt x="213" y="161"/>
                      </a:lnTo>
                      <a:lnTo>
                        <a:pt x="201" y="185"/>
                      </a:lnTo>
                      <a:lnTo>
                        <a:pt x="174" y="19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0" name="Freeform 185"/>
                <p:cNvSpPr>
                  <a:spLocks/>
                </p:cNvSpPr>
                <p:nvPr/>
              </p:nvSpPr>
              <p:spPr bwMode="auto">
                <a:xfrm>
                  <a:off x="5169708" y="2580959"/>
                  <a:ext cx="96178" cy="54323"/>
                </a:xfrm>
                <a:custGeom>
                  <a:avLst/>
                  <a:gdLst>
                    <a:gd name="T0" fmla="*/ 89 w 94"/>
                    <a:gd name="T1" fmla="*/ 21 h 54"/>
                    <a:gd name="T2" fmla="*/ 63 w 94"/>
                    <a:gd name="T3" fmla="*/ 23 h 54"/>
                    <a:gd name="T4" fmla="*/ 42 w 94"/>
                    <a:gd name="T5" fmla="*/ 8 h 54"/>
                    <a:gd name="T6" fmla="*/ 0 w 94"/>
                    <a:gd name="T7" fmla="*/ 24 h 54"/>
                    <a:gd name="T8" fmla="*/ 23 w 94"/>
                    <a:gd name="T9" fmla="*/ 38 h 54"/>
                    <a:gd name="T10" fmla="*/ 38 w 94"/>
                    <a:gd name="T11" fmla="*/ 51 h 54"/>
                    <a:gd name="T12" fmla="*/ 56 w 94"/>
                    <a:gd name="T13" fmla="*/ 41 h 54"/>
                    <a:gd name="T14" fmla="*/ 90 w 94"/>
                    <a:gd name="T15" fmla="*/ 33 h 54"/>
                    <a:gd name="T16" fmla="*/ 89 w 94"/>
                    <a:gd name="T1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4">
                      <a:moveTo>
                        <a:pt x="89" y="21"/>
                      </a:moveTo>
                      <a:cubicBezTo>
                        <a:pt x="69" y="25"/>
                        <a:pt x="78" y="25"/>
                        <a:pt x="63" y="23"/>
                      </a:cubicBezTo>
                      <a:cubicBezTo>
                        <a:pt x="57" y="14"/>
                        <a:pt x="53" y="10"/>
                        <a:pt x="42" y="8"/>
                      </a:cubicBezTo>
                      <a:cubicBezTo>
                        <a:pt x="26" y="0"/>
                        <a:pt x="9" y="12"/>
                        <a:pt x="0" y="24"/>
                      </a:cubicBezTo>
                      <a:cubicBezTo>
                        <a:pt x="10" y="30"/>
                        <a:pt x="18" y="26"/>
                        <a:pt x="23" y="38"/>
                      </a:cubicBezTo>
                      <a:cubicBezTo>
                        <a:pt x="24" y="52"/>
                        <a:pt x="24" y="54"/>
                        <a:pt x="38" y="51"/>
                      </a:cubicBezTo>
                      <a:cubicBezTo>
                        <a:pt x="44" y="47"/>
                        <a:pt x="49" y="42"/>
                        <a:pt x="56" y="41"/>
                      </a:cubicBezTo>
                      <a:cubicBezTo>
                        <a:pt x="66" y="33"/>
                        <a:pt x="78" y="34"/>
                        <a:pt x="90" y="33"/>
                      </a:cubicBezTo>
                      <a:cubicBezTo>
                        <a:pt x="94" y="28"/>
                        <a:pt x="94" y="26"/>
                        <a:pt x="89" y="21"/>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1" name="Freeform 186"/>
                <p:cNvSpPr>
                  <a:spLocks/>
                </p:cNvSpPr>
                <p:nvPr/>
              </p:nvSpPr>
              <p:spPr bwMode="auto">
                <a:xfrm>
                  <a:off x="7836336" y="1891361"/>
                  <a:ext cx="72910" cy="30179"/>
                </a:xfrm>
                <a:custGeom>
                  <a:avLst/>
                  <a:gdLst>
                    <a:gd name="T0" fmla="*/ 41 w 71"/>
                    <a:gd name="T1" fmla="*/ 4 h 29"/>
                    <a:gd name="T2" fmla="*/ 4 w 71"/>
                    <a:gd name="T3" fmla="*/ 5 h 29"/>
                    <a:gd name="T4" fmla="*/ 10 w 71"/>
                    <a:gd name="T5" fmla="*/ 14 h 29"/>
                    <a:gd name="T6" fmla="*/ 29 w 71"/>
                    <a:gd name="T7" fmla="*/ 20 h 29"/>
                    <a:gd name="T8" fmla="*/ 71 w 71"/>
                    <a:gd name="T9" fmla="*/ 16 h 29"/>
                    <a:gd name="T10" fmla="*/ 41 w 71"/>
                    <a:gd name="T11" fmla="*/ 4 h 29"/>
                  </a:gdLst>
                  <a:ahLst/>
                  <a:cxnLst>
                    <a:cxn ang="0">
                      <a:pos x="T0" y="T1"/>
                    </a:cxn>
                    <a:cxn ang="0">
                      <a:pos x="T2" y="T3"/>
                    </a:cxn>
                    <a:cxn ang="0">
                      <a:pos x="T4" y="T5"/>
                    </a:cxn>
                    <a:cxn ang="0">
                      <a:pos x="T6" y="T7"/>
                    </a:cxn>
                    <a:cxn ang="0">
                      <a:pos x="T8" y="T9"/>
                    </a:cxn>
                    <a:cxn ang="0">
                      <a:pos x="T10" y="T11"/>
                    </a:cxn>
                  </a:cxnLst>
                  <a:rect l="0" t="0" r="r" b="b"/>
                  <a:pathLst>
                    <a:path w="71" h="29">
                      <a:moveTo>
                        <a:pt x="41" y="4"/>
                      </a:moveTo>
                      <a:cubicBezTo>
                        <a:pt x="29" y="4"/>
                        <a:pt x="16" y="3"/>
                        <a:pt x="4" y="5"/>
                      </a:cubicBezTo>
                      <a:cubicBezTo>
                        <a:pt x="0" y="6"/>
                        <a:pt x="7" y="12"/>
                        <a:pt x="10" y="14"/>
                      </a:cubicBezTo>
                      <a:cubicBezTo>
                        <a:pt x="17" y="18"/>
                        <a:pt x="20" y="19"/>
                        <a:pt x="29" y="20"/>
                      </a:cubicBezTo>
                      <a:cubicBezTo>
                        <a:pt x="43" y="25"/>
                        <a:pt x="62" y="29"/>
                        <a:pt x="71" y="16"/>
                      </a:cubicBezTo>
                      <a:cubicBezTo>
                        <a:pt x="69" y="7"/>
                        <a:pt x="50" y="0"/>
                        <a:pt x="41" y="4"/>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2" name="Freeform 187"/>
                <p:cNvSpPr>
                  <a:spLocks/>
                </p:cNvSpPr>
                <p:nvPr/>
              </p:nvSpPr>
              <p:spPr bwMode="auto">
                <a:xfrm>
                  <a:off x="4842391" y="1932102"/>
                  <a:ext cx="231139" cy="264070"/>
                </a:xfrm>
                <a:custGeom>
                  <a:avLst/>
                  <a:gdLst>
                    <a:gd name="T0" fmla="*/ 148 w 226"/>
                    <a:gd name="T1" fmla="*/ 36 h 264"/>
                    <a:gd name="T2" fmla="*/ 156 w 226"/>
                    <a:gd name="T3" fmla="*/ 15 h 264"/>
                    <a:gd name="T4" fmla="*/ 150 w 226"/>
                    <a:gd name="T5" fmla="*/ 6 h 264"/>
                    <a:gd name="T6" fmla="*/ 129 w 226"/>
                    <a:gd name="T7" fmla="*/ 0 h 264"/>
                    <a:gd name="T8" fmla="*/ 102 w 226"/>
                    <a:gd name="T9" fmla="*/ 4 h 264"/>
                    <a:gd name="T10" fmla="*/ 88 w 226"/>
                    <a:gd name="T11" fmla="*/ 15 h 264"/>
                    <a:gd name="T12" fmla="*/ 85 w 226"/>
                    <a:gd name="T13" fmla="*/ 31 h 264"/>
                    <a:gd name="T14" fmla="*/ 61 w 226"/>
                    <a:gd name="T15" fmla="*/ 31 h 264"/>
                    <a:gd name="T16" fmla="*/ 39 w 226"/>
                    <a:gd name="T17" fmla="*/ 33 h 264"/>
                    <a:gd name="T18" fmla="*/ 10 w 226"/>
                    <a:gd name="T19" fmla="*/ 18 h 264"/>
                    <a:gd name="T20" fmla="*/ 0 w 226"/>
                    <a:gd name="T21" fmla="*/ 27 h 264"/>
                    <a:gd name="T22" fmla="*/ 13 w 226"/>
                    <a:gd name="T23" fmla="*/ 36 h 264"/>
                    <a:gd name="T24" fmla="*/ 46 w 226"/>
                    <a:gd name="T25" fmla="*/ 49 h 264"/>
                    <a:gd name="T26" fmla="*/ 55 w 226"/>
                    <a:gd name="T27" fmla="*/ 67 h 264"/>
                    <a:gd name="T28" fmla="*/ 64 w 226"/>
                    <a:gd name="T29" fmla="*/ 84 h 264"/>
                    <a:gd name="T30" fmla="*/ 60 w 226"/>
                    <a:gd name="T31" fmla="*/ 93 h 264"/>
                    <a:gd name="T32" fmla="*/ 69 w 226"/>
                    <a:gd name="T33" fmla="*/ 109 h 264"/>
                    <a:gd name="T34" fmla="*/ 85 w 226"/>
                    <a:gd name="T35" fmla="*/ 109 h 264"/>
                    <a:gd name="T36" fmla="*/ 99 w 226"/>
                    <a:gd name="T37" fmla="*/ 123 h 264"/>
                    <a:gd name="T38" fmla="*/ 90 w 226"/>
                    <a:gd name="T39" fmla="*/ 133 h 264"/>
                    <a:gd name="T40" fmla="*/ 54 w 226"/>
                    <a:gd name="T41" fmla="*/ 154 h 264"/>
                    <a:gd name="T42" fmla="*/ 25 w 226"/>
                    <a:gd name="T43" fmla="*/ 175 h 264"/>
                    <a:gd name="T44" fmla="*/ 19 w 226"/>
                    <a:gd name="T45" fmla="*/ 187 h 264"/>
                    <a:gd name="T46" fmla="*/ 27 w 226"/>
                    <a:gd name="T47" fmla="*/ 207 h 264"/>
                    <a:gd name="T48" fmla="*/ 28 w 226"/>
                    <a:gd name="T49" fmla="*/ 234 h 264"/>
                    <a:gd name="T50" fmla="*/ 46 w 226"/>
                    <a:gd name="T51" fmla="*/ 258 h 264"/>
                    <a:gd name="T52" fmla="*/ 64 w 226"/>
                    <a:gd name="T53" fmla="*/ 264 h 264"/>
                    <a:gd name="T54" fmla="*/ 100 w 226"/>
                    <a:gd name="T55" fmla="*/ 259 h 264"/>
                    <a:gd name="T56" fmla="*/ 124 w 226"/>
                    <a:gd name="T57" fmla="*/ 252 h 264"/>
                    <a:gd name="T58" fmla="*/ 154 w 226"/>
                    <a:gd name="T59" fmla="*/ 244 h 264"/>
                    <a:gd name="T60" fmla="*/ 177 w 226"/>
                    <a:gd name="T61" fmla="*/ 237 h 264"/>
                    <a:gd name="T62" fmla="*/ 211 w 226"/>
                    <a:gd name="T63" fmla="*/ 202 h 264"/>
                    <a:gd name="T64" fmla="*/ 226 w 226"/>
                    <a:gd name="T65" fmla="*/ 175 h 264"/>
                    <a:gd name="T66" fmla="*/ 196 w 226"/>
                    <a:gd name="T67" fmla="*/ 162 h 264"/>
                    <a:gd name="T68" fmla="*/ 207 w 226"/>
                    <a:gd name="T69" fmla="*/ 147 h 264"/>
                    <a:gd name="T70" fmla="*/ 183 w 226"/>
                    <a:gd name="T71" fmla="*/ 129 h 264"/>
                    <a:gd name="T72" fmla="*/ 184 w 226"/>
                    <a:gd name="T73" fmla="*/ 111 h 264"/>
                    <a:gd name="T74" fmla="*/ 168 w 226"/>
                    <a:gd name="T75" fmla="*/ 78 h 264"/>
                    <a:gd name="T76" fmla="*/ 177 w 226"/>
                    <a:gd name="T77" fmla="*/ 54 h 264"/>
                    <a:gd name="T78" fmla="*/ 160 w 226"/>
                    <a:gd name="T79" fmla="*/ 46 h 264"/>
                    <a:gd name="T80" fmla="*/ 148 w 226"/>
                    <a:gd name="T81" fmla="*/ 3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64">
                      <a:moveTo>
                        <a:pt x="148" y="36"/>
                      </a:moveTo>
                      <a:lnTo>
                        <a:pt x="156" y="15"/>
                      </a:lnTo>
                      <a:lnTo>
                        <a:pt x="150" y="6"/>
                      </a:lnTo>
                      <a:lnTo>
                        <a:pt x="129" y="0"/>
                      </a:lnTo>
                      <a:lnTo>
                        <a:pt x="102" y="4"/>
                      </a:lnTo>
                      <a:lnTo>
                        <a:pt x="88" y="15"/>
                      </a:lnTo>
                      <a:lnTo>
                        <a:pt x="85" y="31"/>
                      </a:lnTo>
                      <a:lnTo>
                        <a:pt x="61" y="31"/>
                      </a:lnTo>
                      <a:lnTo>
                        <a:pt x="39" y="33"/>
                      </a:lnTo>
                      <a:lnTo>
                        <a:pt x="10" y="18"/>
                      </a:lnTo>
                      <a:lnTo>
                        <a:pt x="0" y="27"/>
                      </a:lnTo>
                      <a:lnTo>
                        <a:pt x="13" y="36"/>
                      </a:lnTo>
                      <a:lnTo>
                        <a:pt x="46" y="49"/>
                      </a:lnTo>
                      <a:lnTo>
                        <a:pt x="55" y="67"/>
                      </a:lnTo>
                      <a:lnTo>
                        <a:pt x="64" y="84"/>
                      </a:lnTo>
                      <a:lnTo>
                        <a:pt x="60" y="93"/>
                      </a:lnTo>
                      <a:lnTo>
                        <a:pt x="69" y="109"/>
                      </a:lnTo>
                      <a:lnTo>
                        <a:pt x="85" y="109"/>
                      </a:lnTo>
                      <a:lnTo>
                        <a:pt x="99" y="123"/>
                      </a:lnTo>
                      <a:lnTo>
                        <a:pt x="90" y="133"/>
                      </a:lnTo>
                      <a:lnTo>
                        <a:pt x="54" y="154"/>
                      </a:lnTo>
                      <a:lnTo>
                        <a:pt x="25" y="175"/>
                      </a:lnTo>
                      <a:lnTo>
                        <a:pt x="19" y="187"/>
                      </a:lnTo>
                      <a:lnTo>
                        <a:pt x="27" y="207"/>
                      </a:lnTo>
                      <a:lnTo>
                        <a:pt x="28" y="234"/>
                      </a:lnTo>
                      <a:lnTo>
                        <a:pt x="46" y="258"/>
                      </a:lnTo>
                      <a:lnTo>
                        <a:pt x="64" y="264"/>
                      </a:lnTo>
                      <a:lnTo>
                        <a:pt x="100" y="259"/>
                      </a:lnTo>
                      <a:lnTo>
                        <a:pt x="124" y="252"/>
                      </a:lnTo>
                      <a:lnTo>
                        <a:pt x="154" y="244"/>
                      </a:lnTo>
                      <a:lnTo>
                        <a:pt x="177" y="237"/>
                      </a:lnTo>
                      <a:lnTo>
                        <a:pt x="211" y="202"/>
                      </a:lnTo>
                      <a:lnTo>
                        <a:pt x="226" y="175"/>
                      </a:lnTo>
                      <a:lnTo>
                        <a:pt x="196" y="162"/>
                      </a:lnTo>
                      <a:lnTo>
                        <a:pt x="207" y="147"/>
                      </a:lnTo>
                      <a:lnTo>
                        <a:pt x="183" y="129"/>
                      </a:lnTo>
                      <a:lnTo>
                        <a:pt x="184" y="111"/>
                      </a:lnTo>
                      <a:lnTo>
                        <a:pt x="168" y="78"/>
                      </a:lnTo>
                      <a:lnTo>
                        <a:pt x="177" y="54"/>
                      </a:lnTo>
                      <a:lnTo>
                        <a:pt x="160" y="46"/>
                      </a:lnTo>
                      <a:lnTo>
                        <a:pt x="148" y="3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3" name="Freeform 188"/>
                <p:cNvSpPr>
                  <a:spLocks/>
                </p:cNvSpPr>
                <p:nvPr/>
              </p:nvSpPr>
              <p:spPr bwMode="auto">
                <a:xfrm>
                  <a:off x="4654687" y="1956246"/>
                  <a:ext cx="257510" cy="363662"/>
                </a:xfrm>
                <a:custGeom>
                  <a:avLst/>
                  <a:gdLst>
                    <a:gd name="T0" fmla="*/ 183 w 251"/>
                    <a:gd name="T1" fmla="*/ 3 h 364"/>
                    <a:gd name="T2" fmla="*/ 194 w 251"/>
                    <a:gd name="T3" fmla="*/ 12 h 364"/>
                    <a:gd name="T4" fmla="*/ 228 w 251"/>
                    <a:gd name="T5" fmla="*/ 24 h 364"/>
                    <a:gd name="T6" fmla="*/ 245 w 251"/>
                    <a:gd name="T7" fmla="*/ 60 h 364"/>
                    <a:gd name="T8" fmla="*/ 251 w 251"/>
                    <a:gd name="T9" fmla="*/ 85 h 364"/>
                    <a:gd name="T10" fmla="*/ 237 w 251"/>
                    <a:gd name="T11" fmla="*/ 82 h 364"/>
                    <a:gd name="T12" fmla="*/ 218 w 251"/>
                    <a:gd name="T13" fmla="*/ 81 h 364"/>
                    <a:gd name="T14" fmla="*/ 206 w 251"/>
                    <a:gd name="T15" fmla="*/ 96 h 364"/>
                    <a:gd name="T16" fmla="*/ 197 w 251"/>
                    <a:gd name="T17" fmla="*/ 109 h 364"/>
                    <a:gd name="T18" fmla="*/ 207 w 251"/>
                    <a:gd name="T19" fmla="*/ 118 h 364"/>
                    <a:gd name="T20" fmla="*/ 180 w 251"/>
                    <a:gd name="T21" fmla="*/ 141 h 364"/>
                    <a:gd name="T22" fmla="*/ 156 w 251"/>
                    <a:gd name="T23" fmla="*/ 145 h 364"/>
                    <a:gd name="T24" fmla="*/ 134 w 251"/>
                    <a:gd name="T25" fmla="*/ 162 h 364"/>
                    <a:gd name="T26" fmla="*/ 123 w 251"/>
                    <a:gd name="T27" fmla="*/ 180 h 364"/>
                    <a:gd name="T28" fmla="*/ 119 w 251"/>
                    <a:gd name="T29" fmla="*/ 205 h 364"/>
                    <a:gd name="T30" fmla="*/ 129 w 251"/>
                    <a:gd name="T31" fmla="*/ 217 h 364"/>
                    <a:gd name="T32" fmla="*/ 150 w 251"/>
                    <a:gd name="T33" fmla="*/ 228 h 364"/>
                    <a:gd name="T34" fmla="*/ 164 w 251"/>
                    <a:gd name="T35" fmla="*/ 241 h 364"/>
                    <a:gd name="T36" fmla="*/ 150 w 251"/>
                    <a:gd name="T37" fmla="*/ 256 h 364"/>
                    <a:gd name="T38" fmla="*/ 128 w 251"/>
                    <a:gd name="T39" fmla="*/ 268 h 364"/>
                    <a:gd name="T40" fmla="*/ 105 w 251"/>
                    <a:gd name="T41" fmla="*/ 273 h 364"/>
                    <a:gd name="T42" fmla="*/ 119 w 251"/>
                    <a:gd name="T43" fmla="*/ 285 h 364"/>
                    <a:gd name="T44" fmla="*/ 113 w 251"/>
                    <a:gd name="T45" fmla="*/ 310 h 364"/>
                    <a:gd name="T46" fmla="*/ 108 w 251"/>
                    <a:gd name="T47" fmla="*/ 337 h 364"/>
                    <a:gd name="T48" fmla="*/ 72 w 251"/>
                    <a:gd name="T49" fmla="*/ 342 h 364"/>
                    <a:gd name="T50" fmla="*/ 65 w 251"/>
                    <a:gd name="T51" fmla="*/ 354 h 364"/>
                    <a:gd name="T52" fmla="*/ 65 w 251"/>
                    <a:gd name="T53" fmla="*/ 364 h 364"/>
                    <a:gd name="T54" fmla="*/ 38 w 251"/>
                    <a:gd name="T55" fmla="*/ 364 h 364"/>
                    <a:gd name="T56" fmla="*/ 30 w 251"/>
                    <a:gd name="T57" fmla="*/ 348 h 364"/>
                    <a:gd name="T58" fmla="*/ 35 w 251"/>
                    <a:gd name="T59" fmla="*/ 327 h 364"/>
                    <a:gd name="T60" fmla="*/ 20 w 251"/>
                    <a:gd name="T61" fmla="*/ 306 h 364"/>
                    <a:gd name="T62" fmla="*/ 0 w 251"/>
                    <a:gd name="T63" fmla="*/ 262 h 364"/>
                    <a:gd name="T64" fmla="*/ 12 w 251"/>
                    <a:gd name="T65" fmla="*/ 262 h 364"/>
                    <a:gd name="T66" fmla="*/ 12 w 251"/>
                    <a:gd name="T67" fmla="*/ 249 h 364"/>
                    <a:gd name="T68" fmla="*/ 14 w 251"/>
                    <a:gd name="T69" fmla="*/ 238 h 364"/>
                    <a:gd name="T70" fmla="*/ 29 w 251"/>
                    <a:gd name="T71" fmla="*/ 232 h 364"/>
                    <a:gd name="T72" fmla="*/ 29 w 251"/>
                    <a:gd name="T73" fmla="*/ 219 h 364"/>
                    <a:gd name="T74" fmla="*/ 23 w 251"/>
                    <a:gd name="T75" fmla="*/ 205 h 364"/>
                    <a:gd name="T76" fmla="*/ 35 w 251"/>
                    <a:gd name="T77" fmla="*/ 199 h 364"/>
                    <a:gd name="T78" fmla="*/ 30 w 251"/>
                    <a:gd name="T79" fmla="*/ 190 h 364"/>
                    <a:gd name="T80" fmla="*/ 18 w 251"/>
                    <a:gd name="T81" fmla="*/ 192 h 364"/>
                    <a:gd name="T82" fmla="*/ 20 w 251"/>
                    <a:gd name="T83" fmla="*/ 166 h 364"/>
                    <a:gd name="T84" fmla="*/ 18 w 251"/>
                    <a:gd name="T85" fmla="*/ 138 h 364"/>
                    <a:gd name="T86" fmla="*/ 36 w 251"/>
                    <a:gd name="T87" fmla="*/ 127 h 364"/>
                    <a:gd name="T88" fmla="*/ 54 w 251"/>
                    <a:gd name="T89" fmla="*/ 127 h 364"/>
                    <a:gd name="T90" fmla="*/ 59 w 251"/>
                    <a:gd name="T91" fmla="*/ 117 h 364"/>
                    <a:gd name="T92" fmla="*/ 48 w 251"/>
                    <a:gd name="T93" fmla="*/ 114 h 364"/>
                    <a:gd name="T94" fmla="*/ 63 w 251"/>
                    <a:gd name="T95" fmla="*/ 96 h 364"/>
                    <a:gd name="T96" fmla="*/ 65 w 251"/>
                    <a:gd name="T97" fmla="*/ 73 h 364"/>
                    <a:gd name="T98" fmla="*/ 80 w 251"/>
                    <a:gd name="T99" fmla="*/ 73 h 364"/>
                    <a:gd name="T100" fmla="*/ 101 w 251"/>
                    <a:gd name="T101" fmla="*/ 48 h 364"/>
                    <a:gd name="T102" fmla="*/ 113 w 251"/>
                    <a:gd name="T103" fmla="*/ 25 h 364"/>
                    <a:gd name="T104" fmla="*/ 125 w 251"/>
                    <a:gd name="T105" fmla="*/ 30 h 364"/>
                    <a:gd name="T106" fmla="*/ 131 w 251"/>
                    <a:gd name="T107" fmla="*/ 13 h 364"/>
                    <a:gd name="T108" fmla="*/ 146 w 251"/>
                    <a:gd name="T109" fmla="*/ 12 h 364"/>
                    <a:gd name="T110" fmla="*/ 164 w 251"/>
                    <a:gd name="T111" fmla="*/ 19 h 364"/>
                    <a:gd name="T112" fmla="*/ 167 w 251"/>
                    <a:gd name="T113" fmla="*/ 0 h 364"/>
                    <a:gd name="T114" fmla="*/ 183 w 251"/>
                    <a:gd name="T115" fmla="*/ 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364">
                      <a:moveTo>
                        <a:pt x="183" y="3"/>
                      </a:moveTo>
                      <a:lnTo>
                        <a:pt x="194" y="12"/>
                      </a:lnTo>
                      <a:lnTo>
                        <a:pt x="228" y="24"/>
                      </a:lnTo>
                      <a:lnTo>
                        <a:pt x="245" y="60"/>
                      </a:lnTo>
                      <a:lnTo>
                        <a:pt x="251" y="85"/>
                      </a:lnTo>
                      <a:lnTo>
                        <a:pt x="237" y="82"/>
                      </a:lnTo>
                      <a:lnTo>
                        <a:pt x="218" y="81"/>
                      </a:lnTo>
                      <a:lnTo>
                        <a:pt x="206" y="96"/>
                      </a:lnTo>
                      <a:lnTo>
                        <a:pt x="197" y="109"/>
                      </a:lnTo>
                      <a:lnTo>
                        <a:pt x="207" y="118"/>
                      </a:lnTo>
                      <a:lnTo>
                        <a:pt x="180" y="141"/>
                      </a:lnTo>
                      <a:lnTo>
                        <a:pt x="156" y="145"/>
                      </a:lnTo>
                      <a:lnTo>
                        <a:pt x="134" y="162"/>
                      </a:lnTo>
                      <a:lnTo>
                        <a:pt x="123" y="180"/>
                      </a:lnTo>
                      <a:lnTo>
                        <a:pt x="119" y="205"/>
                      </a:lnTo>
                      <a:lnTo>
                        <a:pt x="129" y="217"/>
                      </a:lnTo>
                      <a:lnTo>
                        <a:pt x="150" y="228"/>
                      </a:lnTo>
                      <a:lnTo>
                        <a:pt x="164" y="241"/>
                      </a:lnTo>
                      <a:lnTo>
                        <a:pt x="150" y="256"/>
                      </a:lnTo>
                      <a:lnTo>
                        <a:pt x="128" y="268"/>
                      </a:lnTo>
                      <a:lnTo>
                        <a:pt x="105" y="273"/>
                      </a:lnTo>
                      <a:lnTo>
                        <a:pt x="119" y="285"/>
                      </a:lnTo>
                      <a:lnTo>
                        <a:pt x="113" y="310"/>
                      </a:lnTo>
                      <a:lnTo>
                        <a:pt x="108" y="337"/>
                      </a:lnTo>
                      <a:lnTo>
                        <a:pt x="72" y="342"/>
                      </a:lnTo>
                      <a:lnTo>
                        <a:pt x="65" y="354"/>
                      </a:lnTo>
                      <a:lnTo>
                        <a:pt x="65" y="364"/>
                      </a:lnTo>
                      <a:lnTo>
                        <a:pt x="38" y="364"/>
                      </a:lnTo>
                      <a:lnTo>
                        <a:pt x="30" y="348"/>
                      </a:lnTo>
                      <a:lnTo>
                        <a:pt x="35" y="327"/>
                      </a:lnTo>
                      <a:lnTo>
                        <a:pt x="20" y="306"/>
                      </a:lnTo>
                      <a:lnTo>
                        <a:pt x="0" y="262"/>
                      </a:lnTo>
                      <a:lnTo>
                        <a:pt x="12" y="262"/>
                      </a:lnTo>
                      <a:lnTo>
                        <a:pt x="12" y="249"/>
                      </a:lnTo>
                      <a:lnTo>
                        <a:pt x="14" y="238"/>
                      </a:lnTo>
                      <a:lnTo>
                        <a:pt x="29" y="232"/>
                      </a:lnTo>
                      <a:lnTo>
                        <a:pt x="29" y="219"/>
                      </a:lnTo>
                      <a:lnTo>
                        <a:pt x="23" y="205"/>
                      </a:lnTo>
                      <a:lnTo>
                        <a:pt x="35" y="199"/>
                      </a:lnTo>
                      <a:lnTo>
                        <a:pt x="30" y="190"/>
                      </a:lnTo>
                      <a:lnTo>
                        <a:pt x="18" y="192"/>
                      </a:lnTo>
                      <a:lnTo>
                        <a:pt x="20" y="166"/>
                      </a:lnTo>
                      <a:lnTo>
                        <a:pt x="18" y="138"/>
                      </a:lnTo>
                      <a:lnTo>
                        <a:pt x="36" y="127"/>
                      </a:lnTo>
                      <a:lnTo>
                        <a:pt x="54" y="127"/>
                      </a:lnTo>
                      <a:lnTo>
                        <a:pt x="59" y="117"/>
                      </a:lnTo>
                      <a:lnTo>
                        <a:pt x="48" y="114"/>
                      </a:lnTo>
                      <a:lnTo>
                        <a:pt x="63" y="96"/>
                      </a:lnTo>
                      <a:lnTo>
                        <a:pt x="65" y="73"/>
                      </a:lnTo>
                      <a:lnTo>
                        <a:pt x="80" y="73"/>
                      </a:lnTo>
                      <a:lnTo>
                        <a:pt x="101" y="48"/>
                      </a:lnTo>
                      <a:lnTo>
                        <a:pt x="113" y="25"/>
                      </a:lnTo>
                      <a:lnTo>
                        <a:pt x="125" y="30"/>
                      </a:lnTo>
                      <a:lnTo>
                        <a:pt x="131" y="13"/>
                      </a:lnTo>
                      <a:lnTo>
                        <a:pt x="146" y="12"/>
                      </a:lnTo>
                      <a:lnTo>
                        <a:pt x="164" y="19"/>
                      </a:lnTo>
                      <a:lnTo>
                        <a:pt x="167" y="0"/>
                      </a:lnTo>
                      <a:lnTo>
                        <a:pt x="183" y="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4" name="Freeform 189"/>
                <p:cNvSpPr>
                  <a:spLocks/>
                </p:cNvSpPr>
                <p:nvPr/>
              </p:nvSpPr>
              <p:spPr bwMode="auto">
                <a:xfrm>
                  <a:off x="4518176" y="1900415"/>
                  <a:ext cx="511918" cy="347063"/>
                </a:xfrm>
                <a:custGeom>
                  <a:avLst/>
                  <a:gdLst>
                    <a:gd name="T0" fmla="*/ 328 w 498"/>
                    <a:gd name="T1" fmla="*/ 50 h 347"/>
                    <a:gd name="T2" fmla="*/ 402 w 498"/>
                    <a:gd name="T3" fmla="*/ 62 h 347"/>
                    <a:gd name="T4" fmla="*/ 420 w 498"/>
                    <a:gd name="T5" fmla="*/ 33 h 347"/>
                    <a:gd name="T6" fmla="*/ 469 w 498"/>
                    <a:gd name="T7" fmla="*/ 38 h 347"/>
                    <a:gd name="T8" fmla="*/ 478 w 498"/>
                    <a:gd name="T9" fmla="*/ 44 h 347"/>
                    <a:gd name="T10" fmla="*/ 498 w 498"/>
                    <a:gd name="T11" fmla="*/ 21 h 347"/>
                    <a:gd name="T12" fmla="*/ 445 w 498"/>
                    <a:gd name="T13" fmla="*/ 21 h 347"/>
                    <a:gd name="T14" fmla="*/ 423 w 498"/>
                    <a:gd name="T15" fmla="*/ 5 h 347"/>
                    <a:gd name="T16" fmla="*/ 388 w 498"/>
                    <a:gd name="T17" fmla="*/ 27 h 347"/>
                    <a:gd name="T18" fmla="*/ 363 w 498"/>
                    <a:gd name="T19" fmla="*/ 15 h 347"/>
                    <a:gd name="T20" fmla="*/ 340 w 498"/>
                    <a:gd name="T21" fmla="*/ 26 h 347"/>
                    <a:gd name="T22" fmla="*/ 300 w 498"/>
                    <a:gd name="T23" fmla="*/ 27 h 347"/>
                    <a:gd name="T24" fmla="*/ 286 w 498"/>
                    <a:gd name="T25" fmla="*/ 30 h 347"/>
                    <a:gd name="T26" fmla="*/ 243 w 498"/>
                    <a:gd name="T27" fmla="*/ 51 h 347"/>
                    <a:gd name="T28" fmla="*/ 225 w 498"/>
                    <a:gd name="T29" fmla="*/ 66 h 347"/>
                    <a:gd name="T30" fmla="*/ 192 w 498"/>
                    <a:gd name="T31" fmla="*/ 62 h 347"/>
                    <a:gd name="T32" fmla="*/ 165 w 498"/>
                    <a:gd name="T33" fmla="*/ 75 h 347"/>
                    <a:gd name="T34" fmla="*/ 195 w 498"/>
                    <a:gd name="T35" fmla="*/ 80 h 347"/>
                    <a:gd name="T36" fmla="*/ 193 w 498"/>
                    <a:gd name="T37" fmla="*/ 101 h 347"/>
                    <a:gd name="T38" fmla="*/ 148 w 498"/>
                    <a:gd name="T39" fmla="*/ 147 h 347"/>
                    <a:gd name="T40" fmla="*/ 136 w 498"/>
                    <a:gd name="T41" fmla="*/ 185 h 347"/>
                    <a:gd name="T42" fmla="*/ 109 w 498"/>
                    <a:gd name="T43" fmla="*/ 201 h 347"/>
                    <a:gd name="T44" fmla="*/ 93 w 498"/>
                    <a:gd name="T45" fmla="*/ 200 h 347"/>
                    <a:gd name="T46" fmla="*/ 55 w 498"/>
                    <a:gd name="T47" fmla="*/ 210 h 347"/>
                    <a:gd name="T48" fmla="*/ 9 w 498"/>
                    <a:gd name="T49" fmla="*/ 239 h 347"/>
                    <a:gd name="T50" fmla="*/ 24 w 498"/>
                    <a:gd name="T51" fmla="*/ 252 h 347"/>
                    <a:gd name="T52" fmla="*/ 3 w 498"/>
                    <a:gd name="T53" fmla="*/ 275 h 347"/>
                    <a:gd name="T54" fmla="*/ 9 w 498"/>
                    <a:gd name="T55" fmla="*/ 282 h 347"/>
                    <a:gd name="T56" fmla="*/ 9 w 498"/>
                    <a:gd name="T57" fmla="*/ 306 h 347"/>
                    <a:gd name="T58" fmla="*/ 15 w 498"/>
                    <a:gd name="T59" fmla="*/ 321 h 347"/>
                    <a:gd name="T60" fmla="*/ 45 w 498"/>
                    <a:gd name="T61" fmla="*/ 347 h 347"/>
                    <a:gd name="T62" fmla="*/ 97 w 498"/>
                    <a:gd name="T63" fmla="*/ 317 h 347"/>
                    <a:gd name="T64" fmla="*/ 121 w 498"/>
                    <a:gd name="T65" fmla="*/ 297 h 347"/>
                    <a:gd name="T66" fmla="*/ 145 w 498"/>
                    <a:gd name="T67" fmla="*/ 318 h 347"/>
                    <a:gd name="T68" fmla="*/ 147 w 498"/>
                    <a:gd name="T69" fmla="*/ 294 h 347"/>
                    <a:gd name="T70" fmla="*/ 162 w 498"/>
                    <a:gd name="T71" fmla="*/ 275 h 347"/>
                    <a:gd name="T72" fmla="*/ 168 w 498"/>
                    <a:gd name="T73" fmla="*/ 255 h 347"/>
                    <a:gd name="T74" fmla="*/ 151 w 498"/>
                    <a:gd name="T75" fmla="*/ 248 h 347"/>
                    <a:gd name="T76" fmla="*/ 151 w 498"/>
                    <a:gd name="T77" fmla="*/ 194 h 347"/>
                    <a:gd name="T78" fmla="*/ 187 w 498"/>
                    <a:gd name="T79" fmla="*/ 183 h 347"/>
                    <a:gd name="T80" fmla="*/ 181 w 498"/>
                    <a:gd name="T81" fmla="*/ 170 h 347"/>
                    <a:gd name="T82" fmla="*/ 198 w 498"/>
                    <a:gd name="T83" fmla="*/ 129 h 347"/>
                    <a:gd name="T84" fmla="*/ 234 w 498"/>
                    <a:gd name="T85" fmla="*/ 104 h 347"/>
                    <a:gd name="T86" fmla="*/ 258 w 498"/>
                    <a:gd name="T87" fmla="*/ 86 h 347"/>
                    <a:gd name="T88" fmla="*/ 279 w 498"/>
                    <a:gd name="T89" fmla="*/ 68 h 347"/>
                    <a:gd name="T90" fmla="*/ 300 w 498"/>
                    <a:gd name="T91" fmla="*/ 5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8" h="347">
                      <a:moveTo>
                        <a:pt x="316" y="59"/>
                      </a:moveTo>
                      <a:lnTo>
                        <a:pt x="328" y="50"/>
                      </a:lnTo>
                      <a:lnTo>
                        <a:pt x="357" y="63"/>
                      </a:lnTo>
                      <a:lnTo>
                        <a:pt x="402" y="62"/>
                      </a:lnTo>
                      <a:lnTo>
                        <a:pt x="403" y="47"/>
                      </a:lnTo>
                      <a:lnTo>
                        <a:pt x="420" y="33"/>
                      </a:lnTo>
                      <a:lnTo>
                        <a:pt x="450" y="33"/>
                      </a:lnTo>
                      <a:lnTo>
                        <a:pt x="469" y="38"/>
                      </a:lnTo>
                      <a:lnTo>
                        <a:pt x="471" y="56"/>
                      </a:lnTo>
                      <a:lnTo>
                        <a:pt x="478" y="44"/>
                      </a:lnTo>
                      <a:lnTo>
                        <a:pt x="492" y="39"/>
                      </a:lnTo>
                      <a:lnTo>
                        <a:pt x="498" y="21"/>
                      </a:lnTo>
                      <a:lnTo>
                        <a:pt x="463" y="9"/>
                      </a:lnTo>
                      <a:lnTo>
                        <a:pt x="445" y="21"/>
                      </a:lnTo>
                      <a:lnTo>
                        <a:pt x="444" y="2"/>
                      </a:lnTo>
                      <a:lnTo>
                        <a:pt x="423" y="5"/>
                      </a:lnTo>
                      <a:lnTo>
                        <a:pt x="421" y="21"/>
                      </a:lnTo>
                      <a:lnTo>
                        <a:pt x="388" y="27"/>
                      </a:lnTo>
                      <a:lnTo>
                        <a:pt x="400" y="0"/>
                      </a:lnTo>
                      <a:lnTo>
                        <a:pt x="363" y="15"/>
                      </a:lnTo>
                      <a:lnTo>
                        <a:pt x="328" y="15"/>
                      </a:lnTo>
                      <a:lnTo>
                        <a:pt x="340" y="26"/>
                      </a:lnTo>
                      <a:lnTo>
                        <a:pt x="325" y="29"/>
                      </a:lnTo>
                      <a:lnTo>
                        <a:pt x="300" y="27"/>
                      </a:lnTo>
                      <a:lnTo>
                        <a:pt x="303" y="41"/>
                      </a:lnTo>
                      <a:lnTo>
                        <a:pt x="286" y="30"/>
                      </a:lnTo>
                      <a:lnTo>
                        <a:pt x="264" y="36"/>
                      </a:lnTo>
                      <a:lnTo>
                        <a:pt x="243" y="51"/>
                      </a:lnTo>
                      <a:lnTo>
                        <a:pt x="250" y="62"/>
                      </a:lnTo>
                      <a:lnTo>
                        <a:pt x="225" y="66"/>
                      </a:lnTo>
                      <a:lnTo>
                        <a:pt x="219" y="48"/>
                      </a:lnTo>
                      <a:lnTo>
                        <a:pt x="192" y="62"/>
                      </a:lnTo>
                      <a:lnTo>
                        <a:pt x="196" y="72"/>
                      </a:lnTo>
                      <a:lnTo>
                        <a:pt x="165" y="75"/>
                      </a:lnTo>
                      <a:lnTo>
                        <a:pt x="168" y="89"/>
                      </a:lnTo>
                      <a:lnTo>
                        <a:pt x="195" y="80"/>
                      </a:lnTo>
                      <a:lnTo>
                        <a:pt x="220" y="75"/>
                      </a:lnTo>
                      <a:lnTo>
                        <a:pt x="193" y="101"/>
                      </a:lnTo>
                      <a:lnTo>
                        <a:pt x="168" y="123"/>
                      </a:lnTo>
                      <a:lnTo>
                        <a:pt x="148" y="147"/>
                      </a:lnTo>
                      <a:lnTo>
                        <a:pt x="133" y="170"/>
                      </a:lnTo>
                      <a:lnTo>
                        <a:pt x="136" y="185"/>
                      </a:lnTo>
                      <a:lnTo>
                        <a:pt x="121" y="189"/>
                      </a:lnTo>
                      <a:lnTo>
                        <a:pt x="109" y="201"/>
                      </a:lnTo>
                      <a:lnTo>
                        <a:pt x="103" y="180"/>
                      </a:lnTo>
                      <a:lnTo>
                        <a:pt x="93" y="200"/>
                      </a:lnTo>
                      <a:lnTo>
                        <a:pt x="81" y="192"/>
                      </a:lnTo>
                      <a:lnTo>
                        <a:pt x="55" y="210"/>
                      </a:lnTo>
                      <a:lnTo>
                        <a:pt x="27" y="228"/>
                      </a:lnTo>
                      <a:lnTo>
                        <a:pt x="9" y="239"/>
                      </a:lnTo>
                      <a:lnTo>
                        <a:pt x="0" y="257"/>
                      </a:lnTo>
                      <a:lnTo>
                        <a:pt x="24" y="252"/>
                      </a:lnTo>
                      <a:lnTo>
                        <a:pt x="6" y="263"/>
                      </a:lnTo>
                      <a:lnTo>
                        <a:pt x="3" y="275"/>
                      </a:lnTo>
                      <a:lnTo>
                        <a:pt x="21" y="266"/>
                      </a:lnTo>
                      <a:lnTo>
                        <a:pt x="9" y="282"/>
                      </a:lnTo>
                      <a:lnTo>
                        <a:pt x="16" y="291"/>
                      </a:lnTo>
                      <a:lnTo>
                        <a:pt x="9" y="306"/>
                      </a:lnTo>
                      <a:lnTo>
                        <a:pt x="25" y="305"/>
                      </a:lnTo>
                      <a:lnTo>
                        <a:pt x="15" y="321"/>
                      </a:lnTo>
                      <a:lnTo>
                        <a:pt x="16" y="330"/>
                      </a:lnTo>
                      <a:lnTo>
                        <a:pt x="45" y="347"/>
                      </a:lnTo>
                      <a:lnTo>
                        <a:pt x="75" y="344"/>
                      </a:lnTo>
                      <a:lnTo>
                        <a:pt x="97" y="317"/>
                      </a:lnTo>
                      <a:lnTo>
                        <a:pt x="109" y="320"/>
                      </a:lnTo>
                      <a:lnTo>
                        <a:pt x="121" y="297"/>
                      </a:lnTo>
                      <a:lnTo>
                        <a:pt x="133" y="318"/>
                      </a:lnTo>
                      <a:lnTo>
                        <a:pt x="145" y="318"/>
                      </a:lnTo>
                      <a:lnTo>
                        <a:pt x="145" y="305"/>
                      </a:lnTo>
                      <a:lnTo>
                        <a:pt x="147" y="294"/>
                      </a:lnTo>
                      <a:lnTo>
                        <a:pt x="162" y="288"/>
                      </a:lnTo>
                      <a:lnTo>
                        <a:pt x="162" y="275"/>
                      </a:lnTo>
                      <a:lnTo>
                        <a:pt x="156" y="261"/>
                      </a:lnTo>
                      <a:lnTo>
                        <a:pt x="168" y="255"/>
                      </a:lnTo>
                      <a:lnTo>
                        <a:pt x="163" y="246"/>
                      </a:lnTo>
                      <a:lnTo>
                        <a:pt x="151" y="248"/>
                      </a:lnTo>
                      <a:lnTo>
                        <a:pt x="153" y="222"/>
                      </a:lnTo>
                      <a:lnTo>
                        <a:pt x="151" y="194"/>
                      </a:lnTo>
                      <a:lnTo>
                        <a:pt x="169" y="183"/>
                      </a:lnTo>
                      <a:lnTo>
                        <a:pt x="187" y="183"/>
                      </a:lnTo>
                      <a:lnTo>
                        <a:pt x="192" y="173"/>
                      </a:lnTo>
                      <a:lnTo>
                        <a:pt x="181" y="170"/>
                      </a:lnTo>
                      <a:lnTo>
                        <a:pt x="196" y="152"/>
                      </a:lnTo>
                      <a:lnTo>
                        <a:pt x="198" y="129"/>
                      </a:lnTo>
                      <a:lnTo>
                        <a:pt x="213" y="129"/>
                      </a:lnTo>
                      <a:lnTo>
                        <a:pt x="234" y="104"/>
                      </a:lnTo>
                      <a:lnTo>
                        <a:pt x="246" y="81"/>
                      </a:lnTo>
                      <a:lnTo>
                        <a:pt x="258" y="86"/>
                      </a:lnTo>
                      <a:lnTo>
                        <a:pt x="264" y="69"/>
                      </a:lnTo>
                      <a:lnTo>
                        <a:pt x="279" y="68"/>
                      </a:lnTo>
                      <a:lnTo>
                        <a:pt x="297" y="75"/>
                      </a:lnTo>
                      <a:lnTo>
                        <a:pt x="300" y="56"/>
                      </a:lnTo>
                      <a:lnTo>
                        <a:pt x="316" y="5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5" name="Freeform 190"/>
                <p:cNvSpPr>
                  <a:spLocks/>
                </p:cNvSpPr>
                <p:nvPr/>
              </p:nvSpPr>
              <p:spPr bwMode="auto">
                <a:xfrm>
                  <a:off x="4642277" y="1663506"/>
                  <a:ext cx="277677" cy="119209"/>
                </a:xfrm>
                <a:custGeom>
                  <a:avLst/>
                  <a:gdLst>
                    <a:gd name="T0" fmla="*/ 270 w 270"/>
                    <a:gd name="T1" fmla="*/ 39 h 120"/>
                    <a:gd name="T2" fmla="*/ 252 w 270"/>
                    <a:gd name="T3" fmla="*/ 51 h 120"/>
                    <a:gd name="T4" fmla="*/ 212 w 270"/>
                    <a:gd name="T5" fmla="*/ 57 h 120"/>
                    <a:gd name="T6" fmla="*/ 171 w 270"/>
                    <a:gd name="T7" fmla="*/ 56 h 120"/>
                    <a:gd name="T8" fmla="*/ 149 w 270"/>
                    <a:gd name="T9" fmla="*/ 47 h 120"/>
                    <a:gd name="T10" fmla="*/ 128 w 270"/>
                    <a:gd name="T11" fmla="*/ 48 h 120"/>
                    <a:gd name="T12" fmla="*/ 131 w 270"/>
                    <a:gd name="T13" fmla="*/ 56 h 120"/>
                    <a:gd name="T14" fmla="*/ 147 w 270"/>
                    <a:gd name="T15" fmla="*/ 57 h 120"/>
                    <a:gd name="T16" fmla="*/ 179 w 270"/>
                    <a:gd name="T17" fmla="*/ 66 h 120"/>
                    <a:gd name="T18" fmla="*/ 227 w 270"/>
                    <a:gd name="T19" fmla="*/ 83 h 120"/>
                    <a:gd name="T20" fmla="*/ 231 w 270"/>
                    <a:gd name="T21" fmla="*/ 96 h 120"/>
                    <a:gd name="T22" fmla="*/ 156 w 270"/>
                    <a:gd name="T23" fmla="*/ 72 h 120"/>
                    <a:gd name="T24" fmla="*/ 116 w 270"/>
                    <a:gd name="T25" fmla="*/ 95 h 120"/>
                    <a:gd name="T26" fmla="*/ 90 w 270"/>
                    <a:gd name="T27" fmla="*/ 120 h 120"/>
                    <a:gd name="T28" fmla="*/ 57 w 270"/>
                    <a:gd name="T29" fmla="*/ 98 h 120"/>
                    <a:gd name="T30" fmla="*/ 86 w 270"/>
                    <a:gd name="T31" fmla="*/ 75 h 120"/>
                    <a:gd name="T32" fmla="*/ 71 w 270"/>
                    <a:gd name="T33" fmla="*/ 63 h 120"/>
                    <a:gd name="T34" fmla="*/ 57 w 270"/>
                    <a:gd name="T35" fmla="*/ 71 h 120"/>
                    <a:gd name="T36" fmla="*/ 42 w 270"/>
                    <a:gd name="T37" fmla="*/ 81 h 120"/>
                    <a:gd name="T38" fmla="*/ 8 w 270"/>
                    <a:gd name="T39" fmla="*/ 69 h 120"/>
                    <a:gd name="T40" fmla="*/ 0 w 270"/>
                    <a:gd name="T41" fmla="*/ 53 h 120"/>
                    <a:gd name="T42" fmla="*/ 35 w 270"/>
                    <a:gd name="T43" fmla="*/ 44 h 120"/>
                    <a:gd name="T44" fmla="*/ 78 w 270"/>
                    <a:gd name="T45" fmla="*/ 51 h 120"/>
                    <a:gd name="T46" fmla="*/ 84 w 270"/>
                    <a:gd name="T47" fmla="*/ 48 h 120"/>
                    <a:gd name="T48" fmla="*/ 110 w 270"/>
                    <a:gd name="T49" fmla="*/ 42 h 120"/>
                    <a:gd name="T50" fmla="*/ 125 w 270"/>
                    <a:gd name="T51" fmla="*/ 41 h 120"/>
                    <a:gd name="T52" fmla="*/ 236 w 270"/>
                    <a:gd name="T53" fmla="*/ 32 h 120"/>
                    <a:gd name="T54" fmla="*/ 252 w 270"/>
                    <a:gd name="T55" fmla="*/ 36 h 120"/>
                    <a:gd name="T56" fmla="*/ 270 w 270"/>
                    <a:gd name="T57" fmla="*/ 3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20">
                      <a:moveTo>
                        <a:pt x="270" y="39"/>
                      </a:moveTo>
                      <a:cubicBezTo>
                        <a:pt x="265" y="46"/>
                        <a:pt x="260" y="49"/>
                        <a:pt x="252" y="51"/>
                      </a:cubicBezTo>
                      <a:cubicBezTo>
                        <a:pt x="240" y="57"/>
                        <a:pt x="225" y="56"/>
                        <a:pt x="212" y="57"/>
                      </a:cubicBezTo>
                      <a:cubicBezTo>
                        <a:pt x="199" y="61"/>
                        <a:pt x="185" y="58"/>
                        <a:pt x="171" y="56"/>
                      </a:cubicBezTo>
                      <a:cubicBezTo>
                        <a:pt x="163" y="52"/>
                        <a:pt x="159" y="48"/>
                        <a:pt x="149" y="47"/>
                      </a:cubicBezTo>
                      <a:cubicBezTo>
                        <a:pt x="142" y="47"/>
                        <a:pt x="135" y="46"/>
                        <a:pt x="128" y="48"/>
                      </a:cubicBezTo>
                      <a:cubicBezTo>
                        <a:pt x="125" y="49"/>
                        <a:pt x="128" y="55"/>
                        <a:pt x="131" y="56"/>
                      </a:cubicBezTo>
                      <a:cubicBezTo>
                        <a:pt x="136" y="57"/>
                        <a:pt x="142" y="57"/>
                        <a:pt x="147" y="57"/>
                      </a:cubicBezTo>
                      <a:cubicBezTo>
                        <a:pt x="157" y="60"/>
                        <a:pt x="169" y="65"/>
                        <a:pt x="179" y="66"/>
                      </a:cubicBezTo>
                      <a:cubicBezTo>
                        <a:pt x="194" y="74"/>
                        <a:pt x="211" y="78"/>
                        <a:pt x="227" y="83"/>
                      </a:cubicBezTo>
                      <a:cubicBezTo>
                        <a:pt x="233" y="87"/>
                        <a:pt x="236" y="90"/>
                        <a:pt x="231" y="96"/>
                      </a:cubicBezTo>
                      <a:cubicBezTo>
                        <a:pt x="126" y="94"/>
                        <a:pt x="181" y="113"/>
                        <a:pt x="156" y="72"/>
                      </a:cubicBezTo>
                      <a:cubicBezTo>
                        <a:pt x="133" y="77"/>
                        <a:pt x="133" y="86"/>
                        <a:pt x="116" y="95"/>
                      </a:cubicBezTo>
                      <a:cubicBezTo>
                        <a:pt x="111" y="101"/>
                        <a:pt x="97" y="119"/>
                        <a:pt x="90" y="120"/>
                      </a:cubicBezTo>
                      <a:cubicBezTo>
                        <a:pt x="78" y="114"/>
                        <a:pt x="68" y="105"/>
                        <a:pt x="57" y="98"/>
                      </a:cubicBezTo>
                      <a:cubicBezTo>
                        <a:pt x="40" y="77"/>
                        <a:pt x="72" y="77"/>
                        <a:pt x="86" y="75"/>
                      </a:cubicBezTo>
                      <a:cubicBezTo>
                        <a:pt x="83" y="63"/>
                        <a:pt x="83" y="62"/>
                        <a:pt x="71" y="63"/>
                      </a:cubicBezTo>
                      <a:cubicBezTo>
                        <a:pt x="65" y="65"/>
                        <a:pt x="63" y="69"/>
                        <a:pt x="57" y="71"/>
                      </a:cubicBezTo>
                      <a:cubicBezTo>
                        <a:pt x="52" y="76"/>
                        <a:pt x="47" y="77"/>
                        <a:pt x="42" y="81"/>
                      </a:cubicBezTo>
                      <a:cubicBezTo>
                        <a:pt x="20" y="79"/>
                        <a:pt x="23" y="74"/>
                        <a:pt x="8" y="69"/>
                      </a:cubicBezTo>
                      <a:cubicBezTo>
                        <a:pt x="4" y="64"/>
                        <a:pt x="2" y="60"/>
                        <a:pt x="0" y="53"/>
                      </a:cubicBezTo>
                      <a:cubicBezTo>
                        <a:pt x="4" y="36"/>
                        <a:pt x="20" y="43"/>
                        <a:pt x="35" y="44"/>
                      </a:cubicBezTo>
                      <a:cubicBezTo>
                        <a:pt x="49" y="49"/>
                        <a:pt x="66" y="42"/>
                        <a:pt x="78" y="51"/>
                      </a:cubicBezTo>
                      <a:cubicBezTo>
                        <a:pt x="83" y="59"/>
                        <a:pt x="87" y="61"/>
                        <a:pt x="84" y="48"/>
                      </a:cubicBezTo>
                      <a:cubicBezTo>
                        <a:pt x="88" y="34"/>
                        <a:pt x="97" y="40"/>
                        <a:pt x="110" y="42"/>
                      </a:cubicBezTo>
                      <a:cubicBezTo>
                        <a:pt x="116" y="45"/>
                        <a:pt x="121" y="48"/>
                        <a:pt x="125" y="41"/>
                      </a:cubicBezTo>
                      <a:cubicBezTo>
                        <a:pt x="130" y="0"/>
                        <a:pt x="235" y="32"/>
                        <a:pt x="236" y="32"/>
                      </a:cubicBezTo>
                      <a:cubicBezTo>
                        <a:pt x="242" y="33"/>
                        <a:pt x="246" y="35"/>
                        <a:pt x="252" y="36"/>
                      </a:cubicBezTo>
                      <a:cubicBezTo>
                        <a:pt x="258" y="38"/>
                        <a:pt x="270" y="39"/>
                        <a:pt x="270" y="39"/>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6" name="Freeform 191"/>
                <p:cNvSpPr>
                  <a:spLocks/>
                </p:cNvSpPr>
                <p:nvPr/>
              </p:nvSpPr>
              <p:spPr bwMode="auto">
                <a:xfrm>
                  <a:off x="5208489" y="1680105"/>
                  <a:ext cx="116345" cy="30179"/>
                </a:xfrm>
                <a:custGeom>
                  <a:avLst/>
                  <a:gdLst>
                    <a:gd name="T0" fmla="*/ 86 w 114"/>
                    <a:gd name="T1" fmla="*/ 0 h 31"/>
                    <a:gd name="T2" fmla="*/ 10 w 114"/>
                    <a:gd name="T3" fmla="*/ 6 h 31"/>
                    <a:gd name="T4" fmla="*/ 4 w 114"/>
                    <a:gd name="T5" fmla="*/ 15 h 31"/>
                    <a:gd name="T6" fmla="*/ 37 w 114"/>
                    <a:gd name="T7" fmla="*/ 18 h 31"/>
                    <a:gd name="T8" fmla="*/ 52 w 114"/>
                    <a:gd name="T9" fmla="*/ 22 h 31"/>
                    <a:gd name="T10" fmla="*/ 83 w 114"/>
                    <a:gd name="T11" fmla="*/ 21 h 31"/>
                    <a:gd name="T12" fmla="*/ 103 w 114"/>
                    <a:gd name="T13" fmla="*/ 31 h 31"/>
                    <a:gd name="T14" fmla="*/ 101 w 114"/>
                    <a:gd name="T15" fmla="*/ 24 h 31"/>
                    <a:gd name="T16" fmla="*/ 89 w 114"/>
                    <a:gd name="T17" fmla="*/ 16 h 31"/>
                    <a:gd name="T18" fmla="*/ 92 w 114"/>
                    <a:gd name="T19" fmla="*/ 6 h 31"/>
                    <a:gd name="T20" fmla="*/ 86 w 114"/>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31">
                      <a:moveTo>
                        <a:pt x="86" y="0"/>
                      </a:moveTo>
                      <a:cubicBezTo>
                        <a:pt x="66" y="10"/>
                        <a:pt x="21" y="6"/>
                        <a:pt x="10" y="6"/>
                      </a:cubicBezTo>
                      <a:cubicBezTo>
                        <a:pt x="8" y="7"/>
                        <a:pt x="0" y="10"/>
                        <a:pt x="4" y="15"/>
                      </a:cubicBezTo>
                      <a:cubicBezTo>
                        <a:pt x="10" y="24"/>
                        <a:pt x="26" y="17"/>
                        <a:pt x="37" y="18"/>
                      </a:cubicBezTo>
                      <a:cubicBezTo>
                        <a:pt x="42" y="19"/>
                        <a:pt x="47" y="21"/>
                        <a:pt x="52" y="22"/>
                      </a:cubicBezTo>
                      <a:cubicBezTo>
                        <a:pt x="66" y="21"/>
                        <a:pt x="67" y="19"/>
                        <a:pt x="83" y="21"/>
                      </a:cubicBezTo>
                      <a:cubicBezTo>
                        <a:pt x="91" y="27"/>
                        <a:pt x="93" y="29"/>
                        <a:pt x="103" y="31"/>
                      </a:cubicBezTo>
                      <a:cubicBezTo>
                        <a:pt x="114" y="29"/>
                        <a:pt x="108" y="25"/>
                        <a:pt x="101" y="24"/>
                      </a:cubicBezTo>
                      <a:cubicBezTo>
                        <a:pt x="95" y="21"/>
                        <a:pt x="93" y="22"/>
                        <a:pt x="89" y="16"/>
                      </a:cubicBezTo>
                      <a:cubicBezTo>
                        <a:pt x="96" y="15"/>
                        <a:pt x="104" y="8"/>
                        <a:pt x="92" y="6"/>
                      </a:cubicBezTo>
                      <a:cubicBezTo>
                        <a:pt x="87" y="3"/>
                        <a:pt x="89" y="5"/>
                        <a:pt x="86"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7" name="Freeform 192"/>
                <p:cNvSpPr>
                  <a:spLocks/>
                </p:cNvSpPr>
                <p:nvPr/>
              </p:nvSpPr>
              <p:spPr bwMode="auto">
                <a:xfrm>
                  <a:off x="5369822" y="1941157"/>
                  <a:ext cx="48090" cy="21126"/>
                </a:xfrm>
                <a:custGeom>
                  <a:avLst/>
                  <a:gdLst>
                    <a:gd name="T0" fmla="*/ 21 w 46"/>
                    <a:gd name="T1" fmla="*/ 3 h 21"/>
                    <a:gd name="T2" fmla="*/ 6 w 46"/>
                    <a:gd name="T3" fmla="*/ 4 h 21"/>
                    <a:gd name="T4" fmla="*/ 11 w 46"/>
                    <a:gd name="T5" fmla="*/ 19 h 21"/>
                    <a:gd name="T6" fmla="*/ 17 w 46"/>
                    <a:gd name="T7" fmla="*/ 21 h 21"/>
                    <a:gd name="T8" fmla="*/ 42 w 46"/>
                    <a:gd name="T9" fmla="*/ 15 h 21"/>
                    <a:gd name="T10" fmla="*/ 36 w 46"/>
                    <a:gd name="T11" fmla="*/ 6 h 21"/>
                    <a:gd name="T12" fmla="*/ 21 w 46"/>
                    <a:gd name="T13" fmla="*/ 3 h 21"/>
                  </a:gdLst>
                  <a:ahLst/>
                  <a:cxnLst>
                    <a:cxn ang="0">
                      <a:pos x="T0" y="T1"/>
                    </a:cxn>
                    <a:cxn ang="0">
                      <a:pos x="T2" y="T3"/>
                    </a:cxn>
                    <a:cxn ang="0">
                      <a:pos x="T4" y="T5"/>
                    </a:cxn>
                    <a:cxn ang="0">
                      <a:pos x="T6" y="T7"/>
                    </a:cxn>
                    <a:cxn ang="0">
                      <a:pos x="T8" y="T9"/>
                    </a:cxn>
                    <a:cxn ang="0">
                      <a:pos x="T10" y="T11"/>
                    </a:cxn>
                    <a:cxn ang="0">
                      <a:pos x="T12" y="T13"/>
                    </a:cxn>
                  </a:cxnLst>
                  <a:rect l="0" t="0" r="r" b="b"/>
                  <a:pathLst>
                    <a:path w="46" h="21">
                      <a:moveTo>
                        <a:pt x="21" y="3"/>
                      </a:moveTo>
                      <a:cubicBezTo>
                        <a:pt x="16" y="3"/>
                        <a:pt x="11" y="2"/>
                        <a:pt x="6" y="4"/>
                      </a:cubicBezTo>
                      <a:cubicBezTo>
                        <a:pt x="0" y="6"/>
                        <a:pt x="6" y="18"/>
                        <a:pt x="11" y="19"/>
                      </a:cubicBezTo>
                      <a:cubicBezTo>
                        <a:pt x="13" y="20"/>
                        <a:pt x="15" y="20"/>
                        <a:pt x="17" y="21"/>
                      </a:cubicBezTo>
                      <a:cubicBezTo>
                        <a:pt x="26" y="20"/>
                        <a:pt x="33" y="16"/>
                        <a:pt x="42" y="15"/>
                      </a:cubicBezTo>
                      <a:cubicBezTo>
                        <a:pt x="46" y="8"/>
                        <a:pt x="43" y="7"/>
                        <a:pt x="36" y="6"/>
                      </a:cubicBezTo>
                      <a:cubicBezTo>
                        <a:pt x="30" y="2"/>
                        <a:pt x="28" y="0"/>
                        <a:pt x="21" y="3"/>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8" name="Freeform 193"/>
                <p:cNvSpPr>
                  <a:spLocks/>
                </p:cNvSpPr>
                <p:nvPr/>
              </p:nvSpPr>
              <p:spPr bwMode="auto">
                <a:xfrm>
                  <a:off x="5407052" y="1761589"/>
                  <a:ext cx="263715" cy="165987"/>
                </a:xfrm>
                <a:custGeom>
                  <a:avLst/>
                  <a:gdLst>
                    <a:gd name="T0" fmla="*/ 220 w 257"/>
                    <a:gd name="T1" fmla="*/ 0 h 165"/>
                    <a:gd name="T2" fmla="*/ 193 w 257"/>
                    <a:gd name="T3" fmla="*/ 18 h 165"/>
                    <a:gd name="T4" fmla="*/ 91 w 257"/>
                    <a:gd name="T5" fmla="*/ 24 h 165"/>
                    <a:gd name="T6" fmla="*/ 73 w 257"/>
                    <a:gd name="T7" fmla="*/ 30 h 165"/>
                    <a:gd name="T8" fmla="*/ 52 w 257"/>
                    <a:gd name="T9" fmla="*/ 48 h 165"/>
                    <a:gd name="T10" fmla="*/ 28 w 257"/>
                    <a:gd name="T11" fmla="*/ 75 h 165"/>
                    <a:gd name="T12" fmla="*/ 43 w 257"/>
                    <a:gd name="T13" fmla="*/ 84 h 165"/>
                    <a:gd name="T14" fmla="*/ 16 w 257"/>
                    <a:gd name="T15" fmla="*/ 98 h 165"/>
                    <a:gd name="T16" fmla="*/ 22 w 257"/>
                    <a:gd name="T17" fmla="*/ 113 h 165"/>
                    <a:gd name="T18" fmla="*/ 3 w 257"/>
                    <a:gd name="T19" fmla="*/ 122 h 165"/>
                    <a:gd name="T20" fmla="*/ 10 w 257"/>
                    <a:gd name="T21" fmla="*/ 135 h 165"/>
                    <a:gd name="T22" fmla="*/ 40 w 257"/>
                    <a:gd name="T23" fmla="*/ 141 h 165"/>
                    <a:gd name="T24" fmla="*/ 90 w 257"/>
                    <a:gd name="T25" fmla="*/ 156 h 165"/>
                    <a:gd name="T26" fmla="*/ 100 w 257"/>
                    <a:gd name="T27" fmla="*/ 144 h 165"/>
                    <a:gd name="T28" fmla="*/ 96 w 257"/>
                    <a:gd name="T29" fmla="*/ 141 h 165"/>
                    <a:gd name="T30" fmla="*/ 90 w 257"/>
                    <a:gd name="T31" fmla="*/ 140 h 165"/>
                    <a:gd name="T32" fmla="*/ 73 w 257"/>
                    <a:gd name="T33" fmla="*/ 116 h 165"/>
                    <a:gd name="T34" fmla="*/ 70 w 257"/>
                    <a:gd name="T35" fmla="*/ 107 h 165"/>
                    <a:gd name="T36" fmla="*/ 123 w 257"/>
                    <a:gd name="T37" fmla="*/ 62 h 165"/>
                    <a:gd name="T38" fmla="*/ 145 w 257"/>
                    <a:gd name="T39" fmla="*/ 53 h 165"/>
                    <a:gd name="T40" fmla="*/ 177 w 257"/>
                    <a:gd name="T41" fmla="*/ 44 h 165"/>
                    <a:gd name="T42" fmla="*/ 195 w 257"/>
                    <a:gd name="T43" fmla="*/ 41 h 165"/>
                    <a:gd name="T44" fmla="*/ 243 w 257"/>
                    <a:gd name="T45" fmla="*/ 26 h 165"/>
                    <a:gd name="T46" fmla="*/ 235 w 257"/>
                    <a:gd name="T47" fmla="*/ 5 h 165"/>
                    <a:gd name="T48" fmla="*/ 220 w 257"/>
                    <a:gd name="T49"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165">
                      <a:moveTo>
                        <a:pt x="220" y="0"/>
                      </a:moveTo>
                      <a:cubicBezTo>
                        <a:pt x="212" y="10"/>
                        <a:pt x="205" y="16"/>
                        <a:pt x="193" y="18"/>
                      </a:cubicBezTo>
                      <a:cubicBezTo>
                        <a:pt x="164" y="28"/>
                        <a:pt x="115" y="24"/>
                        <a:pt x="91" y="24"/>
                      </a:cubicBezTo>
                      <a:cubicBezTo>
                        <a:pt x="85" y="26"/>
                        <a:pt x="79" y="29"/>
                        <a:pt x="73" y="30"/>
                      </a:cubicBezTo>
                      <a:cubicBezTo>
                        <a:pt x="68" y="36"/>
                        <a:pt x="59" y="44"/>
                        <a:pt x="52" y="48"/>
                      </a:cubicBezTo>
                      <a:cubicBezTo>
                        <a:pt x="44" y="61"/>
                        <a:pt x="46" y="72"/>
                        <a:pt x="28" y="75"/>
                      </a:cubicBezTo>
                      <a:cubicBezTo>
                        <a:pt x="33" y="80"/>
                        <a:pt x="37" y="80"/>
                        <a:pt x="43" y="84"/>
                      </a:cubicBezTo>
                      <a:cubicBezTo>
                        <a:pt x="41" y="93"/>
                        <a:pt x="24" y="94"/>
                        <a:pt x="16" y="98"/>
                      </a:cubicBezTo>
                      <a:cubicBezTo>
                        <a:pt x="18" y="104"/>
                        <a:pt x="21" y="107"/>
                        <a:pt x="22" y="113"/>
                      </a:cubicBezTo>
                      <a:cubicBezTo>
                        <a:pt x="17" y="120"/>
                        <a:pt x="11" y="119"/>
                        <a:pt x="3" y="122"/>
                      </a:cubicBezTo>
                      <a:cubicBezTo>
                        <a:pt x="0" y="131"/>
                        <a:pt x="0" y="134"/>
                        <a:pt x="10" y="135"/>
                      </a:cubicBezTo>
                      <a:cubicBezTo>
                        <a:pt x="19" y="139"/>
                        <a:pt x="30" y="140"/>
                        <a:pt x="40" y="141"/>
                      </a:cubicBezTo>
                      <a:cubicBezTo>
                        <a:pt x="55" y="147"/>
                        <a:pt x="73" y="154"/>
                        <a:pt x="90" y="156"/>
                      </a:cubicBezTo>
                      <a:cubicBezTo>
                        <a:pt x="108" y="165"/>
                        <a:pt x="121" y="151"/>
                        <a:pt x="100" y="144"/>
                      </a:cubicBezTo>
                      <a:cubicBezTo>
                        <a:pt x="99" y="143"/>
                        <a:pt x="98" y="142"/>
                        <a:pt x="96" y="141"/>
                      </a:cubicBezTo>
                      <a:cubicBezTo>
                        <a:pt x="94" y="140"/>
                        <a:pt x="92" y="141"/>
                        <a:pt x="90" y="140"/>
                      </a:cubicBezTo>
                      <a:cubicBezTo>
                        <a:pt x="83" y="136"/>
                        <a:pt x="78" y="123"/>
                        <a:pt x="73" y="116"/>
                      </a:cubicBezTo>
                      <a:cubicBezTo>
                        <a:pt x="72" y="113"/>
                        <a:pt x="70" y="110"/>
                        <a:pt x="70" y="107"/>
                      </a:cubicBezTo>
                      <a:cubicBezTo>
                        <a:pt x="70" y="93"/>
                        <a:pt x="110" y="65"/>
                        <a:pt x="123" y="62"/>
                      </a:cubicBezTo>
                      <a:cubicBezTo>
                        <a:pt x="131" y="58"/>
                        <a:pt x="136" y="54"/>
                        <a:pt x="145" y="53"/>
                      </a:cubicBezTo>
                      <a:cubicBezTo>
                        <a:pt x="155" y="49"/>
                        <a:pt x="166" y="46"/>
                        <a:pt x="177" y="44"/>
                      </a:cubicBezTo>
                      <a:cubicBezTo>
                        <a:pt x="183" y="43"/>
                        <a:pt x="195" y="41"/>
                        <a:pt x="195" y="41"/>
                      </a:cubicBezTo>
                      <a:cubicBezTo>
                        <a:pt x="209" y="34"/>
                        <a:pt x="227" y="29"/>
                        <a:pt x="243" y="26"/>
                      </a:cubicBezTo>
                      <a:cubicBezTo>
                        <a:pt x="257" y="19"/>
                        <a:pt x="246" y="7"/>
                        <a:pt x="235" y="5"/>
                      </a:cubicBezTo>
                      <a:cubicBezTo>
                        <a:pt x="229" y="0"/>
                        <a:pt x="223" y="3"/>
                        <a:pt x="220"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89" name="Freeform 194"/>
                <p:cNvSpPr>
                  <a:spLocks/>
                </p:cNvSpPr>
                <p:nvPr/>
              </p:nvSpPr>
              <p:spPr bwMode="auto">
                <a:xfrm>
                  <a:off x="5329489" y="1655962"/>
                  <a:ext cx="209421" cy="57341"/>
                </a:xfrm>
                <a:custGeom>
                  <a:avLst/>
                  <a:gdLst>
                    <a:gd name="T0" fmla="*/ 0 w 204"/>
                    <a:gd name="T1" fmla="*/ 40 h 57"/>
                    <a:gd name="T2" fmla="*/ 72 w 204"/>
                    <a:gd name="T3" fmla="*/ 6 h 57"/>
                    <a:gd name="T4" fmla="*/ 94 w 204"/>
                    <a:gd name="T5" fmla="*/ 3 h 57"/>
                    <a:gd name="T6" fmla="*/ 90 w 204"/>
                    <a:gd name="T7" fmla="*/ 21 h 57"/>
                    <a:gd name="T8" fmla="*/ 124 w 204"/>
                    <a:gd name="T9" fmla="*/ 22 h 57"/>
                    <a:gd name="T10" fmla="*/ 141 w 204"/>
                    <a:gd name="T11" fmla="*/ 28 h 57"/>
                    <a:gd name="T12" fmla="*/ 196 w 204"/>
                    <a:gd name="T13" fmla="*/ 28 h 57"/>
                    <a:gd name="T14" fmla="*/ 181 w 204"/>
                    <a:gd name="T15" fmla="*/ 37 h 57"/>
                    <a:gd name="T16" fmla="*/ 130 w 204"/>
                    <a:gd name="T17" fmla="*/ 43 h 57"/>
                    <a:gd name="T18" fmla="*/ 120 w 204"/>
                    <a:gd name="T19" fmla="*/ 54 h 57"/>
                    <a:gd name="T20" fmla="*/ 108 w 204"/>
                    <a:gd name="T21" fmla="*/ 57 h 57"/>
                    <a:gd name="T22" fmla="*/ 82 w 204"/>
                    <a:gd name="T23" fmla="*/ 45 h 57"/>
                    <a:gd name="T24" fmla="*/ 37 w 204"/>
                    <a:gd name="T25" fmla="*/ 42 h 57"/>
                    <a:gd name="T26" fmla="*/ 0 w 204"/>
                    <a:gd name="T27" fmla="*/ 4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57">
                      <a:moveTo>
                        <a:pt x="0" y="40"/>
                      </a:moveTo>
                      <a:cubicBezTo>
                        <a:pt x="26" y="36"/>
                        <a:pt x="45" y="11"/>
                        <a:pt x="72" y="6"/>
                      </a:cubicBezTo>
                      <a:cubicBezTo>
                        <a:pt x="80" y="2"/>
                        <a:pt x="85" y="0"/>
                        <a:pt x="94" y="3"/>
                      </a:cubicBezTo>
                      <a:cubicBezTo>
                        <a:pt x="93" y="10"/>
                        <a:pt x="91" y="14"/>
                        <a:pt x="90" y="21"/>
                      </a:cubicBezTo>
                      <a:cubicBezTo>
                        <a:pt x="101" y="23"/>
                        <a:pt x="113" y="21"/>
                        <a:pt x="124" y="22"/>
                      </a:cubicBezTo>
                      <a:cubicBezTo>
                        <a:pt x="130" y="24"/>
                        <a:pt x="135" y="27"/>
                        <a:pt x="141" y="28"/>
                      </a:cubicBezTo>
                      <a:cubicBezTo>
                        <a:pt x="159" y="27"/>
                        <a:pt x="179" y="22"/>
                        <a:pt x="196" y="28"/>
                      </a:cubicBezTo>
                      <a:cubicBezTo>
                        <a:pt x="204" y="31"/>
                        <a:pt x="182" y="37"/>
                        <a:pt x="181" y="37"/>
                      </a:cubicBezTo>
                      <a:cubicBezTo>
                        <a:pt x="167" y="44"/>
                        <a:pt x="143" y="43"/>
                        <a:pt x="130" y="43"/>
                      </a:cubicBezTo>
                      <a:cubicBezTo>
                        <a:pt x="124" y="46"/>
                        <a:pt x="125" y="50"/>
                        <a:pt x="120" y="54"/>
                      </a:cubicBezTo>
                      <a:cubicBezTo>
                        <a:pt x="117" y="56"/>
                        <a:pt x="112" y="56"/>
                        <a:pt x="108" y="57"/>
                      </a:cubicBezTo>
                      <a:cubicBezTo>
                        <a:pt x="93" y="55"/>
                        <a:pt x="94" y="52"/>
                        <a:pt x="82" y="45"/>
                      </a:cubicBezTo>
                      <a:cubicBezTo>
                        <a:pt x="63" y="46"/>
                        <a:pt x="54" y="45"/>
                        <a:pt x="37" y="42"/>
                      </a:cubicBezTo>
                      <a:cubicBezTo>
                        <a:pt x="33" y="42"/>
                        <a:pt x="3" y="49"/>
                        <a:pt x="0" y="4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0" name="Freeform 195"/>
                <p:cNvSpPr>
                  <a:spLocks/>
                </p:cNvSpPr>
                <p:nvPr/>
              </p:nvSpPr>
              <p:spPr bwMode="auto">
                <a:xfrm>
                  <a:off x="5976367" y="1671051"/>
                  <a:ext cx="175293" cy="64885"/>
                </a:xfrm>
                <a:custGeom>
                  <a:avLst/>
                  <a:gdLst>
                    <a:gd name="T0" fmla="*/ 19 w 169"/>
                    <a:gd name="T1" fmla="*/ 10 h 65"/>
                    <a:gd name="T2" fmla="*/ 51 w 169"/>
                    <a:gd name="T3" fmla="*/ 0 h 65"/>
                    <a:gd name="T4" fmla="*/ 75 w 169"/>
                    <a:gd name="T5" fmla="*/ 7 h 65"/>
                    <a:gd name="T6" fmla="*/ 88 w 169"/>
                    <a:gd name="T7" fmla="*/ 12 h 65"/>
                    <a:gd name="T8" fmla="*/ 108 w 169"/>
                    <a:gd name="T9" fmla="*/ 33 h 65"/>
                    <a:gd name="T10" fmla="*/ 162 w 169"/>
                    <a:gd name="T11" fmla="*/ 37 h 65"/>
                    <a:gd name="T12" fmla="*/ 169 w 169"/>
                    <a:gd name="T13" fmla="*/ 52 h 65"/>
                    <a:gd name="T14" fmla="*/ 126 w 169"/>
                    <a:gd name="T15" fmla="*/ 57 h 65"/>
                    <a:gd name="T16" fmla="*/ 99 w 169"/>
                    <a:gd name="T17" fmla="*/ 51 h 65"/>
                    <a:gd name="T18" fmla="*/ 69 w 169"/>
                    <a:gd name="T19" fmla="*/ 42 h 65"/>
                    <a:gd name="T20" fmla="*/ 48 w 169"/>
                    <a:gd name="T21" fmla="*/ 34 h 65"/>
                    <a:gd name="T22" fmla="*/ 21 w 169"/>
                    <a:gd name="T23" fmla="*/ 39 h 65"/>
                    <a:gd name="T24" fmla="*/ 0 w 169"/>
                    <a:gd name="T25" fmla="*/ 25 h 65"/>
                    <a:gd name="T26" fmla="*/ 19 w 169"/>
                    <a:gd name="T27" fmla="*/ 1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65">
                      <a:moveTo>
                        <a:pt x="19" y="10"/>
                      </a:moveTo>
                      <a:cubicBezTo>
                        <a:pt x="31" y="9"/>
                        <a:pt x="39" y="2"/>
                        <a:pt x="51" y="0"/>
                      </a:cubicBezTo>
                      <a:cubicBezTo>
                        <a:pt x="61" y="1"/>
                        <a:pt x="66" y="5"/>
                        <a:pt x="75" y="7"/>
                      </a:cubicBezTo>
                      <a:cubicBezTo>
                        <a:pt x="79" y="9"/>
                        <a:pt x="84" y="10"/>
                        <a:pt x="88" y="12"/>
                      </a:cubicBezTo>
                      <a:cubicBezTo>
                        <a:pt x="95" y="22"/>
                        <a:pt x="97" y="27"/>
                        <a:pt x="108" y="33"/>
                      </a:cubicBezTo>
                      <a:cubicBezTo>
                        <a:pt x="125" y="32"/>
                        <a:pt x="147" y="27"/>
                        <a:pt x="162" y="37"/>
                      </a:cubicBezTo>
                      <a:cubicBezTo>
                        <a:pt x="165" y="42"/>
                        <a:pt x="165" y="47"/>
                        <a:pt x="169" y="52"/>
                      </a:cubicBezTo>
                      <a:cubicBezTo>
                        <a:pt x="166" y="65"/>
                        <a:pt x="129" y="57"/>
                        <a:pt x="126" y="57"/>
                      </a:cubicBezTo>
                      <a:cubicBezTo>
                        <a:pt x="117" y="54"/>
                        <a:pt x="108" y="52"/>
                        <a:pt x="99" y="51"/>
                      </a:cubicBezTo>
                      <a:cubicBezTo>
                        <a:pt x="90" y="47"/>
                        <a:pt x="79" y="44"/>
                        <a:pt x="69" y="42"/>
                      </a:cubicBezTo>
                      <a:cubicBezTo>
                        <a:pt x="62" y="39"/>
                        <a:pt x="55" y="36"/>
                        <a:pt x="48" y="34"/>
                      </a:cubicBezTo>
                      <a:cubicBezTo>
                        <a:pt x="38" y="35"/>
                        <a:pt x="30" y="36"/>
                        <a:pt x="21" y="39"/>
                      </a:cubicBezTo>
                      <a:cubicBezTo>
                        <a:pt x="5" y="36"/>
                        <a:pt x="7" y="37"/>
                        <a:pt x="0" y="25"/>
                      </a:cubicBezTo>
                      <a:cubicBezTo>
                        <a:pt x="2" y="13"/>
                        <a:pt x="15" y="21"/>
                        <a:pt x="19" y="1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1" name="Freeform 196"/>
                <p:cNvSpPr>
                  <a:spLocks/>
                </p:cNvSpPr>
                <p:nvPr/>
              </p:nvSpPr>
              <p:spPr bwMode="auto">
                <a:xfrm>
                  <a:off x="6156314" y="1710285"/>
                  <a:ext cx="99281" cy="33198"/>
                </a:xfrm>
                <a:custGeom>
                  <a:avLst/>
                  <a:gdLst>
                    <a:gd name="T0" fmla="*/ 36 w 97"/>
                    <a:gd name="T1" fmla="*/ 4 h 33"/>
                    <a:gd name="T2" fmla="*/ 15 w 97"/>
                    <a:gd name="T3" fmla="*/ 6 h 33"/>
                    <a:gd name="T4" fmla="*/ 21 w 97"/>
                    <a:gd name="T5" fmla="*/ 33 h 33"/>
                    <a:gd name="T6" fmla="*/ 94 w 97"/>
                    <a:gd name="T7" fmla="*/ 27 h 33"/>
                    <a:gd name="T8" fmla="*/ 84 w 97"/>
                    <a:gd name="T9" fmla="*/ 18 h 33"/>
                    <a:gd name="T10" fmla="*/ 37 w 97"/>
                    <a:gd name="T11" fmla="*/ 15 h 33"/>
                    <a:gd name="T12" fmla="*/ 36 w 97"/>
                    <a:gd name="T13" fmla="*/ 4 h 33"/>
                  </a:gdLst>
                  <a:ahLst/>
                  <a:cxnLst>
                    <a:cxn ang="0">
                      <a:pos x="T0" y="T1"/>
                    </a:cxn>
                    <a:cxn ang="0">
                      <a:pos x="T2" y="T3"/>
                    </a:cxn>
                    <a:cxn ang="0">
                      <a:pos x="T4" y="T5"/>
                    </a:cxn>
                    <a:cxn ang="0">
                      <a:pos x="T6" y="T7"/>
                    </a:cxn>
                    <a:cxn ang="0">
                      <a:pos x="T8" y="T9"/>
                    </a:cxn>
                    <a:cxn ang="0">
                      <a:pos x="T10" y="T11"/>
                    </a:cxn>
                    <a:cxn ang="0">
                      <a:pos x="T12" y="T13"/>
                    </a:cxn>
                  </a:cxnLst>
                  <a:rect l="0" t="0" r="r" b="b"/>
                  <a:pathLst>
                    <a:path w="97" h="33">
                      <a:moveTo>
                        <a:pt x="36" y="4"/>
                      </a:moveTo>
                      <a:cubicBezTo>
                        <a:pt x="29" y="5"/>
                        <a:pt x="19" y="0"/>
                        <a:pt x="15" y="6"/>
                      </a:cubicBezTo>
                      <a:cubicBezTo>
                        <a:pt x="0" y="26"/>
                        <a:pt x="12" y="29"/>
                        <a:pt x="21" y="33"/>
                      </a:cubicBezTo>
                      <a:cubicBezTo>
                        <a:pt x="46" y="29"/>
                        <a:pt x="68" y="28"/>
                        <a:pt x="94" y="27"/>
                      </a:cubicBezTo>
                      <a:cubicBezTo>
                        <a:pt x="97" y="18"/>
                        <a:pt x="91" y="19"/>
                        <a:pt x="84" y="18"/>
                      </a:cubicBezTo>
                      <a:cubicBezTo>
                        <a:pt x="69" y="13"/>
                        <a:pt x="53" y="18"/>
                        <a:pt x="37" y="15"/>
                      </a:cubicBezTo>
                      <a:cubicBezTo>
                        <a:pt x="36" y="8"/>
                        <a:pt x="36" y="12"/>
                        <a:pt x="36" y="4"/>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2" name="Freeform 197"/>
                <p:cNvSpPr>
                  <a:spLocks/>
                </p:cNvSpPr>
                <p:nvPr/>
              </p:nvSpPr>
              <p:spPr bwMode="auto">
                <a:xfrm>
                  <a:off x="6900922" y="1785732"/>
                  <a:ext cx="144268" cy="34706"/>
                </a:xfrm>
                <a:custGeom>
                  <a:avLst/>
                  <a:gdLst>
                    <a:gd name="T0" fmla="*/ 134 w 141"/>
                    <a:gd name="T1" fmla="*/ 14 h 35"/>
                    <a:gd name="T2" fmla="*/ 81 w 141"/>
                    <a:gd name="T3" fmla="*/ 5 h 35"/>
                    <a:gd name="T4" fmla="*/ 68 w 141"/>
                    <a:gd name="T5" fmla="*/ 0 h 35"/>
                    <a:gd name="T6" fmla="*/ 57 w 141"/>
                    <a:gd name="T7" fmla="*/ 2 h 35"/>
                    <a:gd name="T8" fmla="*/ 51 w 141"/>
                    <a:gd name="T9" fmla="*/ 14 h 35"/>
                    <a:gd name="T10" fmla="*/ 56 w 141"/>
                    <a:gd name="T11" fmla="*/ 18 h 35"/>
                    <a:gd name="T12" fmla="*/ 15 w 141"/>
                    <a:gd name="T13" fmla="*/ 2 h 35"/>
                    <a:gd name="T14" fmla="*/ 0 w 141"/>
                    <a:gd name="T15" fmla="*/ 12 h 35"/>
                    <a:gd name="T16" fmla="*/ 23 w 141"/>
                    <a:gd name="T17" fmla="*/ 24 h 35"/>
                    <a:gd name="T18" fmla="*/ 45 w 141"/>
                    <a:gd name="T19" fmla="*/ 30 h 35"/>
                    <a:gd name="T20" fmla="*/ 62 w 141"/>
                    <a:gd name="T21" fmla="*/ 35 h 35"/>
                    <a:gd name="T22" fmla="*/ 141 w 141"/>
                    <a:gd name="T23" fmla="*/ 24 h 35"/>
                    <a:gd name="T24" fmla="*/ 134 w 141"/>
                    <a:gd name="T25"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35">
                      <a:moveTo>
                        <a:pt x="134" y="14"/>
                      </a:moveTo>
                      <a:cubicBezTo>
                        <a:pt x="123" y="10"/>
                        <a:pt x="96" y="7"/>
                        <a:pt x="81" y="5"/>
                      </a:cubicBezTo>
                      <a:cubicBezTo>
                        <a:pt x="77" y="3"/>
                        <a:pt x="72" y="2"/>
                        <a:pt x="68" y="0"/>
                      </a:cubicBezTo>
                      <a:cubicBezTo>
                        <a:pt x="64" y="1"/>
                        <a:pt x="60" y="0"/>
                        <a:pt x="57" y="2"/>
                      </a:cubicBezTo>
                      <a:cubicBezTo>
                        <a:pt x="54" y="5"/>
                        <a:pt x="51" y="14"/>
                        <a:pt x="51" y="14"/>
                      </a:cubicBezTo>
                      <a:cubicBezTo>
                        <a:pt x="55" y="15"/>
                        <a:pt x="70" y="16"/>
                        <a:pt x="56" y="18"/>
                      </a:cubicBezTo>
                      <a:cubicBezTo>
                        <a:pt x="42" y="15"/>
                        <a:pt x="31" y="5"/>
                        <a:pt x="15" y="2"/>
                      </a:cubicBezTo>
                      <a:cubicBezTo>
                        <a:pt x="4" y="3"/>
                        <a:pt x="6" y="4"/>
                        <a:pt x="0" y="12"/>
                      </a:cubicBezTo>
                      <a:cubicBezTo>
                        <a:pt x="8" y="15"/>
                        <a:pt x="14" y="22"/>
                        <a:pt x="23" y="24"/>
                      </a:cubicBezTo>
                      <a:cubicBezTo>
                        <a:pt x="30" y="27"/>
                        <a:pt x="38" y="29"/>
                        <a:pt x="45" y="30"/>
                      </a:cubicBezTo>
                      <a:cubicBezTo>
                        <a:pt x="51" y="32"/>
                        <a:pt x="56" y="33"/>
                        <a:pt x="62" y="35"/>
                      </a:cubicBezTo>
                      <a:cubicBezTo>
                        <a:pt x="91" y="33"/>
                        <a:pt x="112" y="26"/>
                        <a:pt x="141" y="24"/>
                      </a:cubicBezTo>
                      <a:cubicBezTo>
                        <a:pt x="140" y="19"/>
                        <a:pt x="141" y="14"/>
                        <a:pt x="134" y="14"/>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3" name="Freeform 198"/>
                <p:cNvSpPr>
                  <a:spLocks/>
                </p:cNvSpPr>
                <p:nvPr/>
              </p:nvSpPr>
              <p:spPr bwMode="auto">
                <a:xfrm>
                  <a:off x="7074664" y="1793278"/>
                  <a:ext cx="102383" cy="28670"/>
                </a:xfrm>
                <a:custGeom>
                  <a:avLst/>
                  <a:gdLst>
                    <a:gd name="T0" fmla="*/ 90 w 99"/>
                    <a:gd name="T1" fmla="*/ 15 h 28"/>
                    <a:gd name="T2" fmla="*/ 60 w 99"/>
                    <a:gd name="T3" fmla="*/ 15 h 28"/>
                    <a:gd name="T4" fmla="*/ 43 w 99"/>
                    <a:gd name="T5" fmla="*/ 12 h 28"/>
                    <a:gd name="T6" fmla="*/ 16 w 99"/>
                    <a:gd name="T7" fmla="*/ 1 h 28"/>
                    <a:gd name="T8" fmla="*/ 3 w 99"/>
                    <a:gd name="T9" fmla="*/ 9 h 28"/>
                    <a:gd name="T10" fmla="*/ 27 w 99"/>
                    <a:gd name="T11" fmla="*/ 16 h 28"/>
                    <a:gd name="T12" fmla="*/ 42 w 99"/>
                    <a:gd name="T13" fmla="*/ 22 h 28"/>
                    <a:gd name="T14" fmla="*/ 60 w 99"/>
                    <a:gd name="T15" fmla="*/ 28 h 28"/>
                    <a:gd name="T16" fmla="*/ 99 w 99"/>
                    <a:gd name="T17" fmla="*/ 19 h 28"/>
                    <a:gd name="T18" fmla="*/ 90 w 99"/>
                    <a:gd name="T19"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28">
                      <a:moveTo>
                        <a:pt x="90" y="15"/>
                      </a:moveTo>
                      <a:cubicBezTo>
                        <a:pt x="78" y="17"/>
                        <a:pt x="82" y="17"/>
                        <a:pt x="60" y="15"/>
                      </a:cubicBezTo>
                      <a:cubicBezTo>
                        <a:pt x="54" y="14"/>
                        <a:pt x="43" y="12"/>
                        <a:pt x="43" y="12"/>
                      </a:cubicBezTo>
                      <a:cubicBezTo>
                        <a:pt x="34" y="7"/>
                        <a:pt x="26" y="4"/>
                        <a:pt x="16" y="1"/>
                      </a:cubicBezTo>
                      <a:cubicBezTo>
                        <a:pt x="11" y="2"/>
                        <a:pt x="0" y="0"/>
                        <a:pt x="3" y="9"/>
                      </a:cubicBezTo>
                      <a:cubicBezTo>
                        <a:pt x="5" y="14"/>
                        <a:pt x="23" y="15"/>
                        <a:pt x="27" y="16"/>
                      </a:cubicBezTo>
                      <a:cubicBezTo>
                        <a:pt x="32" y="20"/>
                        <a:pt x="36" y="21"/>
                        <a:pt x="42" y="22"/>
                      </a:cubicBezTo>
                      <a:cubicBezTo>
                        <a:pt x="48" y="26"/>
                        <a:pt x="53" y="27"/>
                        <a:pt x="60" y="28"/>
                      </a:cubicBezTo>
                      <a:cubicBezTo>
                        <a:pt x="77" y="27"/>
                        <a:pt x="86" y="27"/>
                        <a:pt x="99" y="19"/>
                      </a:cubicBezTo>
                      <a:cubicBezTo>
                        <a:pt x="97" y="14"/>
                        <a:pt x="95" y="12"/>
                        <a:pt x="90" y="15"/>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4" name="Freeform 199"/>
                <p:cNvSpPr>
                  <a:spLocks/>
                </p:cNvSpPr>
                <p:nvPr/>
              </p:nvSpPr>
              <p:spPr bwMode="auto">
                <a:xfrm>
                  <a:off x="7029677" y="1835529"/>
                  <a:ext cx="66705" cy="21126"/>
                </a:xfrm>
                <a:custGeom>
                  <a:avLst/>
                  <a:gdLst>
                    <a:gd name="T0" fmla="*/ 51 w 66"/>
                    <a:gd name="T1" fmla="*/ 2 h 22"/>
                    <a:gd name="T2" fmla="*/ 4 w 66"/>
                    <a:gd name="T3" fmla="*/ 2 h 22"/>
                    <a:gd name="T4" fmla="*/ 15 w 66"/>
                    <a:gd name="T5" fmla="*/ 11 h 22"/>
                    <a:gd name="T6" fmla="*/ 36 w 66"/>
                    <a:gd name="T7" fmla="*/ 17 h 22"/>
                    <a:gd name="T8" fmla="*/ 66 w 66"/>
                    <a:gd name="T9" fmla="*/ 19 h 22"/>
                    <a:gd name="T10" fmla="*/ 51 w 66"/>
                    <a:gd name="T11" fmla="*/ 2 h 22"/>
                  </a:gdLst>
                  <a:ahLst/>
                  <a:cxnLst>
                    <a:cxn ang="0">
                      <a:pos x="T0" y="T1"/>
                    </a:cxn>
                    <a:cxn ang="0">
                      <a:pos x="T2" y="T3"/>
                    </a:cxn>
                    <a:cxn ang="0">
                      <a:pos x="T4" y="T5"/>
                    </a:cxn>
                    <a:cxn ang="0">
                      <a:pos x="T6" y="T7"/>
                    </a:cxn>
                    <a:cxn ang="0">
                      <a:pos x="T8" y="T9"/>
                    </a:cxn>
                    <a:cxn ang="0">
                      <a:pos x="T10" y="T11"/>
                    </a:cxn>
                  </a:cxnLst>
                  <a:rect l="0" t="0" r="r" b="b"/>
                  <a:pathLst>
                    <a:path w="66" h="22">
                      <a:moveTo>
                        <a:pt x="51" y="2"/>
                      </a:moveTo>
                      <a:cubicBezTo>
                        <a:pt x="47" y="2"/>
                        <a:pt x="10" y="0"/>
                        <a:pt x="4" y="2"/>
                      </a:cubicBezTo>
                      <a:cubicBezTo>
                        <a:pt x="0" y="4"/>
                        <a:pt x="10" y="10"/>
                        <a:pt x="15" y="11"/>
                      </a:cubicBezTo>
                      <a:cubicBezTo>
                        <a:pt x="21" y="14"/>
                        <a:pt x="29" y="16"/>
                        <a:pt x="36" y="17"/>
                      </a:cubicBezTo>
                      <a:cubicBezTo>
                        <a:pt x="46" y="22"/>
                        <a:pt x="54" y="20"/>
                        <a:pt x="66" y="19"/>
                      </a:cubicBezTo>
                      <a:cubicBezTo>
                        <a:pt x="62" y="13"/>
                        <a:pt x="51" y="10"/>
                        <a:pt x="51" y="2"/>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5" name="Freeform 200"/>
                <p:cNvSpPr>
                  <a:spLocks/>
                </p:cNvSpPr>
                <p:nvPr/>
              </p:nvSpPr>
              <p:spPr bwMode="auto">
                <a:xfrm>
                  <a:off x="7789798" y="2602085"/>
                  <a:ext cx="130306" cy="122226"/>
                </a:xfrm>
                <a:custGeom>
                  <a:avLst/>
                  <a:gdLst>
                    <a:gd name="T0" fmla="*/ 3 w 128"/>
                    <a:gd name="T1" fmla="*/ 0 h 122"/>
                    <a:gd name="T2" fmla="*/ 17 w 128"/>
                    <a:gd name="T3" fmla="*/ 8 h 122"/>
                    <a:gd name="T4" fmla="*/ 51 w 128"/>
                    <a:gd name="T5" fmla="*/ 30 h 122"/>
                    <a:gd name="T6" fmla="*/ 71 w 128"/>
                    <a:gd name="T7" fmla="*/ 36 h 122"/>
                    <a:gd name="T8" fmla="*/ 108 w 128"/>
                    <a:gd name="T9" fmla="*/ 41 h 122"/>
                    <a:gd name="T10" fmla="*/ 119 w 128"/>
                    <a:gd name="T11" fmla="*/ 51 h 122"/>
                    <a:gd name="T12" fmla="*/ 126 w 128"/>
                    <a:gd name="T13" fmla="*/ 59 h 122"/>
                    <a:gd name="T14" fmla="*/ 96 w 128"/>
                    <a:gd name="T15" fmla="*/ 71 h 122"/>
                    <a:gd name="T16" fmla="*/ 96 w 128"/>
                    <a:gd name="T17" fmla="*/ 99 h 122"/>
                    <a:gd name="T18" fmla="*/ 83 w 128"/>
                    <a:gd name="T19" fmla="*/ 104 h 122"/>
                    <a:gd name="T20" fmla="*/ 48 w 128"/>
                    <a:gd name="T21" fmla="*/ 80 h 122"/>
                    <a:gd name="T22" fmla="*/ 36 w 128"/>
                    <a:gd name="T23" fmla="*/ 90 h 122"/>
                    <a:gd name="T24" fmla="*/ 20 w 128"/>
                    <a:gd name="T25" fmla="*/ 83 h 122"/>
                    <a:gd name="T26" fmla="*/ 23 w 128"/>
                    <a:gd name="T27" fmla="*/ 95 h 122"/>
                    <a:gd name="T28" fmla="*/ 39 w 128"/>
                    <a:gd name="T29" fmla="*/ 101 h 122"/>
                    <a:gd name="T30" fmla="*/ 33 w 128"/>
                    <a:gd name="T31" fmla="*/ 111 h 122"/>
                    <a:gd name="T32" fmla="*/ 18 w 128"/>
                    <a:gd name="T33" fmla="*/ 114 h 122"/>
                    <a:gd name="T34" fmla="*/ 9 w 128"/>
                    <a:gd name="T35" fmla="*/ 102 h 122"/>
                    <a:gd name="T36" fmla="*/ 8 w 128"/>
                    <a:gd name="T37" fmla="*/ 77 h 122"/>
                    <a:gd name="T38" fmla="*/ 24 w 128"/>
                    <a:gd name="T39" fmla="*/ 62 h 122"/>
                    <a:gd name="T40" fmla="*/ 14 w 128"/>
                    <a:gd name="T41" fmla="*/ 35 h 122"/>
                    <a:gd name="T42" fmla="*/ 0 w 128"/>
                    <a:gd name="T43" fmla="*/ 12 h 122"/>
                    <a:gd name="T44" fmla="*/ 3 w 128"/>
                    <a:gd name="T4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22">
                      <a:moveTo>
                        <a:pt x="3" y="0"/>
                      </a:moveTo>
                      <a:cubicBezTo>
                        <a:pt x="8" y="2"/>
                        <a:pt x="12" y="5"/>
                        <a:pt x="17" y="8"/>
                      </a:cubicBezTo>
                      <a:cubicBezTo>
                        <a:pt x="26" y="19"/>
                        <a:pt x="36" y="28"/>
                        <a:pt x="51" y="30"/>
                      </a:cubicBezTo>
                      <a:cubicBezTo>
                        <a:pt x="58" y="34"/>
                        <a:pt x="63" y="35"/>
                        <a:pt x="71" y="36"/>
                      </a:cubicBezTo>
                      <a:cubicBezTo>
                        <a:pt x="82" y="42"/>
                        <a:pt x="96" y="40"/>
                        <a:pt x="108" y="41"/>
                      </a:cubicBezTo>
                      <a:cubicBezTo>
                        <a:pt x="111" y="48"/>
                        <a:pt x="111" y="50"/>
                        <a:pt x="119" y="51"/>
                      </a:cubicBezTo>
                      <a:cubicBezTo>
                        <a:pt x="122" y="53"/>
                        <a:pt x="125" y="55"/>
                        <a:pt x="126" y="59"/>
                      </a:cubicBezTo>
                      <a:cubicBezTo>
                        <a:pt x="128" y="72"/>
                        <a:pt x="102" y="70"/>
                        <a:pt x="96" y="71"/>
                      </a:cubicBezTo>
                      <a:cubicBezTo>
                        <a:pt x="86" y="81"/>
                        <a:pt x="88" y="89"/>
                        <a:pt x="96" y="99"/>
                      </a:cubicBezTo>
                      <a:cubicBezTo>
                        <a:pt x="95" y="108"/>
                        <a:pt x="97" y="107"/>
                        <a:pt x="83" y="104"/>
                      </a:cubicBezTo>
                      <a:cubicBezTo>
                        <a:pt x="69" y="101"/>
                        <a:pt x="63" y="83"/>
                        <a:pt x="48" y="80"/>
                      </a:cubicBezTo>
                      <a:cubicBezTo>
                        <a:pt x="43" y="83"/>
                        <a:pt x="41" y="87"/>
                        <a:pt x="36" y="90"/>
                      </a:cubicBezTo>
                      <a:cubicBezTo>
                        <a:pt x="29" y="89"/>
                        <a:pt x="26" y="87"/>
                        <a:pt x="20" y="83"/>
                      </a:cubicBezTo>
                      <a:cubicBezTo>
                        <a:pt x="12" y="88"/>
                        <a:pt x="15" y="92"/>
                        <a:pt x="23" y="95"/>
                      </a:cubicBezTo>
                      <a:cubicBezTo>
                        <a:pt x="28" y="99"/>
                        <a:pt x="33" y="99"/>
                        <a:pt x="39" y="101"/>
                      </a:cubicBezTo>
                      <a:cubicBezTo>
                        <a:pt x="44" y="108"/>
                        <a:pt x="40" y="110"/>
                        <a:pt x="33" y="111"/>
                      </a:cubicBezTo>
                      <a:cubicBezTo>
                        <a:pt x="31" y="122"/>
                        <a:pt x="25" y="118"/>
                        <a:pt x="18" y="114"/>
                      </a:cubicBezTo>
                      <a:cubicBezTo>
                        <a:pt x="17" y="107"/>
                        <a:pt x="16" y="105"/>
                        <a:pt x="9" y="102"/>
                      </a:cubicBezTo>
                      <a:cubicBezTo>
                        <a:pt x="3" y="94"/>
                        <a:pt x="4" y="86"/>
                        <a:pt x="8" y="77"/>
                      </a:cubicBezTo>
                      <a:cubicBezTo>
                        <a:pt x="3" y="62"/>
                        <a:pt x="7" y="63"/>
                        <a:pt x="24" y="62"/>
                      </a:cubicBezTo>
                      <a:cubicBezTo>
                        <a:pt x="23" y="52"/>
                        <a:pt x="22" y="41"/>
                        <a:pt x="14" y="35"/>
                      </a:cubicBezTo>
                      <a:cubicBezTo>
                        <a:pt x="9" y="27"/>
                        <a:pt x="5" y="20"/>
                        <a:pt x="0" y="12"/>
                      </a:cubicBezTo>
                      <a:cubicBezTo>
                        <a:pt x="2" y="2"/>
                        <a:pt x="1" y="6"/>
                        <a:pt x="3"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6" name="Freeform 201"/>
                <p:cNvSpPr>
                  <a:spLocks/>
                </p:cNvSpPr>
                <p:nvPr/>
              </p:nvSpPr>
              <p:spPr bwMode="auto">
                <a:xfrm>
                  <a:off x="7696722" y="2716767"/>
                  <a:ext cx="228036" cy="236908"/>
                </a:xfrm>
                <a:custGeom>
                  <a:avLst/>
                  <a:gdLst>
                    <a:gd name="T0" fmla="*/ 153 w 222"/>
                    <a:gd name="T1" fmla="*/ 9 h 237"/>
                    <a:gd name="T2" fmla="*/ 141 w 222"/>
                    <a:gd name="T3" fmla="*/ 0 h 237"/>
                    <a:gd name="T4" fmla="*/ 126 w 222"/>
                    <a:gd name="T5" fmla="*/ 15 h 237"/>
                    <a:gd name="T6" fmla="*/ 128 w 222"/>
                    <a:gd name="T7" fmla="*/ 32 h 237"/>
                    <a:gd name="T8" fmla="*/ 143 w 222"/>
                    <a:gd name="T9" fmla="*/ 47 h 237"/>
                    <a:gd name="T10" fmla="*/ 149 w 222"/>
                    <a:gd name="T11" fmla="*/ 66 h 237"/>
                    <a:gd name="T12" fmla="*/ 143 w 222"/>
                    <a:gd name="T13" fmla="*/ 114 h 237"/>
                    <a:gd name="T14" fmla="*/ 120 w 222"/>
                    <a:gd name="T15" fmla="*/ 138 h 237"/>
                    <a:gd name="T16" fmla="*/ 111 w 222"/>
                    <a:gd name="T17" fmla="*/ 116 h 237"/>
                    <a:gd name="T18" fmla="*/ 107 w 222"/>
                    <a:gd name="T19" fmla="*/ 137 h 237"/>
                    <a:gd name="T20" fmla="*/ 93 w 222"/>
                    <a:gd name="T21" fmla="*/ 158 h 237"/>
                    <a:gd name="T22" fmla="*/ 104 w 222"/>
                    <a:gd name="T23" fmla="*/ 168 h 237"/>
                    <a:gd name="T24" fmla="*/ 96 w 222"/>
                    <a:gd name="T25" fmla="*/ 179 h 237"/>
                    <a:gd name="T26" fmla="*/ 30 w 222"/>
                    <a:gd name="T27" fmla="*/ 179 h 237"/>
                    <a:gd name="T28" fmla="*/ 12 w 222"/>
                    <a:gd name="T29" fmla="*/ 198 h 237"/>
                    <a:gd name="T30" fmla="*/ 0 w 222"/>
                    <a:gd name="T31" fmla="*/ 215 h 237"/>
                    <a:gd name="T32" fmla="*/ 23 w 222"/>
                    <a:gd name="T33" fmla="*/ 224 h 237"/>
                    <a:gd name="T34" fmla="*/ 53 w 222"/>
                    <a:gd name="T35" fmla="*/ 209 h 237"/>
                    <a:gd name="T36" fmla="*/ 74 w 222"/>
                    <a:gd name="T37" fmla="*/ 200 h 237"/>
                    <a:gd name="T38" fmla="*/ 104 w 222"/>
                    <a:gd name="T39" fmla="*/ 213 h 237"/>
                    <a:gd name="T40" fmla="*/ 111 w 222"/>
                    <a:gd name="T41" fmla="*/ 225 h 237"/>
                    <a:gd name="T42" fmla="*/ 122 w 222"/>
                    <a:gd name="T43" fmla="*/ 237 h 237"/>
                    <a:gd name="T44" fmla="*/ 140 w 222"/>
                    <a:gd name="T45" fmla="*/ 218 h 237"/>
                    <a:gd name="T46" fmla="*/ 138 w 222"/>
                    <a:gd name="T47" fmla="*/ 209 h 237"/>
                    <a:gd name="T48" fmla="*/ 137 w 222"/>
                    <a:gd name="T49" fmla="*/ 195 h 237"/>
                    <a:gd name="T50" fmla="*/ 158 w 222"/>
                    <a:gd name="T51" fmla="*/ 203 h 237"/>
                    <a:gd name="T52" fmla="*/ 183 w 222"/>
                    <a:gd name="T53" fmla="*/ 191 h 237"/>
                    <a:gd name="T54" fmla="*/ 189 w 222"/>
                    <a:gd name="T55" fmla="*/ 203 h 237"/>
                    <a:gd name="T56" fmla="*/ 198 w 222"/>
                    <a:gd name="T57" fmla="*/ 177 h 237"/>
                    <a:gd name="T58" fmla="*/ 213 w 222"/>
                    <a:gd name="T59" fmla="*/ 203 h 237"/>
                    <a:gd name="T60" fmla="*/ 222 w 222"/>
                    <a:gd name="T61" fmla="*/ 171 h 237"/>
                    <a:gd name="T62" fmla="*/ 212 w 222"/>
                    <a:gd name="T63" fmla="*/ 159 h 237"/>
                    <a:gd name="T64" fmla="*/ 201 w 222"/>
                    <a:gd name="T65" fmla="*/ 123 h 237"/>
                    <a:gd name="T66" fmla="*/ 191 w 222"/>
                    <a:gd name="T67" fmla="*/ 110 h 237"/>
                    <a:gd name="T68" fmla="*/ 203 w 222"/>
                    <a:gd name="T69" fmla="*/ 86 h 237"/>
                    <a:gd name="T70" fmla="*/ 192 w 222"/>
                    <a:gd name="T71" fmla="*/ 63 h 237"/>
                    <a:gd name="T72" fmla="*/ 180 w 222"/>
                    <a:gd name="T73" fmla="*/ 39 h 237"/>
                    <a:gd name="T74" fmla="*/ 165 w 222"/>
                    <a:gd name="T75" fmla="*/ 24 h 237"/>
                    <a:gd name="T76" fmla="*/ 161 w 222"/>
                    <a:gd name="T77" fmla="*/ 15 h 237"/>
                    <a:gd name="T78" fmla="*/ 153 w 222"/>
                    <a:gd name="T79" fmla="*/ 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7">
                      <a:moveTo>
                        <a:pt x="153" y="9"/>
                      </a:moveTo>
                      <a:cubicBezTo>
                        <a:pt x="149" y="4"/>
                        <a:pt x="146" y="3"/>
                        <a:pt x="141" y="0"/>
                      </a:cubicBezTo>
                      <a:cubicBezTo>
                        <a:pt x="130" y="3"/>
                        <a:pt x="131" y="6"/>
                        <a:pt x="126" y="15"/>
                      </a:cubicBezTo>
                      <a:cubicBezTo>
                        <a:pt x="134" y="20"/>
                        <a:pt x="129" y="24"/>
                        <a:pt x="128" y="32"/>
                      </a:cubicBezTo>
                      <a:cubicBezTo>
                        <a:pt x="129" y="40"/>
                        <a:pt x="136" y="43"/>
                        <a:pt x="143" y="47"/>
                      </a:cubicBezTo>
                      <a:cubicBezTo>
                        <a:pt x="144" y="53"/>
                        <a:pt x="146" y="60"/>
                        <a:pt x="149" y="66"/>
                      </a:cubicBezTo>
                      <a:cubicBezTo>
                        <a:pt x="152" y="80"/>
                        <a:pt x="152" y="102"/>
                        <a:pt x="143" y="114"/>
                      </a:cubicBezTo>
                      <a:cubicBezTo>
                        <a:pt x="139" y="126"/>
                        <a:pt x="131" y="132"/>
                        <a:pt x="120" y="138"/>
                      </a:cubicBezTo>
                      <a:cubicBezTo>
                        <a:pt x="109" y="136"/>
                        <a:pt x="112" y="127"/>
                        <a:pt x="111" y="116"/>
                      </a:cubicBezTo>
                      <a:cubicBezTo>
                        <a:pt x="96" y="118"/>
                        <a:pt x="102" y="126"/>
                        <a:pt x="107" y="137"/>
                      </a:cubicBezTo>
                      <a:cubicBezTo>
                        <a:pt x="109" y="147"/>
                        <a:pt x="102" y="155"/>
                        <a:pt x="93" y="158"/>
                      </a:cubicBezTo>
                      <a:cubicBezTo>
                        <a:pt x="95" y="165"/>
                        <a:pt x="97" y="167"/>
                        <a:pt x="104" y="168"/>
                      </a:cubicBezTo>
                      <a:cubicBezTo>
                        <a:pt x="105" y="175"/>
                        <a:pt x="102" y="175"/>
                        <a:pt x="96" y="179"/>
                      </a:cubicBezTo>
                      <a:cubicBezTo>
                        <a:pt x="67" y="176"/>
                        <a:pt x="66" y="175"/>
                        <a:pt x="30" y="179"/>
                      </a:cubicBezTo>
                      <a:cubicBezTo>
                        <a:pt x="24" y="180"/>
                        <a:pt x="18" y="195"/>
                        <a:pt x="12" y="198"/>
                      </a:cubicBezTo>
                      <a:cubicBezTo>
                        <a:pt x="8" y="204"/>
                        <a:pt x="4" y="209"/>
                        <a:pt x="0" y="215"/>
                      </a:cubicBezTo>
                      <a:cubicBezTo>
                        <a:pt x="6" y="222"/>
                        <a:pt x="14" y="222"/>
                        <a:pt x="23" y="224"/>
                      </a:cubicBezTo>
                      <a:cubicBezTo>
                        <a:pt x="34" y="221"/>
                        <a:pt x="41" y="211"/>
                        <a:pt x="53" y="209"/>
                      </a:cubicBezTo>
                      <a:cubicBezTo>
                        <a:pt x="59" y="204"/>
                        <a:pt x="66" y="201"/>
                        <a:pt x="74" y="200"/>
                      </a:cubicBezTo>
                      <a:cubicBezTo>
                        <a:pt x="89" y="192"/>
                        <a:pt x="98" y="201"/>
                        <a:pt x="104" y="213"/>
                      </a:cubicBezTo>
                      <a:cubicBezTo>
                        <a:pt x="105" y="219"/>
                        <a:pt x="106" y="221"/>
                        <a:pt x="111" y="225"/>
                      </a:cubicBezTo>
                      <a:cubicBezTo>
                        <a:pt x="114" y="230"/>
                        <a:pt x="118" y="232"/>
                        <a:pt x="122" y="237"/>
                      </a:cubicBezTo>
                      <a:cubicBezTo>
                        <a:pt x="131" y="230"/>
                        <a:pt x="127" y="221"/>
                        <a:pt x="140" y="218"/>
                      </a:cubicBezTo>
                      <a:cubicBezTo>
                        <a:pt x="147" y="215"/>
                        <a:pt x="145" y="210"/>
                        <a:pt x="138" y="209"/>
                      </a:cubicBezTo>
                      <a:cubicBezTo>
                        <a:pt x="130" y="205"/>
                        <a:pt x="128" y="199"/>
                        <a:pt x="137" y="195"/>
                      </a:cubicBezTo>
                      <a:cubicBezTo>
                        <a:pt x="146" y="197"/>
                        <a:pt x="150" y="199"/>
                        <a:pt x="158" y="203"/>
                      </a:cubicBezTo>
                      <a:cubicBezTo>
                        <a:pt x="177" y="200"/>
                        <a:pt x="171" y="200"/>
                        <a:pt x="183" y="191"/>
                      </a:cubicBezTo>
                      <a:cubicBezTo>
                        <a:pt x="188" y="197"/>
                        <a:pt x="183" y="198"/>
                        <a:pt x="189" y="203"/>
                      </a:cubicBezTo>
                      <a:cubicBezTo>
                        <a:pt x="193" y="193"/>
                        <a:pt x="191" y="186"/>
                        <a:pt x="198" y="177"/>
                      </a:cubicBezTo>
                      <a:cubicBezTo>
                        <a:pt x="210" y="182"/>
                        <a:pt x="201" y="197"/>
                        <a:pt x="213" y="203"/>
                      </a:cubicBezTo>
                      <a:cubicBezTo>
                        <a:pt x="219" y="192"/>
                        <a:pt x="216" y="181"/>
                        <a:pt x="222" y="171"/>
                      </a:cubicBezTo>
                      <a:cubicBezTo>
                        <a:pt x="221" y="164"/>
                        <a:pt x="219" y="162"/>
                        <a:pt x="212" y="159"/>
                      </a:cubicBezTo>
                      <a:cubicBezTo>
                        <a:pt x="204" y="148"/>
                        <a:pt x="208" y="134"/>
                        <a:pt x="201" y="123"/>
                      </a:cubicBezTo>
                      <a:cubicBezTo>
                        <a:pt x="198" y="118"/>
                        <a:pt x="191" y="110"/>
                        <a:pt x="191" y="110"/>
                      </a:cubicBezTo>
                      <a:cubicBezTo>
                        <a:pt x="193" y="90"/>
                        <a:pt x="199" y="104"/>
                        <a:pt x="203" y="86"/>
                      </a:cubicBezTo>
                      <a:cubicBezTo>
                        <a:pt x="200" y="78"/>
                        <a:pt x="195" y="71"/>
                        <a:pt x="192" y="63"/>
                      </a:cubicBezTo>
                      <a:cubicBezTo>
                        <a:pt x="190" y="54"/>
                        <a:pt x="189" y="44"/>
                        <a:pt x="180" y="39"/>
                      </a:cubicBezTo>
                      <a:cubicBezTo>
                        <a:pt x="176" y="33"/>
                        <a:pt x="171" y="28"/>
                        <a:pt x="165" y="24"/>
                      </a:cubicBezTo>
                      <a:cubicBezTo>
                        <a:pt x="163" y="21"/>
                        <a:pt x="163" y="18"/>
                        <a:pt x="161" y="15"/>
                      </a:cubicBezTo>
                      <a:cubicBezTo>
                        <a:pt x="159" y="12"/>
                        <a:pt x="150" y="9"/>
                        <a:pt x="153" y="9"/>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7" name="Freeform 202"/>
                <p:cNvSpPr>
                  <a:spLocks/>
                </p:cNvSpPr>
                <p:nvPr/>
              </p:nvSpPr>
              <p:spPr bwMode="auto">
                <a:xfrm>
                  <a:off x="7740158" y="2926514"/>
                  <a:ext cx="60500" cy="51305"/>
                </a:xfrm>
                <a:custGeom>
                  <a:avLst/>
                  <a:gdLst>
                    <a:gd name="T0" fmla="*/ 33 w 60"/>
                    <a:gd name="T1" fmla="*/ 0 h 51"/>
                    <a:gd name="T2" fmla="*/ 23 w 60"/>
                    <a:gd name="T3" fmla="*/ 12 h 51"/>
                    <a:gd name="T4" fmla="*/ 3 w 60"/>
                    <a:gd name="T5" fmla="*/ 17 h 51"/>
                    <a:gd name="T6" fmla="*/ 20 w 60"/>
                    <a:gd name="T7" fmla="*/ 51 h 51"/>
                    <a:gd name="T8" fmla="*/ 27 w 60"/>
                    <a:gd name="T9" fmla="*/ 30 h 51"/>
                    <a:gd name="T10" fmla="*/ 51 w 60"/>
                    <a:gd name="T11" fmla="*/ 32 h 51"/>
                    <a:gd name="T12" fmla="*/ 33 w 60"/>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60" h="51">
                      <a:moveTo>
                        <a:pt x="33" y="0"/>
                      </a:moveTo>
                      <a:cubicBezTo>
                        <a:pt x="24" y="4"/>
                        <a:pt x="24" y="0"/>
                        <a:pt x="23" y="12"/>
                      </a:cubicBezTo>
                      <a:cubicBezTo>
                        <a:pt x="13" y="11"/>
                        <a:pt x="8" y="8"/>
                        <a:pt x="3" y="17"/>
                      </a:cubicBezTo>
                      <a:cubicBezTo>
                        <a:pt x="0" y="32"/>
                        <a:pt x="2" y="47"/>
                        <a:pt x="20" y="51"/>
                      </a:cubicBezTo>
                      <a:cubicBezTo>
                        <a:pt x="26" y="42"/>
                        <a:pt x="26" y="41"/>
                        <a:pt x="27" y="30"/>
                      </a:cubicBezTo>
                      <a:cubicBezTo>
                        <a:pt x="34" y="31"/>
                        <a:pt x="45" y="36"/>
                        <a:pt x="51" y="32"/>
                      </a:cubicBezTo>
                      <a:cubicBezTo>
                        <a:pt x="60" y="17"/>
                        <a:pt x="49" y="0"/>
                        <a:pt x="33"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8" name="Freeform 203"/>
                <p:cNvSpPr>
                  <a:spLocks/>
                </p:cNvSpPr>
                <p:nvPr/>
              </p:nvSpPr>
              <p:spPr bwMode="auto">
                <a:xfrm>
                  <a:off x="7667248" y="2944621"/>
                  <a:ext cx="76012" cy="82993"/>
                </a:xfrm>
                <a:custGeom>
                  <a:avLst/>
                  <a:gdLst>
                    <a:gd name="T0" fmla="*/ 24 w 74"/>
                    <a:gd name="T1" fmla="*/ 0 h 84"/>
                    <a:gd name="T2" fmla="*/ 10 w 74"/>
                    <a:gd name="T3" fmla="*/ 9 h 84"/>
                    <a:gd name="T4" fmla="*/ 0 w 74"/>
                    <a:gd name="T5" fmla="*/ 20 h 84"/>
                    <a:gd name="T6" fmla="*/ 12 w 74"/>
                    <a:gd name="T7" fmla="*/ 27 h 84"/>
                    <a:gd name="T8" fmla="*/ 36 w 74"/>
                    <a:gd name="T9" fmla="*/ 30 h 84"/>
                    <a:gd name="T10" fmla="*/ 30 w 74"/>
                    <a:gd name="T11" fmla="*/ 53 h 84"/>
                    <a:gd name="T12" fmla="*/ 37 w 74"/>
                    <a:gd name="T13" fmla="*/ 65 h 84"/>
                    <a:gd name="T14" fmla="*/ 49 w 74"/>
                    <a:gd name="T15" fmla="*/ 75 h 84"/>
                    <a:gd name="T16" fmla="*/ 63 w 74"/>
                    <a:gd name="T17" fmla="*/ 81 h 84"/>
                    <a:gd name="T18" fmla="*/ 64 w 74"/>
                    <a:gd name="T19" fmla="*/ 59 h 84"/>
                    <a:gd name="T20" fmla="*/ 49 w 74"/>
                    <a:gd name="T21" fmla="*/ 11 h 84"/>
                    <a:gd name="T22" fmla="*/ 24 w 74"/>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84">
                      <a:moveTo>
                        <a:pt x="24" y="0"/>
                      </a:moveTo>
                      <a:cubicBezTo>
                        <a:pt x="19" y="5"/>
                        <a:pt x="17" y="8"/>
                        <a:pt x="10" y="9"/>
                      </a:cubicBezTo>
                      <a:cubicBezTo>
                        <a:pt x="5" y="13"/>
                        <a:pt x="1" y="13"/>
                        <a:pt x="0" y="20"/>
                      </a:cubicBezTo>
                      <a:cubicBezTo>
                        <a:pt x="4" y="25"/>
                        <a:pt x="6" y="26"/>
                        <a:pt x="12" y="27"/>
                      </a:cubicBezTo>
                      <a:cubicBezTo>
                        <a:pt x="21" y="23"/>
                        <a:pt x="28" y="24"/>
                        <a:pt x="36" y="30"/>
                      </a:cubicBezTo>
                      <a:cubicBezTo>
                        <a:pt x="35" y="39"/>
                        <a:pt x="31" y="45"/>
                        <a:pt x="30" y="53"/>
                      </a:cubicBezTo>
                      <a:cubicBezTo>
                        <a:pt x="31" y="60"/>
                        <a:pt x="31" y="62"/>
                        <a:pt x="37" y="65"/>
                      </a:cubicBezTo>
                      <a:cubicBezTo>
                        <a:pt x="40" y="70"/>
                        <a:pt x="44" y="72"/>
                        <a:pt x="49" y="75"/>
                      </a:cubicBezTo>
                      <a:cubicBezTo>
                        <a:pt x="53" y="82"/>
                        <a:pt x="55" y="84"/>
                        <a:pt x="63" y="81"/>
                      </a:cubicBezTo>
                      <a:cubicBezTo>
                        <a:pt x="68" y="72"/>
                        <a:pt x="71" y="69"/>
                        <a:pt x="64" y="59"/>
                      </a:cubicBezTo>
                      <a:cubicBezTo>
                        <a:pt x="63" y="29"/>
                        <a:pt x="74" y="16"/>
                        <a:pt x="49" y="11"/>
                      </a:cubicBezTo>
                      <a:cubicBezTo>
                        <a:pt x="41" y="5"/>
                        <a:pt x="33" y="3"/>
                        <a:pt x="24"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799" name="Freeform 204"/>
                <p:cNvSpPr>
                  <a:spLocks/>
                </p:cNvSpPr>
                <p:nvPr/>
              </p:nvSpPr>
              <p:spPr bwMode="auto">
                <a:xfrm>
                  <a:off x="8003873" y="2446661"/>
                  <a:ext cx="15513" cy="22634"/>
                </a:xfrm>
                <a:custGeom>
                  <a:avLst/>
                  <a:gdLst>
                    <a:gd name="T0" fmla="*/ 7 w 15"/>
                    <a:gd name="T1" fmla="*/ 0 h 23"/>
                    <a:gd name="T2" fmla="*/ 0 w 15"/>
                    <a:gd name="T3" fmla="*/ 17 h 23"/>
                    <a:gd name="T4" fmla="*/ 10 w 15"/>
                    <a:gd name="T5" fmla="*/ 21 h 23"/>
                    <a:gd name="T6" fmla="*/ 15 w 15"/>
                    <a:gd name="T7" fmla="*/ 11 h 23"/>
                    <a:gd name="T8" fmla="*/ 7 w 15"/>
                    <a:gd name="T9" fmla="*/ 0 h 23"/>
                  </a:gdLst>
                  <a:ahLst/>
                  <a:cxnLst>
                    <a:cxn ang="0">
                      <a:pos x="T0" y="T1"/>
                    </a:cxn>
                    <a:cxn ang="0">
                      <a:pos x="T2" y="T3"/>
                    </a:cxn>
                    <a:cxn ang="0">
                      <a:pos x="T4" y="T5"/>
                    </a:cxn>
                    <a:cxn ang="0">
                      <a:pos x="T6" y="T7"/>
                    </a:cxn>
                    <a:cxn ang="0">
                      <a:pos x="T8" y="T9"/>
                    </a:cxn>
                  </a:cxnLst>
                  <a:rect l="0" t="0" r="r" b="b"/>
                  <a:pathLst>
                    <a:path w="15" h="23">
                      <a:moveTo>
                        <a:pt x="7" y="0"/>
                      </a:moveTo>
                      <a:cubicBezTo>
                        <a:pt x="4" y="6"/>
                        <a:pt x="1" y="10"/>
                        <a:pt x="0" y="17"/>
                      </a:cubicBezTo>
                      <a:cubicBezTo>
                        <a:pt x="4" y="18"/>
                        <a:pt x="7" y="23"/>
                        <a:pt x="10" y="21"/>
                      </a:cubicBezTo>
                      <a:cubicBezTo>
                        <a:pt x="13" y="19"/>
                        <a:pt x="15" y="11"/>
                        <a:pt x="15" y="11"/>
                      </a:cubicBezTo>
                      <a:cubicBezTo>
                        <a:pt x="12" y="1"/>
                        <a:pt x="15" y="4"/>
                        <a:pt x="7"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0" name="Freeform 205"/>
                <p:cNvSpPr>
                  <a:spLocks/>
                </p:cNvSpPr>
                <p:nvPr/>
              </p:nvSpPr>
              <p:spPr bwMode="auto">
                <a:xfrm>
                  <a:off x="8005424" y="2478349"/>
                  <a:ext cx="18615" cy="24143"/>
                </a:xfrm>
                <a:custGeom>
                  <a:avLst/>
                  <a:gdLst>
                    <a:gd name="T0" fmla="*/ 0 w 19"/>
                    <a:gd name="T1" fmla="*/ 0 h 23"/>
                    <a:gd name="T2" fmla="*/ 6 w 19"/>
                    <a:gd name="T3" fmla="*/ 23 h 23"/>
                    <a:gd name="T4" fmla="*/ 0 w 19"/>
                    <a:gd name="T5" fmla="*/ 0 h 23"/>
                  </a:gdLst>
                  <a:ahLst/>
                  <a:cxnLst>
                    <a:cxn ang="0">
                      <a:pos x="T0" y="T1"/>
                    </a:cxn>
                    <a:cxn ang="0">
                      <a:pos x="T2" y="T3"/>
                    </a:cxn>
                    <a:cxn ang="0">
                      <a:pos x="T4" y="T5"/>
                    </a:cxn>
                  </a:cxnLst>
                  <a:rect l="0" t="0" r="r" b="b"/>
                  <a:pathLst>
                    <a:path w="19" h="23">
                      <a:moveTo>
                        <a:pt x="0" y="0"/>
                      </a:moveTo>
                      <a:cubicBezTo>
                        <a:pt x="3" y="7"/>
                        <a:pt x="5" y="15"/>
                        <a:pt x="6" y="23"/>
                      </a:cubicBezTo>
                      <a:cubicBezTo>
                        <a:pt x="19" y="19"/>
                        <a:pt x="8" y="4"/>
                        <a:pt x="0"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1" name="Freeform 206"/>
                <p:cNvSpPr>
                  <a:spLocks/>
                </p:cNvSpPr>
                <p:nvPr/>
              </p:nvSpPr>
              <p:spPr bwMode="auto">
                <a:xfrm>
                  <a:off x="7996117" y="2514565"/>
                  <a:ext cx="15513" cy="12072"/>
                </a:xfrm>
                <a:custGeom>
                  <a:avLst/>
                  <a:gdLst>
                    <a:gd name="T0" fmla="*/ 8 w 14"/>
                    <a:gd name="T1" fmla="*/ 0 h 12"/>
                    <a:gd name="T2" fmla="*/ 10 w 14"/>
                    <a:gd name="T3" fmla="*/ 12 h 12"/>
                    <a:gd name="T4" fmla="*/ 8 w 14"/>
                    <a:gd name="T5" fmla="*/ 0 h 12"/>
                  </a:gdLst>
                  <a:ahLst/>
                  <a:cxnLst>
                    <a:cxn ang="0">
                      <a:pos x="T0" y="T1"/>
                    </a:cxn>
                    <a:cxn ang="0">
                      <a:pos x="T2" y="T3"/>
                    </a:cxn>
                    <a:cxn ang="0">
                      <a:pos x="T4" y="T5"/>
                    </a:cxn>
                  </a:cxnLst>
                  <a:rect l="0" t="0" r="r" b="b"/>
                  <a:pathLst>
                    <a:path w="14" h="12">
                      <a:moveTo>
                        <a:pt x="8" y="0"/>
                      </a:moveTo>
                      <a:cubicBezTo>
                        <a:pt x="4" y="7"/>
                        <a:pt x="0" y="10"/>
                        <a:pt x="10" y="12"/>
                      </a:cubicBezTo>
                      <a:cubicBezTo>
                        <a:pt x="14" y="7"/>
                        <a:pt x="14" y="4"/>
                        <a:pt x="8"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2" name="Freeform 207"/>
                <p:cNvSpPr>
                  <a:spLocks/>
                </p:cNvSpPr>
                <p:nvPr/>
              </p:nvSpPr>
              <p:spPr bwMode="auto">
                <a:xfrm>
                  <a:off x="7996117" y="2541727"/>
                  <a:ext cx="12410" cy="22634"/>
                </a:xfrm>
                <a:custGeom>
                  <a:avLst/>
                  <a:gdLst>
                    <a:gd name="T0" fmla="*/ 3 w 12"/>
                    <a:gd name="T1" fmla="*/ 6 h 23"/>
                    <a:gd name="T2" fmla="*/ 2 w 12"/>
                    <a:gd name="T3" fmla="*/ 23 h 23"/>
                    <a:gd name="T4" fmla="*/ 12 w 12"/>
                    <a:gd name="T5" fmla="*/ 9 h 23"/>
                    <a:gd name="T6" fmla="*/ 3 w 12"/>
                    <a:gd name="T7" fmla="*/ 6 h 23"/>
                  </a:gdLst>
                  <a:ahLst/>
                  <a:cxnLst>
                    <a:cxn ang="0">
                      <a:pos x="T0" y="T1"/>
                    </a:cxn>
                    <a:cxn ang="0">
                      <a:pos x="T2" y="T3"/>
                    </a:cxn>
                    <a:cxn ang="0">
                      <a:pos x="T4" y="T5"/>
                    </a:cxn>
                    <a:cxn ang="0">
                      <a:pos x="T6" y="T7"/>
                    </a:cxn>
                  </a:cxnLst>
                  <a:rect l="0" t="0" r="r" b="b"/>
                  <a:pathLst>
                    <a:path w="12" h="23">
                      <a:moveTo>
                        <a:pt x="3" y="6"/>
                      </a:moveTo>
                      <a:cubicBezTo>
                        <a:pt x="1" y="14"/>
                        <a:pt x="0" y="14"/>
                        <a:pt x="2" y="23"/>
                      </a:cubicBezTo>
                      <a:cubicBezTo>
                        <a:pt x="10" y="20"/>
                        <a:pt x="11" y="17"/>
                        <a:pt x="12" y="9"/>
                      </a:cubicBezTo>
                      <a:cubicBezTo>
                        <a:pt x="11" y="0"/>
                        <a:pt x="10" y="3"/>
                        <a:pt x="3" y="6"/>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3" name="Freeform 208"/>
                <p:cNvSpPr>
                  <a:spLocks/>
                </p:cNvSpPr>
                <p:nvPr/>
              </p:nvSpPr>
              <p:spPr bwMode="auto">
                <a:xfrm>
                  <a:off x="7965092" y="2574923"/>
                  <a:ext cx="15513" cy="21126"/>
                </a:xfrm>
                <a:custGeom>
                  <a:avLst/>
                  <a:gdLst>
                    <a:gd name="T0" fmla="*/ 15 w 15"/>
                    <a:gd name="T1" fmla="*/ 0 h 21"/>
                    <a:gd name="T2" fmla="*/ 0 w 15"/>
                    <a:gd name="T3" fmla="*/ 15 h 21"/>
                    <a:gd name="T4" fmla="*/ 14 w 15"/>
                    <a:gd name="T5" fmla="*/ 8 h 21"/>
                    <a:gd name="T6" fmla="*/ 15 w 15"/>
                    <a:gd name="T7" fmla="*/ 0 h 21"/>
                  </a:gdLst>
                  <a:ahLst/>
                  <a:cxnLst>
                    <a:cxn ang="0">
                      <a:pos x="T0" y="T1"/>
                    </a:cxn>
                    <a:cxn ang="0">
                      <a:pos x="T2" y="T3"/>
                    </a:cxn>
                    <a:cxn ang="0">
                      <a:pos x="T4" y="T5"/>
                    </a:cxn>
                    <a:cxn ang="0">
                      <a:pos x="T6" y="T7"/>
                    </a:cxn>
                  </a:cxnLst>
                  <a:rect l="0" t="0" r="r" b="b"/>
                  <a:pathLst>
                    <a:path w="15" h="21">
                      <a:moveTo>
                        <a:pt x="15" y="0"/>
                      </a:moveTo>
                      <a:cubicBezTo>
                        <a:pt x="4" y="3"/>
                        <a:pt x="5" y="6"/>
                        <a:pt x="0" y="15"/>
                      </a:cubicBezTo>
                      <a:cubicBezTo>
                        <a:pt x="10" y="21"/>
                        <a:pt x="10" y="16"/>
                        <a:pt x="14" y="8"/>
                      </a:cubicBezTo>
                      <a:cubicBezTo>
                        <a:pt x="15" y="2"/>
                        <a:pt x="15" y="5"/>
                        <a:pt x="15"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4" name="Freeform 209"/>
                <p:cNvSpPr>
                  <a:spLocks/>
                </p:cNvSpPr>
                <p:nvPr/>
              </p:nvSpPr>
              <p:spPr bwMode="auto">
                <a:xfrm>
                  <a:off x="7927861" y="2600576"/>
                  <a:ext cx="29475" cy="36215"/>
                </a:xfrm>
                <a:custGeom>
                  <a:avLst/>
                  <a:gdLst>
                    <a:gd name="T0" fmla="*/ 26 w 28"/>
                    <a:gd name="T1" fmla="*/ 0 h 36"/>
                    <a:gd name="T2" fmla="*/ 0 w 28"/>
                    <a:gd name="T3" fmla="*/ 22 h 36"/>
                    <a:gd name="T4" fmla="*/ 24 w 28"/>
                    <a:gd name="T5" fmla="*/ 6 h 36"/>
                    <a:gd name="T6" fmla="*/ 26 w 28"/>
                    <a:gd name="T7" fmla="*/ 0 h 36"/>
                  </a:gdLst>
                  <a:ahLst/>
                  <a:cxnLst>
                    <a:cxn ang="0">
                      <a:pos x="T0" y="T1"/>
                    </a:cxn>
                    <a:cxn ang="0">
                      <a:pos x="T2" y="T3"/>
                    </a:cxn>
                    <a:cxn ang="0">
                      <a:pos x="T4" y="T5"/>
                    </a:cxn>
                    <a:cxn ang="0">
                      <a:pos x="T6" y="T7"/>
                    </a:cxn>
                  </a:cxnLst>
                  <a:rect l="0" t="0" r="r" b="b"/>
                  <a:pathLst>
                    <a:path w="28" h="36">
                      <a:moveTo>
                        <a:pt x="26" y="0"/>
                      </a:moveTo>
                      <a:cubicBezTo>
                        <a:pt x="12" y="1"/>
                        <a:pt x="6" y="10"/>
                        <a:pt x="0" y="22"/>
                      </a:cubicBezTo>
                      <a:cubicBezTo>
                        <a:pt x="5" y="36"/>
                        <a:pt x="20" y="13"/>
                        <a:pt x="24" y="6"/>
                      </a:cubicBezTo>
                      <a:cubicBezTo>
                        <a:pt x="27" y="1"/>
                        <a:pt x="28" y="2"/>
                        <a:pt x="26"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5" name="Freeform 210"/>
                <p:cNvSpPr>
                  <a:spLocks/>
                </p:cNvSpPr>
                <p:nvPr/>
              </p:nvSpPr>
              <p:spPr bwMode="auto">
                <a:xfrm>
                  <a:off x="7904592" y="2627738"/>
                  <a:ext cx="15513" cy="19617"/>
                </a:xfrm>
                <a:custGeom>
                  <a:avLst/>
                  <a:gdLst>
                    <a:gd name="T0" fmla="*/ 10 w 14"/>
                    <a:gd name="T1" fmla="*/ 0 h 19"/>
                    <a:gd name="T2" fmla="*/ 0 w 14"/>
                    <a:gd name="T3" fmla="*/ 10 h 19"/>
                    <a:gd name="T4" fmla="*/ 12 w 14"/>
                    <a:gd name="T5" fmla="*/ 12 h 19"/>
                    <a:gd name="T6" fmla="*/ 10 w 14"/>
                    <a:gd name="T7" fmla="*/ 0 h 19"/>
                  </a:gdLst>
                  <a:ahLst/>
                  <a:cxnLst>
                    <a:cxn ang="0">
                      <a:pos x="T0" y="T1"/>
                    </a:cxn>
                    <a:cxn ang="0">
                      <a:pos x="T2" y="T3"/>
                    </a:cxn>
                    <a:cxn ang="0">
                      <a:pos x="T4" y="T5"/>
                    </a:cxn>
                    <a:cxn ang="0">
                      <a:pos x="T6" y="T7"/>
                    </a:cxn>
                  </a:cxnLst>
                  <a:rect l="0" t="0" r="r" b="b"/>
                  <a:pathLst>
                    <a:path w="14" h="19">
                      <a:moveTo>
                        <a:pt x="10" y="0"/>
                      </a:moveTo>
                      <a:cubicBezTo>
                        <a:pt x="1" y="1"/>
                        <a:pt x="5" y="4"/>
                        <a:pt x="0" y="10"/>
                      </a:cubicBezTo>
                      <a:cubicBezTo>
                        <a:pt x="4" y="16"/>
                        <a:pt x="7" y="19"/>
                        <a:pt x="12" y="12"/>
                      </a:cubicBezTo>
                      <a:cubicBezTo>
                        <a:pt x="13" y="5"/>
                        <a:pt x="14" y="9"/>
                        <a:pt x="10"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6" name="Freeform 211"/>
                <p:cNvSpPr>
                  <a:spLocks/>
                </p:cNvSpPr>
                <p:nvPr/>
              </p:nvSpPr>
              <p:spPr bwMode="auto">
                <a:xfrm>
                  <a:off x="6446401" y="2404410"/>
                  <a:ext cx="797351" cy="312357"/>
                </a:xfrm>
                <a:custGeom>
                  <a:avLst/>
                  <a:gdLst>
                    <a:gd name="T0" fmla="*/ 80 w 774"/>
                    <a:gd name="T1" fmla="*/ 44 h 312"/>
                    <a:gd name="T2" fmla="*/ 165 w 774"/>
                    <a:gd name="T3" fmla="*/ 66 h 312"/>
                    <a:gd name="T4" fmla="*/ 224 w 774"/>
                    <a:gd name="T5" fmla="*/ 57 h 312"/>
                    <a:gd name="T6" fmla="*/ 206 w 774"/>
                    <a:gd name="T7" fmla="*/ 0 h 312"/>
                    <a:gd name="T8" fmla="*/ 303 w 774"/>
                    <a:gd name="T9" fmla="*/ 48 h 312"/>
                    <a:gd name="T10" fmla="*/ 375 w 774"/>
                    <a:gd name="T11" fmla="*/ 54 h 312"/>
                    <a:gd name="T12" fmla="*/ 455 w 774"/>
                    <a:gd name="T13" fmla="*/ 84 h 312"/>
                    <a:gd name="T14" fmla="*/ 560 w 774"/>
                    <a:gd name="T15" fmla="*/ 81 h 312"/>
                    <a:gd name="T16" fmla="*/ 594 w 774"/>
                    <a:gd name="T17" fmla="*/ 57 h 312"/>
                    <a:gd name="T18" fmla="*/ 644 w 774"/>
                    <a:gd name="T19" fmla="*/ 66 h 312"/>
                    <a:gd name="T20" fmla="*/ 689 w 774"/>
                    <a:gd name="T21" fmla="*/ 126 h 312"/>
                    <a:gd name="T22" fmla="*/ 711 w 774"/>
                    <a:gd name="T23" fmla="*/ 122 h 312"/>
                    <a:gd name="T24" fmla="*/ 774 w 774"/>
                    <a:gd name="T25" fmla="*/ 161 h 312"/>
                    <a:gd name="T26" fmla="*/ 732 w 774"/>
                    <a:gd name="T27" fmla="*/ 162 h 312"/>
                    <a:gd name="T28" fmla="*/ 699 w 774"/>
                    <a:gd name="T29" fmla="*/ 192 h 312"/>
                    <a:gd name="T30" fmla="*/ 666 w 774"/>
                    <a:gd name="T31" fmla="*/ 198 h 312"/>
                    <a:gd name="T32" fmla="*/ 615 w 774"/>
                    <a:gd name="T33" fmla="*/ 207 h 312"/>
                    <a:gd name="T34" fmla="*/ 612 w 774"/>
                    <a:gd name="T35" fmla="*/ 233 h 312"/>
                    <a:gd name="T36" fmla="*/ 626 w 774"/>
                    <a:gd name="T37" fmla="*/ 255 h 312"/>
                    <a:gd name="T38" fmla="*/ 606 w 774"/>
                    <a:gd name="T39" fmla="*/ 281 h 312"/>
                    <a:gd name="T40" fmla="*/ 548 w 774"/>
                    <a:gd name="T41" fmla="*/ 285 h 312"/>
                    <a:gd name="T42" fmla="*/ 491 w 774"/>
                    <a:gd name="T43" fmla="*/ 312 h 312"/>
                    <a:gd name="T44" fmla="*/ 459 w 774"/>
                    <a:gd name="T45" fmla="*/ 308 h 312"/>
                    <a:gd name="T46" fmla="*/ 411 w 774"/>
                    <a:gd name="T47" fmla="*/ 293 h 312"/>
                    <a:gd name="T48" fmla="*/ 359 w 774"/>
                    <a:gd name="T49" fmla="*/ 281 h 312"/>
                    <a:gd name="T50" fmla="*/ 311 w 774"/>
                    <a:gd name="T51" fmla="*/ 278 h 312"/>
                    <a:gd name="T52" fmla="*/ 239 w 774"/>
                    <a:gd name="T53" fmla="*/ 237 h 312"/>
                    <a:gd name="T54" fmla="*/ 183 w 774"/>
                    <a:gd name="T55" fmla="*/ 212 h 312"/>
                    <a:gd name="T56" fmla="*/ 113 w 774"/>
                    <a:gd name="T57" fmla="*/ 200 h 312"/>
                    <a:gd name="T58" fmla="*/ 108 w 774"/>
                    <a:gd name="T59" fmla="*/ 164 h 312"/>
                    <a:gd name="T60" fmla="*/ 75 w 774"/>
                    <a:gd name="T61" fmla="*/ 131 h 312"/>
                    <a:gd name="T62" fmla="*/ 38 w 774"/>
                    <a:gd name="T63" fmla="*/ 126 h 312"/>
                    <a:gd name="T64" fmla="*/ 0 w 774"/>
                    <a:gd name="T65" fmla="*/ 9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4" h="312">
                      <a:moveTo>
                        <a:pt x="0" y="93"/>
                      </a:moveTo>
                      <a:lnTo>
                        <a:pt x="80" y="44"/>
                      </a:lnTo>
                      <a:lnTo>
                        <a:pt x="131" y="47"/>
                      </a:lnTo>
                      <a:lnTo>
                        <a:pt x="165" y="66"/>
                      </a:lnTo>
                      <a:lnTo>
                        <a:pt x="207" y="71"/>
                      </a:lnTo>
                      <a:lnTo>
                        <a:pt x="224" y="57"/>
                      </a:lnTo>
                      <a:lnTo>
                        <a:pt x="197" y="27"/>
                      </a:lnTo>
                      <a:lnTo>
                        <a:pt x="206" y="0"/>
                      </a:lnTo>
                      <a:lnTo>
                        <a:pt x="291" y="20"/>
                      </a:lnTo>
                      <a:lnTo>
                        <a:pt x="303" y="48"/>
                      </a:lnTo>
                      <a:lnTo>
                        <a:pt x="342" y="62"/>
                      </a:lnTo>
                      <a:lnTo>
                        <a:pt x="375" y="54"/>
                      </a:lnTo>
                      <a:lnTo>
                        <a:pt x="444" y="62"/>
                      </a:lnTo>
                      <a:lnTo>
                        <a:pt x="455" y="84"/>
                      </a:lnTo>
                      <a:lnTo>
                        <a:pt x="513" y="89"/>
                      </a:lnTo>
                      <a:lnTo>
                        <a:pt x="560" y="81"/>
                      </a:lnTo>
                      <a:lnTo>
                        <a:pt x="569" y="63"/>
                      </a:lnTo>
                      <a:lnTo>
                        <a:pt x="594" y="57"/>
                      </a:lnTo>
                      <a:lnTo>
                        <a:pt x="620" y="69"/>
                      </a:lnTo>
                      <a:lnTo>
                        <a:pt x="644" y="66"/>
                      </a:lnTo>
                      <a:lnTo>
                        <a:pt x="654" y="128"/>
                      </a:lnTo>
                      <a:lnTo>
                        <a:pt x="689" y="126"/>
                      </a:lnTo>
                      <a:lnTo>
                        <a:pt x="698" y="132"/>
                      </a:lnTo>
                      <a:lnTo>
                        <a:pt x="711" y="122"/>
                      </a:lnTo>
                      <a:lnTo>
                        <a:pt x="768" y="147"/>
                      </a:lnTo>
                      <a:lnTo>
                        <a:pt x="774" y="161"/>
                      </a:lnTo>
                      <a:lnTo>
                        <a:pt x="756" y="164"/>
                      </a:lnTo>
                      <a:lnTo>
                        <a:pt x="732" y="162"/>
                      </a:lnTo>
                      <a:lnTo>
                        <a:pt x="705" y="174"/>
                      </a:lnTo>
                      <a:lnTo>
                        <a:pt x="699" y="192"/>
                      </a:lnTo>
                      <a:lnTo>
                        <a:pt x="683" y="201"/>
                      </a:lnTo>
                      <a:lnTo>
                        <a:pt x="666" y="198"/>
                      </a:lnTo>
                      <a:lnTo>
                        <a:pt x="654" y="221"/>
                      </a:lnTo>
                      <a:lnTo>
                        <a:pt x="615" y="207"/>
                      </a:lnTo>
                      <a:lnTo>
                        <a:pt x="608" y="218"/>
                      </a:lnTo>
                      <a:lnTo>
                        <a:pt x="612" y="233"/>
                      </a:lnTo>
                      <a:lnTo>
                        <a:pt x="635" y="246"/>
                      </a:lnTo>
                      <a:lnTo>
                        <a:pt x="626" y="255"/>
                      </a:lnTo>
                      <a:lnTo>
                        <a:pt x="609" y="261"/>
                      </a:lnTo>
                      <a:lnTo>
                        <a:pt x="606" y="281"/>
                      </a:lnTo>
                      <a:lnTo>
                        <a:pt x="579" y="287"/>
                      </a:lnTo>
                      <a:lnTo>
                        <a:pt x="548" y="285"/>
                      </a:lnTo>
                      <a:lnTo>
                        <a:pt x="515" y="293"/>
                      </a:lnTo>
                      <a:lnTo>
                        <a:pt x="491" y="312"/>
                      </a:lnTo>
                      <a:lnTo>
                        <a:pt x="476" y="300"/>
                      </a:lnTo>
                      <a:lnTo>
                        <a:pt x="459" y="308"/>
                      </a:lnTo>
                      <a:lnTo>
                        <a:pt x="435" y="299"/>
                      </a:lnTo>
                      <a:lnTo>
                        <a:pt x="411" y="293"/>
                      </a:lnTo>
                      <a:lnTo>
                        <a:pt x="404" y="281"/>
                      </a:lnTo>
                      <a:lnTo>
                        <a:pt x="359" y="281"/>
                      </a:lnTo>
                      <a:lnTo>
                        <a:pt x="345" y="284"/>
                      </a:lnTo>
                      <a:lnTo>
                        <a:pt x="311" y="278"/>
                      </a:lnTo>
                      <a:lnTo>
                        <a:pt x="275" y="276"/>
                      </a:lnTo>
                      <a:lnTo>
                        <a:pt x="239" y="237"/>
                      </a:lnTo>
                      <a:lnTo>
                        <a:pt x="203" y="224"/>
                      </a:lnTo>
                      <a:lnTo>
                        <a:pt x="183" y="212"/>
                      </a:lnTo>
                      <a:lnTo>
                        <a:pt x="144" y="210"/>
                      </a:lnTo>
                      <a:lnTo>
                        <a:pt x="113" y="200"/>
                      </a:lnTo>
                      <a:lnTo>
                        <a:pt x="108" y="185"/>
                      </a:lnTo>
                      <a:lnTo>
                        <a:pt x="108" y="164"/>
                      </a:lnTo>
                      <a:lnTo>
                        <a:pt x="92" y="150"/>
                      </a:lnTo>
                      <a:lnTo>
                        <a:pt x="75" y="131"/>
                      </a:lnTo>
                      <a:lnTo>
                        <a:pt x="51" y="120"/>
                      </a:lnTo>
                      <a:lnTo>
                        <a:pt x="38" y="126"/>
                      </a:lnTo>
                      <a:lnTo>
                        <a:pt x="23" y="111"/>
                      </a:lnTo>
                      <a:lnTo>
                        <a:pt x="0" y="9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7" name="Freeform 212"/>
                <p:cNvSpPr>
                  <a:spLocks/>
                </p:cNvSpPr>
                <p:nvPr/>
              </p:nvSpPr>
              <p:spPr bwMode="auto">
                <a:xfrm>
                  <a:off x="7504365" y="3195110"/>
                  <a:ext cx="52743" cy="99592"/>
                </a:xfrm>
                <a:custGeom>
                  <a:avLst/>
                  <a:gdLst>
                    <a:gd name="T0" fmla="*/ 31 w 52"/>
                    <a:gd name="T1" fmla="*/ 0 h 99"/>
                    <a:gd name="T2" fmla="*/ 16 w 52"/>
                    <a:gd name="T3" fmla="*/ 10 h 99"/>
                    <a:gd name="T4" fmla="*/ 7 w 52"/>
                    <a:gd name="T5" fmla="*/ 24 h 99"/>
                    <a:gd name="T6" fmla="*/ 24 w 52"/>
                    <a:gd name="T7" fmla="*/ 87 h 99"/>
                    <a:gd name="T8" fmla="*/ 33 w 52"/>
                    <a:gd name="T9" fmla="*/ 99 h 99"/>
                    <a:gd name="T10" fmla="*/ 39 w 52"/>
                    <a:gd name="T11" fmla="*/ 57 h 99"/>
                    <a:gd name="T12" fmla="*/ 43 w 52"/>
                    <a:gd name="T13" fmla="*/ 39 h 99"/>
                    <a:gd name="T14" fmla="*/ 31 w 52"/>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99">
                      <a:moveTo>
                        <a:pt x="31" y="0"/>
                      </a:moveTo>
                      <a:cubicBezTo>
                        <a:pt x="23" y="1"/>
                        <a:pt x="22" y="5"/>
                        <a:pt x="16" y="10"/>
                      </a:cubicBezTo>
                      <a:cubicBezTo>
                        <a:pt x="13" y="15"/>
                        <a:pt x="10" y="19"/>
                        <a:pt x="7" y="24"/>
                      </a:cubicBezTo>
                      <a:cubicBezTo>
                        <a:pt x="3" y="49"/>
                        <a:pt x="0" y="73"/>
                        <a:pt x="24" y="87"/>
                      </a:cubicBezTo>
                      <a:cubicBezTo>
                        <a:pt x="28" y="92"/>
                        <a:pt x="31" y="93"/>
                        <a:pt x="33" y="99"/>
                      </a:cubicBezTo>
                      <a:cubicBezTo>
                        <a:pt x="30" y="83"/>
                        <a:pt x="32" y="71"/>
                        <a:pt x="39" y="57"/>
                      </a:cubicBezTo>
                      <a:cubicBezTo>
                        <a:pt x="40" y="50"/>
                        <a:pt x="42" y="46"/>
                        <a:pt x="43" y="39"/>
                      </a:cubicBezTo>
                      <a:cubicBezTo>
                        <a:pt x="42" y="6"/>
                        <a:pt x="52" y="4"/>
                        <a:pt x="31"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8" name="Freeform 213"/>
                <p:cNvSpPr>
                  <a:spLocks/>
                </p:cNvSpPr>
                <p:nvPr/>
              </p:nvSpPr>
              <p:spPr bwMode="auto">
                <a:xfrm>
                  <a:off x="7226688" y="3350533"/>
                  <a:ext cx="65153" cy="51305"/>
                </a:xfrm>
                <a:custGeom>
                  <a:avLst/>
                  <a:gdLst>
                    <a:gd name="T0" fmla="*/ 58 w 63"/>
                    <a:gd name="T1" fmla="*/ 1 h 52"/>
                    <a:gd name="T2" fmla="*/ 21 w 63"/>
                    <a:gd name="T3" fmla="*/ 5 h 52"/>
                    <a:gd name="T4" fmla="*/ 4 w 63"/>
                    <a:gd name="T5" fmla="*/ 23 h 52"/>
                    <a:gd name="T6" fmla="*/ 27 w 63"/>
                    <a:gd name="T7" fmla="*/ 52 h 52"/>
                    <a:gd name="T8" fmla="*/ 48 w 63"/>
                    <a:gd name="T9" fmla="*/ 40 h 52"/>
                    <a:gd name="T10" fmla="*/ 54 w 63"/>
                    <a:gd name="T11" fmla="*/ 26 h 52"/>
                    <a:gd name="T12" fmla="*/ 63 w 63"/>
                    <a:gd name="T13" fmla="*/ 7 h 52"/>
                    <a:gd name="T14" fmla="*/ 58 w 63"/>
                    <a:gd name="T15" fmla="*/ 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52">
                      <a:moveTo>
                        <a:pt x="58" y="1"/>
                      </a:moveTo>
                      <a:cubicBezTo>
                        <a:pt x="44" y="2"/>
                        <a:pt x="35" y="4"/>
                        <a:pt x="21" y="5"/>
                      </a:cubicBezTo>
                      <a:cubicBezTo>
                        <a:pt x="13" y="10"/>
                        <a:pt x="11" y="17"/>
                        <a:pt x="4" y="23"/>
                      </a:cubicBezTo>
                      <a:cubicBezTo>
                        <a:pt x="0" y="41"/>
                        <a:pt x="14" y="44"/>
                        <a:pt x="27" y="52"/>
                      </a:cubicBezTo>
                      <a:cubicBezTo>
                        <a:pt x="37" y="49"/>
                        <a:pt x="40" y="47"/>
                        <a:pt x="48" y="40"/>
                      </a:cubicBezTo>
                      <a:cubicBezTo>
                        <a:pt x="49" y="34"/>
                        <a:pt x="51" y="31"/>
                        <a:pt x="54" y="26"/>
                      </a:cubicBezTo>
                      <a:cubicBezTo>
                        <a:pt x="55" y="19"/>
                        <a:pt x="60" y="14"/>
                        <a:pt x="63" y="7"/>
                      </a:cubicBezTo>
                      <a:cubicBezTo>
                        <a:pt x="61" y="0"/>
                        <a:pt x="63" y="1"/>
                        <a:pt x="58" y="1"/>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09" name="Freeform 214"/>
                <p:cNvSpPr>
                  <a:spLocks/>
                </p:cNvSpPr>
                <p:nvPr/>
              </p:nvSpPr>
              <p:spPr bwMode="auto">
                <a:xfrm>
                  <a:off x="7451622" y="2669989"/>
                  <a:ext cx="124101" cy="155424"/>
                </a:xfrm>
                <a:custGeom>
                  <a:avLst/>
                  <a:gdLst>
                    <a:gd name="T0" fmla="*/ 117 w 120"/>
                    <a:gd name="T1" fmla="*/ 21 h 156"/>
                    <a:gd name="T2" fmla="*/ 103 w 120"/>
                    <a:gd name="T3" fmla="*/ 18 h 156"/>
                    <a:gd name="T4" fmla="*/ 108 w 120"/>
                    <a:gd name="T5" fmla="*/ 6 h 156"/>
                    <a:gd name="T6" fmla="*/ 93 w 120"/>
                    <a:gd name="T7" fmla="*/ 0 h 156"/>
                    <a:gd name="T8" fmla="*/ 93 w 120"/>
                    <a:gd name="T9" fmla="*/ 18 h 156"/>
                    <a:gd name="T10" fmla="*/ 78 w 120"/>
                    <a:gd name="T11" fmla="*/ 18 h 156"/>
                    <a:gd name="T12" fmla="*/ 79 w 120"/>
                    <a:gd name="T13" fmla="*/ 28 h 156"/>
                    <a:gd name="T14" fmla="*/ 63 w 120"/>
                    <a:gd name="T15" fmla="*/ 27 h 156"/>
                    <a:gd name="T16" fmla="*/ 67 w 120"/>
                    <a:gd name="T17" fmla="*/ 49 h 156"/>
                    <a:gd name="T18" fmla="*/ 54 w 120"/>
                    <a:gd name="T19" fmla="*/ 48 h 156"/>
                    <a:gd name="T20" fmla="*/ 37 w 120"/>
                    <a:gd name="T21" fmla="*/ 31 h 156"/>
                    <a:gd name="T22" fmla="*/ 25 w 120"/>
                    <a:gd name="T23" fmla="*/ 60 h 156"/>
                    <a:gd name="T24" fmla="*/ 0 w 120"/>
                    <a:gd name="T25" fmla="*/ 82 h 156"/>
                    <a:gd name="T26" fmla="*/ 0 w 120"/>
                    <a:gd name="T27" fmla="*/ 93 h 156"/>
                    <a:gd name="T28" fmla="*/ 13 w 120"/>
                    <a:gd name="T29" fmla="*/ 99 h 156"/>
                    <a:gd name="T30" fmla="*/ 31 w 120"/>
                    <a:gd name="T31" fmla="*/ 105 h 156"/>
                    <a:gd name="T32" fmla="*/ 37 w 120"/>
                    <a:gd name="T33" fmla="*/ 126 h 156"/>
                    <a:gd name="T34" fmla="*/ 49 w 120"/>
                    <a:gd name="T35" fmla="*/ 127 h 156"/>
                    <a:gd name="T36" fmla="*/ 36 w 120"/>
                    <a:gd name="T37" fmla="*/ 141 h 156"/>
                    <a:gd name="T38" fmla="*/ 58 w 120"/>
                    <a:gd name="T39" fmla="*/ 156 h 156"/>
                    <a:gd name="T40" fmla="*/ 85 w 120"/>
                    <a:gd name="T41" fmla="*/ 156 h 156"/>
                    <a:gd name="T42" fmla="*/ 90 w 120"/>
                    <a:gd name="T43" fmla="*/ 141 h 156"/>
                    <a:gd name="T44" fmla="*/ 109 w 120"/>
                    <a:gd name="T45" fmla="*/ 139 h 156"/>
                    <a:gd name="T46" fmla="*/ 120 w 120"/>
                    <a:gd name="T47" fmla="*/ 133 h 156"/>
                    <a:gd name="T48" fmla="*/ 100 w 120"/>
                    <a:gd name="T49" fmla="*/ 123 h 156"/>
                    <a:gd name="T50" fmla="*/ 84 w 120"/>
                    <a:gd name="T51" fmla="*/ 111 h 156"/>
                    <a:gd name="T52" fmla="*/ 81 w 120"/>
                    <a:gd name="T53" fmla="*/ 99 h 156"/>
                    <a:gd name="T54" fmla="*/ 93 w 120"/>
                    <a:gd name="T55" fmla="*/ 85 h 156"/>
                    <a:gd name="T56" fmla="*/ 108 w 120"/>
                    <a:gd name="T57" fmla="*/ 75 h 156"/>
                    <a:gd name="T58" fmla="*/ 117 w 120"/>
                    <a:gd name="T59" fmla="*/ 60 h 156"/>
                    <a:gd name="T60" fmla="*/ 106 w 120"/>
                    <a:gd name="T61" fmla="*/ 48 h 156"/>
                    <a:gd name="T62" fmla="*/ 105 w 120"/>
                    <a:gd name="T63" fmla="*/ 36 h 156"/>
                    <a:gd name="T64" fmla="*/ 117 w 120"/>
                    <a:gd name="T65" fmla="*/ 2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56">
                      <a:moveTo>
                        <a:pt x="117" y="21"/>
                      </a:moveTo>
                      <a:lnTo>
                        <a:pt x="103" y="18"/>
                      </a:lnTo>
                      <a:lnTo>
                        <a:pt x="108" y="6"/>
                      </a:lnTo>
                      <a:lnTo>
                        <a:pt x="93" y="0"/>
                      </a:lnTo>
                      <a:lnTo>
                        <a:pt x="93" y="18"/>
                      </a:lnTo>
                      <a:lnTo>
                        <a:pt x="78" y="18"/>
                      </a:lnTo>
                      <a:lnTo>
                        <a:pt x="79" y="28"/>
                      </a:lnTo>
                      <a:lnTo>
                        <a:pt x="63" y="27"/>
                      </a:lnTo>
                      <a:lnTo>
                        <a:pt x="67" y="49"/>
                      </a:lnTo>
                      <a:lnTo>
                        <a:pt x="54" y="48"/>
                      </a:lnTo>
                      <a:lnTo>
                        <a:pt x="37" y="31"/>
                      </a:lnTo>
                      <a:lnTo>
                        <a:pt x="25" y="60"/>
                      </a:lnTo>
                      <a:lnTo>
                        <a:pt x="0" y="82"/>
                      </a:lnTo>
                      <a:lnTo>
                        <a:pt x="0" y="93"/>
                      </a:lnTo>
                      <a:lnTo>
                        <a:pt x="13" y="99"/>
                      </a:lnTo>
                      <a:lnTo>
                        <a:pt x="31" y="105"/>
                      </a:lnTo>
                      <a:lnTo>
                        <a:pt x="37" y="126"/>
                      </a:lnTo>
                      <a:lnTo>
                        <a:pt x="49" y="127"/>
                      </a:lnTo>
                      <a:lnTo>
                        <a:pt x="36" y="141"/>
                      </a:lnTo>
                      <a:lnTo>
                        <a:pt x="58" y="156"/>
                      </a:lnTo>
                      <a:lnTo>
                        <a:pt x="85" y="156"/>
                      </a:lnTo>
                      <a:lnTo>
                        <a:pt x="90" y="141"/>
                      </a:lnTo>
                      <a:lnTo>
                        <a:pt x="109" y="139"/>
                      </a:lnTo>
                      <a:lnTo>
                        <a:pt x="120" y="133"/>
                      </a:lnTo>
                      <a:lnTo>
                        <a:pt x="100" y="123"/>
                      </a:lnTo>
                      <a:lnTo>
                        <a:pt x="84" y="111"/>
                      </a:lnTo>
                      <a:lnTo>
                        <a:pt x="81" y="99"/>
                      </a:lnTo>
                      <a:lnTo>
                        <a:pt x="93" y="85"/>
                      </a:lnTo>
                      <a:lnTo>
                        <a:pt x="108" y="75"/>
                      </a:lnTo>
                      <a:lnTo>
                        <a:pt x="117" y="60"/>
                      </a:lnTo>
                      <a:lnTo>
                        <a:pt x="106" y="48"/>
                      </a:lnTo>
                      <a:lnTo>
                        <a:pt x="105" y="36"/>
                      </a:lnTo>
                      <a:lnTo>
                        <a:pt x="117" y="2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0" name="Freeform 215"/>
                <p:cNvSpPr>
                  <a:spLocks/>
                </p:cNvSpPr>
                <p:nvPr/>
              </p:nvSpPr>
              <p:spPr bwMode="auto">
                <a:xfrm>
                  <a:off x="5025440" y="2700168"/>
                  <a:ext cx="470034" cy="181076"/>
                </a:xfrm>
                <a:custGeom>
                  <a:avLst/>
                  <a:gdLst>
                    <a:gd name="T0" fmla="*/ 50 w 458"/>
                    <a:gd name="T1" fmla="*/ 18 h 181"/>
                    <a:gd name="T2" fmla="*/ 81 w 458"/>
                    <a:gd name="T3" fmla="*/ 25 h 181"/>
                    <a:gd name="T4" fmla="*/ 140 w 458"/>
                    <a:gd name="T5" fmla="*/ 12 h 181"/>
                    <a:gd name="T6" fmla="*/ 186 w 458"/>
                    <a:gd name="T7" fmla="*/ 1 h 181"/>
                    <a:gd name="T8" fmla="*/ 224 w 458"/>
                    <a:gd name="T9" fmla="*/ 15 h 181"/>
                    <a:gd name="T10" fmla="*/ 264 w 458"/>
                    <a:gd name="T11" fmla="*/ 27 h 181"/>
                    <a:gd name="T12" fmla="*/ 320 w 458"/>
                    <a:gd name="T13" fmla="*/ 27 h 181"/>
                    <a:gd name="T14" fmla="*/ 369 w 458"/>
                    <a:gd name="T15" fmla="*/ 16 h 181"/>
                    <a:gd name="T16" fmla="*/ 420 w 458"/>
                    <a:gd name="T17" fmla="*/ 31 h 181"/>
                    <a:gd name="T18" fmla="*/ 441 w 458"/>
                    <a:gd name="T19" fmla="*/ 75 h 181"/>
                    <a:gd name="T20" fmla="*/ 458 w 458"/>
                    <a:gd name="T21" fmla="*/ 144 h 181"/>
                    <a:gd name="T22" fmla="*/ 413 w 458"/>
                    <a:gd name="T23" fmla="*/ 136 h 181"/>
                    <a:gd name="T24" fmla="*/ 386 w 458"/>
                    <a:gd name="T25" fmla="*/ 141 h 181"/>
                    <a:gd name="T26" fmla="*/ 366 w 458"/>
                    <a:gd name="T27" fmla="*/ 144 h 181"/>
                    <a:gd name="T28" fmla="*/ 320 w 458"/>
                    <a:gd name="T29" fmla="*/ 160 h 181"/>
                    <a:gd name="T30" fmla="*/ 294 w 458"/>
                    <a:gd name="T31" fmla="*/ 157 h 181"/>
                    <a:gd name="T32" fmla="*/ 263 w 458"/>
                    <a:gd name="T33" fmla="*/ 150 h 181"/>
                    <a:gd name="T34" fmla="*/ 249 w 458"/>
                    <a:gd name="T35" fmla="*/ 181 h 181"/>
                    <a:gd name="T36" fmla="*/ 255 w 458"/>
                    <a:gd name="T37" fmla="*/ 156 h 181"/>
                    <a:gd name="T38" fmla="*/ 233 w 458"/>
                    <a:gd name="T39" fmla="*/ 160 h 181"/>
                    <a:gd name="T40" fmla="*/ 197 w 458"/>
                    <a:gd name="T41" fmla="*/ 172 h 181"/>
                    <a:gd name="T42" fmla="*/ 153 w 458"/>
                    <a:gd name="T43" fmla="*/ 160 h 181"/>
                    <a:gd name="T44" fmla="*/ 113 w 458"/>
                    <a:gd name="T45" fmla="*/ 157 h 181"/>
                    <a:gd name="T46" fmla="*/ 90 w 458"/>
                    <a:gd name="T47" fmla="*/ 175 h 181"/>
                    <a:gd name="T48" fmla="*/ 57 w 458"/>
                    <a:gd name="T49" fmla="*/ 159 h 181"/>
                    <a:gd name="T50" fmla="*/ 39 w 458"/>
                    <a:gd name="T51" fmla="*/ 141 h 181"/>
                    <a:gd name="T52" fmla="*/ 15 w 458"/>
                    <a:gd name="T53" fmla="*/ 109 h 181"/>
                    <a:gd name="T54" fmla="*/ 20 w 458"/>
                    <a:gd name="T55" fmla="*/ 75 h 181"/>
                    <a:gd name="T56" fmla="*/ 5 w 458"/>
                    <a:gd name="T57" fmla="*/ 57 h 181"/>
                    <a:gd name="T58" fmla="*/ 54 w 458"/>
                    <a:gd name="T59" fmla="*/ 54 h 181"/>
                    <a:gd name="T60" fmla="*/ 90 w 458"/>
                    <a:gd name="T61" fmla="*/ 37 h 181"/>
                    <a:gd name="T62" fmla="*/ 48 w 458"/>
                    <a:gd name="T63" fmla="*/ 28 h 181"/>
                    <a:gd name="T64" fmla="*/ 15 w 458"/>
                    <a:gd name="T65" fmla="*/ 45 h 181"/>
                    <a:gd name="T66" fmla="*/ 11 w 458"/>
                    <a:gd name="T67" fmla="*/ 19 h 181"/>
                    <a:gd name="T68" fmla="*/ 23 w 458"/>
                    <a:gd name="T6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8" h="181">
                      <a:moveTo>
                        <a:pt x="41" y="6"/>
                      </a:moveTo>
                      <a:lnTo>
                        <a:pt x="50" y="18"/>
                      </a:lnTo>
                      <a:lnTo>
                        <a:pt x="65" y="25"/>
                      </a:lnTo>
                      <a:lnTo>
                        <a:pt x="81" y="25"/>
                      </a:lnTo>
                      <a:lnTo>
                        <a:pt x="122" y="30"/>
                      </a:lnTo>
                      <a:lnTo>
                        <a:pt x="140" y="12"/>
                      </a:lnTo>
                      <a:lnTo>
                        <a:pt x="159" y="6"/>
                      </a:lnTo>
                      <a:lnTo>
                        <a:pt x="186" y="1"/>
                      </a:lnTo>
                      <a:lnTo>
                        <a:pt x="209" y="0"/>
                      </a:lnTo>
                      <a:lnTo>
                        <a:pt x="224" y="15"/>
                      </a:lnTo>
                      <a:lnTo>
                        <a:pt x="237" y="10"/>
                      </a:lnTo>
                      <a:lnTo>
                        <a:pt x="264" y="27"/>
                      </a:lnTo>
                      <a:lnTo>
                        <a:pt x="305" y="34"/>
                      </a:lnTo>
                      <a:lnTo>
                        <a:pt x="320" y="27"/>
                      </a:lnTo>
                      <a:lnTo>
                        <a:pt x="341" y="36"/>
                      </a:lnTo>
                      <a:lnTo>
                        <a:pt x="369" y="16"/>
                      </a:lnTo>
                      <a:lnTo>
                        <a:pt x="396" y="18"/>
                      </a:lnTo>
                      <a:lnTo>
                        <a:pt x="420" y="31"/>
                      </a:lnTo>
                      <a:lnTo>
                        <a:pt x="425" y="57"/>
                      </a:lnTo>
                      <a:lnTo>
                        <a:pt x="441" y="75"/>
                      </a:lnTo>
                      <a:lnTo>
                        <a:pt x="437" y="84"/>
                      </a:lnTo>
                      <a:lnTo>
                        <a:pt x="458" y="144"/>
                      </a:lnTo>
                      <a:lnTo>
                        <a:pt x="435" y="144"/>
                      </a:lnTo>
                      <a:lnTo>
                        <a:pt x="413" y="136"/>
                      </a:lnTo>
                      <a:lnTo>
                        <a:pt x="399" y="145"/>
                      </a:lnTo>
                      <a:lnTo>
                        <a:pt x="386" y="141"/>
                      </a:lnTo>
                      <a:lnTo>
                        <a:pt x="375" y="150"/>
                      </a:lnTo>
                      <a:lnTo>
                        <a:pt x="366" y="144"/>
                      </a:lnTo>
                      <a:lnTo>
                        <a:pt x="341" y="159"/>
                      </a:lnTo>
                      <a:lnTo>
                        <a:pt x="320" y="160"/>
                      </a:lnTo>
                      <a:lnTo>
                        <a:pt x="306" y="148"/>
                      </a:lnTo>
                      <a:lnTo>
                        <a:pt x="294" y="157"/>
                      </a:lnTo>
                      <a:lnTo>
                        <a:pt x="279" y="160"/>
                      </a:lnTo>
                      <a:lnTo>
                        <a:pt x="263" y="150"/>
                      </a:lnTo>
                      <a:lnTo>
                        <a:pt x="260" y="175"/>
                      </a:lnTo>
                      <a:lnTo>
                        <a:pt x="249" y="181"/>
                      </a:lnTo>
                      <a:lnTo>
                        <a:pt x="246" y="168"/>
                      </a:lnTo>
                      <a:lnTo>
                        <a:pt x="255" y="156"/>
                      </a:lnTo>
                      <a:lnTo>
                        <a:pt x="246" y="151"/>
                      </a:lnTo>
                      <a:lnTo>
                        <a:pt x="233" y="160"/>
                      </a:lnTo>
                      <a:lnTo>
                        <a:pt x="218" y="151"/>
                      </a:lnTo>
                      <a:lnTo>
                        <a:pt x="197" y="172"/>
                      </a:lnTo>
                      <a:lnTo>
                        <a:pt x="159" y="177"/>
                      </a:lnTo>
                      <a:lnTo>
                        <a:pt x="153" y="160"/>
                      </a:lnTo>
                      <a:lnTo>
                        <a:pt x="122" y="151"/>
                      </a:lnTo>
                      <a:lnTo>
                        <a:pt x="113" y="157"/>
                      </a:lnTo>
                      <a:lnTo>
                        <a:pt x="114" y="172"/>
                      </a:lnTo>
                      <a:lnTo>
                        <a:pt x="90" y="175"/>
                      </a:lnTo>
                      <a:lnTo>
                        <a:pt x="75" y="153"/>
                      </a:lnTo>
                      <a:lnTo>
                        <a:pt x="57" y="159"/>
                      </a:lnTo>
                      <a:lnTo>
                        <a:pt x="33" y="157"/>
                      </a:lnTo>
                      <a:lnTo>
                        <a:pt x="39" y="141"/>
                      </a:lnTo>
                      <a:lnTo>
                        <a:pt x="30" y="130"/>
                      </a:lnTo>
                      <a:lnTo>
                        <a:pt x="15" y="109"/>
                      </a:lnTo>
                      <a:lnTo>
                        <a:pt x="21" y="90"/>
                      </a:lnTo>
                      <a:lnTo>
                        <a:pt x="20" y="75"/>
                      </a:lnTo>
                      <a:lnTo>
                        <a:pt x="0" y="75"/>
                      </a:lnTo>
                      <a:lnTo>
                        <a:pt x="5" y="57"/>
                      </a:lnTo>
                      <a:lnTo>
                        <a:pt x="18" y="49"/>
                      </a:lnTo>
                      <a:lnTo>
                        <a:pt x="54" y="54"/>
                      </a:lnTo>
                      <a:lnTo>
                        <a:pt x="71" y="49"/>
                      </a:lnTo>
                      <a:lnTo>
                        <a:pt x="90" y="37"/>
                      </a:lnTo>
                      <a:lnTo>
                        <a:pt x="69" y="33"/>
                      </a:lnTo>
                      <a:lnTo>
                        <a:pt x="48" y="28"/>
                      </a:lnTo>
                      <a:lnTo>
                        <a:pt x="32" y="31"/>
                      </a:lnTo>
                      <a:lnTo>
                        <a:pt x="15" y="45"/>
                      </a:lnTo>
                      <a:lnTo>
                        <a:pt x="2" y="37"/>
                      </a:lnTo>
                      <a:lnTo>
                        <a:pt x="11" y="19"/>
                      </a:lnTo>
                      <a:lnTo>
                        <a:pt x="9" y="9"/>
                      </a:lnTo>
                      <a:lnTo>
                        <a:pt x="23" y="0"/>
                      </a:lnTo>
                      <a:lnTo>
                        <a:pt x="41" y="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1" name="Freeform 216"/>
                <p:cNvSpPr>
                  <a:spLocks/>
                </p:cNvSpPr>
                <p:nvPr/>
              </p:nvSpPr>
              <p:spPr bwMode="auto">
                <a:xfrm>
                  <a:off x="5351206" y="2660935"/>
                  <a:ext cx="178396" cy="69413"/>
                </a:xfrm>
                <a:custGeom>
                  <a:avLst/>
                  <a:gdLst>
                    <a:gd name="T0" fmla="*/ 0 w 174"/>
                    <a:gd name="T1" fmla="*/ 0 h 69"/>
                    <a:gd name="T2" fmla="*/ 67 w 174"/>
                    <a:gd name="T3" fmla="*/ 1 h 69"/>
                    <a:gd name="T4" fmla="*/ 99 w 174"/>
                    <a:gd name="T5" fmla="*/ 22 h 69"/>
                    <a:gd name="T6" fmla="*/ 115 w 174"/>
                    <a:gd name="T7" fmla="*/ 15 h 69"/>
                    <a:gd name="T8" fmla="*/ 163 w 174"/>
                    <a:gd name="T9" fmla="*/ 39 h 69"/>
                    <a:gd name="T10" fmla="*/ 159 w 174"/>
                    <a:gd name="T11" fmla="*/ 49 h 69"/>
                    <a:gd name="T12" fmla="*/ 174 w 174"/>
                    <a:gd name="T13" fmla="*/ 66 h 69"/>
                    <a:gd name="T14" fmla="*/ 142 w 174"/>
                    <a:gd name="T15" fmla="*/ 58 h 69"/>
                    <a:gd name="T16" fmla="*/ 126 w 174"/>
                    <a:gd name="T17" fmla="*/ 66 h 69"/>
                    <a:gd name="T18" fmla="*/ 97 w 174"/>
                    <a:gd name="T19" fmla="*/ 69 h 69"/>
                    <a:gd name="T20" fmla="*/ 81 w 174"/>
                    <a:gd name="T21" fmla="*/ 57 h 69"/>
                    <a:gd name="T22" fmla="*/ 49 w 174"/>
                    <a:gd name="T23" fmla="*/ 54 h 69"/>
                    <a:gd name="T24" fmla="*/ 49 w 174"/>
                    <a:gd name="T25" fmla="*/ 34 h 69"/>
                    <a:gd name="T26" fmla="*/ 33 w 174"/>
                    <a:gd name="T27" fmla="*/ 18 h 69"/>
                    <a:gd name="T28" fmla="*/ 0 w 174"/>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 h="69">
                      <a:moveTo>
                        <a:pt x="0" y="0"/>
                      </a:moveTo>
                      <a:lnTo>
                        <a:pt x="67" y="1"/>
                      </a:lnTo>
                      <a:lnTo>
                        <a:pt x="99" y="22"/>
                      </a:lnTo>
                      <a:lnTo>
                        <a:pt x="115" y="15"/>
                      </a:lnTo>
                      <a:lnTo>
                        <a:pt x="163" y="39"/>
                      </a:lnTo>
                      <a:lnTo>
                        <a:pt x="159" y="49"/>
                      </a:lnTo>
                      <a:lnTo>
                        <a:pt x="174" y="66"/>
                      </a:lnTo>
                      <a:lnTo>
                        <a:pt x="142" y="58"/>
                      </a:lnTo>
                      <a:lnTo>
                        <a:pt x="126" y="66"/>
                      </a:lnTo>
                      <a:lnTo>
                        <a:pt x="97" y="69"/>
                      </a:lnTo>
                      <a:lnTo>
                        <a:pt x="81" y="57"/>
                      </a:lnTo>
                      <a:lnTo>
                        <a:pt x="49" y="54"/>
                      </a:lnTo>
                      <a:lnTo>
                        <a:pt x="49" y="34"/>
                      </a:lnTo>
                      <a:lnTo>
                        <a:pt x="33" y="18"/>
                      </a:lnTo>
                      <a:lnTo>
                        <a:pt x="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2" name="Freeform 217"/>
                <p:cNvSpPr>
                  <a:spLocks/>
                </p:cNvSpPr>
                <p:nvPr/>
              </p:nvSpPr>
              <p:spPr bwMode="auto">
                <a:xfrm>
                  <a:off x="5177464" y="2885771"/>
                  <a:ext cx="76012" cy="43760"/>
                </a:xfrm>
                <a:custGeom>
                  <a:avLst/>
                  <a:gdLst>
                    <a:gd name="T0" fmla="*/ 64 w 73"/>
                    <a:gd name="T1" fmla="*/ 0 h 43"/>
                    <a:gd name="T2" fmla="*/ 21 w 73"/>
                    <a:gd name="T3" fmla="*/ 13 h 43"/>
                    <a:gd name="T4" fmla="*/ 6 w 73"/>
                    <a:gd name="T5" fmla="*/ 18 h 43"/>
                    <a:gd name="T6" fmla="*/ 22 w 73"/>
                    <a:gd name="T7" fmla="*/ 37 h 43"/>
                    <a:gd name="T8" fmla="*/ 54 w 73"/>
                    <a:gd name="T9" fmla="*/ 22 h 43"/>
                    <a:gd name="T10" fmla="*/ 63 w 73"/>
                    <a:gd name="T11" fmla="*/ 10 h 43"/>
                    <a:gd name="T12" fmla="*/ 64 w 73"/>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73" h="43">
                      <a:moveTo>
                        <a:pt x="64" y="0"/>
                      </a:moveTo>
                      <a:cubicBezTo>
                        <a:pt x="51" y="10"/>
                        <a:pt x="37" y="12"/>
                        <a:pt x="21" y="13"/>
                      </a:cubicBezTo>
                      <a:cubicBezTo>
                        <a:pt x="16" y="15"/>
                        <a:pt x="11" y="16"/>
                        <a:pt x="6" y="18"/>
                      </a:cubicBezTo>
                      <a:cubicBezTo>
                        <a:pt x="0" y="30"/>
                        <a:pt x="12" y="36"/>
                        <a:pt x="22" y="37"/>
                      </a:cubicBezTo>
                      <a:cubicBezTo>
                        <a:pt x="36" y="43"/>
                        <a:pt x="45" y="31"/>
                        <a:pt x="54" y="22"/>
                      </a:cubicBezTo>
                      <a:cubicBezTo>
                        <a:pt x="55" y="15"/>
                        <a:pt x="56" y="13"/>
                        <a:pt x="63" y="10"/>
                      </a:cubicBezTo>
                      <a:cubicBezTo>
                        <a:pt x="67" y="6"/>
                        <a:pt x="73" y="2"/>
                        <a:pt x="64"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3" name="Freeform 218"/>
                <p:cNvSpPr>
                  <a:spLocks/>
                </p:cNvSpPr>
                <p:nvPr/>
              </p:nvSpPr>
              <p:spPr bwMode="auto">
                <a:xfrm>
                  <a:off x="5278297" y="2835976"/>
                  <a:ext cx="172191" cy="149388"/>
                </a:xfrm>
                <a:custGeom>
                  <a:avLst/>
                  <a:gdLst>
                    <a:gd name="T0" fmla="*/ 168 w 168"/>
                    <a:gd name="T1" fmla="*/ 0 h 150"/>
                    <a:gd name="T2" fmla="*/ 152 w 168"/>
                    <a:gd name="T3" fmla="*/ 9 h 150"/>
                    <a:gd name="T4" fmla="*/ 140 w 168"/>
                    <a:gd name="T5" fmla="*/ 5 h 150"/>
                    <a:gd name="T6" fmla="*/ 128 w 168"/>
                    <a:gd name="T7" fmla="*/ 14 h 150"/>
                    <a:gd name="T8" fmla="*/ 119 w 168"/>
                    <a:gd name="T9" fmla="*/ 8 h 150"/>
                    <a:gd name="T10" fmla="*/ 96 w 168"/>
                    <a:gd name="T11" fmla="*/ 21 h 150"/>
                    <a:gd name="T12" fmla="*/ 72 w 168"/>
                    <a:gd name="T13" fmla="*/ 24 h 150"/>
                    <a:gd name="T14" fmla="*/ 62 w 168"/>
                    <a:gd name="T15" fmla="*/ 12 h 150"/>
                    <a:gd name="T16" fmla="*/ 47 w 168"/>
                    <a:gd name="T17" fmla="*/ 20 h 150"/>
                    <a:gd name="T18" fmla="*/ 33 w 168"/>
                    <a:gd name="T19" fmla="*/ 23 h 150"/>
                    <a:gd name="T20" fmla="*/ 18 w 168"/>
                    <a:gd name="T21" fmla="*/ 14 h 150"/>
                    <a:gd name="T22" fmla="*/ 14 w 168"/>
                    <a:gd name="T23" fmla="*/ 38 h 150"/>
                    <a:gd name="T24" fmla="*/ 0 w 168"/>
                    <a:gd name="T25" fmla="*/ 44 h 150"/>
                    <a:gd name="T26" fmla="*/ 3 w 168"/>
                    <a:gd name="T27" fmla="*/ 63 h 150"/>
                    <a:gd name="T28" fmla="*/ 6 w 168"/>
                    <a:gd name="T29" fmla="*/ 86 h 150"/>
                    <a:gd name="T30" fmla="*/ 17 w 168"/>
                    <a:gd name="T31" fmla="*/ 80 h 150"/>
                    <a:gd name="T32" fmla="*/ 27 w 168"/>
                    <a:gd name="T33" fmla="*/ 96 h 150"/>
                    <a:gd name="T34" fmla="*/ 5 w 168"/>
                    <a:gd name="T35" fmla="*/ 126 h 150"/>
                    <a:gd name="T36" fmla="*/ 6 w 168"/>
                    <a:gd name="T37" fmla="*/ 138 h 150"/>
                    <a:gd name="T38" fmla="*/ 32 w 168"/>
                    <a:gd name="T39" fmla="*/ 150 h 150"/>
                    <a:gd name="T40" fmla="*/ 81 w 168"/>
                    <a:gd name="T41" fmla="*/ 122 h 150"/>
                    <a:gd name="T42" fmla="*/ 134 w 168"/>
                    <a:gd name="T43" fmla="*/ 89 h 150"/>
                    <a:gd name="T44" fmla="*/ 137 w 168"/>
                    <a:gd name="T45" fmla="*/ 74 h 150"/>
                    <a:gd name="T46" fmla="*/ 134 w 168"/>
                    <a:gd name="T47" fmla="*/ 62 h 150"/>
                    <a:gd name="T48" fmla="*/ 135 w 168"/>
                    <a:gd name="T49" fmla="*/ 45 h 150"/>
                    <a:gd name="T50" fmla="*/ 131 w 168"/>
                    <a:gd name="T51" fmla="*/ 32 h 150"/>
                    <a:gd name="T52" fmla="*/ 138 w 168"/>
                    <a:gd name="T53" fmla="*/ 23 h 150"/>
                    <a:gd name="T54" fmla="*/ 150 w 168"/>
                    <a:gd name="T55" fmla="*/ 27 h 150"/>
                    <a:gd name="T56" fmla="*/ 168 w 168"/>
                    <a:gd name="T5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0">
                      <a:moveTo>
                        <a:pt x="168" y="0"/>
                      </a:moveTo>
                      <a:lnTo>
                        <a:pt x="152" y="9"/>
                      </a:lnTo>
                      <a:lnTo>
                        <a:pt x="140" y="5"/>
                      </a:lnTo>
                      <a:lnTo>
                        <a:pt x="128" y="14"/>
                      </a:lnTo>
                      <a:lnTo>
                        <a:pt x="119" y="8"/>
                      </a:lnTo>
                      <a:lnTo>
                        <a:pt x="96" y="21"/>
                      </a:lnTo>
                      <a:lnTo>
                        <a:pt x="72" y="24"/>
                      </a:lnTo>
                      <a:lnTo>
                        <a:pt x="62" y="12"/>
                      </a:lnTo>
                      <a:lnTo>
                        <a:pt x="47" y="20"/>
                      </a:lnTo>
                      <a:lnTo>
                        <a:pt x="33" y="23"/>
                      </a:lnTo>
                      <a:lnTo>
                        <a:pt x="18" y="14"/>
                      </a:lnTo>
                      <a:lnTo>
                        <a:pt x="14" y="38"/>
                      </a:lnTo>
                      <a:lnTo>
                        <a:pt x="0" y="44"/>
                      </a:lnTo>
                      <a:lnTo>
                        <a:pt x="3" y="63"/>
                      </a:lnTo>
                      <a:lnTo>
                        <a:pt x="6" y="86"/>
                      </a:lnTo>
                      <a:lnTo>
                        <a:pt x="17" y="80"/>
                      </a:lnTo>
                      <a:lnTo>
                        <a:pt x="27" y="96"/>
                      </a:lnTo>
                      <a:lnTo>
                        <a:pt x="5" y="126"/>
                      </a:lnTo>
                      <a:lnTo>
                        <a:pt x="6" y="138"/>
                      </a:lnTo>
                      <a:lnTo>
                        <a:pt x="32" y="150"/>
                      </a:lnTo>
                      <a:lnTo>
                        <a:pt x="81" y="122"/>
                      </a:lnTo>
                      <a:lnTo>
                        <a:pt x="134" y="89"/>
                      </a:lnTo>
                      <a:lnTo>
                        <a:pt x="137" y="74"/>
                      </a:lnTo>
                      <a:lnTo>
                        <a:pt x="134" y="62"/>
                      </a:lnTo>
                      <a:lnTo>
                        <a:pt x="135" y="45"/>
                      </a:lnTo>
                      <a:lnTo>
                        <a:pt x="131" y="32"/>
                      </a:lnTo>
                      <a:lnTo>
                        <a:pt x="138" y="23"/>
                      </a:lnTo>
                      <a:lnTo>
                        <a:pt x="150" y="27"/>
                      </a:lnTo>
                      <a:lnTo>
                        <a:pt x="168"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4" name="Freeform 219"/>
                <p:cNvSpPr>
                  <a:spLocks/>
                </p:cNvSpPr>
                <p:nvPr/>
              </p:nvSpPr>
              <p:spPr bwMode="auto">
                <a:xfrm>
                  <a:off x="5264336" y="2915950"/>
                  <a:ext cx="41885" cy="51305"/>
                </a:xfrm>
                <a:custGeom>
                  <a:avLst/>
                  <a:gdLst>
                    <a:gd name="T0" fmla="*/ 16 w 40"/>
                    <a:gd name="T1" fmla="*/ 6 h 51"/>
                    <a:gd name="T2" fmla="*/ 31 w 40"/>
                    <a:gd name="T3" fmla="*/ 0 h 51"/>
                    <a:gd name="T4" fmla="*/ 40 w 40"/>
                    <a:gd name="T5" fmla="*/ 16 h 51"/>
                    <a:gd name="T6" fmla="*/ 18 w 40"/>
                    <a:gd name="T7" fmla="*/ 46 h 51"/>
                    <a:gd name="T8" fmla="*/ 0 w 40"/>
                    <a:gd name="T9" fmla="*/ 51 h 51"/>
                    <a:gd name="T10" fmla="*/ 3 w 40"/>
                    <a:gd name="T11" fmla="*/ 27 h 51"/>
                    <a:gd name="T12" fmla="*/ 16 w 40"/>
                    <a:gd name="T13" fmla="*/ 6 h 51"/>
                  </a:gdLst>
                  <a:ahLst/>
                  <a:cxnLst>
                    <a:cxn ang="0">
                      <a:pos x="T0" y="T1"/>
                    </a:cxn>
                    <a:cxn ang="0">
                      <a:pos x="T2" y="T3"/>
                    </a:cxn>
                    <a:cxn ang="0">
                      <a:pos x="T4" y="T5"/>
                    </a:cxn>
                    <a:cxn ang="0">
                      <a:pos x="T6" y="T7"/>
                    </a:cxn>
                    <a:cxn ang="0">
                      <a:pos x="T8" y="T9"/>
                    </a:cxn>
                    <a:cxn ang="0">
                      <a:pos x="T10" y="T11"/>
                    </a:cxn>
                    <a:cxn ang="0">
                      <a:pos x="T12" y="T13"/>
                    </a:cxn>
                  </a:cxnLst>
                  <a:rect l="0" t="0" r="r" b="b"/>
                  <a:pathLst>
                    <a:path w="40" h="51">
                      <a:moveTo>
                        <a:pt x="16" y="6"/>
                      </a:moveTo>
                      <a:lnTo>
                        <a:pt x="31" y="0"/>
                      </a:lnTo>
                      <a:lnTo>
                        <a:pt x="40" y="16"/>
                      </a:lnTo>
                      <a:lnTo>
                        <a:pt x="18" y="46"/>
                      </a:lnTo>
                      <a:lnTo>
                        <a:pt x="0" y="51"/>
                      </a:lnTo>
                      <a:lnTo>
                        <a:pt x="3" y="27"/>
                      </a:lnTo>
                      <a:lnTo>
                        <a:pt x="16" y="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5" name="Freeform 220"/>
                <p:cNvSpPr>
                  <a:spLocks/>
                </p:cNvSpPr>
                <p:nvPr/>
              </p:nvSpPr>
              <p:spPr bwMode="auto">
                <a:xfrm>
                  <a:off x="5267438" y="2958202"/>
                  <a:ext cx="108589" cy="123736"/>
                </a:xfrm>
                <a:custGeom>
                  <a:avLst/>
                  <a:gdLst>
                    <a:gd name="T0" fmla="*/ 13 w 105"/>
                    <a:gd name="T1" fmla="*/ 15 h 124"/>
                    <a:gd name="T2" fmla="*/ 39 w 105"/>
                    <a:gd name="T3" fmla="*/ 28 h 124"/>
                    <a:gd name="T4" fmla="*/ 90 w 105"/>
                    <a:gd name="T5" fmla="*/ 0 h 124"/>
                    <a:gd name="T6" fmla="*/ 105 w 105"/>
                    <a:gd name="T7" fmla="*/ 39 h 124"/>
                    <a:gd name="T8" fmla="*/ 69 w 105"/>
                    <a:gd name="T9" fmla="*/ 51 h 124"/>
                    <a:gd name="T10" fmla="*/ 55 w 105"/>
                    <a:gd name="T11" fmla="*/ 49 h 124"/>
                    <a:gd name="T12" fmla="*/ 57 w 105"/>
                    <a:gd name="T13" fmla="*/ 64 h 124"/>
                    <a:gd name="T14" fmla="*/ 79 w 105"/>
                    <a:gd name="T15" fmla="*/ 82 h 124"/>
                    <a:gd name="T16" fmla="*/ 66 w 105"/>
                    <a:gd name="T17" fmla="*/ 97 h 124"/>
                    <a:gd name="T18" fmla="*/ 48 w 105"/>
                    <a:gd name="T19" fmla="*/ 103 h 124"/>
                    <a:gd name="T20" fmla="*/ 33 w 105"/>
                    <a:gd name="T21" fmla="*/ 124 h 124"/>
                    <a:gd name="T22" fmla="*/ 0 w 105"/>
                    <a:gd name="T23" fmla="*/ 117 h 124"/>
                    <a:gd name="T24" fmla="*/ 10 w 105"/>
                    <a:gd name="T25" fmla="*/ 96 h 124"/>
                    <a:gd name="T26" fmla="*/ 10 w 105"/>
                    <a:gd name="T27" fmla="*/ 75 h 124"/>
                    <a:gd name="T28" fmla="*/ 15 w 105"/>
                    <a:gd name="T29" fmla="*/ 63 h 124"/>
                    <a:gd name="T30" fmla="*/ 13 w 105"/>
                    <a:gd name="T31" fmla="*/ 1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24">
                      <a:moveTo>
                        <a:pt x="13" y="15"/>
                      </a:moveTo>
                      <a:lnTo>
                        <a:pt x="39" y="28"/>
                      </a:lnTo>
                      <a:lnTo>
                        <a:pt x="90" y="0"/>
                      </a:lnTo>
                      <a:lnTo>
                        <a:pt x="105" y="39"/>
                      </a:lnTo>
                      <a:lnTo>
                        <a:pt x="69" y="51"/>
                      </a:lnTo>
                      <a:lnTo>
                        <a:pt x="55" y="49"/>
                      </a:lnTo>
                      <a:lnTo>
                        <a:pt x="57" y="64"/>
                      </a:lnTo>
                      <a:lnTo>
                        <a:pt x="79" y="82"/>
                      </a:lnTo>
                      <a:lnTo>
                        <a:pt x="66" y="97"/>
                      </a:lnTo>
                      <a:lnTo>
                        <a:pt x="48" y="103"/>
                      </a:lnTo>
                      <a:lnTo>
                        <a:pt x="33" y="124"/>
                      </a:lnTo>
                      <a:lnTo>
                        <a:pt x="0" y="117"/>
                      </a:lnTo>
                      <a:lnTo>
                        <a:pt x="10" y="96"/>
                      </a:lnTo>
                      <a:lnTo>
                        <a:pt x="10" y="75"/>
                      </a:lnTo>
                      <a:lnTo>
                        <a:pt x="15" y="63"/>
                      </a:lnTo>
                      <a:lnTo>
                        <a:pt x="13" y="1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6" name="Freeform 221"/>
                <p:cNvSpPr>
                  <a:spLocks/>
                </p:cNvSpPr>
                <p:nvPr/>
              </p:nvSpPr>
              <p:spPr bwMode="auto">
                <a:xfrm>
                  <a:off x="5265886" y="2985363"/>
                  <a:ext cx="15513" cy="39234"/>
                </a:xfrm>
                <a:custGeom>
                  <a:avLst/>
                  <a:gdLst>
                    <a:gd name="T0" fmla="*/ 15 w 15"/>
                    <a:gd name="T1" fmla="*/ 0 h 38"/>
                    <a:gd name="T2" fmla="*/ 0 w 15"/>
                    <a:gd name="T3" fmla="*/ 6 h 38"/>
                    <a:gd name="T4" fmla="*/ 0 w 15"/>
                    <a:gd name="T5" fmla="*/ 36 h 38"/>
                    <a:gd name="T6" fmla="*/ 15 w 15"/>
                    <a:gd name="T7" fmla="*/ 38 h 38"/>
                    <a:gd name="T8" fmla="*/ 15 w 15"/>
                    <a:gd name="T9" fmla="*/ 18 h 38"/>
                    <a:gd name="T10" fmla="*/ 15 w 15"/>
                    <a:gd name="T11" fmla="*/ 0 h 38"/>
                  </a:gdLst>
                  <a:ahLst/>
                  <a:cxnLst>
                    <a:cxn ang="0">
                      <a:pos x="T0" y="T1"/>
                    </a:cxn>
                    <a:cxn ang="0">
                      <a:pos x="T2" y="T3"/>
                    </a:cxn>
                    <a:cxn ang="0">
                      <a:pos x="T4" y="T5"/>
                    </a:cxn>
                    <a:cxn ang="0">
                      <a:pos x="T6" y="T7"/>
                    </a:cxn>
                    <a:cxn ang="0">
                      <a:pos x="T8" y="T9"/>
                    </a:cxn>
                    <a:cxn ang="0">
                      <a:pos x="T10" y="T11"/>
                    </a:cxn>
                  </a:cxnLst>
                  <a:rect l="0" t="0" r="r" b="b"/>
                  <a:pathLst>
                    <a:path w="15" h="38">
                      <a:moveTo>
                        <a:pt x="15" y="0"/>
                      </a:moveTo>
                      <a:lnTo>
                        <a:pt x="0" y="6"/>
                      </a:lnTo>
                      <a:lnTo>
                        <a:pt x="0" y="36"/>
                      </a:lnTo>
                      <a:lnTo>
                        <a:pt x="15" y="38"/>
                      </a:lnTo>
                      <a:lnTo>
                        <a:pt x="15" y="18"/>
                      </a:lnTo>
                      <a:lnTo>
                        <a:pt x="15"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7" name="Freeform 222"/>
                <p:cNvSpPr>
                  <a:spLocks/>
                </p:cNvSpPr>
                <p:nvPr/>
              </p:nvSpPr>
              <p:spPr bwMode="auto">
                <a:xfrm>
                  <a:off x="5360514" y="2834466"/>
                  <a:ext cx="262164" cy="247471"/>
                </a:xfrm>
                <a:custGeom>
                  <a:avLst/>
                  <a:gdLst>
                    <a:gd name="T0" fmla="*/ 15 w 256"/>
                    <a:gd name="T1" fmla="*/ 159 h 247"/>
                    <a:gd name="T2" fmla="*/ 0 w 256"/>
                    <a:gd name="T3" fmla="*/ 121 h 247"/>
                    <a:gd name="T4" fmla="*/ 54 w 256"/>
                    <a:gd name="T5" fmla="*/ 91 h 247"/>
                    <a:gd name="T6" fmla="*/ 58 w 256"/>
                    <a:gd name="T7" fmla="*/ 76 h 247"/>
                    <a:gd name="T8" fmla="*/ 54 w 256"/>
                    <a:gd name="T9" fmla="*/ 63 h 247"/>
                    <a:gd name="T10" fmla="*/ 55 w 256"/>
                    <a:gd name="T11" fmla="*/ 45 h 247"/>
                    <a:gd name="T12" fmla="*/ 51 w 256"/>
                    <a:gd name="T13" fmla="*/ 31 h 247"/>
                    <a:gd name="T14" fmla="*/ 58 w 256"/>
                    <a:gd name="T15" fmla="*/ 22 h 247"/>
                    <a:gd name="T16" fmla="*/ 72 w 256"/>
                    <a:gd name="T17" fmla="*/ 27 h 247"/>
                    <a:gd name="T18" fmla="*/ 88 w 256"/>
                    <a:gd name="T19" fmla="*/ 0 h 247"/>
                    <a:gd name="T20" fmla="*/ 105 w 256"/>
                    <a:gd name="T21" fmla="*/ 9 h 247"/>
                    <a:gd name="T22" fmla="*/ 135 w 256"/>
                    <a:gd name="T23" fmla="*/ 9 h 247"/>
                    <a:gd name="T24" fmla="*/ 157 w 256"/>
                    <a:gd name="T25" fmla="*/ 45 h 247"/>
                    <a:gd name="T26" fmla="*/ 183 w 256"/>
                    <a:gd name="T27" fmla="*/ 49 h 247"/>
                    <a:gd name="T28" fmla="*/ 171 w 256"/>
                    <a:gd name="T29" fmla="*/ 60 h 247"/>
                    <a:gd name="T30" fmla="*/ 178 w 256"/>
                    <a:gd name="T31" fmla="*/ 70 h 247"/>
                    <a:gd name="T32" fmla="*/ 160 w 256"/>
                    <a:gd name="T33" fmla="*/ 85 h 247"/>
                    <a:gd name="T34" fmla="*/ 165 w 256"/>
                    <a:gd name="T35" fmla="*/ 108 h 247"/>
                    <a:gd name="T36" fmla="*/ 184 w 256"/>
                    <a:gd name="T37" fmla="*/ 124 h 247"/>
                    <a:gd name="T38" fmla="*/ 183 w 256"/>
                    <a:gd name="T39" fmla="*/ 135 h 247"/>
                    <a:gd name="T40" fmla="*/ 214 w 256"/>
                    <a:gd name="T41" fmla="*/ 150 h 247"/>
                    <a:gd name="T42" fmla="*/ 231 w 256"/>
                    <a:gd name="T43" fmla="*/ 168 h 247"/>
                    <a:gd name="T44" fmla="*/ 228 w 256"/>
                    <a:gd name="T45" fmla="*/ 192 h 247"/>
                    <a:gd name="T46" fmla="*/ 243 w 256"/>
                    <a:gd name="T47" fmla="*/ 195 h 247"/>
                    <a:gd name="T48" fmla="*/ 240 w 256"/>
                    <a:gd name="T49" fmla="*/ 210 h 247"/>
                    <a:gd name="T50" fmla="*/ 256 w 256"/>
                    <a:gd name="T51" fmla="*/ 220 h 247"/>
                    <a:gd name="T52" fmla="*/ 246 w 256"/>
                    <a:gd name="T53" fmla="*/ 225 h 247"/>
                    <a:gd name="T54" fmla="*/ 225 w 256"/>
                    <a:gd name="T55" fmla="*/ 219 h 247"/>
                    <a:gd name="T56" fmla="*/ 211 w 256"/>
                    <a:gd name="T57" fmla="*/ 226 h 247"/>
                    <a:gd name="T58" fmla="*/ 208 w 256"/>
                    <a:gd name="T59" fmla="*/ 247 h 247"/>
                    <a:gd name="T60" fmla="*/ 159 w 256"/>
                    <a:gd name="T61" fmla="*/ 246 h 247"/>
                    <a:gd name="T62" fmla="*/ 124 w 256"/>
                    <a:gd name="T63" fmla="*/ 216 h 247"/>
                    <a:gd name="T64" fmla="*/ 87 w 256"/>
                    <a:gd name="T65" fmla="*/ 186 h 247"/>
                    <a:gd name="T66" fmla="*/ 66 w 256"/>
                    <a:gd name="T67" fmla="*/ 178 h 247"/>
                    <a:gd name="T68" fmla="*/ 46 w 256"/>
                    <a:gd name="T69" fmla="*/ 163 h 247"/>
                    <a:gd name="T70" fmla="*/ 15 w 256"/>
                    <a:gd name="T71" fmla="*/ 15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47">
                      <a:moveTo>
                        <a:pt x="15" y="159"/>
                      </a:moveTo>
                      <a:lnTo>
                        <a:pt x="0" y="121"/>
                      </a:lnTo>
                      <a:lnTo>
                        <a:pt x="54" y="91"/>
                      </a:lnTo>
                      <a:lnTo>
                        <a:pt x="58" y="76"/>
                      </a:lnTo>
                      <a:lnTo>
                        <a:pt x="54" y="63"/>
                      </a:lnTo>
                      <a:lnTo>
                        <a:pt x="55" y="45"/>
                      </a:lnTo>
                      <a:lnTo>
                        <a:pt x="51" y="31"/>
                      </a:lnTo>
                      <a:lnTo>
                        <a:pt x="58" y="22"/>
                      </a:lnTo>
                      <a:lnTo>
                        <a:pt x="72" y="27"/>
                      </a:lnTo>
                      <a:lnTo>
                        <a:pt x="88" y="0"/>
                      </a:lnTo>
                      <a:lnTo>
                        <a:pt x="105" y="9"/>
                      </a:lnTo>
                      <a:lnTo>
                        <a:pt x="135" y="9"/>
                      </a:lnTo>
                      <a:lnTo>
                        <a:pt x="157" y="45"/>
                      </a:lnTo>
                      <a:lnTo>
                        <a:pt x="183" y="49"/>
                      </a:lnTo>
                      <a:lnTo>
                        <a:pt x="171" y="60"/>
                      </a:lnTo>
                      <a:lnTo>
                        <a:pt x="178" y="70"/>
                      </a:lnTo>
                      <a:lnTo>
                        <a:pt x="160" y="85"/>
                      </a:lnTo>
                      <a:lnTo>
                        <a:pt x="165" y="108"/>
                      </a:lnTo>
                      <a:lnTo>
                        <a:pt x="184" y="124"/>
                      </a:lnTo>
                      <a:lnTo>
                        <a:pt x="183" y="135"/>
                      </a:lnTo>
                      <a:lnTo>
                        <a:pt x="214" y="150"/>
                      </a:lnTo>
                      <a:lnTo>
                        <a:pt x="231" y="168"/>
                      </a:lnTo>
                      <a:lnTo>
                        <a:pt x="228" y="192"/>
                      </a:lnTo>
                      <a:lnTo>
                        <a:pt x="243" y="195"/>
                      </a:lnTo>
                      <a:lnTo>
                        <a:pt x="240" y="210"/>
                      </a:lnTo>
                      <a:lnTo>
                        <a:pt x="256" y="220"/>
                      </a:lnTo>
                      <a:lnTo>
                        <a:pt x="246" y="225"/>
                      </a:lnTo>
                      <a:lnTo>
                        <a:pt x="225" y="219"/>
                      </a:lnTo>
                      <a:lnTo>
                        <a:pt x="211" y="226"/>
                      </a:lnTo>
                      <a:lnTo>
                        <a:pt x="208" y="247"/>
                      </a:lnTo>
                      <a:lnTo>
                        <a:pt x="159" y="246"/>
                      </a:lnTo>
                      <a:lnTo>
                        <a:pt x="124" y="216"/>
                      </a:lnTo>
                      <a:lnTo>
                        <a:pt x="87" y="186"/>
                      </a:lnTo>
                      <a:lnTo>
                        <a:pt x="66" y="178"/>
                      </a:lnTo>
                      <a:lnTo>
                        <a:pt x="46" y="163"/>
                      </a:lnTo>
                      <a:lnTo>
                        <a:pt x="15" y="15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8" name="Freeform 223"/>
                <p:cNvSpPr>
                  <a:spLocks/>
                </p:cNvSpPr>
                <p:nvPr/>
              </p:nvSpPr>
              <p:spPr bwMode="auto">
                <a:xfrm>
                  <a:off x="5455141" y="2719785"/>
                  <a:ext cx="83768" cy="73940"/>
                </a:xfrm>
                <a:custGeom>
                  <a:avLst/>
                  <a:gdLst>
                    <a:gd name="T0" fmla="*/ 0 w 81"/>
                    <a:gd name="T1" fmla="*/ 11 h 75"/>
                    <a:gd name="T2" fmla="*/ 19 w 81"/>
                    <a:gd name="T3" fmla="*/ 9 h 75"/>
                    <a:gd name="T4" fmla="*/ 36 w 81"/>
                    <a:gd name="T5" fmla="*/ 0 h 75"/>
                    <a:gd name="T6" fmla="*/ 45 w 81"/>
                    <a:gd name="T7" fmla="*/ 12 h 75"/>
                    <a:gd name="T8" fmla="*/ 43 w 81"/>
                    <a:gd name="T9" fmla="*/ 27 h 75"/>
                    <a:gd name="T10" fmla="*/ 60 w 81"/>
                    <a:gd name="T11" fmla="*/ 35 h 75"/>
                    <a:gd name="T12" fmla="*/ 52 w 81"/>
                    <a:gd name="T13" fmla="*/ 44 h 75"/>
                    <a:gd name="T14" fmla="*/ 67 w 81"/>
                    <a:gd name="T15" fmla="*/ 50 h 75"/>
                    <a:gd name="T16" fmla="*/ 81 w 81"/>
                    <a:gd name="T17" fmla="*/ 72 h 75"/>
                    <a:gd name="T18" fmla="*/ 66 w 81"/>
                    <a:gd name="T19" fmla="*/ 75 h 75"/>
                    <a:gd name="T20" fmla="*/ 58 w 81"/>
                    <a:gd name="T21" fmla="*/ 56 h 75"/>
                    <a:gd name="T22" fmla="*/ 43 w 81"/>
                    <a:gd name="T23" fmla="*/ 53 h 75"/>
                    <a:gd name="T24" fmla="*/ 28 w 81"/>
                    <a:gd name="T25" fmla="*/ 45 h 75"/>
                    <a:gd name="T26" fmla="*/ 19 w 81"/>
                    <a:gd name="T27" fmla="*/ 53 h 75"/>
                    <a:gd name="T28" fmla="*/ 6 w 81"/>
                    <a:gd name="T29" fmla="*/ 38 h 75"/>
                    <a:gd name="T30" fmla="*/ 0 w 81"/>
                    <a:gd name="T31"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5">
                      <a:moveTo>
                        <a:pt x="0" y="11"/>
                      </a:moveTo>
                      <a:lnTo>
                        <a:pt x="19" y="9"/>
                      </a:lnTo>
                      <a:lnTo>
                        <a:pt x="36" y="0"/>
                      </a:lnTo>
                      <a:lnTo>
                        <a:pt x="45" y="12"/>
                      </a:lnTo>
                      <a:lnTo>
                        <a:pt x="43" y="27"/>
                      </a:lnTo>
                      <a:lnTo>
                        <a:pt x="60" y="35"/>
                      </a:lnTo>
                      <a:lnTo>
                        <a:pt x="52" y="44"/>
                      </a:lnTo>
                      <a:lnTo>
                        <a:pt x="67" y="50"/>
                      </a:lnTo>
                      <a:lnTo>
                        <a:pt x="81" y="72"/>
                      </a:lnTo>
                      <a:lnTo>
                        <a:pt x="66" y="75"/>
                      </a:lnTo>
                      <a:lnTo>
                        <a:pt x="58" y="56"/>
                      </a:lnTo>
                      <a:lnTo>
                        <a:pt x="43" y="53"/>
                      </a:lnTo>
                      <a:lnTo>
                        <a:pt x="28" y="45"/>
                      </a:lnTo>
                      <a:lnTo>
                        <a:pt x="19" y="53"/>
                      </a:lnTo>
                      <a:lnTo>
                        <a:pt x="6" y="38"/>
                      </a:lnTo>
                      <a:lnTo>
                        <a:pt x="0" y="1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19" name="Freeform 224"/>
                <p:cNvSpPr>
                  <a:spLocks/>
                </p:cNvSpPr>
                <p:nvPr/>
              </p:nvSpPr>
              <p:spPr bwMode="auto">
                <a:xfrm>
                  <a:off x="5492371" y="2701677"/>
                  <a:ext cx="136511" cy="111664"/>
                </a:xfrm>
                <a:custGeom>
                  <a:avLst/>
                  <a:gdLst>
                    <a:gd name="T0" fmla="*/ 75 w 132"/>
                    <a:gd name="T1" fmla="*/ 5 h 113"/>
                    <a:gd name="T2" fmla="*/ 112 w 132"/>
                    <a:gd name="T3" fmla="*/ 44 h 113"/>
                    <a:gd name="T4" fmla="*/ 132 w 132"/>
                    <a:gd name="T5" fmla="*/ 51 h 113"/>
                    <a:gd name="T6" fmla="*/ 109 w 132"/>
                    <a:gd name="T7" fmla="*/ 57 h 113"/>
                    <a:gd name="T8" fmla="*/ 109 w 132"/>
                    <a:gd name="T9" fmla="*/ 83 h 113"/>
                    <a:gd name="T10" fmla="*/ 97 w 132"/>
                    <a:gd name="T11" fmla="*/ 89 h 113"/>
                    <a:gd name="T12" fmla="*/ 99 w 132"/>
                    <a:gd name="T13" fmla="*/ 113 h 113"/>
                    <a:gd name="T14" fmla="*/ 78 w 132"/>
                    <a:gd name="T15" fmla="*/ 96 h 113"/>
                    <a:gd name="T16" fmla="*/ 82 w 132"/>
                    <a:gd name="T17" fmla="*/ 72 h 113"/>
                    <a:gd name="T18" fmla="*/ 70 w 132"/>
                    <a:gd name="T19" fmla="*/ 68 h 113"/>
                    <a:gd name="T20" fmla="*/ 51 w 132"/>
                    <a:gd name="T21" fmla="*/ 83 h 113"/>
                    <a:gd name="T22" fmla="*/ 43 w 132"/>
                    <a:gd name="T23" fmla="*/ 92 h 113"/>
                    <a:gd name="T24" fmla="*/ 33 w 132"/>
                    <a:gd name="T25" fmla="*/ 68 h 113"/>
                    <a:gd name="T26" fmla="*/ 16 w 132"/>
                    <a:gd name="T27" fmla="*/ 62 h 113"/>
                    <a:gd name="T28" fmla="*/ 22 w 132"/>
                    <a:gd name="T29" fmla="*/ 51 h 113"/>
                    <a:gd name="T30" fmla="*/ 7 w 132"/>
                    <a:gd name="T31" fmla="*/ 45 h 113"/>
                    <a:gd name="T32" fmla="*/ 9 w 132"/>
                    <a:gd name="T33" fmla="*/ 29 h 113"/>
                    <a:gd name="T34" fmla="*/ 0 w 132"/>
                    <a:gd name="T35" fmla="*/ 18 h 113"/>
                    <a:gd name="T36" fmla="*/ 34 w 132"/>
                    <a:gd name="T37" fmla="*/ 23 h 113"/>
                    <a:gd name="T38" fmla="*/ 21 w 132"/>
                    <a:gd name="T39" fmla="*/ 9 h 113"/>
                    <a:gd name="T40" fmla="*/ 25 w 132"/>
                    <a:gd name="T41" fmla="*/ 0 h 113"/>
                    <a:gd name="T42" fmla="*/ 52 w 132"/>
                    <a:gd name="T43" fmla="*/ 21 h 113"/>
                    <a:gd name="T44" fmla="*/ 75 w 132"/>
                    <a:gd name="T45"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13">
                      <a:moveTo>
                        <a:pt x="75" y="5"/>
                      </a:moveTo>
                      <a:lnTo>
                        <a:pt x="112" y="44"/>
                      </a:lnTo>
                      <a:lnTo>
                        <a:pt x="132" y="51"/>
                      </a:lnTo>
                      <a:lnTo>
                        <a:pt x="109" y="57"/>
                      </a:lnTo>
                      <a:lnTo>
                        <a:pt x="109" y="83"/>
                      </a:lnTo>
                      <a:lnTo>
                        <a:pt x="97" y="89"/>
                      </a:lnTo>
                      <a:lnTo>
                        <a:pt x="99" y="113"/>
                      </a:lnTo>
                      <a:lnTo>
                        <a:pt x="78" y="96"/>
                      </a:lnTo>
                      <a:lnTo>
                        <a:pt x="82" y="72"/>
                      </a:lnTo>
                      <a:lnTo>
                        <a:pt x="70" y="68"/>
                      </a:lnTo>
                      <a:lnTo>
                        <a:pt x="51" y="83"/>
                      </a:lnTo>
                      <a:lnTo>
                        <a:pt x="43" y="92"/>
                      </a:lnTo>
                      <a:lnTo>
                        <a:pt x="33" y="68"/>
                      </a:lnTo>
                      <a:lnTo>
                        <a:pt x="16" y="62"/>
                      </a:lnTo>
                      <a:lnTo>
                        <a:pt x="22" y="51"/>
                      </a:lnTo>
                      <a:lnTo>
                        <a:pt x="7" y="45"/>
                      </a:lnTo>
                      <a:lnTo>
                        <a:pt x="9" y="29"/>
                      </a:lnTo>
                      <a:lnTo>
                        <a:pt x="0" y="18"/>
                      </a:lnTo>
                      <a:lnTo>
                        <a:pt x="34" y="23"/>
                      </a:lnTo>
                      <a:lnTo>
                        <a:pt x="21" y="9"/>
                      </a:lnTo>
                      <a:lnTo>
                        <a:pt x="25" y="0"/>
                      </a:lnTo>
                      <a:lnTo>
                        <a:pt x="52" y="21"/>
                      </a:lnTo>
                      <a:lnTo>
                        <a:pt x="75" y="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0" name="Freeform 225"/>
                <p:cNvSpPr>
                  <a:spLocks/>
                </p:cNvSpPr>
                <p:nvPr/>
              </p:nvSpPr>
              <p:spPr bwMode="auto">
                <a:xfrm>
                  <a:off x="5486166" y="2763544"/>
                  <a:ext cx="37230" cy="30179"/>
                </a:xfrm>
                <a:custGeom>
                  <a:avLst/>
                  <a:gdLst>
                    <a:gd name="T0" fmla="*/ 0 w 36"/>
                    <a:gd name="T1" fmla="*/ 0 h 30"/>
                    <a:gd name="T2" fmla="*/ 12 w 36"/>
                    <a:gd name="T3" fmla="*/ 6 h 30"/>
                    <a:gd name="T4" fmla="*/ 27 w 36"/>
                    <a:gd name="T5" fmla="*/ 10 h 30"/>
                    <a:gd name="T6" fmla="*/ 36 w 36"/>
                    <a:gd name="T7" fmla="*/ 30 h 30"/>
                    <a:gd name="T8" fmla="*/ 22 w 36"/>
                    <a:gd name="T9" fmla="*/ 27 h 30"/>
                    <a:gd name="T10" fmla="*/ 7 w 36"/>
                    <a:gd name="T11" fmla="*/ 18 h 30"/>
                    <a:gd name="T12" fmla="*/ 0 w 36"/>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0" y="0"/>
                      </a:moveTo>
                      <a:lnTo>
                        <a:pt x="12" y="6"/>
                      </a:lnTo>
                      <a:lnTo>
                        <a:pt x="27" y="10"/>
                      </a:lnTo>
                      <a:lnTo>
                        <a:pt x="36" y="30"/>
                      </a:lnTo>
                      <a:lnTo>
                        <a:pt x="22" y="27"/>
                      </a:lnTo>
                      <a:lnTo>
                        <a:pt x="7" y="18"/>
                      </a:lnTo>
                      <a:lnTo>
                        <a:pt x="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1" name="Freeform 226"/>
                <p:cNvSpPr>
                  <a:spLocks/>
                </p:cNvSpPr>
                <p:nvPr/>
              </p:nvSpPr>
              <p:spPr bwMode="auto">
                <a:xfrm>
                  <a:off x="5484615" y="2313872"/>
                  <a:ext cx="946273" cy="431565"/>
                </a:xfrm>
                <a:custGeom>
                  <a:avLst/>
                  <a:gdLst>
                    <a:gd name="T0" fmla="*/ 45 w 921"/>
                    <a:gd name="T1" fmla="*/ 215 h 432"/>
                    <a:gd name="T2" fmla="*/ 5 w 921"/>
                    <a:gd name="T3" fmla="*/ 203 h 432"/>
                    <a:gd name="T4" fmla="*/ 15 w 921"/>
                    <a:gd name="T5" fmla="*/ 144 h 432"/>
                    <a:gd name="T6" fmla="*/ 50 w 921"/>
                    <a:gd name="T7" fmla="*/ 161 h 432"/>
                    <a:gd name="T8" fmla="*/ 75 w 921"/>
                    <a:gd name="T9" fmla="*/ 105 h 432"/>
                    <a:gd name="T10" fmla="*/ 191 w 921"/>
                    <a:gd name="T11" fmla="*/ 138 h 432"/>
                    <a:gd name="T12" fmla="*/ 252 w 921"/>
                    <a:gd name="T13" fmla="*/ 122 h 432"/>
                    <a:gd name="T14" fmla="*/ 312 w 921"/>
                    <a:gd name="T15" fmla="*/ 138 h 432"/>
                    <a:gd name="T16" fmla="*/ 284 w 921"/>
                    <a:gd name="T17" fmla="*/ 102 h 432"/>
                    <a:gd name="T18" fmla="*/ 324 w 921"/>
                    <a:gd name="T19" fmla="*/ 72 h 432"/>
                    <a:gd name="T20" fmla="*/ 287 w 921"/>
                    <a:gd name="T21" fmla="*/ 42 h 432"/>
                    <a:gd name="T22" fmla="*/ 420 w 921"/>
                    <a:gd name="T23" fmla="*/ 23 h 432"/>
                    <a:gd name="T24" fmla="*/ 473 w 921"/>
                    <a:gd name="T25" fmla="*/ 5 h 432"/>
                    <a:gd name="T26" fmla="*/ 503 w 921"/>
                    <a:gd name="T27" fmla="*/ 36 h 432"/>
                    <a:gd name="T28" fmla="*/ 564 w 921"/>
                    <a:gd name="T29" fmla="*/ 56 h 432"/>
                    <a:gd name="T30" fmla="*/ 621 w 921"/>
                    <a:gd name="T31" fmla="*/ 44 h 432"/>
                    <a:gd name="T32" fmla="*/ 695 w 921"/>
                    <a:gd name="T33" fmla="*/ 83 h 432"/>
                    <a:gd name="T34" fmla="*/ 753 w 921"/>
                    <a:gd name="T35" fmla="*/ 116 h 432"/>
                    <a:gd name="T36" fmla="*/ 782 w 921"/>
                    <a:gd name="T37" fmla="*/ 132 h 432"/>
                    <a:gd name="T38" fmla="*/ 831 w 921"/>
                    <a:gd name="T39" fmla="*/ 144 h 432"/>
                    <a:gd name="T40" fmla="*/ 896 w 921"/>
                    <a:gd name="T41" fmla="*/ 159 h 432"/>
                    <a:gd name="T42" fmla="*/ 912 w 921"/>
                    <a:gd name="T43" fmla="*/ 185 h 432"/>
                    <a:gd name="T44" fmla="*/ 915 w 921"/>
                    <a:gd name="T45" fmla="*/ 201 h 432"/>
                    <a:gd name="T46" fmla="*/ 899 w 921"/>
                    <a:gd name="T47" fmla="*/ 215 h 432"/>
                    <a:gd name="T48" fmla="*/ 897 w 921"/>
                    <a:gd name="T49" fmla="*/ 248 h 432"/>
                    <a:gd name="T50" fmla="*/ 866 w 921"/>
                    <a:gd name="T51" fmla="*/ 242 h 432"/>
                    <a:gd name="T52" fmla="*/ 851 w 921"/>
                    <a:gd name="T53" fmla="*/ 278 h 432"/>
                    <a:gd name="T54" fmla="*/ 857 w 921"/>
                    <a:gd name="T55" fmla="*/ 300 h 432"/>
                    <a:gd name="T56" fmla="*/ 804 w 921"/>
                    <a:gd name="T57" fmla="*/ 308 h 432"/>
                    <a:gd name="T58" fmla="*/ 819 w 921"/>
                    <a:gd name="T59" fmla="*/ 326 h 432"/>
                    <a:gd name="T60" fmla="*/ 830 w 921"/>
                    <a:gd name="T61" fmla="*/ 362 h 432"/>
                    <a:gd name="T62" fmla="*/ 816 w 921"/>
                    <a:gd name="T63" fmla="*/ 372 h 432"/>
                    <a:gd name="T64" fmla="*/ 749 w 921"/>
                    <a:gd name="T65" fmla="*/ 359 h 432"/>
                    <a:gd name="T66" fmla="*/ 687 w 921"/>
                    <a:gd name="T67" fmla="*/ 348 h 432"/>
                    <a:gd name="T68" fmla="*/ 671 w 921"/>
                    <a:gd name="T69" fmla="*/ 375 h 432"/>
                    <a:gd name="T70" fmla="*/ 617 w 921"/>
                    <a:gd name="T71" fmla="*/ 366 h 432"/>
                    <a:gd name="T72" fmla="*/ 579 w 921"/>
                    <a:gd name="T73" fmla="*/ 402 h 432"/>
                    <a:gd name="T74" fmla="*/ 557 w 921"/>
                    <a:gd name="T75" fmla="*/ 428 h 432"/>
                    <a:gd name="T76" fmla="*/ 519 w 921"/>
                    <a:gd name="T77" fmla="*/ 411 h 432"/>
                    <a:gd name="T78" fmla="*/ 497 w 921"/>
                    <a:gd name="T79" fmla="*/ 383 h 432"/>
                    <a:gd name="T80" fmla="*/ 459 w 921"/>
                    <a:gd name="T81" fmla="*/ 339 h 432"/>
                    <a:gd name="T82" fmla="*/ 363 w 921"/>
                    <a:gd name="T83" fmla="*/ 317 h 432"/>
                    <a:gd name="T84" fmla="*/ 240 w 921"/>
                    <a:gd name="T85" fmla="*/ 300 h 432"/>
                    <a:gd name="T86" fmla="*/ 251 w 921"/>
                    <a:gd name="T87" fmla="*/ 413 h 432"/>
                    <a:gd name="T88" fmla="*/ 216 w 921"/>
                    <a:gd name="T89" fmla="*/ 378 h 432"/>
                    <a:gd name="T90" fmla="*/ 182 w 921"/>
                    <a:gd name="T91" fmla="*/ 410 h 432"/>
                    <a:gd name="T92" fmla="*/ 179 w 921"/>
                    <a:gd name="T93" fmla="*/ 365 h 432"/>
                    <a:gd name="T94" fmla="*/ 131 w 921"/>
                    <a:gd name="T95" fmla="*/ 330 h 432"/>
                    <a:gd name="T96" fmla="*/ 107 w 921"/>
                    <a:gd name="T97" fmla="*/ 305 h 432"/>
                    <a:gd name="T98" fmla="*/ 125 w 921"/>
                    <a:gd name="T99" fmla="*/ 300 h 432"/>
                    <a:gd name="T100" fmla="*/ 188 w 921"/>
                    <a:gd name="T101" fmla="*/ 291 h 432"/>
                    <a:gd name="T102" fmla="*/ 183 w 921"/>
                    <a:gd name="T103" fmla="*/ 326 h 432"/>
                    <a:gd name="T104" fmla="*/ 200 w 921"/>
                    <a:gd name="T105" fmla="*/ 299 h 432"/>
                    <a:gd name="T106" fmla="*/ 131 w 921"/>
                    <a:gd name="T107" fmla="*/ 246 h 432"/>
                    <a:gd name="T108" fmla="*/ 95 w 921"/>
                    <a:gd name="T109" fmla="*/ 246 h 432"/>
                    <a:gd name="T110" fmla="*/ 74 w 921"/>
                    <a:gd name="T111" fmla="*/ 2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1" h="432">
                      <a:moveTo>
                        <a:pt x="74" y="263"/>
                      </a:moveTo>
                      <a:lnTo>
                        <a:pt x="45" y="215"/>
                      </a:lnTo>
                      <a:lnTo>
                        <a:pt x="30" y="222"/>
                      </a:lnTo>
                      <a:lnTo>
                        <a:pt x="5" y="203"/>
                      </a:lnTo>
                      <a:lnTo>
                        <a:pt x="0" y="161"/>
                      </a:lnTo>
                      <a:lnTo>
                        <a:pt x="15" y="144"/>
                      </a:lnTo>
                      <a:lnTo>
                        <a:pt x="30" y="159"/>
                      </a:lnTo>
                      <a:lnTo>
                        <a:pt x="50" y="161"/>
                      </a:lnTo>
                      <a:lnTo>
                        <a:pt x="33" y="137"/>
                      </a:lnTo>
                      <a:lnTo>
                        <a:pt x="75" y="105"/>
                      </a:lnTo>
                      <a:lnTo>
                        <a:pt x="107" y="107"/>
                      </a:lnTo>
                      <a:lnTo>
                        <a:pt x="191" y="138"/>
                      </a:lnTo>
                      <a:lnTo>
                        <a:pt x="203" y="132"/>
                      </a:lnTo>
                      <a:lnTo>
                        <a:pt x="252" y="122"/>
                      </a:lnTo>
                      <a:lnTo>
                        <a:pt x="278" y="135"/>
                      </a:lnTo>
                      <a:lnTo>
                        <a:pt x="312" y="138"/>
                      </a:lnTo>
                      <a:lnTo>
                        <a:pt x="323" y="117"/>
                      </a:lnTo>
                      <a:lnTo>
                        <a:pt x="284" y="102"/>
                      </a:lnTo>
                      <a:lnTo>
                        <a:pt x="293" y="71"/>
                      </a:lnTo>
                      <a:lnTo>
                        <a:pt x="324" y="72"/>
                      </a:lnTo>
                      <a:lnTo>
                        <a:pt x="297" y="62"/>
                      </a:lnTo>
                      <a:lnTo>
                        <a:pt x="287" y="42"/>
                      </a:lnTo>
                      <a:lnTo>
                        <a:pt x="353" y="35"/>
                      </a:lnTo>
                      <a:lnTo>
                        <a:pt x="420" y="23"/>
                      </a:lnTo>
                      <a:lnTo>
                        <a:pt x="440" y="0"/>
                      </a:lnTo>
                      <a:lnTo>
                        <a:pt x="473" y="5"/>
                      </a:lnTo>
                      <a:lnTo>
                        <a:pt x="498" y="15"/>
                      </a:lnTo>
                      <a:lnTo>
                        <a:pt x="503" y="36"/>
                      </a:lnTo>
                      <a:lnTo>
                        <a:pt x="549" y="38"/>
                      </a:lnTo>
                      <a:lnTo>
                        <a:pt x="564" y="56"/>
                      </a:lnTo>
                      <a:lnTo>
                        <a:pt x="633" y="17"/>
                      </a:lnTo>
                      <a:lnTo>
                        <a:pt x="621" y="44"/>
                      </a:lnTo>
                      <a:lnTo>
                        <a:pt x="663" y="62"/>
                      </a:lnTo>
                      <a:lnTo>
                        <a:pt x="695" y="83"/>
                      </a:lnTo>
                      <a:lnTo>
                        <a:pt x="740" y="137"/>
                      </a:lnTo>
                      <a:lnTo>
                        <a:pt x="753" y="116"/>
                      </a:lnTo>
                      <a:lnTo>
                        <a:pt x="764" y="114"/>
                      </a:lnTo>
                      <a:lnTo>
                        <a:pt x="782" y="132"/>
                      </a:lnTo>
                      <a:lnTo>
                        <a:pt x="816" y="125"/>
                      </a:lnTo>
                      <a:lnTo>
                        <a:pt x="831" y="144"/>
                      </a:lnTo>
                      <a:lnTo>
                        <a:pt x="879" y="167"/>
                      </a:lnTo>
                      <a:lnTo>
                        <a:pt x="896" y="159"/>
                      </a:lnTo>
                      <a:lnTo>
                        <a:pt x="918" y="176"/>
                      </a:lnTo>
                      <a:lnTo>
                        <a:pt x="912" y="185"/>
                      </a:lnTo>
                      <a:lnTo>
                        <a:pt x="921" y="192"/>
                      </a:lnTo>
                      <a:lnTo>
                        <a:pt x="915" y="201"/>
                      </a:lnTo>
                      <a:lnTo>
                        <a:pt x="896" y="198"/>
                      </a:lnTo>
                      <a:lnTo>
                        <a:pt x="899" y="215"/>
                      </a:lnTo>
                      <a:lnTo>
                        <a:pt x="909" y="233"/>
                      </a:lnTo>
                      <a:lnTo>
                        <a:pt x="897" y="248"/>
                      </a:lnTo>
                      <a:lnTo>
                        <a:pt x="887" y="237"/>
                      </a:lnTo>
                      <a:lnTo>
                        <a:pt x="866" y="242"/>
                      </a:lnTo>
                      <a:lnTo>
                        <a:pt x="848" y="234"/>
                      </a:lnTo>
                      <a:lnTo>
                        <a:pt x="851" y="278"/>
                      </a:lnTo>
                      <a:lnTo>
                        <a:pt x="860" y="290"/>
                      </a:lnTo>
                      <a:lnTo>
                        <a:pt x="857" y="300"/>
                      </a:lnTo>
                      <a:lnTo>
                        <a:pt x="839" y="288"/>
                      </a:lnTo>
                      <a:lnTo>
                        <a:pt x="804" y="308"/>
                      </a:lnTo>
                      <a:lnTo>
                        <a:pt x="819" y="306"/>
                      </a:lnTo>
                      <a:lnTo>
                        <a:pt x="819" y="326"/>
                      </a:lnTo>
                      <a:lnTo>
                        <a:pt x="839" y="348"/>
                      </a:lnTo>
                      <a:lnTo>
                        <a:pt x="830" y="362"/>
                      </a:lnTo>
                      <a:lnTo>
                        <a:pt x="837" y="386"/>
                      </a:lnTo>
                      <a:lnTo>
                        <a:pt x="816" y="372"/>
                      </a:lnTo>
                      <a:lnTo>
                        <a:pt x="797" y="360"/>
                      </a:lnTo>
                      <a:lnTo>
                        <a:pt x="749" y="359"/>
                      </a:lnTo>
                      <a:lnTo>
                        <a:pt x="705" y="363"/>
                      </a:lnTo>
                      <a:lnTo>
                        <a:pt x="687" y="348"/>
                      </a:lnTo>
                      <a:lnTo>
                        <a:pt x="668" y="356"/>
                      </a:lnTo>
                      <a:lnTo>
                        <a:pt x="671" y="375"/>
                      </a:lnTo>
                      <a:lnTo>
                        <a:pt x="635" y="366"/>
                      </a:lnTo>
                      <a:lnTo>
                        <a:pt x="617" y="366"/>
                      </a:lnTo>
                      <a:lnTo>
                        <a:pt x="606" y="383"/>
                      </a:lnTo>
                      <a:lnTo>
                        <a:pt x="579" y="402"/>
                      </a:lnTo>
                      <a:lnTo>
                        <a:pt x="569" y="432"/>
                      </a:lnTo>
                      <a:lnTo>
                        <a:pt x="557" y="428"/>
                      </a:lnTo>
                      <a:lnTo>
                        <a:pt x="557" y="410"/>
                      </a:lnTo>
                      <a:lnTo>
                        <a:pt x="519" y="411"/>
                      </a:lnTo>
                      <a:lnTo>
                        <a:pt x="510" y="380"/>
                      </a:lnTo>
                      <a:lnTo>
                        <a:pt x="497" y="383"/>
                      </a:lnTo>
                      <a:lnTo>
                        <a:pt x="494" y="360"/>
                      </a:lnTo>
                      <a:lnTo>
                        <a:pt x="459" y="339"/>
                      </a:lnTo>
                      <a:lnTo>
                        <a:pt x="395" y="344"/>
                      </a:lnTo>
                      <a:lnTo>
                        <a:pt x="363" y="317"/>
                      </a:lnTo>
                      <a:lnTo>
                        <a:pt x="300" y="285"/>
                      </a:lnTo>
                      <a:lnTo>
                        <a:pt x="240" y="300"/>
                      </a:lnTo>
                      <a:lnTo>
                        <a:pt x="261" y="410"/>
                      </a:lnTo>
                      <a:lnTo>
                        <a:pt x="251" y="413"/>
                      </a:lnTo>
                      <a:lnTo>
                        <a:pt x="240" y="389"/>
                      </a:lnTo>
                      <a:lnTo>
                        <a:pt x="216" y="378"/>
                      </a:lnTo>
                      <a:lnTo>
                        <a:pt x="189" y="381"/>
                      </a:lnTo>
                      <a:lnTo>
                        <a:pt x="182" y="410"/>
                      </a:lnTo>
                      <a:lnTo>
                        <a:pt x="174" y="386"/>
                      </a:lnTo>
                      <a:lnTo>
                        <a:pt x="179" y="365"/>
                      </a:lnTo>
                      <a:lnTo>
                        <a:pt x="140" y="353"/>
                      </a:lnTo>
                      <a:lnTo>
                        <a:pt x="131" y="330"/>
                      </a:lnTo>
                      <a:lnTo>
                        <a:pt x="108" y="323"/>
                      </a:lnTo>
                      <a:lnTo>
                        <a:pt x="107" y="305"/>
                      </a:lnTo>
                      <a:lnTo>
                        <a:pt x="135" y="317"/>
                      </a:lnTo>
                      <a:lnTo>
                        <a:pt x="125" y="300"/>
                      </a:lnTo>
                      <a:lnTo>
                        <a:pt x="132" y="290"/>
                      </a:lnTo>
                      <a:cubicBezTo>
                        <a:pt x="155" y="291"/>
                        <a:pt x="166" y="293"/>
                        <a:pt x="188" y="291"/>
                      </a:cubicBezTo>
                      <a:cubicBezTo>
                        <a:pt x="193" y="299"/>
                        <a:pt x="188" y="302"/>
                        <a:pt x="180" y="305"/>
                      </a:cubicBezTo>
                      <a:cubicBezTo>
                        <a:pt x="179" y="313"/>
                        <a:pt x="173" y="321"/>
                        <a:pt x="183" y="326"/>
                      </a:cubicBezTo>
                      <a:cubicBezTo>
                        <a:pt x="186" y="319"/>
                        <a:pt x="184" y="316"/>
                        <a:pt x="191" y="312"/>
                      </a:cubicBezTo>
                      <a:cubicBezTo>
                        <a:pt x="194" y="308"/>
                        <a:pt x="197" y="303"/>
                        <a:pt x="200" y="299"/>
                      </a:cubicBezTo>
                      <a:cubicBezTo>
                        <a:pt x="196" y="284"/>
                        <a:pt x="192" y="288"/>
                        <a:pt x="174" y="287"/>
                      </a:cubicBezTo>
                      <a:cubicBezTo>
                        <a:pt x="165" y="244"/>
                        <a:pt x="179" y="250"/>
                        <a:pt x="131" y="246"/>
                      </a:cubicBezTo>
                      <a:cubicBezTo>
                        <a:pt x="125" y="243"/>
                        <a:pt x="123" y="240"/>
                        <a:pt x="116" y="239"/>
                      </a:cubicBezTo>
                      <a:cubicBezTo>
                        <a:pt x="109" y="238"/>
                        <a:pt x="101" y="243"/>
                        <a:pt x="95" y="246"/>
                      </a:cubicBezTo>
                      <a:cubicBezTo>
                        <a:pt x="89" y="249"/>
                        <a:pt x="84" y="252"/>
                        <a:pt x="81" y="255"/>
                      </a:cubicBezTo>
                      <a:cubicBezTo>
                        <a:pt x="80" y="259"/>
                        <a:pt x="80" y="263"/>
                        <a:pt x="74" y="263"/>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2" name="Freeform 227"/>
                <p:cNvSpPr>
                  <a:spLocks/>
                </p:cNvSpPr>
                <p:nvPr/>
              </p:nvSpPr>
              <p:spPr bwMode="auto">
                <a:xfrm>
                  <a:off x="6092712" y="2660935"/>
                  <a:ext cx="252857" cy="123736"/>
                </a:xfrm>
                <a:custGeom>
                  <a:avLst/>
                  <a:gdLst>
                    <a:gd name="T0" fmla="*/ 246 w 246"/>
                    <a:gd name="T1" fmla="*/ 39 h 124"/>
                    <a:gd name="T2" fmla="*/ 224 w 246"/>
                    <a:gd name="T3" fmla="*/ 24 h 124"/>
                    <a:gd name="T4" fmla="*/ 203 w 246"/>
                    <a:gd name="T5" fmla="*/ 13 h 124"/>
                    <a:gd name="T6" fmla="*/ 156 w 246"/>
                    <a:gd name="T7" fmla="*/ 12 h 124"/>
                    <a:gd name="T8" fmla="*/ 113 w 246"/>
                    <a:gd name="T9" fmla="*/ 16 h 124"/>
                    <a:gd name="T10" fmla="*/ 95 w 246"/>
                    <a:gd name="T11" fmla="*/ 0 h 124"/>
                    <a:gd name="T12" fmla="*/ 75 w 246"/>
                    <a:gd name="T13" fmla="*/ 10 h 124"/>
                    <a:gd name="T14" fmla="*/ 78 w 246"/>
                    <a:gd name="T15" fmla="*/ 28 h 124"/>
                    <a:gd name="T16" fmla="*/ 44 w 246"/>
                    <a:gd name="T17" fmla="*/ 18 h 124"/>
                    <a:gd name="T18" fmla="*/ 24 w 246"/>
                    <a:gd name="T19" fmla="*/ 18 h 124"/>
                    <a:gd name="T20" fmla="*/ 18 w 246"/>
                    <a:gd name="T21" fmla="*/ 33 h 124"/>
                    <a:gd name="T22" fmla="*/ 30 w 246"/>
                    <a:gd name="T23" fmla="*/ 36 h 124"/>
                    <a:gd name="T24" fmla="*/ 11 w 246"/>
                    <a:gd name="T25" fmla="*/ 57 h 124"/>
                    <a:gd name="T26" fmla="*/ 39 w 246"/>
                    <a:gd name="T27" fmla="*/ 66 h 124"/>
                    <a:gd name="T28" fmla="*/ 47 w 246"/>
                    <a:gd name="T29" fmla="*/ 54 h 124"/>
                    <a:gd name="T30" fmla="*/ 66 w 246"/>
                    <a:gd name="T31" fmla="*/ 70 h 124"/>
                    <a:gd name="T32" fmla="*/ 92 w 246"/>
                    <a:gd name="T33" fmla="*/ 76 h 124"/>
                    <a:gd name="T34" fmla="*/ 71 w 246"/>
                    <a:gd name="T35" fmla="*/ 87 h 124"/>
                    <a:gd name="T36" fmla="*/ 59 w 246"/>
                    <a:gd name="T37" fmla="*/ 97 h 124"/>
                    <a:gd name="T38" fmla="*/ 47 w 246"/>
                    <a:gd name="T39" fmla="*/ 90 h 124"/>
                    <a:gd name="T40" fmla="*/ 30 w 246"/>
                    <a:gd name="T41" fmla="*/ 100 h 124"/>
                    <a:gd name="T42" fmla="*/ 11 w 246"/>
                    <a:gd name="T43" fmla="*/ 91 h 124"/>
                    <a:gd name="T44" fmla="*/ 0 w 246"/>
                    <a:gd name="T45" fmla="*/ 105 h 124"/>
                    <a:gd name="T46" fmla="*/ 6 w 246"/>
                    <a:gd name="T47" fmla="*/ 117 h 124"/>
                    <a:gd name="T48" fmla="*/ 32 w 246"/>
                    <a:gd name="T49" fmla="*/ 109 h 124"/>
                    <a:gd name="T50" fmla="*/ 41 w 246"/>
                    <a:gd name="T51" fmla="*/ 120 h 124"/>
                    <a:gd name="T52" fmla="*/ 57 w 246"/>
                    <a:gd name="T53" fmla="*/ 111 h 124"/>
                    <a:gd name="T54" fmla="*/ 75 w 246"/>
                    <a:gd name="T55" fmla="*/ 124 h 124"/>
                    <a:gd name="T56" fmla="*/ 86 w 246"/>
                    <a:gd name="T57" fmla="*/ 115 h 124"/>
                    <a:gd name="T58" fmla="*/ 111 w 246"/>
                    <a:gd name="T59" fmla="*/ 115 h 124"/>
                    <a:gd name="T60" fmla="*/ 113 w 246"/>
                    <a:gd name="T61" fmla="*/ 100 h 124"/>
                    <a:gd name="T62" fmla="*/ 126 w 246"/>
                    <a:gd name="T63" fmla="*/ 91 h 124"/>
                    <a:gd name="T64" fmla="*/ 147 w 246"/>
                    <a:gd name="T65" fmla="*/ 85 h 124"/>
                    <a:gd name="T66" fmla="*/ 156 w 246"/>
                    <a:gd name="T67" fmla="*/ 91 h 124"/>
                    <a:gd name="T68" fmla="*/ 171 w 246"/>
                    <a:gd name="T69" fmla="*/ 90 h 124"/>
                    <a:gd name="T70" fmla="*/ 177 w 246"/>
                    <a:gd name="T71" fmla="*/ 69 h 124"/>
                    <a:gd name="T72" fmla="*/ 203 w 246"/>
                    <a:gd name="T73" fmla="*/ 70 h 124"/>
                    <a:gd name="T74" fmla="*/ 209 w 246"/>
                    <a:gd name="T75" fmla="*/ 57 h 124"/>
                    <a:gd name="T76" fmla="*/ 246 w 246"/>
                    <a:gd name="T77" fmla="*/ 3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6" h="124">
                      <a:moveTo>
                        <a:pt x="246" y="39"/>
                      </a:moveTo>
                      <a:lnTo>
                        <a:pt x="224" y="24"/>
                      </a:lnTo>
                      <a:lnTo>
                        <a:pt x="203" y="13"/>
                      </a:lnTo>
                      <a:lnTo>
                        <a:pt x="156" y="12"/>
                      </a:lnTo>
                      <a:lnTo>
                        <a:pt x="113" y="16"/>
                      </a:lnTo>
                      <a:lnTo>
                        <a:pt x="95" y="0"/>
                      </a:lnTo>
                      <a:lnTo>
                        <a:pt x="75" y="10"/>
                      </a:lnTo>
                      <a:lnTo>
                        <a:pt x="78" y="28"/>
                      </a:lnTo>
                      <a:lnTo>
                        <a:pt x="44" y="18"/>
                      </a:lnTo>
                      <a:lnTo>
                        <a:pt x="24" y="18"/>
                      </a:lnTo>
                      <a:lnTo>
                        <a:pt x="18" y="33"/>
                      </a:lnTo>
                      <a:lnTo>
                        <a:pt x="30" y="36"/>
                      </a:lnTo>
                      <a:lnTo>
                        <a:pt x="11" y="57"/>
                      </a:lnTo>
                      <a:lnTo>
                        <a:pt x="39" y="66"/>
                      </a:lnTo>
                      <a:lnTo>
                        <a:pt x="47" y="54"/>
                      </a:lnTo>
                      <a:lnTo>
                        <a:pt x="66" y="70"/>
                      </a:lnTo>
                      <a:lnTo>
                        <a:pt x="92" y="76"/>
                      </a:lnTo>
                      <a:lnTo>
                        <a:pt x="71" y="87"/>
                      </a:lnTo>
                      <a:lnTo>
                        <a:pt x="59" y="97"/>
                      </a:lnTo>
                      <a:lnTo>
                        <a:pt x="47" y="90"/>
                      </a:lnTo>
                      <a:lnTo>
                        <a:pt x="30" y="100"/>
                      </a:lnTo>
                      <a:lnTo>
                        <a:pt x="11" y="91"/>
                      </a:lnTo>
                      <a:lnTo>
                        <a:pt x="0" y="105"/>
                      </a:lnTo>
                      <a:lnTo>
                        <a:pt x="6" y="117"/>
                      </a:lnTo>
                      <a:lnTo>
                        <a:pt x="32" y="109"/>
                      </a:lnTo>
                      <a:lnTo>
                        <a:pt x="41" y="120"/>
                      </a:lnTo>
                      <a:lnTo>
                        <a:pt x="57" y="111"/>
                      </a:lnTo>
                      <a:lnTo>
                        <a:pt x="75" y="124"/>
                      </a:lnTo>
                      <a:lnTo>
                        <a:pt x="86" y="115"/>
                      </a:lnTo>
                      <a:lnTo>
                        <a:pt x="111" y="115"/>
                      </a:lnTo>
                      <a:lnTo>
                        <a:pt x="113" y="100"/>
                      </a:lnTo>
                      <a:lnTo>
                        <a:pt x="126" y="91"/>
                      </a:lnTo>
                      <a:lnTo>
                        <a:pt x="147" y="85"/>
                      </a:lnTo>
                      <a:lnTo>
                        <a:pt x="156" y="91"/>
                      </a:lnTo>
                      <a:lnTo>
                        <a:pt x="171" y="90"/>
                      </a:lnTo>
                      <a:lnTo>
                        <a:pt x="177" y="69"/>
                      </a:lnTo>
                      <a:lnTo>
                        <a:pt x="203" y="70"/>
                      </a:lnTo>
                      <a:lnTo>
                        <a:pt x="209" y="57"/>
                      </a:lnTo>
                      <a:lnTo>
                        <a:pt x="246" y="3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3" name="Freeform 228"/>
                <p:cNvSpPr>
                  <a:spLocks/>
                </p:cNvSpPr>
                <p:nvPr/>
              </p:nvSpPr>
              <p:spPr bwMode="auto">
                <a:xfrm>
                  <a:off x="5729715" y="2599067"/>
                  <a:ext cx="457624" cy="244453"/>
                </a:xfrm>
                <a:custGeom>
                  <a:avLst/>
                  <a:gdLst>
                    <a:gd name="T0" fmla="*/ 22 w 444"/>
                    <a:gd name="T1" fmla="*/ 125 h 245"/>
                    <a:gd name="T2" fmla="*/ 0 w 444"/>
                    <a:gd name="T3" fmla="*/ 14 h 245"/>
                    <a:gd name="T4" fmla="*/ 60 w 444"/>
                    <a:gd name="T5" fmla="*/ 0 h 245"/>
                    <a:gd name="T6" fmla="*/ 126 w 444"/>
                    <a:gd name="T7" fmla="*/ 32 h 245"/>
                    <a:gd name="T8" fmla="*/ 156 w 444"/>
                    <a:gd name="T9" fmla="*/ 60 h 245"/>
                    <a:gd name="T10" fmla="*/ 219 w 444"/>
                    <a:gd name="T11" fmla="*/ 54 h 245"/>
                    <a:gd name="T12" fmla="*/ 256 w 444"/>
                    <a:gd name="T13" fmla="*/ 77 h 245"/>
                    <a:gd name="T14" fmla="*/ 258 w 444"/>
                    <a:gd name="T15" fmla="*/ 99 h 245"/>
                    <a:gd name="T16" fmla="*/ 270 w 444"/>
                    <a:gd name="T17" fmla="*/ 95 h 245"/>
                    <a:gd name="T18" fmla="*/ 280 w 444"/>
                    <a:gd name="T19" fmla="*/ 125 h 245"/>
                    <a:gd name="T20" fmla="*/ 318 w 444"/>
                    <a:gd name="T21" fmla="*/ 126 h 245"/>
                    <a:gd name="T22" fmla="*/ 318 w 444"/>
                    <a:gd name="T23" fmla="*/ 143 h 245"/>
                    <a:gd name="T24" fmla="*/ 328 w 444"/>
                    <a:gd name="T25" fmla="*/ 147 h 245"/>
                    <a:gd name="T26" fmla="*/ 340 w 444"/>
                    <a:gd name="T27" fmla="*/ 116 h 245"/>
                    <a:gd name="T28" fmla="*/ 369 w 444"/>
                    <a:gd name="T29" fmla="*/ 95 h 245"/>
                    <a:gd name="T30" fmla="*/ 381 w 444"/>
                    <a:gd name="T31" fmla="*/ 98 h 245"/>
                    <a:gd name="T32" fmla="*/ 364 w 444"/>
                    <a:gd name="T33" fmla="*/ 119 h 245"/>
                    <a:gd name="T34" fmla="*/ 390 w 444"/>
                    <a:gd name="T35" fmla="*/ 128 h 245"/>
                    <a:gd name="T36" fmla="*/ 399 w 444"/>
                    <a:gd name="T37" fmla="*/ 117 h 245"/>
                    <a:gd name="T38" fmla="*/ 417 w 444"/>
                    <a:gd name="T39" fmla="*/ 134 h 245"/>
                    <a:gd name="T40" fmla="*/ 444 w 444"/>
                    <a:gd name="T41" fmla="*/ 137 h 245"/>
                    <a:gd name="T42" fmla="*/ 423 w 444"/>
                    <a:gd name="T43" fmla="*/ 149 h 245"/>
                    <a:gd name="T44" fmla="*/ 411 w 444"/>
                    <a:gd name="T45" fmla="*/ 159 h 245"/>
                    <a:gd name="T46" fmla="*/ 399 w 444"/>
                    <a:gd name="T47" fmla="*/ 152 h 245"/>
                    <a:gd name="T48" fmla="*/ 382 w 444"/>
                    <a:gd name="T49" fmla="*/ 159 h 245"/>
                    <a:gd name="T50" fmla="*/ 376 w 444"/>
                    <a:gd name="T51" fmla="*/ 147 h 245"/>
                    <a:gd name="T52" fmla="*/ 384 w 444"/>
                    <a:gd name="T53" fmla="*/ 140 h 245"/>
                    <a:gd name="T54" fmla="*/ 372 w 444"/>
                    <a:gd name="T55" fmla="*/ 132 h 245"/>
                    <a:gd name="T56" fmla="*/ 361 w 444"/>
                    <a:gd name="T57" fmla="*/ 143 h 245"/>
                    <a:gd name="T58" fmla="*/ 351 w 444"/>
                    <a:gd name="T59" fmla="*/ 137 h 245"/>
                    <a:gd name="T60" fmla="*/ 343 w 444"/>
                    <a:gd name="T61" fmla="*/ 146 h 245"/>
                    <a:gd name="T62" fmla="*/ 351 w 444"/>
                    <a:gd name="T63" fmla="*/ 155 h 245"/>
                    <a:gd name="T64" fmla="*/ 336 w 444"/>
                    <a:gd name="T65" fmla="*/ 156 h 245"/>
                    <a:gd name="T66" fmla="*/ 339 w 444"/>
                    <a:gd name="T67" fmla="*/ 177 h 245"/>
                    <a:gd name="T68" fmla="*/ 322 w 444"/>
                    <a:gd name="T69" fmla="*/ 173 h 245"/>
                    <a:gd name="T70" fmla="*/ 309 w 444"/>
                    <a:gd name="T71" fmla="*/ 180 h 245"/>
                    <a:gd name="T72" fmla="*/ 315 w 444"/>
                    <a:gd name="T73" fmla="*/ 188 h 245"/>
                    <a:gd name="T74" fmla="*/ 334 w 444"/>
                    <a:gd name="T75" fmla="*/ 194 h 245"/>
                    <a:gd name="T76" fmla="*/ 334 w 444"/>
                    <a:gd name="T77" fmla="*/ 204 h 245"/>
                    <a:gd name="T78" fmla="*/ 345 w 444"/>
                    <a:gd name="T79" fmla="*/ 216 h 245"/>
                    <a:gd name="T80" fmla="*/ 334 w 444"/>
                    <a:gd name="T81" fmla="*/ 230 h 245"/>
                    <a:gd name="T82" fmla="*/ 334 w 444"/>
                    <a:gd name="T83" fmla="*/ 245 h 245"/>
                    <a:gd name="T84" fmla="*/ 301 w 444"/>
                    <a:gd name="T85" fmla="*/ 239 h 245"/>
                    <a:gd name="T86" fmla="*/ 300 w 444"/>
                    <a:gd name="T87" fmla="*/ 216 h 245"/>
                    <a:gd name="T88" fmla="*/ 268 w 444"/>
                    <a:gd name="T89" fmla="*/ 207 h 245"/>
                    <a:gd name="T90" fmla="*/ 211 w 444"/>
                    <a:gd name="T91" fmla="*/ 177 h 245"/>
                    <a:gd name="T92" fmla="*/ 187 w 444"/>
                    <a:gd name="T93" fmla="*/ 161 h 245"/>
                    <a:gd name="T94" fmla="*/ 162 w 444"/>
                    <a:gd name="T95" fmla="*/ 125 h 245"/>
                    <a:gd name="T96" fmla="*/ 124 w 444"/>
                    <a:gd name="T97" fmla="*/ 123 h 245"/>
                    <a:gd name="T98" fmla="*/ 114 w 444"/>
                    <a:gd name="T99" fmla="*/ 92 h 245"/>
                    <a:gd name="T100" fmla="*/ 97 w 444"/>
                    <a:gd name="T101" fmla="*/ 95 h 245"/>
                    <a:gd name="T102" fmla="*/ 75 w 444"/>
                    <a:gd name="T103" fmla="*/ 78 h 245"/>
                    <a:gd name="T104" fmla="*/ 63 w 444"/>
                    <a:gd name="T105" fmla="*/ 99 h 245"/>
                    <a:gd name="T106" fmla="*/ 52 w 444"/>
                    <a:gd name="T107" fmla="*/ 98 h 245"/>
                    <a:gd name="T108" fmla="*/ 42 w 444"/>
                    <a:gd name="T109" fmla="*/ 110 h 245"/>
                    <a:gd name="T110" fmla="*/ 52 w 444"/>
                    <a:gd name="T111" fmla="*/ 128 h 245"/>
                    <a:gd name="T112" fmla="*/ 22 w 444"/>
                    <a:gd name="T113" fmla="*/ 12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245">
                      <a:moveTo>
                        <a:pt x="22" y="125"/>
                      </a:moveTo>
                      <a:lnTo>
                        <a:pt x="0" y="14"/>
                      </a:lnTo>
                      <a:lnTo>
                        <a:pt x="60" y="0"/>
                      </a:lnTo>
                      <a:lnTo>
                        <a:pt x="126" y="32"/>
                      </a:lnTo>
                      <a:lnTo>
                        <a:pt x="156" y="60"/>
                      </a:lnTo>
                      <a:lnTo>
                        <a:pt x="219" y="54"/>
                      </a:lnTo>
                      <a:lnTo>
                        <a:pt x="256" y="77"/>
                      </a:lnTo>
                      <a:lnTo>
                        <a:pt x="258" y="99"/>
                      </a:lnTo>
                      <a:lnTo>
                        <a:pt x="270" y="95"/>
                      </a:lnTo>
                      <a:lnTo>
                        <a:pt x="280" y="125"/>
                      </a:lnTo>
                      <a:lnTo>
                        <a:pt x="318" y="126"/>
                      </a:lnTo>
                      <a:lnTo>
                        <a:pt x="318" y="143"/>
                      </a:lnTo>
                      <a:lnTo>
                        <a:pt x="328" y="147"/>
                      </a:lnTo>
                      <a:lnTo>
                        <a:pt x="340" y="116"/>
                      </a:lnTo>
                      <a:lnTo>
                        <a:pt x="369" y="95"/>
                      </a:lnTo>
                      <a:lnTo>
                        <a:pt x="381" y="98"/>
                      </a:lnTo>
                      <a:lnTo>
                        <a:pt x="364" y="119"/>
                      </a:lnTo>
                      <a:lnTo>
                        <a:pt x="390" y="128"/>
                      </a:lnTo>
                      <a:lnTo>
                        <a:pt x="399" y="117"/>
                      </a:lnTo>
                      <a:lnTo>
                        <a:pt x="417" y="134"/>
                      </a:lnTo>
                      <a:lnTo>
                        <a:pt x="444" y="137"/>
                      </a:lnTo>
                      <a:lnTo>
                        <a:pt x="423" y="149"/>
                      </a:lnTo>
                      <a:lnTo>
                        <a:pt x="411" y="159"/>
                      </a:lnTo>
                      <a:lnTo>
                        <a:pt x="399" y="152"/>
                      </a:lnTo>
                      <a:lnTo>
                        <a:pt x="382" y="159"/>
                      </a:lnTo>
                      <a:lnTo>
                        <a:pt x="376" y="147"/>
                      </a:lnTo>
                      <a:lnTo>
                        <a:pt x="384" y="140"/>
                      </a:lnTo>
                      <a:lnTo>
                        <a:pt x="372" y="132"/>
                      </a:lnTo>
                      <a:lnTo>
                        <a:pt x="361" y="143"/>
                      </a:lnTo>
                      <a:lnTo>
                        <a:pt x="351" y="137"/>
                      </a:lnTo>
                      <a:lnTo>
                        <a:pt x="343" y="146"/>
                      </a:lnTo>
                      <a:lnTo>
                        <a:pt x="351" y="155"/>
                      </a:lnTo>
                      <a:lnTo>
                        <a:pt x="336" y="156"/>
                      </a:lnTo>
                      <a:lnTo>
                        <a:pt x="339" y="177"/>
                      </a:lnTo>
                      <a:lnTo>
                        <a:pt x="322" y="173"/>
                      </a:lnTo>
                      <a:lnTo>
                        <a:pt x="309" y="180"/>
                      </a:lnTo>
                      <a:lnTo>
                        <a:pt x="315" y="188"/>
                      </a:lnTo>
                      <a:lnTo>
                        <a:pt x="334" y="194"/>
                      </a:lnTo>
                      <a:lnTo>
                        <a:pt x="334" y="204"/>
                      </a:lnTo>
                      <a:lnTo>
                        <a:pt x="345" y="216"/>
                      </a:lnTo>
                      <a:lnTo>
                        <a:pt x="334" y="230"/>
                      </a:lnTo>
                      <a:lnTo>
                        <a:pt x="334" y="245"/>
                      </a:lnTo>
                      <a:lnTo>
                        <a:pt x="301" y="239"/>
                      </a:lnTo>
                      <a:lnTo>
                        <a:pt x="300" y="216"/>
                      </a:lnTo>
                      <a:lnTo>
                        <a:pt x="268" y="207"/>
                      </a:lnTo>
                      <a:lnTo>
                        <a:pt x="211" y="177"/>
                      </a:lnTo>
                      <a:lnTo>
                        <a:pt x="187" y="161"/>
                      </a:lnTo>
                      <a:lnTo>
                        <a:pt x="162" y="125"/>
                      </a:lnTo>
                      <a:lnTo>
                        <a:pt x="124" y="123"/>
                      </a:lnTo>
                      <a:lnTo>
                        <a:pt x="114" y="92"/>
                      </a:lnTo>
                      <a:lnTo>
                        <a:pt x="97" y="95"/>
                      </a:lnTo>
                      <a:lnTo>
                        <a:pt x="75" y="78"/>
                      </a:lnTo>
                      <a:lnTo>
                        <a:pt x="63" y="99"/>
                      </a:lnTo>
                      <a:lnTo>
                        <a:pt x="52" y="98"/>
                      </a:lnTo>
                      <a:lnTo>
                        <a:pt x="42" y="110"/>
                      </a:lnTo>
                      <a:lnTo>
                        <a:pt x="52" y="128"/>
                      </a:lnTo>
                      <a:lnTo>
                        <a:pt x="22" y="12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4" name="Freeform 229"/>
                <p:cNvSpPr>
                  <a:spLocks/>
                </p:cNvSpPr>
                <p:nvPr/>
              </p:nvSpPr>
              <p:spPr bwMode="auto">
                <a:xfrm>
                  <a:off x="5678524" y="2677533"/>
                  <a:ext cx="361445" cy="226345"/>
                </a:xfrm>
                <a:custGeom>
                  <a:avLst/>
                  <a:gdLst>
                    <a:gd name="T0" fmla="*/ 352 w 352"/>
                    <a:gd name="T1" fmla="*/ 161 h 227"/>
                    <a:gd name="T2" fmla="*/ 351 w 352"/>
                    <a:gd name="T3" fmla="*/ 137 h 227"/>
                    <a:gd name="T4" fmla="*/ 321 w 352"/>
                    <a:gd name="T5" fmla="*/ 129 h 227"/>
                    <a:gd name="T6" fmla="*/ 238 w 352"/>
                    <a:gd name="T7" fmla="*/ 86 h 227"/>
                    <a:gd name="T8" fmla="*/ 213 w 352"/>
                    <a:gd name="T9" fmla="*/ 47 h 227"/>
                    <a:gd name="T10" fmla="*/ 174 w 352"/>
                    <a:gd name="T11" fmla="*/ 45 h 227"/>
                    <a:gd name="T12" fmla="*/ 166 w 352"/>
                    <a:gd name="T13" fmla="*/ 14 h 227"/>
                    <a:gd name="T14" fmla="*/ 145 w 352"/>
                    <a:gd name="T15" fmla="*/ 17 h 227"/>
                    <a:gd name="T16" fmla="*/ 126 w 352"/>
                    <a:gd name="T17" fmla="*/ 0 h 227"/>
                    <a:gd name="T18" fmla="*/ 115 w 352"/>
                    <a:gd name="T19" fmla="*/ 20 h 227"/>
                    <a:gd name="T20" fmla="*/ 102 w 352"/>
                    <a:gd name="T21" fmla="*/ 20 h 227"/>
                    <a:gd name="T22" fmla="*/ 93 w 352"/>
                    <a:gd name="T23" fmla="*/ 30 h 227"/>
                    <a:gd name="T24" fmla="*/ 102 w 352"/>
                    <a:gd name="T25" fmla="*/ 48 h 227"/>
                    <a:gd name="T26" fmla="*/ 73 w 352"/>
                    <a:gd name="T27" fmla="*/ 47 h 227"/>
                    <a:gd name="T28" fmla="*/ 61 w 352"/>
                    <a:gd name="T29" fmla="*/ 50 h 227"/>
                    <a:gd name="T30" fmla="*/ 54 w 352"/>
                    <a:gd name="T31" fmla="*/ 24 h 227"/>
                    <a:gd name="T32" fmla="*/ 27 w 352"/>
                    <a:gd name="T33" fmla="*/ 14 h 227"/>
                    <a:gd name="T34" fmla="*/ 24 w 352"/>
                    <a:gd name="T35" fmla="*/ 36 h 227"/>
                    <a:gd name="T36" fmla="*/ 43 w 352"/>
                    <a:gd name="T37" fmla="*/ 48 h 227"/>
                    <a:gd name="T38" fmla="*/ 40 w 352"/>
                    <a:gd name="T39" fmla="*/ 60 h 227"/>
                    <a:gd name="T40" fmla="*/ 22 w 352"/>
                    <a:gd name="T41" fmla="*/ 57 h 227"/>
                    <a:gd name="T42" fmla="*/ 10 w 352"/>
                    <a:gd name="T43" fmla="*/ 56 h 227"/>
                    <a:gd name="T44" fmla="*/ 0 w 352"/>
                    <a:gd name="T45" fmla="*/ 50 h 227"/>
                    <a:gd name="T46" fmla="*/ 3 w 352"/>
                    <a:gd name="T47" fmla="*/ 69 h 227"/>
                    <a:gd name="T48" fmla="*/ 7 w 352"/>
                    <a:gd name="T49" fmla="*/ 84 h 227"/>
                    <a:gd name="T50" fmla="*/ 22 w 352"/>
                    <a:gd name="T51" fmla="*/ 84 h 227"/>
                    <a:gd name="T52" fmla="*/ 27 w 352"/>
                    <a:gd name="T53" fmla="*/ 96 h 227"/>
                    <a:gd name="T54" fmla="*/ 16 w 352"/>
                    <a:gd name="T55" fmla="*/ 104 h 227"/>
                    <a:gd name="T56" fmla="*/ 31 w 352"/>
                    <a:gd name="T57" fmla="*/ 110 h 227"/>
                    <a:gd name="T58" fmla="*/ 40 w 352"/>
                    <a:gd name="T59" fmla="*/ 117 h 227"/>
                    <a:gd name="T60" fmla="*/ 40 w 352"/>
                    <a:gd name="T61" fmla="*/ 137 h 227"/>
                    <a:gd name="T62" fmla="*/ 51 w 352"/>
                    <a:gd name="T63" fmla="*/ 168 h 227"/>
                    <a:gd name="T64" fmla="*/ 64 w 352"/>
                    <a:gd name="T65" fmla="*/ 159 h 227"/>
                    <a:gd name="T66" fmla="*/ 75 w 352"/>
                    <a:gd name="T67" fmla="*/ 143 h 227"/>
                    <a:gd name="T68" fmla="*/ 96 w 352"/>
                    <a:gd name="T69" fmla="*/ 141 h 227"/>
                    <a:gd name="T70" fmla="*/ 106 w 352"/>
                    <a:gd name="T71" fmla="*/ 134 h 227"/>
                    <a:gd name="T72" fmla="*/ 124 w 352"/>
                    <a:gd name="T73" fmla="*/ 138 h 227"/>
                    <a:gd name="T74" fmla="*/ 135 w 352"/>
                    <a:gd name="T75" fmla="*/ 149 h 227"/>
                    <a:gd name="T76" fmla="*/ 159 w 352"/>
                    <a:gd name="T77" fmla="*/ 153 h 227"/>
                    <a:gd name="T78" fmla="*/ 186 w 352"/>
                    <a:gd name="T79" fmla="*/ 165 h 227"/>
                    <a:gd name="T80" fmla="*/ 210 w 352"/>
                    <a:gd name="T81" fmla="*/ 183 h 227"/>
                    <a:gd name="T82" fmla="*/ 228 w 352"/>
                    <a:gd name="T83" fmla="*/ 183 h 227"/>
                    <a:gd name="T84" fmla="*/ 237 w 352"/>
                    <a:gd name="T85" fmla="*/ 218 h 227"/>
                    <a:gd name="T86" fmla="*/ 258 w 352"/>
                    <a:gd name="T87" fmla="*/ 216 h 227"/>
                    <a:gd name="T88" fmla="*/ 264 w 352"/>
                    <a:gd name="T89" fmla="*/ 227 h 227"/>
                    <a:gd name="T90" fmla="*/ 282 w 352"/>
                    <a:gd name="T91" fmla="*/ 221 h 227"/>
                    <a:gd name="T92" fmla="*/ 285 w 352"/>
                    <a:gd name="T93" fmla="*/ 204 h 227"/>
                    <a:gd name="T94" fmla="*/ 313 w 352"/>
                    <a:gd name="T95" fmla="*/ 194 h 227"/>
                    <a:gd name="T96" fmla="*/ 316 w 352"/>
                    <a:gd name="T97" fmla="*/ 168 h 227"/>
                    <a:gd name="T98" fmla="*/ 328 w 352"/>
                    <a:gd name="T99" fmla="*/ 168 h 227"/>
                    <a:gd name="T100" fmla="*/ 336 w 352"/>
                    <a:gd name="T101" fmla="*/ 155 h 227"/>
                    <a:gd name="T102" fmla="*/ 352 w 352"/>
                    <a:gd name="T103" fmla="*/ 16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227">
                      <a:moveTo>
                        <a:pt x="352" y="161"/>
                      </a:moveTo>
                      <a:lnTo>
                        <a:pt x="351" y="137"/>
                      </a:lnTo>
                      <a:lnTo>
                        <a:pt x="321" y="129"/>
                      </a:lnTo>
                      <a:lnTo>
                        <a:pt x="238" y="86"/>
                      </a:lnTo>
                      <a:lnTo>
                        <a:pt x="213" y="47"/>
                      </a:lnTo>
                      <a:lnTo>
                        <a:pt x="174" y="45"/>
                      </a:lnTo>
                      <a:lnTo>
                        <a:pt x="166" y="14"/>
                      </a:lnTo>
                      <a:lnTo>
                        <a:pt x="145" y="17"/>
                      </a:lnTo>
                      <a:lnTo>
                        <a:pt x="126" y="0"/>
                      </a:lnTo>
                      <a:lnTo>
                        <a:pt x="115" y="20"/>
                      </a:lnTo>
                      <a:lnTo>
                        <a:pt x="102" y="20"/>
                      </a:lnTo>
                      <a:lnTo>
                        <a:pt x="93" y="30"/>
                      </a:lnTo>
                      <a:lnTo>
                        <a:pt x="102" y="48"/>
                      </a:lnTo>
                      <a:lnTo>
                        <a:pt x="73" y="47"/>
                      </a:lnTo>
                      <a:lnTo>
                        <a:pt x="61" y="50"/>
                      </a:lnTo>
                      <a:lnTo>
                        <a:pt x="54" y="24"/>
                      </a:lnTo>
                      <a:lnTo>
                        <a:pt x="27" y="14"/>
                      </a:lnTo>
                      <a:lnTo>
                        <a:pt x="24" y="36"/>
                      </a:lnTo>
                      <a:lnTo>
                        <a:pt x="43" y="48"/>
                      </a:lnTo>
                      <a:lnTo>
                        <a:pt x="40" y="60"/>
                      </a:lnTo>
                      <a:lnTo>
                        <a:pt x="22" y="57"/>
                      </a:lnTo>
                      <a:lnTo>
                        <a:pt x="10" y="56"/>
                      </a:lnTo>
                      <a:lnTo>
                        <a:pt x="0" y="50"/>
                      </a:lnTo>
                      <a:lnTo>
                        <a:pt x="3" y="69"/>
                      </a:lnTo>
                      <a:lnTo>
                        <a:pt x="7" y="84"/>
                      </a:lnTo>
                      <a:lnTo>
                        <a:pt x="22" y="84"/>
                      </a:lnTo>
                      <a:lnTo>
                        <a:pt x="27" y="96"/>
                      </a:lnTo>
                      <a:lnTo>
                        <a:pt x="16" y="104"/>
                      </a:lnTo>
                      <a:lnTo>
                        <a:pt x="31" y="110"/>
                      </a:lnTo>
                      <a:lnTo>
                        <a:pt x="40" y="117"/>
                      </a:lnTo>
                      <a:lnTo>
                        <a:pt x="40" y="137"/>
                      </a:lnTo>
                      <a:lnTo>
                        <a:pt x="51" y="168"/>
                      </a:lnTo>
                      <a:lnTo>
                        <a:pt x="64" y="159"/>
                      </a:lnTo>
                      <a:lnTo>
                        <a:pt x="75" y="143"/>
                      </a:lnTo>
                      <a:lnTo>
                        <a:pt x="96" y="141"/>
                      </a:lnTo>
                      <a:lnTo>
                        <a:pt x="106" y="134"/>
                      </a:lnTo>
                      <a:lnTo>
                        <a:pt x="124" y="138"/>
                      </a:lnTo>
                      <a:lnTo>
                        <a:pt x="135" y="149"/>
                      </a:lnTo>
                      <a:lnTo>
                        <a:pt x="159" y="153"/>
                      </a:lnTo>
                      <a:lnTo>
                        <a:pt x="186" y="165"/>
                      </a:lnTo>
                      <a:lnTo>
                        <a:pt x="210" y="183"/>
                      </a:lnTo>
                      <a:lnTo>
                        <a:pt x="228" y="183"/>
                      </a:lnTo>
                      <a:lnTo>
                        <a:pt x="237" y="218"/>
                      </a:lnTo>
                      <a:lnTo>
                        <a:pt x="258" y="216"/>
                      </a:lnTo>
                      <a:lnTo>
                        <a:pt x="264" y="227"/>
                      </a:lnTo>
                      <a:lnTo>
                        <a:pt x="282" y="221"/>
                      </a:lnTo>
                      <a:lnTo>
                        <a:pt x="285" y="204"/>
                      </a:lnTo>
                      <a:lnTo>
                        <a:pt x="313" y="194"/>
                      </a:lnTo>
                      <a:lnTo>
                        <a:pt x="316" y="168"/>
                      </a:lnTo>
                      <a:lnTo>
                        <a:pt x="328" y="168"/>
                      </a:lnTo>
                      <a:lnTo>
                        <a:pt x="336" y="155"/>
                      </a:lnTo>
                      <a:lnTo>
                        <a:pt x="352" y="16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5" name="Freeform 230"/>
                <p:cNvSpPr>
                  <a:spLocks/>
                </p:cNvSpPr>
                <p:nvPr/>
              </p:nvSpPr>
              <p:spPr bwMode="auto">
                <a:xfrm>
                  <a:off x="5473756" y="2763544"/>
                  <a:ext cx="538289" cy="436092"/>
                </a:xfrm>
                <a:custGeom>
                  <a:avLst/>
                  <a:gdLst>
                    <a:gd name="T0" fmla="*/ 426 w 523"/>
                    <a:gd name="T1" fmla="*/ 97 h 436"/>
                    <a:gd name="T2" fmla="*/ 385 w 523"/>
                    <a:gd name="T3" fmla="*/ 81 h 436"/>
                    <a:gd name="T4" fmla="*/ 334 w 523"/>
                    <a:gd name="T5" fmla="*/ 63 h 436"/>
                    <a:gd name="T6" fmla="*/ 304 w 523"/>
                    <a:gd name="T7" fmla="*/ 48 h 436"/>
                    <a:gd name="T8" fmla="*/ 273 w 523"/>
                    <a:gd name="T9" fmla="*/ 55 h 436"/>
                    <a:gd name="T10" fmla="*/ 249 w 523"/>
                    <a:gd name="T11" fmla="*/ 81 h 436"/>
                    <a:gd name="T12" fmla="*/ 219 w 523"/>
                    <a:gd name="T13" fmla="*/ 96 h 436"/>
                    <a:gd name="T14" fmla="*/ 160 w 523"/>
                    <a:gd name="T15" fmla="*/ 82 h 436"/>
                    <a:gd name="T16" fmla="*/ 130 w 523"/>
                    <a:gd name="T17" fmla="*/ 72 h 436"/>
                    <a:gd name="T18" fmla="*/ 96 w 523"/>
                    <a:gd name="T19" fmla="*/ 34 h 436"/>
                    <a:gd name="T20" fmla="*/ 88 w 523"/>
                    <a:gd name="T21" fmla="*/ 4 h 436"/>
                    <a:gd name="T22" fmla="*/ 45 w 523"/>
                    <a:gd name="T23" fmla="*/ 31 h 436"/>
                    <a:gd name="T24" fmla="*/ 12 w 523"/>
                    <a:gd name="T25" fmla="*/ 0 h 436"/>
                    <a:gd name="T26" fmla="*/ 0 w 523"/>
                    <a:gd name="T27" fmla="*/ 22 h 436"/>
                    <a:gd name="T28" fmla="*/ 45 w 523"/>
                    <a:gd name="T29" fmla="*/ 117 h 436"/>
                    <a:gd name="T30" fmla="*/ 60 w 523"/>
                    <a:gd name="T31" fmla="*/ 132 h 436"/>
                    <a:gd name="T32" fmla="*/ 48 w 523"/>
                    <a:gd name="T33" fmla="*/ 157 h 436"/>
                    <a:gd name="T34" fmla="*/ 73 w 523"/>
                    <a:gd name="T35" fmla="*/ 195 h 436"/>
                    <a:gd name="T36" fmla="*/ 103 w 523"/>
                    <a:gd name="T37" fmla="*/ 222 h 436"/>
                    <a:gd name="T38" fmla="*/ 117 w 523"/>
                    <a:gd name="T39" fmla="*/ 265 h 436"/>
                    <a:gd name="T40" fmla="*/ 129 w 523"/>
                    <a:gd name="T41" fmla="*/ 280 h 436"/>
                    <a:gd name="T42" fmla="*/ 153 w 523"/>
                    <a:gd name="T43" fmla="*/ 280 h 436"/>
                    <a:gd name="T44" fmla="*/ 177 w 523"/>
                    <a:gd name="T45" fmla="*/ 285 h 436"/>
                    <a:gd name="T46" fmla="*/ 201 w 523"/>
                    <a:gd name="T47" fmla="*/ 331 h 436"/>
                    <a:gd name="T48" fmla="*/ 258 w 523"/>
                    <a:gd name="T49" fmla="*/ 370 h 436"/>
                    <a:gd name="T50" fmla="*/ 301 w 523"/>
                    <a:gd name="T51" fmla="*/ 393 h 436"/>
                    <a:gd name="T52" fmla="*/ 354 w 523"/>
                    <a:gd name="T53" fmla="*/ 375 h 436"/>
                    <a:gd name="T54" fmla="*/ 369 w 523"/>
                    <a:gd name="T55" fmla="*/ 393 h 436"/>
                    <a:gd name="T56" fmla="*/ 483 w 523"/>
                    <a:gd name="T57" fmla="*/ 436 h 436"/>
                    <a:gd name="T58" fmla="*/ 492 w 523"/>
                    <a:gd name="T59" fmla="*/ 402 h 436"/>
                    <a:gd name="T60" fmla="*/ 523 w 523"/>
                    <a:gd name="T61" fmla="*/ 385 h 436"/>
                    <a:gd name="T62" fmla="*/ 508 w 523"/>
                    <a:gd name="T63" fmla="*/ 373 h 436"/>
                    <a:gd name="T64" fmla="*/ 493 w 523"/>
                    <a:gd name="T65" fmla="*/ 336 h 436"/>
                    <a:gd name="T66" fmla="*/ 451 w 523"/>
                    <a:gd name="T67" fmla="*/ 297 h 436"/>
                    <a:gd name="T68" fmla="*/ 471 w 523"/>
                    <a:gd name="T69" fmla="*/ 264 h 436"/>
                    <a:gd name="T70" fmla="*/ 439 w 523"/>
                    <a:gd name="T71" fmla="*/ 250 h 436"/>
                    <a:gd name="T72" fmla="*/ 429 w 523"/>
                    <a:gd name="T73" fmla="*/ 205 h 436"/>
                    <a:gd name="T74" fmla="*/ 424 w 523"/>
                    <a:gd name="T75" fmla="*/ 186 h 436"/>
                    <a:gd name="T76" fmla="*/ 435 w 523"/>
                    <a:gd name="T77" fmla="*/ 15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3" h="436">
                      <a:moveTo>
                        <a:pt x="433" y="132"/>
                      </a:moveTo>
                      <a:lnTo>
                        <a:pt x="426" y="97"/>
                      </a:lnTo>
                      <a:lnTo>
                        <a:pt x="400" y="93"/>
                      </a:lnTo>
                      <a:lnTo>
                        <a:pt x="385" y="81"/>
                      </a:lnTo>
                      <a:lnTo>
                        <a:pt x="355" y="66"/>
                      </a:lnTo>
                      <a:lnTo>
                        <a:pt x="334" y="63"/>
                      </a:lnTo>
                      <a:lnTo>
                        <a:pt x="321" y="52"/>
                      </a:lnTo>
                      <a:lnTo>
                        <a:pt x="304" y="48"/>
                      </a:lnTo>
                      <a:lnTo>
                        <a:pt x="294" y="55"/>
                      </a:lnTo>
                      <a:lnTo>
                        <a:pt x="273" y="55"/>
                      </a:lnTo>
                      <a:lnTo>
                        <a:pt x="264" y="72"/>
                      </a:lnTo>
                      <a:lnTo>
                        <a:pt x="249" y="81"/>
                      </a:lnTo>
                      <a:lnTo>
                        <a:pt x="250" y="93"/>
                      </a:lnTo>
                      <a:lnTo>
                        <a:pt x="219" y="96"/>
                      </a:lnTo>
                      <a:lnTo>
                        <a:pt x="189" y="99"/>
                      </a:lnTo>
                      <a:lnTo>
                        <a:pt x="160" y="82"/>
                      </a:lnTo>
                      <a:lnTo>
                        <a:pt x="151" y="73"/>
                      </a:lnTo>
                      <a:lnTo>
                        <a:pt x="130" y="72"/>
                      </a:lnTo>
                      <a:lnTo>
                        <a:pt x="117" y="49"/>
                      </a:lnTo>
                      <a:lnTo>
                        <a:pt x="96" y="34"/>
                      </a:lnTo>
                      <a:lnTo>
                        <a:pt x="99" y="10"/>
                      </a:lnTo>
                      <a:lnTo>
                        <a:pt x="88" y="4"/>
                      </a:lnTo>
                      <a:lnTo>
                        <a:pt x="63" y="27"/>
                      </a:lnTo>
                      <a:lnTo>
                        <a:pt x="45" y="31"/>
                      </a:lnTo>
                      <a:lnTo>
                        <a:pt x="16" y="18"/>
                      </a:lnTo>
                      <a:lnTo>
                        <a:pt x="12" y="0"/>
                      </a:lnTo>
                      <a:lnTo>
                        <a:pt x="3" y="7"/>
                      </a:lnTo>
                      <a:lnTo>
                        <a:pt x="0" y="22"/>
                      </a:lnTo>
                      <a:lnTo>
                        <a:pt x="21" y="81"/>
                      </a:lnTo>
                      <a:lnTo>
                        <a:pt x="45" y="117"/>
                      </a:lnTo>
                      <a:lnTo>
                        <a:pt x="72" y="120"/>
                      </a:lnTo>
                      <a:lnTo>
                        <a:pt x="60" y="132"/>
                      </a:lnTo>
                      <a:lnTo>
                        <a:pt x="67" y="142"/>
                      </a:lnTo>
                      <a:lnTo>
                        <a:pt x="48" y="157"/>
                      </a:lnTo>
                      <a:lnTo>
                        <a:pt x="52" y="180"/>
                      </a:lnTo>
                      <a:lnTo>
                        <a:pt x="73" y="195"/>
                      </a:lnTo>
                      <a:lnTo>
                        <a:pt x="72" y="208"/>
                      </a:lnTo>
                      <a:lnTo>
                        <a:pt x="103" y="222"/>
                      </a:lnTo>
                      <a:lnTo>
                        <a:pt x="120" y="238"/>
                      </a:lnTo>
                      <a:lnTo>
                        <a:pt x="117" y="265"/>
                      </a:lnTo>
                      <a:lnTo>
                        <a:pt x="132" y="265"/>
                      </a:lnTo>
                      <a:lnTo>
                        <a:pt x="129" y="280"/>
                      </a:lnTo>
                      <a:lnTo>
                        <a:pt x="142" y="289"/>
                      </a:lnTo>
                      <a:cubicBezTo>
                        <a:pt x="150" y="287"/>
                        <a:pt x="146" y="284"/>
                        <a:pt x="153" y="280"/>
                      </a:cubicBezTo>
                      <a:cubicBezTo>
                        <a:pt x="160" y="283"/>
                        <a:pt x="159" y="289"/>
                        <a:pt x="162" y="295"/>
                      </a:cubicBezTo>
                      <a:cubicBezTo>
                        <a:pt x="175" y="294"/>
                        <a:pt x="171" y="294"/>
                        <a:pt x="177" y="285"/>
                      </a:cubicBezTo>
                      <a:cubicBezTo>
                        <a:pt x="192" y="296"/>
                        <a:pt x="184" y="301"/>
                        <a:pt x="193" y="313"/>
                      </a:cubicBezTo>
                      <a:cubicBezTo>
                        <a:pt x="195" y="321"/>
                        <a:pt x="194" y="326"/>
                        <a:pt x="201" y="331"/>
                      </a:cubicBezTo>
                      <a:cubicBezTo>
                        <a:pt x="204" y="345"/>
                        <a:pt x="222" y="362"/>
                        <a:pt x="237" y="364"/>
                      </a:cubicBezTo>
                      <a:cubicBezTo>
                        <a:pt x="243" y="367"/>
                        <a:pt x="251" y="369"/>
                        <a:pt x="258" y="370"/>
                      </a:cubicBezTo>
                      <a:cubicBezTo>
                        <a:pt x="269" y="376"/>
                        <a:pt x="276" y="386"/>
                        <a:pt x="288" y="388"/>
                      </a:cubicBezTo>
                      <a:cubicBezTo>
                        <a:pt x="292" y="390"/>
                        <a:pt x="297" y="391"/>
                        <a:pt x="301" y="393"/>
                      </a:cubicBezTo>
                      <a:cubicBezTo>
                        <a:pt x="319" y="391"/>
                        <a:pt x="317" y="390"/>
                        <a:pt x="330" y="387"/>
                      </a:cubicBezTo>
                      <a:cubicBezTo>
                        <a:pt x="338" y="383"/>
                        <a:pt x="345" y="377"/>
                        <a:pt x="354" y="375"/>
                      </a:cubicBezTo>
                      <a:cubicBezTo>
                        <a:pt x="358" y="375"/>
                        <a:pt x="363" y="373"/>
                        <a:pt x="366" y="376"/>
                      </a:cubicBezTo>
                      <a:cubicBezTo>
                        <a:pt x="370" y="380"/>
                        <a:pt x="369" y="393"/>
                        <a:pt x="369" y="393"/>
                      </a:cubicBezTo>
                      <a:cubicBezTo>
                        <a:pt x="371" y="431"/>
                        <a:pt x="378" y="432"/>
                        <a:pt x="415" y="433"/>
                      </a:cubicBezTo>
                      <a:cubicBezTo>
                        <a:pt x="438" y="435"/>
                        <a:pt x="459" y="436"/>
                        <a:pt x="483" y="436"/>
                      </a:cubicBezTo>
                      <a:lnTo>
                        <a:pt x="487" y="417"/>
                      </a:lnTo>
                      <a:lnTo>
                        <a:pt x="492" y="402"/>
                      </a:lnTo>
                      <a:lnTo>
                        <a:pt x="508" y="391"/>
                      </a:lnTo>
                      <a:lnTo>
                        <a:pt x="523" y="385"/>
                      </a:lnTo>
                      <a:lnTo>
                        <a:pt x="520" y="373"/>
                      </a:lnTo>
                      <a:lnTo>
                        <a:pt x="508" y="373"/>
                      </a:lnTo>
                      <a:lnTo>
                        <a:pt x="504" y="349"/>
                      </a:lnTo>
                      <a:lnTo>
                        <a:pt x="493" y="336"/>
                      </a:lnTo>
                      <a:lnTo>
                        <a:pt x="475" y="334"/>
                      </a:lnTo>
                      <a:lnTo>
                        <a:pt x="451" y="297"/>
                      </a:lnTo>
                      <a:lnTo>
                        <a:pt x="465" y="276"/>
                      </a:lnTo>
                      <a:lnTo>
                        <a:pt x="471" y="264"/>
                      </a:lnTo>
                      <a:lnTo>
                        <a:pt x="465" y="250"/>
                      </a:lnTo>
                      <a:lnTo>
                        <a:pt x="439" y="250"/>
                      </a:lnTo>
                      <a:lnTo>
                        <a:pt x="439" y="225"/>
                      </a:lnTo>
                      <a:lnTo>
                        <a:pt x="429" y="205"/>
                      </a:lnTo>
                      <a:lnTo>
                        <a:pt x="436" y="190"/>
                      </a:lnTo>
                      <a:lnTo>
                        <a:pt x="424" y="186"/>
                      </a:lnTo>
                      <a:lnTo>
                        <a:pt x="424" y="166"/>
                      </a:lnTo>
                      <a:lnTo>
                        <a:pt x="435" y="153"/>
                      </a:lnTo>
                      <a:lnTo>
                        <a:pt x="433" y="132"/>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6" name="Freeform 231"/>
                <p:cNvSpPr>
                  <a:spLocks/>
                </p:cNvSpPr>
                <p:nvPr/>
              </p:nvSpPr>
              <p:spPr bwMode="auto">
                <a:xfrm>
                  <a:off x="6049277" y="2730347"/>
                  <a:ext cx="206319" cy="126753"/>
                </a:xfrm>
                <a:custGeom>
                  <a:avLst/>
                  <a:gdLst>
                    <a:gd name="T0" fmla="*/ 201 w 201"/>
                    <a:gd name="T1" fmla="*/ 107 h 126"/>
                    <a:gd name="T2" fmla="*/ 194 w 201"/>
                    <a:gd name="T3" fmla="*/ 96 h 126"/>
                    <a:gd name="T4" fmla="*/ 195 w 201"/>
                    <a:gd name="T5" fmla="*/ 77 h 126"/>
                    <a:gd name="T6" fmla="*/ 167 w 201"/>
                    <a:gd name="T7" fmla="*/ 68 h 126"/>
                    <a:gd name="T8" fmla="*/ 153 w 201"/>
                    <a:gd name="T9" fmla="*/ 56 h 126"/>
                    <a:gd name="T10" fmla="*/ 153 w 201"/>
                    <a:gd name="T11" fmla="*/ 44 h 126"/>
                    <a:gd name="T12" fmla="*/ 126 w 201"/>
                    <a:gd name="T13" fmla="*/ 45 h 126"/>
                    <a:gd name="T14" fmla="*/ 117 w 201"/>
                    <a:gd name="T15" fmla="*/ 53 h 126"/>
                    <a:gd name="T16" fmla="*/ 99 w 201"/>
                    <a:gd name="T17" fmla="*/ 41 h 126"/>
                    <a:gd name="T18" fmla="*/ 83 w 201"/>
                    <a:gd name="T19" fmla="*/ 50 h 126"/>
                    <a:gd name="T20" fmla="*/ 74 w 201"/>
                    <a:gd name="T21" fmla="*/ 38 h 126"/>
                    <a:gd name="T22" fmla="*/ 48 w 201"/>
                    <a:gd name="T23" fmla="*/ 45 h 126"/>
                    <a:gd name="T24" fmla="*/ 42 w 201"/>
                    <a:gd name="T25" fmla="*/ 36 h 126"/>
                    <a:gd name="T26" fmla="*/ 51 w 201"/>
                    <a:gd name="T27" fmla="*/ 20 h 126"/>
                    <a:gd name="T28" fmla="*/ 71 w 201"/>
                    <a:gd name="T29" fmla="*/ 29 h 126"/>
                    <a:gd name="T30" fmla="*/ 66 w 201"/>
                    <a:gd name="T31" fmla="*/ 15 h 126"/>
                    <a:gd name="T32" fmla="*/ 72 w 201"/>
                    <a:gd name="T33" fmla="*/ 6 h 126"/>
                    <a:gd name="T34" fmla="*/ 62 w 201"/>
                    <a:gd name="T35" fmla="*/ 0 h 126"/>
                    <a:gd name="T36" fmla="*/ 51 w 201"/>
                    <a:gd name="T37" fmla="*/ 11 h 126"/>
                    <a:gd name="T38" fmla="*/ 41 w 201"/>
                    <a:gd name="T39" fmla="*/ 5 h 126"/>
                    <a:gd name="T40" fmla="*/ 32 w 201"/>
                    <a:gd name="T41" fmla="*/ 15 h 126"/>
                    <a:gd name="T42" fmla="*/ 41 w 201"/>
                    <a:gd name="T43" fmla="*/ 23 h 126"/>
                    <a:gd name="T44" fmla="*/ 26 w 201"/>
                    <a:gd name="T45" fmla="*/ 24 h 126"/>
                    <a:gd name="T46" fmla="*/ 27 w 201"/>
                    <a:gd name="T47" fmla="*/ 44 h 126"/>
                    <a:gd name="T48" fmla="*/ 12 w 201"/>
                    <a:gd name="T49" fmla="*/ 39 h 126"/>
                    <a:gd name="T50" fmla="*/ 0 w 201"/>
                    <a:gd name="T51" fmla="*/ 48 h 126"/>
                    <a:gd name="T52" fmla="*/ 8 w 201"/>
                    <a:gd name="T53" fmla="*/ 56 h 126"/>
                    <a:gd name="T54" fmla="*/ 24 w 201"/>
                    <a:gd name="T55" fmla="*/ 60 h 126"/>
                    <a:gd name="T56" fmla="*/ 26 w 201"/>
                    <a:gd name="T57" fmla="*/ 72 h 126"/>
                    <a:gd name="T58" fmla="*/ 36 w 201"/>
                    <a:gd name="T59" fmla="*/ 83 h 126"/>
                    <a:gd name="T60" fmla="*/ 26 w 201"/>
                    <a:gd name="T61" fmla="*/ 101 h 126"/>
                    <a:gd name="T62" fmla="*/ 24 w 201"/>
                    <a:gd name="T63" fmla="*/ 114 h 126"/>
                    <a:gd name="T64" fmla="*/ 33 w 201"/>
                    <a:gd name="T65" fmla="*/ 123 h 126"/>
                    <a:gd name="T66" fmla="*/ 50 w 201"/>
                    <a:gd name="T67" fmla="*/ 107 h 126"/>
                    <a:gd name="T68" fmla="*/ 65 w 201"/>
                    <a:gd name="T69" fmla="*/ 119 h 126"/>
                    <a:gd name="T70" fmla="*/ 63 w 201"/>
                    <a:gd name="T71" fmla="*/ 102 h 126"/>
                    <a:gd name="T72" fmla="*/ 83 w 201"/>
                    <a:gd name="T73" fmla="*/ 102 h 126"/>
                    <a:gd name="T74" fmla="*/ 80 w 201"/>
                    <a:gd name="T75" fmla="*/ 90 h 126"/>
                    <a:gd name="T76" fmla="*/ 90 w 201"/>
                    <a:gd name="T77" fmla="*/ 74 h 126"/>
                    <a:gd name="T78" fmla="*/ 102 w 201"/>
                    <a:gd name="T79" fmla="*/ 80 h 126"/>
                    <a:gd name="T80" fmla="*/ 105 w 201"/>
                    <a:gd name="T81" fmla="*/ 92 h 126"/>
                    <a:gd name="T82" fmla="*/ 116 w 201"/>
                    <a:gd name="T83" fmla="*/ 90 h 126"/>
                    <a:gd name="T84" fmla="*/ 114 w 201"/>
                    <a:gd name="T85" fmla="*/ 116 h 126"/>
                    <a:gd name="T86" fmla="*/ 117 w 201"/>
                    <a:gd name="T87" fmla="*/ 126 h 126"/>
                    <a:gd name="T88" fmla="*/ 137 w 201"/>
                    <a:gd name="T89" fmla="*/ 117 h 126"/>
                    <a:gd name="T90" fmla="*/ 149 w 201"/>
                    <a:gd name="T91" fmla="*/ 105 h 126"/>
                    <a:gd name="T92" fmla="*/ 165 w 201"/>
                    <a:gd name="T93" fmla="*/ 105 h 126"/>
                    <a:gd name="T94" fmla="*/ 173 w 201"/>
                    <a:gd name="T95" fmla="*/ 111 h 126"/>
                    <a:gd name="T96" fmla="*/ 182 w 201"/>
                    <a:gd name="T97" fmla="*/ 105 h 126"/>
                    <a:gd name="T98" fmla="*/ 201 w 201"/>
                    <a:gd name="T99" fmla="*/ 10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 h="126">
                      <a:moveTo>
                        <a:pt x="201" y="107"/>
                      </a:moveTo>
                      <a:lnTo>
                        <a:pt x="194" y="96"/>
                      </a:lnTo>
                      <a:lnTo>
                        <a:pt x="195" y="77"/>
                      </a:lnTo>
                      <a:lnTo>
                        <a:pt x="167" y="68"/>
                      </a:lnTo>
                      <a:lnTo>
                        <a:pt x="153" y="56"/>
                      </a:lnTo>
                      <a:lnTo>
                        <a:pt x="153" y="44"/>
                      </a:lnTo>
                      <a:lnTo>
                        <a:pt x="126" y="45"/>
                      </a:lnTo>
                      <a:lnTo>
                        <a:pt x="117" y="53"/>
                      </a:lnTo>
                      <a:lnTo>
                        <a:pt x="99" y="41"/>
                      </a:lnTo>
                      <a:lnTo>
                        <a:pt x="83" y="50"/>
                      </a:lnTo>
                      <a:lnTo>
                        <a:pt x="74" y="38"/>
                      </a:lnTo>
                      <a:lnTo>
                        <a:pt x="48" y="45"/>
                      </a:lnTo>
                      <a:lnTo>
                        <a:pt x="42" y="36"/>
                      </a:lnTo>
                      <a:lnTo>
                        <a:pt x="51" y="20"/>
                      </a:lnTo>
                      <a:lnTo>
                        <a:pt x="71" y="29"/>
                      </a:lnTo>
                      <a:lnTo>
                        <a:pt x="66" y="15"/>
                      </a:lnTo>
                      <a:lnTo>
                        <a:pt x="72" y="6"/>
                      </a:lnTo>
                      <a:lnTo>
                        <a:pt x="62" y="0"/>
                      </a:lnTo>
                      <a:lnTo>
                        <a:pt x="51" y="11"/>
                      </a:lnTo>
                      <a:lnTo>
                        <a:pt x="41" y="5"/>
                      </a:lnTo>
                      <a:lnTo>
                        <a:pt x="32" y="15"/>
                      </a:lnTo>
                      <a:lnTo>
                        <a:pt x="41" y="23"/>
                      </a:lnTo>
                      <a:lnTo>
                        <a:pt x="26" y="24"/>
                      </a:lnTo>
                      <a:lnTo>
                        <a:pt x="27" y="44"/>
                      </a:lnTo>
                      <a:lnTo>
                        <a:pt x="12" y="39"/>
                      </a:lnTo>
                      <a:lnTo>
                        <a:pt x="0" y="48"/>
                      </a:lnTo>
                      <a:lnTo>
                        <a:pt x="8" y="56"/>
                      </a:lnTo>
                      <a:lnTo>
                        <a:pt x="24" y="60"/>
                      </a:lnTo>
                      <a:lnTo>
                        <a:pt x="26" y="72"/>
                      </a:lnTo>
                      <a:lnTo>
                        <a:pt x="36" y="83"/>
                      </a:lnTo>
                      <a:lnTo>
                        <a:pt x="26" y="101"/>
                      </a:lnTo>
                      <a:lnTo>
                        <a:pt x="24" y="114"/>
                      </a:lnTo>
                      <a:lnTo>
                        <a:pt x="33" y="123"/>
                      </a:lnTo>
                      <a:lnTo>
                        <a:pt x="50" y="107"/>
                      </a:lnTo>
                      <a:lnTo>
                        <a:pt x="65" y="119"/>
                      </a:lnTo>
                      <a:lnTo>
                        <a:pt x="63" y="102"/>
                      </a:lnTo>
                      <a:lnTo>
                        <a:pt x="83" y="102"/>
                      </a:lnTo>
                      <a:lnTo>
                        <a:pt x="80" y="90"/>
                      </a:lnTo>
                      <a:lnTo>
                        <a:pt x="90" y="74"/>
                      </a:lnTo>
                      <a:lnTo>
                        <a:pt x="102" y="80"/>
                      </a:lnTo>
                      <a:lnTo>
                        <a:pt x="105" y="92"/>
                      </a:lnTo>
                      <a:lnTo>
                        <a:pt x="116" y="90"/>
                      </a:lnTo>
                      <a:lnTo>
                        <a:pt x="114" y="116"/>
                      </a:lnTo>
                      <a:lnTo>
                        <a:pt x="117" y="126"/>
                      </a:lnTo>
                      <a:lnTo>
                        <a:pt x="137" y="117"/>
                      </a:lnTo>
                      <a:lnTo>
                        <a:pt x="149" y="105"/>
                      </a:lnTo>
                      <a:lnTo>
                        <a:pt x="165" y="105"/>
                      </a:lnTo>
                      <a:lnTo>
                        <a:pt x="173" y="111"/>
                      </a:lnTo>
                      <a:lnTo>
                        <a:pt x="182" y="105"/>
                      </a:lnTo>
                      <a:lnTo>
                        <a:pt x="201" y="10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7" name="Freeform 232"/>
                <p:cNvSpPr>
                  <a:spLocks/>
                </p:cNvSpPr>
                <p:nvPr/>
              </p:nvSpPr>
              <p:spPr bwMode="auto">
                <a:xfrm>
                  <a:off x="5909662" y="2805795"/>
                  <a:ext cx="345933" cy="268596"/>
                </a:xfrm>
                <a:custGeom>
                  <a:avLst/>
                  <a:gdLst>
                    <a:gd name="T0" fmla="*/ 337 w 337"/>
                    <a:gd name="T1" fmla="*/ 33 h 270"/>
                    <a:gd name="T2" fmla="*/ 315 w 337"/>
                    <a:gd name="T3" fmla="*/ 31 h 270"/>
                    <a:gd name="T4" fmla="*/ 306 w 337"/>
                    <a:gd name="T5" fmla="*/ 37 h 270"/>
                    <a:gd name="T6" fmla="*/ 301 w 337"/>
                    <a:gd name="T7" fmla="*/ 27 h 270"/>
                    <a:gd name="T8" fmla="*/ 280 w 337"/>
                    <a:gd name="T9" fmla="*/ 31 h 270"/>
                    <a:gd name="T10" fmla="*/ 271 w 337"/>
                    <a:gd name="T11" fmla="*/ 45 h 270"/>
                    <a:gd name="T12" fmla="*/ 250 w 337"/>
                    <a:gd name="T13" fmla="*/ 49 h 270"/>
                    <a:gd name="T14" fmla="*/ 252 w 337"/>
                    <a:gd name="T15" fmla="*/ 15 h 270"/>
                    <a:gd name="T16" fmla="*/ 238 w 337"/>
                    <a:gd name="T17" fmla="*/ 18 h 270"/>
                    <a:gd name="T18" fmla="*/ 238 w 337"/>
                    <a:gd name="T19" fmla="*/ 6 h 270"/>
                    <a:gd name="T20" fmla="*/ 225 w 337"/>
                    <a:gd name="T21" fmla="*/ 0 h 270"/>
                    <a:gd name="T22" fmla="*/ 216 w 337"/>
                    <a:gd name="T23" fmla="*/ 16 h 270"/>
                    <a:gd name="T24" fmla="*/ 217 w 337"/>
                    <a:gd name="T25" fmla="*/ 28 h 270"/>
                    <a:gd name="T26" fmla="*/ 199 w 337"/>
                    <a:gd name="T27" fmla="*/ 30 h 270"/>
                    <a:gd name="T28" fmla="*/ 201 w 337"/>
                    <a:gd name="T29" fmla="*/ 43 h 270"/>
                    <a:gd name="T30" fmla="*/ 186 w 337"/>
                    <a:gd name="T31" fmla="*/ 34 h 270"/>
                    <a:gd name="T32" fmla="*/ 168 w 337"/>
                    <a:gd name="T33" fmla="*/ 48 h 270"/>
                    <a:gd name="T34" fmla="*/ 159 w 337"/>
                    <a:gd name="T35" fmla="*/ 39 h 270"/>
                    <a:gd name="T36" fmla="*/ 126 w 337"/>
                    <a:gd name="T37" fmla="*/ 33 h 270"/>
                    <a:gd name="T38" fmla="*/ 111 w 337"/>
                    <a:gd name="T39" fmla="*/ 27 h 270"/>
                    <a:gd name="T40" fmla="*/ 102 w 337"/>
                    <a:gd name="T41" fmla="*/ 42 h 270"/>
                    <a:gd name="T42" fmla="*/ 91 w 337"/>
                    <a:gd name="T43" fmla="*/ 42 h 270"/>
                    <a:gd name="T44" fmla="*/ 87 w 337"/>
                    <a:gd name="T45" fmla="*/ 66 h 270"/>
                    <a:gd name="T46" fmla="*/ 58 w 337"/>
                    <a:gd name="T47" fmla="*/ 78 h 270"/>
                    <a:gd name="T48" fmla="*/ 57 w 337"/>
                    <a:gd name="T49" fmla="*/ 94 h 270"/>
                    <a:gd name="T50" fmla="*/ 37 w 337"/>
                    <a:gd name="T51" fmla="*/ 97 h 270"/>
                    <a:gd name="T52" fmla="*/ 33 w 337"/>
                    <a:gd name="T53" fmla="*/ 87 h 270"/>
                    <a:gd name="T54" fmla="*/ 9 w 337"/>
                    <a:gd name="T55" fmla="*/ 91 h 270"/>
                    <a:gd name="T56" fmla="*/ 10 w 337"/>
                    <a:gd name="T57" fmla="*/ 112 h 270"/>
                    <a:gd name="T58" fmla="*/ 0 w 337"/>
                    <a:gd name="T59" fmla="*/ 126 h 270"/>
                    <a:gd name="T60" fmla="*/ 0 w 337"/>
                    <a:gd name="T61" fmla="*/ 145 h 270"/>
                    <a:gd name="T62" fmla="*/ 15 w 337"/>
                    <a:gd name="T63" fmla="*/ 147 h 270"/>
                    <a:gd name="T64" fmla="*/ 6 w 337"/>
                    <a:gd name="T65" fmla="*/ 162 h 270"/>
                    <a:gd name="T66" fmla="*/ 15 w 337"/>
                    <a:gd name="T67" fmla="*/ 181 h 270"/>
                    <a:gd name="T68" fmla="*/ 16 w 337"/>
                    <a:gd name="T69" fmla="*/ 208 h 270"/>
                    <a:gd name="T70" fmla="*/ 42 w 337"/>
                    <a:gd name="T71" fmla="*/ 207 h 270"/>
                    <a:gd name="T72" fmla="*/ 48 w 337"/>
                    <a:gd name="T73" fmla="*/ 222 h 270"/>
                    <a:gd name="T74" fmla="*/ 27 w 337"/>
                    <a:gd name="T75" fmla="*/ 259 h 270"/>
                    <a:gd name="T76" fmla="*/ 46 w 337"/>
                    <a:gd name="T77" fmla="*/ 259 h 270"/>
                    <a:gd name="T78" fmla="*/ 85 w 337"/>
                    <a:gd name="T79" fmla="*/ 270 h 270"/>
                    <a:gd name="T80" fmla="*/ 123 w 337"/>
                    <a:gd name="T81" fmla="*/ 265 h 270"/>
                    <a:gd name="T82" fmla="*/ 162 w 337"/>
                    <a:gd name="T83" fmla="*/ 253 h 270"/>
                    <a:gd name="T84" fmla="*/ 159 w 337"/>
                    <a:gd name="T85" fmla="*/ 223 h 270"/>
                    <a:gd name="T86" fmla="*/ 172 w 337"/>
                    <a:gd name="T87" fmla="*/ 211 h 270"/>
                    <a:gd name="T88" fmla="*/ 189 w 337"/>
                    <a:gd name="T89" fmla="*/ 213 h 270"/>
                    <a:gd name="T90" fmla="*/ 210 w 337"/>
                    <a:gd name="T91" fmla="*/ 196 h 270"/>
                    <a:gd name="T92" fmla="*/ 223 w 337"/>
                    <a:gd name="T93" fmla="*/ 204 h 270"/>
                    <a:gd name="T94" fmla="*/ 231 w 337"/>
                    <a:gd name="T95" fmla="*/ 195 h 270"/>
                    <a:gd name="T96" fmla="*/ 226 w 337"/>
                    <a:gd name="T97" fmla="*/ 165 h 270"/>
                    <a:gd name="T98" fmla="*/ 249 w 337"/>
                    <a:gd name="T99" fmla="*/ 151 h 270"/>
                    <a:gd name="T100" fmla="*/ 229 w 337"/>
                    <a:gd name="T101" fmla="*/ 132 h 270"/>
                    <a:gd name="T102" fmla="*/ 253 w 337"/>
                    <a:gd name="T103" fmla="*/ 133 h 270"/>
                    <a:gd name="T104" fmla="*/ 261 w 337"/>
                    <a:gd name="T105" fmla="*/ 123 h 270"/>
                    <a:gd name="T106" fmla="*/ 255 w 337"/>
                    <a:gd name="T107" fmla="*/ 114 h 270"/>
                    <a:gd name="T108" fmla="*/ 267 w 337"/>
                    <a:gd name="T109" fmla="*/ 102 h 270"/>
                    <a:gd name="T110" fmla="*/ 264 w 337"/>
                    <a:gd name="T111" fmla="*/ 82 h 270"/>
                    <a:gd name="T112" fmla="*/ 252 w 337"/>
                    <a:gd name="T113" fmla="*/ 69 h 270"/>
                    <a:gd name="T114" fmla="*/ 280 w 337"/>
                    <a:gd name="T115" fmla="*/ 51 h 270"/>
                    <a:gd name="T116" fmla="*/ 318 w 337"/>
                    <a:gd name="T117" fmla="*/ 51 h 270"/>
                    <a:gd name="T118" fmla="*/ 327 w 337"/>
                    <a:gd name="T119" fmla="*/ 43 h 270"/>
                    <a:gd name="T120" fmla="*/ 337 w 337"/>
                    <a:gd name="T121" fmla="*/ 3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7" h="270">
                      <a:moveTo>
                        <a:pt x="337" y="33"/>
                      </a:moveTo>
                      <a:lnTo>
                        <a:pt x="315" y="31"/>
                      </a:lnTo>
                      <a:lnTo>
                        <a:pt x="306" y="37"/>
                      </a:lnTo>
                      <a:lnTo>
                        <a:pt x="301" y="27"/>
                      </a:lnTo>
                      <a:lnTo>
                        <a:pt x="280" y="31"/>
                      </a:lnTo>
                      <a:lnTo>
                        <a:pt x="271" y="45"/>
                      </a:lnTo>
                      <a:lnTo>
                        <a:pt x="250" y="49"/>
                      </a:lnTo>
                      <a:lnTo>
                        <a:pt x="252" y="15"/>
                      </a:lnTo>
                      <a:lnTo>
                        <a:pt x="238" y="18"/>
                      </a:lnTo>
                      <a:lnTo>
                        <a:pt x="238" y="6"/>
                      </a:lnTo>
                      <a:lnTo>
                        <a:pt x="225" y="0"/>
                      </a:lnTo>
                      <a:lnTo>
                        <a:pt x="216" y="16"/>
                      </a:lnTo>
                      <a:lnTo>
                        <a:pt x="217" y="28"/>
                      </a:lnTo>
                      <a:lnTo>
                        <a:pt x="199" y="30"/>
                      </a:lnTo>
                      <a:lnTo>
                        <a:pt x="201" y="43"/>
                      </a:lnTo>
                      <a:lnTo>
                        <a:pt x="186" y="34"/>
                      </a:lnTo>
                      <a:lnTo>
                        <a:pt x="168" y="48"/>
                      </a:lnTo>
                      <a:lnTo>
                        <a:pt x="159" y="39"/>
                      </a:lnTo>
                      <a:lnTo>
                        <a:pt x="126" y="33"/>
                      </a:lnTo>
                      <a:lnTo>
                        <a:pt x="111" y="27"/>
                      </a:lnTo>
                      <a:lnTo>
                        <a:pt x="102" y="42"/>
                      </a:lnTo>
                      <a:lnTo>
                        <a:pt x="91" y="42"/>
                      </a:lnTo>
                      <a:lnTo>
                        <a:pt x="87" y="66"/>
                      </a:lnTo>
                      <a:lnTo>
                        <a:pt x="58" y="78"/>
                      </a:lnTo>
                      <a:lnTo>
                        <a:pt x="57" y="94"/>
                      </a:lnTo>
                      <a:lnTo>
                        <a:pt x="37" y="97"/>
                      </a:lnTo>
                      <a:lnTo>
                        <a:pt x="33" y="87"/>
                      </a:lnTo>
                      <a:lnTo>
                        <a:pt x="9" y="91"/>
                      </a:lnTo>
                      <a:lnTo>
                        <a:pt x="10" y="112"/>
                      </a:lnTo>
                      <a:lnTo>
                        <a:pt x="0" y="126"/>
                      </a:lnTo>
                      <a:lnTo>
                        <a:pt x="0" y="145"/>
                      </a:lnTo>
                      <a:lnTo>
                        <a:pt x="15" y="147"/>
                      </a:lnTo>
                      <a:lnTo>
                        <a:pt x="6" y="162"/>
                      </a:lnTo>
                      <a:lnTo>
                        <a:pt x="15" y="181"/>
                      </a:lnTo>
                      <a:lnTo>
                        <a:pt x="16" y="208"/>
                      </a:lnTo>
                      <a:lnTo>
                        <a:pt x="42" y="207"/>
                      </a:lnTo>
                      <a:lnTo>
                        <a:pt x="48" y="222"/>
                      </a:lnTo>
                      <a:lnTo>
                        <a:pt x="27" y="259"/>
                      </a:lnTo>
                      <a:lnTo>
                        <a:pt x="46" y="259"/>
                      </a:lnTo>
                      <a:lnTo>
                        <a:pt x="85" y="270"/>
                      </a:lnTo>
                      <a:lnTo>
                        <a:pt x="123" y="265"/>
                      </a:lnTo>
                      <a:lnTo>
                        <a:pt x="162" y="253"/>
                      </a:lnTo>
                      <a:lnTo>
                        <a:pt x="159" y="223"/>
                      </a:lnTo>
                      <a:lnTo>
                        <a:pt x="172" y="211"/>
                      </a:lnTo>
                      <a:lnTo>
                        <a:pt x="189" y="213"/>
                      </a:lnTo>
                      <a:lnTo>
                        <a:pt x="210" y="196"/>
                      </a:lnTo>
                      <a:lnTo>
                        <a:pt x="223" y="204"/>
                      </a:lnTo>
                      <a:lnTo>
                        <a:pt x="231" y="195"/>
                      </a:lnTo>
                      <a:lnTo>
                        <a:pt x="226" y="165"/>
                      </a:lnTo>
                      <a:lnTo>
                        <a:pt x="249" y="151"/>
                      </a:lnTo>
                      <a:lnTo>
                        <a:pt x="229" y="132"/>
                      </a:lnTo>
                      <a:lnTo>
                        <a:pt x="253" y="133"/>
                      </a:lnTo>
                      <a:lnTo>
                        <a:pt x="261" y="123"/>
                      </a:lnTo>
                      <a:lnTo>
                        <a:pt x="255" y="114"/>
                      </a:lnTo>
                      <a:lnTo>
                        <a:pt x="267" y="102"/>
                      </a:lnTo>
                      <a:lnTo>
                        <a:pt x="264" y="82"/>
                      </a:lnTo>
                      <a:lnTo>
                        <a:pt x="252" y="69"/>
                      </a:lnTo>
                      <a:lnTo>
                        <a:pt x="280" y="51"/>
                      </a:lnTo>
                      <a:lnTo>
                        <a:pt x="318" y="51"/>
                      </a:lnTo>
                      <a:lnTo>
                        <a:pt x="327" y="43"/>
                      </a:lnTo>
                      <a:lnTo>
                        <a:pt x="337" y="3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8" name="Freeform 233"/>
                <p:cNvSpPr>
                  <a:spLocks/>
                </p:cNvSpPr>
                <p:nvPr/>
              </p:nvSpPr>
              <p:spPr bwMode="auto">
                <a:xfrm>
                  <a:off x="6491388" y="3650818"/>
                  <a:ext cx="62051" cy="120717"/>
                </a:xfrm>
                <a:custGeom>
                  <a:avLst/>
                  <a:gdLst>
                    <a:gd name="T0" fmla="*/ 10 w 61"/>
                    <a:gd name="T1" fmla="*/ 4 h 121"/>
                    <a:gd name="T2" fmla="*/ 5 w 61"/>
                    <a:gd name="T3" fmla="*/ 31 h 121"/>
                    <a:gd name="T4" fmla="*/ 7 w 61"/>
                    <a:gd name="T5" fmla="*/ 100 h 121"/>
                    <a:gd name="T6" fmla="*/ 26 w 61"/>
                    <a:gd name="T7" fmla="*/ 121 h 121"/>
                    <a:gd name="T8" fmla="*/ 53 w 61"/>
                    <a:gd name="T9" fmla="*/ 109 h 121"/>
                    <a:gd name="T10" fmla="*/ 61 w 61"/>
                    <a:gd name="T11" fmla="*/ 95 h 121"/>
                    <a:gd name="T12" fmla="*/ 47 w 61"/>
                    <a:gd name="T13" fmla="*/ 56 h 121"/>
                    <a:gd name="T14" fmla="*/ 25 w 61"/>
                    <a:gd name="T15" fmla="*/ 16 h 121"/>
                    <a:gd name="T16" fmla="*/ 10 w 61"/>
                    <a:gd name="T17"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21">
                      <a:moveTo>
                        <a:pt x="10" y="4"/>
                      </a:moveTo>
                      <a:cubicBezTo>
                        <a:pt x="6" y="13"/>
                        <a:pt x="9" y="22"/>
                        <a:pt x="5" y="31"/>
                      </a:cubicBezTo>
                      <a:cubicBezTo>
                        <a:pt x="1" y="53"/>
                        <a:pt x="0" y="78"/>
                        <a:pt x="7" y="100"/>
                      </a:cubicBezTo>
                      <a:cubicBezTo>
                        <a:pt x="9" y="114"/>
                        <a:pt x="13" y="116"/>
                        <a:pt x="26" y="121"/>
                      </a:cubicBezTo>
                      <a:cubicBezTo>
                        <a:pt x="39" y="118"/>
                        <a:pt x="43" y="117"/>
                        <a:pt x="53" y="109"/>
                      </a:cubicBezTo>
                      <a:cubicBezTo>
                        <a:pt x="56" y="104"/>
                        <a:pt x="59" y="100"/>
                        <a:pt x="61" y="95"/>
                      </a:cubicBezTo>
                      <a:cubicBezTo>
                        <a:pt x="59" y="77"/>
                        <a:pt x="56" y="70"/>
                        <a:pt x="47" y="56"/>
                      </a:cubicBezTo>
                      <a:cubicBezTo>
                        <a:pt x="45" y="42"/>
                        <a:pt x="37" y="25"/>
                        <a:pt x="25" y="16"/>
                      </a:cubicBezTo>
                      <a:cubicBezTo>
                        <a:pt x="23" y="12"/>
                        <a:pt x="10" y="0"/>
                        <a:pt x="10" y="4"/>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29" name="Freeform 234"/>
                <p:cNvSpPr>
                  <a:spLocks/>
                </p:cNvSpPr>
                <p:nvPr/>
              </p:nvSpPr>
              <p:spPr bwMode="auto">
                <a:xfrm>
                  <a:off x="6440196" y="3039686"/>
                  <a:ext cx="220280" cy="122226"/>
                </a:xfrm>
                <a:custGeom>
                  <a:avLst/>
                  <a:gdLst>
                    <a:gd name="T0" fmla="*/ 24 w 213"/>
                    <a:gd name="T1" fmla="*/ 0 h 123"/>
                    <a:gd name="T2" fmla="*/ 21 w 213"/>
                    <a:gd name="T3" fmla="*/ 12 h 123"/>
                    <a:gd name="T4" fmla="*/ 12 w 213"/>
                    <a:gd name="T5" fmla="*/ 7 h 123"/>
                    <a:gd name="T6" fmla="*/ 3 w 213"/>
                    <a:gd name="T7" fmla="*/ 22 h 123"/>
                    <a:gd name="T8" fmla="*/ 0 w 213"/>
                    <a:gd name="T9" fmla="*/ 52 h 123"/>
                    <a:gd name="T10" fmla="*/ 44 w 213"/>
                    <a:gd name="T11" fmla="*/ 76 h 123"/>
                    <a:gd name="T12" fmla="*/ 84 w 213"/>
                    <a:gd name="T13" fmla="*/ 90 h 123"/>
                    <a:gd name="T14" fmla="*/ 108 w 213"/>
                    <a:gd name="T15" fmla="*/ 90 h 123"/>
                    <a:gd name="T16" fmla="*/ 150 w 213"/>
                    <a:gd name="T17" fmla="*/ 109 h 123"/>
                    <a:gd name="T18" fmla="*/ 159 w 213"/>
                    <a:gd name="T19" fmla="*/ 123 h 123"/>
                    <a:gd name="T20" fmla="*/ 213 w 213"/>
                    <a:gd name="T21" fmla="*/ 123 h 123"/>
                    <a:gd name="T22" fmla="*/ 213 w 213"/>
                    <a:gd name="T23" fmla="*/ 105 h 123"/>
                    <a:gd name="T24" fmla="*/ 203 w 213"/>
                    <a:gd name="T25" fmla="*/ 103 h 123"/>
                    <a:gd name="T26" fmla="*/ 206 w 213"/>
                    <a:gd name="T27" fmla="*/ 78 h 123"/>
                    <a:gd name="T28" fmla="*/ 185 w 213"/>
                    <a:gd name="T29" fmla="*/ 78 h 123"/>
                    <a:gd name="T30" fmla="*/ 149 w 213"/>
                    <a:gd name="T31" fmla="*/ 73 h 123"/>
                    <a:gd name="T32" fmla="*/ 107 w 213"/>
                    <a:gd name="T33" fmla="*/ 55 h 123"/>
                    <a:gd name="T34" fmla="*/ 95 w 213"/>
                    <a:gd name="T35" fmla="*/ 37 h 123"/>
                    <a:gd name="T36" fmla="*/ 74 w 213"/>
                    <a:gd name="T37" fmla="*/ 39 h 123"/>
                    <a:gd name="T38" fmla="*/ 66 w 213"/>
                    <a:gd name="T39" fmla="*/ 25 h 123"/>
                    <a:gd name="T40" fmla="*/ 45 w 213"/>
                    <a:gd name="T41" fmla="*/ 15 h 123"/>
                    <a:gd name="T42" fmla="*/ 24 w 213"/>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23">
                      <a:moveTo>
                        <a:pt x="24" y="0"/>
                      </a:moveTo>
                      <a:lnTo>
                        <a:pt x="21" y="12"/>
                      </a:lnTo>
                      <a:lnTo>
                        <a:pt x="12" y="7"/>
                      </a:lnTo>
                      <a:lnTo>
                        <a:pt x="3" y="22"/>
                      </a:lnTo>
                      <a:lnTo>
                        <a:pt x="0" y="52"/>
                      </a:lnTo>
                      <a:lnTo>
                        <a:pt x="44" y="76"/>
                      </a:lnTo>
                      <a:lnTo>
                        <a:pt x="84" y="90"/>
                      </a:lnTo>
                      <a:lnTo>
                        <a:pt x="108" y="90"/>
                      </a:lnTo>
                      <a:lnTo>
                        <a:pt x="150" y="109"/>
                      </a:lnTo>
                      <a:lnTo>
                        <a:pt x="159" y="123"/>
                      </a:lnTo>
                      <a:lnTo>
                        <a:pt x="213" y="123"/>
                      </a:lnTo>
                      <a:lnTo>
                        <a:pt x="213" y="105"/>
                      </a:lnTo>
                      <a:lnTo>
                        <a:pt x="203" y="103"/>
                      </a:lnTo>
                      <a:lnTo>
                        <a:pt x="206" y="78"/>
                      </a:lnTo>
                      <a:lnTo>
                        <a:pt x="185" y="78"/>
                      </a:lnTo>
                      <a:lnTo>
                        <a:pt x="149" y="73"/>
                      </a:lnTo>
                      <a:lnTo>
                        <a:pt x="107" y="55"/>
                      </a:lnTo>
                      <a:lnTo>
                        <a:pt x="95" y="37"/>
                      </a:lnTo>
                      <a:lnTo>
                        <a:pt x="74" y="39"/>
                      </a:lnTo>
                      <a:lnTo>
                        <a:pt x="66" y="25"/>
                      </a:lnTo>
                      <a:lnTo>
                        <a:pt x="45" y="15"/>
                      </a:lnTo>
                      <a:lnTo>
                        <a:pt x="24"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0" name="Freeform 235"/>
                <p:cNvSpPr>
                  <a:spLocks/>
                </p:cNvSpPr>
                <p:nvPr/>
              </p:nvSpPr>
              <p:spPr bwMode="auto">
                <a:xfrm>
                  <a:off x="6672885" y="3104572"/>
                  <a:ext cx="85320" cy="51305"/>
                </a:xfrm>
                <a:custGeom>
                  <a:avLst/>
                  <a:gdLst>
                    <a:gd name="T0" fmla="*/ 18 w 83"/>
                    <a:gd name="T1" fmla="*/ 0 h 51"/>
                    <a:gd name="T2" fmla="*/ 0 w 83"/>
                    <a:gd name="T3" fmla="*/ 34 h 51"/>
                    <a:gd name="T4" fmla="*/ 8 w 83"/>
                    <a:gd name="T5" fmla="*/ 45 h 51"/>
                    <a:gd name="T6" fmla="*/ 35 w 83"/>
                    <a:gd name="T7" fmla="*/ 48 h 51"/>
                    <a:gd name="T8" fmla="*/ 69 w 83"/>
                    <a:gd name="T9" fmla="*/ 51 h 51"/>
                    <a:gd name="T10" fmla="*/ 83 w 83"/>
                    <a:gd name="T11" fmla="*/ 40 h 51"/>
                    <a:gd name="T12" fmla="*/ 81 w 83"/>
                    <a:gd name="T13" fmla="*/ 27 h 51"/>
                    <a:gd name="T14" fmla="*/ 69 w 83"/>
                    <a:gd name="T15" fmla="*/ 22 h 51"/>
                    <a:gd name="T16" fmla="*/ 60 w 83"/>
                    <a:gd name="T17" fmla="*/ 3 h 51"/>
                    <a:gd name="T18" fmla="*/ 42 w 83"/>
                    <a:gd name="T19" fmla="*/ 7 h 51"/>
                    <a:gd name="T20" fmla="*/ 30 w 83"/>
                    <a:gd name="T21" fmla="*/ 0 h 51"/>
                    <a:gd name="T22" fmla="*/ 18 w 83"/>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51">
                      <a:moveTo>
                        <a:pt x="18" y="0"/>
                      </a:moveTo>
                      <a:lnTo>
                        <a:pt x="0" y="34"/>
                      </a:lnTo>
                      <a:lnTo>
                        <a:pt x="8" y="45"/>
                      </a:lnTo>
                      <a:lnTo>
                        <a:pt x="35" y="48"/>
                      </a:lnTo>
                      <a:lnTo>
                        <a:pt x="69" y="51"/>
                      </a:lnTo>
                      <a:lnTo>
                        <a:pt x="83" y="40"/>
                      </a:lnTo>
                      <a:lnTo>
                        <a:pt x="81" y="27"/>
                      </a:lnTo>
                      <a:lnTo>
                        <a:pt x="69" y="22"/>
                      </a:lnTo>
                      <a:lnTo>
                        <a:pt x="60" y="3"/>
                      </a:lnTo>
                      <a:lnTo>
                        <a:pt x="42" y="7"/>
                      </a:lnTo>
                      <a:lnTo>
                        <a:pt x="30" y="0"/>
                      </a:lnTo>
                      <a:lnTo>
                        <a:pt x="18"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1" name="Freeform 236"/>
                <p:cNvSpPr>
                  <a:spLocks/>
                </p:cNvSpPr>
                <p:nvPr/>
              </p:nvSpPr>
              <p:spPr bwMode="auto">
                <a:xfrm>
                  <a:off x="6660475" y="3161912"/>
                  <a:ext cx="138063" cy="150897"/>
                </a:xfrm>
                <a:custGeom>
                  <a:avLst/>
                  <a:gdLst>
                    <a:gd name="T0" fmla="*/ 44 w 135"/>
                    <a:gd name="T1" fmla="*/ 135 h 151"/>
                    <a:gd name="T2" fmla="*/ 36 w 135"/>
                    <a:gd name="T3" fmla="*/ 102 h 151"/>
                    <a:gd name="T4" fmla="*/ 26 w 135"/>
                    <a:gd name="T5" fmla="*/ 82 h 151"/>
                    <a:gd name="T6" fmla="*/ 23 w 135"/>
                    <a:gd name="T7" fmla="*/ 60 h 151"/>
                    <a:gd name="T8" fmla="*/ 11 w 135"/>
                    <a:gd name="T9" fmla="*/ 58 h 151"/>
                    <a:gd name="T10" fmla="*/ 11 w 135"/>
                    <a:gd name="T11" fmla="*/ 43 h 151"/>
                    <a:gd name="T12" fmla="*/ 27 w 135"/>
                    <a:gd name="T13" fmla="*/ 37 h 151"/>
                    <a:gd name="T14" fmla="*/ 20 w 135"/>
                    <a:gd name="T15" fmla="*/ 25 h 151"/>
                    <a:gd name="T16" fmla="*/ 2 w 135"/>
                    <a:gd name="T17" fmla="*/ 21 h 151"/>
                    <a:gd name="T18" fmla="*/ 0 w 135"/>
                    <a:gd name="T19" fmla="*/ 7 h 151"/>
                    <a:gd name="T20" fmla="*/ 12 w 135"/>
                    <a:gd name="T21" fmla="*/ 0 h 151"/>
                    <a:gd name="T22" fmla="*/ 32 w 135"/>
                    <a:gd name="T23" fmla="*/ 12 h 151"/>
                    <a:gd name="T24" fmla="*/ 47 w 135"/>
                    <a:gd name="T25" fmla="*/ 9 h 151"/>
                    <a:gd name="T26" fmla="*/ 47 w 135"/>
                    <a:gd name="T27" fmla="*/ 31 h 151"/>
                    <a:gd name="T28" fmla="*/ 69 w 135"/>
                    <a:gd name="T29" fmla="*/ 39 h 151"/>
                    <a:gd name="T30" fmla="*/ 95 w 135"/>
                    <a:gd name="T31" fmla="*/ 39 h 151"/>
                    <a:gd name="T32" fmla="*/ 113 w 135"/>
                    <a:gd name="T33" fmla="*/ 34 h 151"/>
                    <a:gd name="T34" fmla="*/ 117 w 135"/>
                    <a:gd name="T35" fmla="*/ 46 h 151"/>
                    <a:gd name="T36" fmla="*/ 107 w 135"/>
                    <a:gd name="T37" fmla="*/ 60 h 151"/>
                    <a:gd name="T38" fmla="*/ 92 w 135"/>
                    <a:gd name="T39" fmla="*/ 70 h 151"/>
                    <a:gd name="T40" fmla="*/ 92 w 135"/>
                    <a:gd name="T41" fmla="*/ 87 h 151"/>
                    <a:gd name="T42" fmla="*/ 104 w 135"/>
                    <a:gd name="T43" fmla="*/ 102 h 151"/>
                    <a:gd name="T44" fmla="*/ 108 w 135"/>
                    <a:gd name="T45" fmla="*/ 82 h 151"/>
                    <a:gd name="T46" fmla="*/ 119 w 135"/>
                    <a:gd name="T47" fmla="*/ 81 h 151"/>
                    <a:gd name="T48" fmla="*/ 126 w 135"/>
                    <a:gd name="T49" fmla="*/ 103 h 151"/>
                    <a:gd name="T50" fmla="*/ 129 w 135"/>
                    <a:gd name="T51" fmla="*/ 129 h 151"/>
                    <a:gd name="T52" fmla="*/ 135 w 135"/>
                    <a:gd name="T53" fmla="*/ 145 h 151"/>
                    <a:gd name="T54" fmla="*/ 119 w 135"/>
                    <a:gd name="T55" fmla="*/ 151 h 151"/>
                    <a:gd name="T56" fmla="*/ 111 w 135"/>
                    <a:gd name="T57" fmla="*/ 126 h 151"/>
                    <a:gd name="T58" fmla="*/ 102 w 135"/>
                    <a:gd name="T59" fmla="*/ 114 h 151"/>
                    <a:gd name="T60" fmla="*/ 93 w 135"/>
                    <a:gd name="T61" fmla="*/ 108 h 151"/>
                    <a:gd name="T62" fmla="*/ 81 w 135"/>
                    <a:gd name="T63" fmla="*/ 103 h 151"/>
                    <a:gd name="T64" fmla="*/ 71 w 135"/>
                    <a:gd name="T65" fmla="*/ 79 h 151"/>
                    <a:gd name="T66" fmla="*/ 72 w 135"/>
                    <a:gd name="T67" fmla="*/ 96 h 151"/>
                    <a:gd name="T68" fmla="*/ 89 w 135"/>
                    <a:gd name="T69" fmla="*/ 114 h 151"/>
                    <a:gd name="T70" fmla="*/ 87 w 135"/>
                    <a:gd name="T71" fmla="*/ 132 h 151"/>
                    <a:gd name="T72" fmla="*/ 78 w 135"/>
                    <a:gd name="T73" fmla="*/ 124 h 151"/>
                    <a:gd name="T74" fmla="*/ 69 w 135"/>
                    <a:gd name="T75" fmla="*/ 105 h 151"/>
                    <a:gd name="T76" fmla="*/ 74 w 135"/>
                    <a:gd name="T77" fmla="*/ 121 h 151"/>
                    <a:gd name="T78" fmla="*/ 71 w 135"/>
                    <a:gd name="T79" fmla="*/ 135 h 151"/>
                    <a:gd name="T80" fmla="*/ 59 w 135"/>
                    <a:gd name="T81" fmla="*/ 111 h 151"/>
                    <a:gd name="T82" fmla="*/ 53 w 135"/>
                    <a:gd name="T83" fmla="*/ 123 h 151"/>
                    <a:gd name="T84" fmla="*/ 60 w 135"/>
                    <a:gd name="T85" fmla="*/ 136 h 151"/>
                    <a:gd name="T86" fmla="*/ 44 w 135"/>
                    <a:gd name="T87" fmla="*/ 1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 h="151">
                      <a:moveTo>
                        <a:pt x="44" y="135"/>
                      </a:moveTo>
                      <a:lnTo>
                        <a:pt x="36" y="102"/>
                      </a:lnTo>
                      <a:lnTo>
                        <a:pt x="26" y="82"/>
                      </a:lnTo>
                      <a:lnTo>
                        <a:pt x="23" y="60"/>
                      </a:lnTo>
                      <a:lnTo>
                        <a:pt x="11" y="58"/>
                      </a:lnTo>
                      <a:lnTo>
                        <a:pt x="11" y="43"/>
                      </a:lnTo>
                      <a:lnTo>
                        <a:pt x="27" y="37"/>
                      </a:lnTo>
                      <a:lnTo>
                        <a:pt x="20" y="25"/>
                      </a:lnTo>
                      <a:lnTo>
                        <a:pt x="2" y="21"/>
                      </a:lnTo>
                      <a:lnTo>
                        <a:pt x="0" y="7"/>
                      </a:lnTo>
                      <a:lnTo>
                        <a:pt x="12" y="0"/>
                      </a:lnTo>
                      <a:lnTo>
                        <a:pt x="32" y="12"/>
                      </a:lnTo>
                      <a:lnTo>
                        <a:pt x="47" y="9"/>
                      </a:lnTo>
                      <a:lnTo>
                        <a:pt x="47" y="31"/>
                      </a:lnTo>
                      <a:lnTo>
                        <a:pt x="69" y="39"/>
                      </a:lnTo>
                      <a:lnTo>
                        <a:pt x="95" y="39"/>
                      </a:lnTo>
                      <a:lnTo>
                        <a:pt x="113" y="34"/>
                      </a:lnTo>
                      <a:lnTo>
                        <a:pt x="117" y="46"/>
                      </a:lnTo>
                      <a:lnTo>
                        <a:pt x="107" y="60"/>
                      </a:lnTo>
                      <a:lnTo>
                        <a:pt x="92" y="70"/>
                      </a:lnTo>
                      <a:lnTo>
                        <a:pt x="92" y="87"/>
                      </a:lnTo>
                      <a:lnTo>
                        <a:pt x="104" y="102"/>
                      </a:lnTo>
                      <a:lnTo>
                        <a:pt x="108" y="82"/>
                      </a:lnTo>
                      <a:lnTo>
                        <a:pt x="119" y="81"/>
                      </a:lnTo>
                      <a:lnTo>
                        <a:pt x="126" y="103"/>
                      </a:lnTo>
                      <a:lnTo>
                        <a:pt x="129" y="129"/>
                      </a:lnTo>
                      <a:lnTo>
                        <a:pt x="135" y="145"/>
                      </a:lnTo>
                      <a:lnTo>
                        <a:pt x="119" y="151"/>
                      </a:lnTo>
                      <a:lnTo>
                        <a:pt x="111" y="126"/>
                      </a:lnTo>
                      <a:lnTo>
                        <a:pt x="102" y="114"/>
                      </a:lnTo>
                      <a:lnTo>
                        <a:pt x="93" y="108"/>
                      </a:lnTo>
                      <a:lnTo>
                        <a:pt x="81" y="103"/>
                      </a:lnTo>
                      <a:lnTo>
                        <a:pt x="71" y="79"/>
                      </a:lnTo>
                      <a:lnTo>
                        <a:pt x="72" y="96"/>
                      </a:lnTo>
                      <a:lnTo>
                        <a:pt x="89" y="114"/>
                      </a:lnTo>
                      <a:lnTo>
                        <a:pt x="87" y="132"/>
                      </a:lnTo>
                      <a:lnTo>
                        <a:pt x="78" y="124"/>
                      </a:lnTo>
                      <a:lnTo>
                        <a:pt x="69" y="105"/>
                      </a:lnTo>
                      <a:lnTo>
                        <a:pt x="74" y="121"/>
                      </a:lnTo>
                      <a:lnTo>
                        <a:pt x="71" y="135"/>
                      </a:lnTo>
                      <a:lnTo>
                        <a:pt x="59" y="111"/>
                      </a:lnTo>
                      <a:lnTo>
                        <a:pt x="53" y="123"/>
                      </a:lnTo>
                      <a:lnTo>
                        <a:pt x="60" y="136"/>
                      </a:lnTo>
                      <a:lnTo>
                        <a:pt x="44" y="13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2" name="Freeform 237"/>
                <p:cNvSpPr>
                  <a:spLocks/>
                </p:cNvSpPr>
                <p:nvPr/>
              </p:nvSpPr>
              <p:spPr bwMode="auto">
                <a:xfrm>
                  <a:off x="6783026" y="3095518"/>
                  <a:ext cx="243549" cy="567372"/>
                </a:xfrm>
                <a:custGeom>
                  <a:avLst/>
                  <a:gdLst>
                    <a:gd name="T0" fmla="*/ 225 w 236"/>
                    <a:gd name="T1" fmla="*/ 202 h 567"/>
                    <a:gd name="T2" fmla="*/ 200 w 236"/>
                    <a:gd name="T3" fmla="*/ 195 h 567"/>
                    <a:gd name="T4" fmla="*/ 183 w 236"/>
                    <a:gd name="T5" fmla="*/ 163 h 567"/>
                    <a:gd name="T6" fmla="*/ 155 w 236"/>
                    <a:gd name="T7" fmla="*/ 136 h 567"/>
                    <a:gd name="T8" fmla="*/ 125 w 236"/>
                    <a:gd name="T9" fmla="*/ 123 h 567"/>
                    <a:gd name="T10" fmla="*/ 147 w 236"/>
                    <a:gd name="T11" fmla="*/ 84 h 567"/>
                    <a:gd name="T12" fmla="*/ 138 w 236"/>
                    <a:gd name="T13" fmla="*/ 28 h 567"/>
                    <a:gd name="T14" fmla="*/ 119 w 236"/>
                    <a:gd name="T15" fmla="*/ 7 h 567"/>
                    <a:gd name="T16" fmla="*/ 99 w 236"/>
                    <a:gd name="T17" fmla="*/ 13 h 567"/>
                    <a:gd name="T18" fmla="*/ 96 w 236"/>
                    <a:gd name="T19" fmla="*/ 28 h 567"/>
                    <a:gd name="T20" fmla="*/ 80 w 236"/>
                    <a:gd name="T21" fmla="*/ 39 h 567"/>
                    <a:gd name="T22" fmla="*/ 56 w 236"/>
                    <a:gd name="T23" fmla="*/ 79 h 567"/>
                    <a:gd name="T24" fmla="*/ 50 w 236"/>
                    <a:gd name="T25" fmla="*/ 118 h 567"/>
                    <a:gd name="T26" fmla="*/ 27 w 236"/>
                    <a:gd name="T27" fmla="*/ 136 h 567"/>
                    <a:gd name="T28" fmla="*/ 23 w 236"/>
                    <a:gd name="T29" fmla="*/ 175 h 567"/>
                    <a:gd name="T30" fmla="*/ 9 w 236"/>
                    <a:gd name="T31" fmla="*/ 195 h 567"/>
                    <a:gd name="T32" fmla="*/ 0 w 236"/>
                    <a:gd name="T33" fmla="*/ 217 h 567"/>
                    <a:gd name="T34" fmla="*/ 26 w 236"/>
                    <a:gd name="T35" fmla="*/ 255 h 567"/>
                    <a:gd name="T36" fmla="*/ 39 w 236"/>
                    <a:gd name="T37" fmla="*/ 253 h 567"/>
                    <a:gd name="T38" fmla="*/ 47 w 236"/>
                    <a:gd name="T39" fmla="*/ 285 h 567"/>
                    <a:gd name="T40" fmla="*/ 59 w 236"/>
                    <a:gd name="T41" fmla="*/ 291 h 567"/>
                    <a:gd name="T42" fmla="*/ 77 w 236"/>
                    <a:gd name="T43" fmla="*/ 334 h 567"/>
                    <a:gd name="T44" fmla="*/ 84 w 236"/>
                    <a:gd name="T45" fmla="*/ 381 h 567"/>
                    <a:gd name="T46" fmla="*/ 116 w 236"/>
                    <a:gd name="T47" fmla="*/ 372 h 567"/>
                    <a:gd name="T48" fmla="*/ 141 w 236"/>
                    <a:gd name="T49" fmla="*/ 333 h 567"/>
                    <a:gd name="T50" fmla="*/ 170 w 236"/>
                    <a:gd name="T51" fmla="*/ 399 h 567"/>
                    <a:gd name="T52" fmla="*/ 200 w 236"/>
                    <a:gd name="T53" fmla="*/ 468 h 567"/>
                    <a:gd name="T54" fmla="*/ 206 w 236"/>
                    <a:gd name="T55" fmla="*/ 508 h 567"/>
                    <a:gd name="T56" fmla="*/ 201 w 236"/>
                    <a:gd name="T57" fmla="*/ 567 h 567"/>
                    <a:gd name="T58" fmla="*/ 218 w 236"/>
                    <a:gd name="T59" fmla="*/ 513 h 567"/>
                    <a:gd name="T60" fmla="*/ 215 w 236"/>
                    <a:gd name="T61" fmla="*/ 468 h 567"/>
                    <a:gd name="T62" fmla="*/ 197 w 236"/>
                    <a:gd name="T63" fmla="*/ 423 h 567"/>
                    <a:gd name="T64" fmla="*/ 180 w 236"/>
                    <a:gd name="T65" fmla="*/ 393 h 567"/>
                    <a:gd name="T66" fmla="*/ 191 w 236"/>
                    <a:gd name="T67" fmla="*/ 360 h 567"/>
                    <a:gd name="T68" fmla="*/ 161 w 236"/>
                    <a:gd name="T69" fmla="*/ 322 h 567"/>
                    <a:gd name="T70" fmla="*/ 161 w 236"/>
                    <a:gd name="T71" fmla="*/ 295 h 567"/>
                    <a:gd name="T72" fmla="*/ 159 w 236"/>
                    <a:gd name="T73" fmla="*/ 261 h 567"/>
                    <a:gd name="T74" fmla="*/ 210 w 236"/>
                    <a:gd name="T75" fmla="*/ 243 h 567"/>
                    <a:gd name="T76" fmla="*/ 222 w 236"/>
                    <a:gd name="T77" fmla="*/ 231 h 567"/>
                    <a:gd name="T78" fmla="*/ 236 w 236"/>
                    <a:gd name="T79" fmla="*/ 217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 h="567">
                      <a:moveTo>
                        <a:pt x="236" y="217"/>
                      </a:moveTo>
                      <a:lnTo>
                        <a:pt x="225" y="202"/>
                      </a:lnTo>
                      <a:lnTo>
                        <a:pt x="210" y="211"/>
                      </a:lnTo>
                      <a:lnTo>
                        <a:pt x="200" y="195"/>
                      </a:lnTo>
                      <a:lnTo>
                        <a:pt x="177" y="195"/>
                      </a:lnTo>
                      <a:lnTo>
                        <a:pt x="183" y="163"/>
                      </a:lnTo>
                      <a:lnTo>
                        <a:pt x="170" y="160"/>
                      </a:lnTo>
                      <a:lnTo>
                        <a:pt x="155" y="136"/>
                      </a:lnTo>
                      <a:lnTo>
                        <a:pt x="131" y="138"/>
                      </a:lnTo>
                      <a:lnTo>
                        <a:pt x="125" y="123"/>
                      </a:lnTo>
                      <a:lnTo>
                        <a:pt x="131" y="100"/>
                      </a:lnTo>
                      <a:lnTo>
                        <a:pt x="147" y="84"/>
                      </a:lnTo>
                      <a:lnTo>
                        <a:pt x="147" y="43"/>
                      </a:lnTo>
                      <a:lnTo>
                        <a:pt x="138" y="28"/>
                      </a:lnTo>
                      <a:lnTo>
                        <a:pt x="126" y="30"/>
                      </a:lnTo>
                      <a:lnTo>
                        <a:pt x="119" y="7"/>
                      </a:lnTo>
                      <a:lnTo>
                        <a:pt x="104" y="0"/>
                      </a:lnTo>
                      <a:lnTo>
                        <a:pt x="99" y="13"/>
                      </a:lnTo>
                      <a:lnTo>
                        <a:pt x="107" y="21"/>
                      </a:lnTo>
                      <a:lnTo>
                        <a:pt x="96" y="28"/>
                      </a:lnTo>
                      <a:lnTo>
                        <a:pt x="101" y="43"/>
                      </a:lnTo>
                      <a:lnTo>
                        <a:pt x="80" y="39"/>
                      </a:lnTo>
                      <a:lnTo>
                        <a:pt x="56" y="63"/>
                      </a:lnTo>
                      <a:lnTo>
                        <a:pt x="56" y="79"/>
                      </a:lnTo>
                      <a:lnTo>
                        <a:pt x="51" y="94"/>
                      </a:lnTo>
                      <a:lnTo>
                        <a:pt x="50" y="118"/>
                      </a:lnTo>
                      <a:lnTo>
                        <a:pt x="39" y="139"/>
                      </a:lnTo>
                      <a:lnTo>
                        <a:pt x="27" y="136"/>
                      </a:lnTo>
                      <a:lnTo>
                        <a:pt x="26" y="154"/>
                      </a:lnTo>
                      <a:lnTo>
                        <a:pt x="23" y="175"/>
                      </a:lnTo>
                      <a:lnTo>
                        <a:pt x="24" y="199"/>
                      </a:lnTo>
                      <a:lnTo>
                        <a:pt x="9" y="195"/>
                      </a:lnTo>
                      <a:lnTo>
                        <a:pt x="15" y="211"/>
                      </a:lnTo>
                      <a:lnTo>
                        <a:pt x="0" y="217"/>
                      </a:lnTo>
                      <a:lnTo>
                        <a:pt x="11" y="232"/>
                      </a:lnTo>
                      <a:lnTo>
                        <a:pt x="26" y="255"/>
                      </a:lnTo>
                      <a:lnTo>
                        <a:pt x="35" y="262"/>
                      </a:lnTo>
                      <a:lnTo>
                        <a:pt x="39" y="253"/>
                      </a:lnTo>
                      <a:lnTo>
                        <a:pt x="51" y="268"/>
                      </a:lnTo>
                      <a:lnTo>
                        <a:pt x="47" y="285"/>
                      </a:lnTo>
                      <a:lnTo>
                        <a:pt x="51" y="298"/>
                      </a:lnTo>
                      <a:lnTo>
                        <a:pt x="59" y="291"/>
                      </a:lnTo>
                      <a:lnTo>
                        <a:pt x="77" y="312"/>
                      </a:lnTo>
                      <a:lnTo>
                        <a:pt x="77" y="334"/>
                      </a:lnTo>
                      <a:lnTo>
                        <a:pt x="72" y="372"/>
                      </a:lnTo>
                      <a:lnTo>
                        <a:pt x="84" y="381"/>
                      </a:lnTo>
                      <a:lnTo>
                        <a:pt x="107" y="385"/>
                      </a:lnTo>
                      <a:lnTo>
                        <a:pt x="116" y="372"/>
                      </a:lnTo>
                      <a:lnTo>
                        <a:pt x="135" y="363"/>
                      </a:lnTo>
                      <a:lnTo>
                        <a:pt x="141" y="333"/>
                      </a:lnTo>
                      <a:lnTo>
                        <a:pt x="155" y="355"/>
                      </a:lnTo>
                      <a:lnTo>
                        <a:pt x="170" y="399"/>
                      </a:lnTo>
                      <a:lnTo>
                        <a:pt x="186" y="444"/>
                      </a:lnTo>
                      <a:lnTo>
                        <a:pt x="200" y="468"/>
                      </a:lnTo>
                      <a:lnTo>
                        <a:pt x="201" y="493"/>
                      </a:lnTo>
                      <a:lnTo>
                        <a:pt x="206" y="508"/>
                      </a:lnTo>
                      <a:lnTo>
                        <a:pt x="194" y="532"/>
                      </a:lnTo>
                      <a:lnTo>
                        <a:pt x="201" y="567"/>
                      </a:lnTo>
                      <a:lnTo>
                        <a:pt x="209" y="532"/>
                      </a:lnTo>
                      <a:lnTo>
                        <a:pt x="218" y="513"/>
                      </a:lnTo>
                      <a:lnTo>
                        <a:pt x="228" y="493"/>
                      </a:lnTo>
                      <a:lnTo>
                        <a:pt x="215" y="468"/>
                      </a:lnTo>
                      <a:lnTo>
                        <a:pt x="210" y="444"/>
                      </a:lnTo>
                      <a:lnTo>
                        <a:pt x="197" y="423"/>
                      </a:lnTo>
                      <a:lnTo>
                        <a:pt x="180" y="408"/>
                      </a:lnTo>
                      <a:lnTo>
                        <a:pt x="180" y="393"/>
                      </a:lnTo>
                      <a:lnTo>
                        <a:pt x="191" y="390"/>
                      </a:lnTo>
                      <a:lnTo>
                        <a:pt x="191" y="360"/>
                      </a:lnTo>
                      <a:lnTo>
                        <a:pt x="179" y="340"/>
                      </a:lnTo>
                      <a:lnTo>
                        <a:pt x="161" y="322"/>
                      </a:lnTo>
                      <a:lnTo>
                        <a:pt x="147" y="297"/>
                      </a:lnTo>
                      <a:lnTo>
                        <a:pt x="161" y="295"/>
                      </a:lnTo>
                      <a:lnTo>
                        <a:pt x="155" y="276"/>
                      </a:lnTo>
                      <a:lnTo>
                        <a:pt x="159" y="261"/>
                      </a:lnTo>
                      <a:lnTo>
                        <a:pt x="179" y="264"/>
                      </a:lnTo>
                      <a:lnTo>
                        <a:pt x="210" y="243"/>
                      </a:lnTo>
                      <a:lnTo>
                        <a:pt x="210" y="231"/>
                      </a:lnTo>
                      <a:lnTo>
                        <a:pt x="222" y="231"/>
                      </a:lnTo>
                      <a:lnTo>
                        <a:pt x="222" y="217"/>
                      </a:lnTo>
                      <a:lnTo>
                        <a:pt x="236" y="21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3" name="Freeform 238"/>
                <p:cNvSpPr>
                  <a:spLocks/>
                </p:cNvSpPr>
                <p:nvPr/>
              </p:nvSpPr>
              <p:spPr bwMode="auto">
                <a:xfrm>
                  <a:off x="7038985" y="3252450"/>
                  <a:ext cx="232690" cy="446655"/>
                </a:xfrm>
                <a:custGeom>
                  <a:avLst/>
                  <a:gdLst>
                    <a:gd name="T0" fmla="*/ 154 w 227"/>
                    <a:gd name="T1" fmla="*/ 58 h 447"/>
                    <a:gd name="T2" fmla="*/ 120 w 227"/>
                    <a:gd name="T3" fmla="*/ 36 h 447"/>
                    <a:gd name="T4" fmla="*/ 120 w 227"/>
                    <a:gd name="T5" fmla="*/ 15 h 447"/>
                    <a:gd name="T6" fmla="*/ 97 w 227"/>
                    <a:gd name="T7" fmla="*/ 15 h 447"/>
                    <a:gd name="T8" fmla="*/ 81 w 227"/>
                    <a:gd name="T9" fmla="*/ 0 h 447"/>
                    <a:gd name="T10" fmla="*/ 70 w 227"/>
                    <a:gd name="T11" fmla="*/ 15 h 447"/>
                    <a:gd name="T12" fmla="*/ 30 w 227"/>
                    <a:gd name="T13" fmla="*/ 25 h 447"/>
                    <a:gd name="T14" fmla="*/ 18 w 227"/>
                    <a:gd name="T15" fmla="*/ 15 h 447"/>
                    <a:gd name="T16" fmla="*/ 0 w 227"/>
                    <a:gd name="T17" fmla="*/ 25 h 447"/>
                    <a:gd name="T18" fmla="*/ 22 w 227"/>
                    <a:gd name="T19" fmla="*/ 43 h 447"/>
                    <a:gd name="T20" fmla="*/ 31 w 227"/>
                    <a:gd name="T21" fmla="*/ 54 h 447"/>
                    <a:gd name="T22" fmla="*/ 31 w 227"/>
                    <a:gd name="T23" fmla="*/ 69 h 447"/>
                    <a:gd name="T24" fmla="*/ 52 w 227"/>
                    <a:gd name="T25" fmla="*/ 76 h 447"/>
                    <a:gd name="T26" fmla="*/ 63 w 227"/>
                    <a:gd name="T27" fmla="*/ 70 h 447"/>
                    <a:gd name="T28" fmla="*/ 75 w 227"/>
                    <a:gd name="T29" fmla="*/ 81 h 447"/>
                    <a:gd name="T30" fmla="*/ 88 w 227"/>
                    <a:gd name="T31" fmla="*/ 97 h 447"/>
                    <a:gd name="T32" fmla="*/ 79 w 227"/>
                    <a:gd name="T33" fmla="*/ 109 h 447"/>
                    <a:gd name="T34" fmla="*/ 64 w 227"/>
                    <a:gd name="T35" fmla="*/ 109 h 447"/>
                    <a:gd name="T36" fmla="*/ 73 w 227"/>
                    <a:gd name="T37" fmla="*/ 130 h 447"/>
                    <a:gd name="T38" fmla="*/ 97 w 227"/>
                    <a:gd name="T39" fmla="*/ 129 h 447"/>
                    <a:gd name="T40" fmla="*/ 100 w 227"/>
                    <a:gd name="T41" fmla="*/ 145 h 447"/>
                    <a:gd name="T42" fmla="*/ 124 w 227"/>
                    <a:gd name="T43" fmla="*/ 169 h 447"/>
                    <a:gd name="T44" fmla="*/ 153 w 227"/>
                    <a:gd name="T45" fmla="*/ 207 h 447"/>
                    <a:gd name="T46" fmla="*/ 168 w 227"/>
                    <a:gd name="T47" fmla="*/ 219 h 447"/>
                    <a:gd name="T48" fmla="*/ 177 w 227"/>
                    <a:gd name="T49" fmla="*/ 237 h 447"/>
                    <a:gd name="T50" fmla="*/ 172 w 227"/>
                    <a:gd name="T51" fmla="*/ 268 h 447"/>
                    <a:gd name="T52" fmla="*/ 180 w 227"/>
                    <a:gd name="T53" fmla="*/ 297 h 447"/>
                    <a:gd name="T54" fmla="*/ 181 w 227"/>
                    <a:gd name="T55" fmla="*/ 322 h 447"/>
                    <a:gd name="T56" fmla="*/ 141 w 227"/>
                    <a:gd name="T57" fmla="*/ 343 h 447"/>
                    <a:gd name="T58" fmla="*/ 145 w 227"/>
                    <a:gd name="T59" fmla="*/ 360 h 447"/>
                    <a:gd name="T60" fmla="*/ 150 w 227"/>
                    <a:gd name="T61" fmla="*/ 372 h 447"/>
                    <a:gd name="T62" fmla="*/ 135 w 227"/>
                    <a:gd name="T63" fmla="*/ 364 h 447"/>
                    <a:gd name="T64" fmla="*/ 121 w 227"/>
                    <a:gd name="T65" fmla="*/ 367 h 447"/>
                    <a:gd name="T66" fmla="*/ 108 w 227"/>
                    <a:gd name="T67" fmla="*/ 384 h 447"/>
                    <a:gd name="T68" fmla="*/ 124 w 227"/>
                    <a:gd name="T69" fmla="*/ 394 h 447"/>
                    <a:gd name="T70" fmla="*/ 117 w 227"/>
                    <a:gd name="T71" fmla="*/ 402 h 447"/>
                    <a:gd name="T72" fmla="*/ 123 w 227"/>
                    <a:gd name="T73" fmla="*/ 439 h 447"/>
                    <a:gd name="T74" fmla="*/ 145 w 227"/>
                    <a:gd name="T75" fmla="*/ 424 h 447"/>
                    <a:gd name="T76" fmla="*/ 144 w 227"/>
                    <a:gd name="T77" fmla="*/ 406 h 447"/>
                    <a:gd name="T78" fmla="*/ 150 w 227"/>
                    <a:gd name="T79" fmla="*/ 403 h 447"/>
                    <a:gd name="T80" fmla="*/ 156 w 227"/>
                    <a:gd name="T81" fmla="*/ 412 h 447"/>
                    <a:gd name="T82" fmla="*/ 160 w 227"/>
                    <a:gd name="T83" fmla="*/ 414 h 447"/>
                    <a:gd name="T84" fmla="*/ 154 w 227"/>
                    <a:gd name="T85" fmla="*/ 393 h 447"/>
                    <a:gd name="T86" fmla="*/ 165 w 227"/>
                    <a:gd name="T87" fmla="*/ 384 h 447"/>
                    <a:gd name="T88" fmla="*/ 180 w 227"/>
                    <a:gd name="T89" fmla="*/ 384 h 447"/>
                    <a:gd name="T90" fmla="*/ 198 w 227"/>
                    <a:gd name="T91" fmla="*/ 379 h 447"/>
                    <a:gd name="T92" fmla="*/ 211 w 227"/>
                    <a:gd name="T93" fmla="*/ 369 h 447"/>
                    <a:gd name="T94" fmla="*/ 222 w 227"/>
                    <a:gd name="T95" fmla="*/ 349 h 447"/>
                    <a:gd name="T96" fmla="*/ 226 w 227"/>
                    <a:gd name="T97" fmla="*/ 316 h 447"/>
                    <a:gd name="T98" fmla="*/ 220 w 227"/>
                    <a:gd name="T99" fmla="*/ 273 h 447"/>
                    <a:gd name="T100" fmla="*/ 214 w 227"/>
                    <a:gd name="T101" fmla="*/ 258 h 447"/>
                    <a:gd name="T102" fmla="*/ 208 w 227"/>
                    <a:gd name="T103" fmla="*/ 241 h 447"/>
                    <a:gd name="T104" fmla="*/ 202 w 227"/>
                    <a:gd name="T105" fmla="*/ 226 h 447"/>
                    <a:gd name="T106" fmla="*/ 183 w 227"/>
                    <a:gd name="T107" fmla="*/ 208 h 447"/>
                    <a:gd name="T108" fmla="*/ 174 w 227"/>
                    <a:gd name="T109" fmla="*/ 201 h 447"/>
                    <a:gd name="T110" fmla="*/ 154 w 227"/>
                    <a:gd name="T111" fmla="*/ 181 h 447"/>
                    <a:gd name="T112" fmla="*/ 142 w 227"/>
                    <a:gd name="T113" fmla="*/ 169 h 447"/>
                    <a:gd name="T114" fmla="*/ 114 w 227"/>
                    <a:gd name="T115" fmla="*/ 141 h 447"/>
                    <a:gd name="T116" fmla="*/ 118 w 227"/>
                    <a:gd name="T117" fmla="*/ 102 h 447"/>
                    <a:gd name="T118" fmla="*/ 126 w 227"/>
                    <a:gd name="T119" fmla="*/ 93 h 447"/>
                    <a:gd name="T120" fmla="*/ 129 w 227"/>
                    <a:gd name="T121" fmla="*/ 76 h 447"/>
                    <a:gd name="T122" fmla="*/ 142 w 227"/>
                    <a:gd name="T123" fmla="*/ 73 h 447"/>
                    <a:gd name="T124" fmla="*/ 154 w 227"/>
                    <a:gd name="T125" fmla="*/ 5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 h="447">
                      <a:moveTo>
                        <a:pt x="154" y="58"/>
                      </a:moveTo>
                      <a:lnTo>
                        <a:pt x="120" y="36"/>
                      </a:lnTo>
                      <a:lnTo>
                        <a:pt x="120" y="15"/>
                      </a:lnTo>
                      <a:lnTo>
                        <a:pt x="97" y="15"/>
                      </a:lnTo>
                      <a:lnTo>
                        <a:pt x="81" y="0"/>
                      </a:lnTo>
                      <a:lnTo>
                        <a:pt x="70" y="15"/>
                      </a:lnTo>
                      <a:lnTo>
                        <a:pt x="30" y="25"/>
                      </a:lnTo>
                      <a:lnTo>
                        <a:pt x="18" y="15"/>
                      </a:lnTo>
                      <a:lnTo>
                        <a:pt x="0" y="25"/>
                      </a:lnTo>
                      <a:lnTo>
                        <a:pt x="22" y="43"/>
                      </a:lnTo>
                      <a:lnTo>
                        <a:pt x="31" y="54"/>
                      </a:lnTo>
                      <a:lnTo>
                        <a:pt x="31" y="69"/>
                      </a:lnTo>
                      <a:lnTo>
                        <a:pt x="52" y="76"/>
                      </a:lnTo>
                      <a:lnTo>
                        <a:pt x="63" y="70"/>
                      </a:lnTo>
                      <a:lnTo>
                        <a:pt x="75" y="81"/>
                      </a:lnTo>
                      <a:lnTo>
                        <a:pt x="88" y="97"/>
                      </a:lnTo>
                      <a:lnTo>
                        <a:pt x="79" y="109"/>
                      </a:lnTo>
                      <a:lnTo>
                        <a:pt x="64" y="109"/>
                      </a:lnTo>
                      <a:lnTo>
                        <a:pt x="73" y="130"/>
                      </a:lnTo>
                      <a:lnTo>
                        <a:pt x="97" y="129"/>
                      </a:lnTo>
                      <a:lnTo>
                        <a:pt x="100" y="145"/>
                      </a:lnTo>
                      <a:lnTo>
                        <a:pt x="124" y="169"/>
                      </a:lnTo>
                      <a:lnTo>
                        <a:pt x="153" y="207"/>
                      </a:lnTo>
                      <a:lnTo>
                        <a:pt x="168" y="219"/>
                      </a:lnTo>
                      <a:lnTo>
                        <a:pt x="177" y="237"/>
                      </a:lnTo>
                      <a:lnTo>
                        <a:pt x="172" y="268"/>
                      </a:lnTo>
                      <a:lnTo>
                        <a:pt x="180" y="297"/>
                      </a:lnTo>
                      <a:lnTo>
                        <a:pt x="181" y="322"/>
                      </a:lnTo>
                      <a:lnTo>
                        <a:pt x="141" y="343"/>
                      </a:lnTo>
                      <a:lnTo>
                        <a:pt x="145" y="360"/>
                      </a:lnTo>
                      <a:lnTo>
                        <a:pt x="150" y="372"/>
                      </a:lnTo>
                      <a:lnTo>
                        <a:pt x="135" y="364"/>
                      </a:lnTo>
                      <a:lnTo>
                        <a:pt x="121" y="367"/>
                      </a:lnTo>
                      <a:lnTo>
                        <a:pt x="108" y="384"/>
                      </a:lnTo>
                      <a:lnTo>
                        <a:pt x="124" y="394"/>
                      </a:lnTo>
                      <a:lnTo>
                        <a:pt x="117" y="402"/>
                      </a:lnTo>
                      <a:cubicBezTo>
                        <a:pt x="114" y="447"/>
                        <a:pt x="110" y="422"/>
                        <a:pt x="123" y="439"/>
                      </a:cubicBezTo>
                      <a:cubicBezTo>
                        <a:pt x="134" y="437"/>
                        <a:pt x="136" y="428"/>
                        <a:pt x="145" y="424"/>
                      </a:cubicBezTo>
                      <a:cubicBezTo>
                        <a:pt x="150" y="417"/>
                        <a:pt x="152" y="412"/>
                        <a:pt x="144" y="406"/>
                      </a:cubicBezTo>
                      <a:cubicBezTo>
                        <a:pt x="142" y="403"/>
                        <a:pt x="138" y="396"/>
                        <a:pt x="150" y="403"/>
                      </a:cubicBezTo>
                      <a:cubicBezTo>
                        <a:pt x="153" y="405"/>
                        <a:pt x="153" y="410"/>
                        <a:pt x="156" y="412"/>
                      </a:cubicBezTo>
                      <a:cubicBezTo>
                        <a:pt x="157" y="413"/>
                        <a:pt x="159" y="413"/>
                        <a:pt x="160" y="414"/>
                      </a:cubicBezTo>
                      <a:cubicBezTo>
                        <a:pt x="159" y="403"/>
                        <a:pt x="158" y="402"/>
                        <a:pt x="154" y="393"/>
                      </a:cubicBezTo>
                      <a:cubicBezTo>
                        <a:pt x="162" y="390"/>
                        <a:pt x="167" y="393"/>
                        <a:pt x="165" y="384"/>
                      </a:cubicBezTo>
                      <a:cubicBezTo>
                        <a:pt x="167" y="373"/>
                        <a:pt x="173" y="381"/>
                        <a:pt x="180" y="384"/>
                      </a:cubicBezTo>
                      <a:cubicBezTo>
                        <a:pt x="191" y="382"/>
                        <a:pt x="191" y="384"/>
                        <a:pt x="198" y="379"/>
                      </a:cubicBezTo>
                      <a:cubicBezTo>
                        <a:pt x="202" y="376"/>
                        <a:pt x="211" y="369"/>
                        <a:pt x="211" y="369"/>
                      </a:cubicBezTo>
                      <a:cubicBezTo>
                        <a:pt x="214" y="362"/>
                        <a:pt x="218" y="356"/>
                        <a:pt x="222" y="349"/>
                      </a:cubicBezTo>
                      <a:cubicBezTo>
                        <a:pt x="223" y="335"/>
                        <a:pt x="224" y="328"/>
                        <a:pt x="226" y="316"/>
                      </a:cubicBezTo>
                      <a:cubicBezTo>
                        <a:pt x="225" y="299"/>
                        <a:pt x="227" y="287"/>
                        <a:pt x="220" y="273"/>
                      </a:cubicBezTo>
                      <a:cubicBezTo>
                        <a:pt x="219" y="268"/>
                        <a:pt x="214" y="258"/>
                        <a:pt x="214" y="258"/>
                      </a:cubicBezTo>
                      <a:cubicBezTo>
                        <a:pt x="213" y="252"/>
                        <a:pt x="211" y="247"/>
                        <a:pt x="208" y="241"/>
                      </a:cubicBezTo>
                      <a:cubicBezTo>
                        <a:pt x="207" y="235"/>
                        <a:pt x="205" y="232"/>
                        <a:pt x="202" y="226"/>
                      </a:cubicBezTo>
                      <a:cubicBezTo>
                        <a:pt x="200" y="216"/>
                        <a:pt x="191" y="213"/>
                        <a:pt x="183" y="208"/>
                      </a:cubicBezTo>
                      <a:cubicBezTo>
                        <a:pt x="180" y="206"/>
                        <a:pt x="174" y="201"/>
                        <a:pt x="174" y="201"/>
                      </a:cubicBezTo>
                      <a:cubicBezTo>
                        <a:pt x="170" y="194"/>
                        <a:pt x="161" y="185"/>
                        <a:pt x="154" y="181"/>
                      </a:cubicBezTo>
                      <a:cubicBezTo>
                        <a:pt x="146" y="170"/>
                        <a:pt x="150" y="174"/>
                        <a:pt x="142" y="169"/>
                      </a:cubicBezTo>
                      <a:cubicBezTo>
                        <a:pt x="135" y="159"/>
                        <a:pt x="124" y="149"/>
                        <a:pt x="114" y="141"/>
                      </a:cubicBezTo>
                      <a:cubicBezTo>
                        <a:pt x="107" y="129"/>
                        <a:pt x="106" y="111"/>
                        <a:pt x="118" y="102"/>
                      </a:cubicBezTo>
                      <a:cubicBezTo>
                        <a:pt x="120" y="99"/>
                        <a:pt x="124" y="97"/>
                        <a:pt x="126" y="93"/>
                      </a:cubicBezTo>
                      <a:cubicBezTo>
                        <a:pt x="129" y="88"/>
                        <a:pt x="125" y="81"/>
                        <a:pt x="129" y="76"/>
                      </a:cubicBezTo>
                      <a:cubicBezTo>
                        <a:pt x="132" y="73"/>
                        <a:pt x="138" y="74"/>
                        <a:pt x="142" y="73"/>
                      </a:cubicBezTo>
                      <a:cubicBezTo>
                        <a:pt x="140" y="59"/>
                        <a:pt x="148" y="75"/>
                        <a:pt x="154" y="58"/>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4" name="Freeform 239"/>
                <p:cNvSpPr>
                  <a:spLocks/>
                </p:cNvSpPr>
                <p:nvPr/>
              </p:nvSpPr>
              <p:spPr bwMode="auto">
                <a:xfrm>
                  <a:off x="6998652" y="3276594"/>
                  <a:ext cx="221831" cy="258034"/>
                </a:xfrm>
                <a:custGeom>
                  <a:avLst/>
                  <a:gdLst>
                    <a:gd name="T0" fmla="*/ 39 w 216"/>
                    <a:gd name="T1" fmla="*/ 0 h 257"/>
                    <a:gd name="T2" fmla="*/ 22 w 216"/>
                    <a:gd name="T3" fmla="*/ 6 h 257"/>
                    <a:gd name="T4" fmla="*/ 36 w 216"/>
                    <a:gd name="T5" fmla="*/ 35 h 257"/>
                    <a:gd name="T6" fmla="*/ 13 w 216"/>
                    <a:gd name="T7" fmla="*/ 38 h 257"/>
                    <a:gd name="T8" fmla="*/ 13 w 216"/>
                    <a:gd name="T9" fmla="*/ 50 h 257"/>
                    <a:gd name="T10" fmla="*/ 0 w 216"/>
                    <a:gd name="T11" fmla="*/ 50 h 257"/>
                    <a:gd name="T12" fmla="*/ 1 w 216"/>
                    <a:gd name="T13" fmla="*/ 62 h 257"/>
                    <a:gd name="T14" fmla="*/ 15 w 216"/>
                    <a:gd name="T15" fmla="*/ 71 h 257"/>
                    <a:gd name="T16" fmla="*/ 10 w 216"/>
                    <a:gd name="T17" fmla="*/ 90 h 257"/>
                    <a:gd name="T18" fmla="*/ 37 w 216"/>
                    <a:gd name="T19" fmla="*/ 89 h 257"/>
                    <a:gd name="T20" fmla="*/ 39 w 216"/>
                    <a:gd name="T21" fmla="*/ 108 h 257"/>
                    <a:gd name="T22" fmla="*/ 31 w 216"/>
                    <a:gd name="T23" fmla="*/ 125 h 257"/>
                    <a:gd name="T24" fmla="*/ 39 w 216"/>
                    <a:gd name="T25" fmla="*/ 131 h 257"/>
                    <a:gd name="T26" fmla="*/ 33 w 216"/>
                    <a:gd name="T27" fmla="*/ 150 h 257"/>
                    <a:gd name="T28" fmla="*/ 45 w 216"/>
                    <a:gd name="T29" fmla="*/ 149 h 257"/>
                    <a:gd name="T30" fmla="*/ 58 w 216"/>
                    <a:gd name="T31" fmla="*/ 129 h 257"/>
                    <a:gd name="T32" fmla="*/ 76 w 216"/>
                    <a:gd name="T33" fmla="*/ 137 h 257"/>
                    <a:gd name="T34" fmla="*/ 88 w 216"/>
                    <a:gd name="T35" fmla="*/ 131 h 257"/>
                    <a:gd name="T36" fmla="*/ 97 w 216"/>
                    <a:gd name="T37" fmla="*/ 122 h 257"/>
                    <a:gd name="T38" fmla="*/ 114 w 216"/>
                    <a:gd name="T39" fmla="*/ 129 h 257"/>
                    <a:gd name="T40" fmla="*/ 132 w 216"/>
                    <a:gd name="T41" fmla="*/ 147 h 257"/>
                    <a:gd name="T42" fmla="*/ 135 w 216"/>
                    <a:gd name="T43" fmla="*/ 168 h 257"/>
                    <a:gd name="T44" fmla="*/ 153 w 216"/>
                    <a:gd name="T45" fmla="*/ 200 h 257"/>
                    <a:gd name="T46" fmla="*/ 160 w 216"/>
                    <a:gd name="T47" fmla="*/ 212 h 257"/>
                    <a:gd name="T48" fmla="*/ 156 w 216"/>
                    <a:gd name="T49" fmla="*/ 239 h 257"/>
                    <a:gd name="T50" fmla="*/ 150 w 216"/>
                    <a:gd name="T51" fmla="*/ 252 h 257"/>
                    <a:gd name="T52" fmla="*/ 178 w 216"/>
                    <a:gd name="T53" fmla="*/ 257 h 257"/>
                    <a:gd name="T54" fmla="*/ 181 w 216"/>
                    <a:gd name="T55" fmla="*/ 243 h 257"/>
                    <a:gd name="T56" fmla="*/ 189 w 216"/>
                    <a:gd name="T57" fmla="*/ 236 h 257"/>
                    <a:gd name="T58" fmla="*/ 211 w 216"/>
                    <a:gd name="T59" fmla="*/ 237 h 257"/>
                    <a:gd name="T60" fmla="*/ 216 w 216"/>
                    <a:gd name="T61" fmla="*/ 210 h 257"/>
                    <a:gd name="T62" fmla="*/ 205 w 216"/>
                    <a:gd name="T63" fmla="*/ 191 h 257"/>
                    <a:gd name="T64" fmla="*/ 190 w 216"/>
                    <a:gd name="T65" fmla="*/ 182 h 257"/>
                    <a:gd name="T66" fmla="*/ 178 w 216"/>
                    <a:gd name="T67" fmla="*/ 161 h 257"/>
                    <a:gd name="T68" fmla="*/ 160 w 216"/>
                    <a:gd name="T69" fmla="*/ 141 h 257"/>
                    <a:gd name="T70" fmla="*/ 139 w 216"/>
                    <a:gd name="T71" fmla="*/ 122 h 257"/>
                    <a:gd name="T72" fmla="*/ 135 w 216"/>
                    <a:gd name="T73" fmla="*/ 104 h 257"/>
                    <a:gd name="T74" fmla="*/ 112 w 216"/>
                    <a:gd name="T75" fmla="*/ 104 h 257"/>
                    <a:gd name="T76" fmla="*/ 103 w 216"/>
                    <a:gd name="T77" fmla="*/ 84 h 257"/>
                    <a:gd name="T78" fmla="*/ 115 w 216"/>
                    <a:gd name="T79" fmla="*/ 84 h 257"/>
                    <a:gd name="T80" fmla="*/ 127 w 216"/>
                    <a:gd name="T81" fmla="*/ 72 h 257"/>
                    <a:gd name="T82" fmla="*/ 112 w 216"/>
                    <a:gd name="T83" fmla="*/ 53 h 257"/>
                    <a:gd name="T84" fmla="*/ 102 w 216"/>
                    <a:gd name="T85" fmla="*/ 45 h 257"/>
                    <a:gd name="T86" fmla="*/ 88 w 216"/>
                    <a:gd name="T87" fmla="*/ 48 h 257"/>
                    <a:gd name="T88" fmla="*/ 69 w 216"/>
                    <a:gd name="T89" fmla="*/ 42 h 257"/>
                    <a:gd name="T90" fmla="*/ 69 w 216"/>
                    <a:gd name="T91" fmla="*/ 24 h 257"/>
                    <a:gd name="T92" fmla="*/ 39 w 216"/>
                    <a:gd name="T93"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6" h="257">
                      <a:moveTo>
                        <a:pt x="39" y="0"/>
                      </a:moveTo>
                      <a:lnTo>
                        <a:pt x="22" y="6"/>
                      </a:lnTo>
                      <a:lnTo>
                        <a:pt x="36" y="35"/>
                      </a:lnTo>
                      <a:lnTo>
                        <a:pt x="13" y="38"/>
                      </a:lnTo>
                      <a:lnTo>
                        <a:pt x="13" y="50"/>
                      </a:lnTo>
                      <a:lnTo>
                        <a:pt x="0" y="50"/>
                      </a:lnTo>
                      <a:lnTo>
                        <a:pt x="1" y="62"/>
                      </a:lnTo>
                      <a:lnTo>
                        <a:pt x="15" y="71"/>
                      </a:lnTo>
                      <a:lnTo>
                        <a:pt x="10" y="90"/>
                      </a:lnTo>
                      <a:lnTo>
                        <a:pt x="37" y="89"/>
                      </a:lnTo>
                      <a:lnTo>
                        <a:pt x="39" y="108"/>
                      </a:lnTo>
                      <a:lnTo>
                        <a:pt x="31" y="125"/>
                      </a:lnTo>
                      <a:lnTo>
                        <a:pt x="39" y="131"/>
                      </a:lnTo>
                      <a:lnTo>
                        <a:pt x="33" y="150"/>
                      </a:lnTo>
                      <a:lnTo>
                        <a:pt x="45" y="149"/>
                      </a:lnTo>
                      <a:lnTo>
                        <a:pt x="58" y="129"/>
                      </a:lnTo>
                      <a:lnTo>
                        <a:pt x="76" y="137"/>
                      </a:lnTo>
                      <a:lnTo>
                        <a:pt x="88" y="131"/>
                      </a:lnTo>
                      <a:lnTo>
                        <a:pt x="97" y="122"/>
                      </a:lnTo>
                      <a:lnTo>
                        <a:pt x="114" y="129"/>
                      </a:lnTo>
                      <a:lnTo>
                        <a:pt x="132" y="147"/>
                      </a:lnTo>
                      <a:lnTo>
                        <a:pt x="135" y="168"/>
                      </a:lnTo>
                      <a:lnTo>
                        <a:pt x="153" y="200"/>
                      </a:lnTo>
                      <a:lnTo>
                        <a:pt x="160" y="212"/>
                      </a:lnTo>
                      <a:lnTo>
                        <a:pt x="156" y="239"/>
                      </a:lnTo>
                      <a:lnTo>
                        <a:pt x="150" y="252"/>
                      </a:lnTo>
                      <a:lnTo>
                        <a:pt x="178" y="257"/>
                      </a:lnTo>
                      <a:lnTo>
                        <a:pt x="181" y="243"/>
                      </a:lnTo>
                      <a:lnTo>
                        <a:pt x="189" y="236"/>
                      </a:lnTo>
                      <a:lnTo>
                        <a:pt x="211" y="237"/>
                      </a:lnTo>
                      <a:lnTo>
                        <a:pt x="216" y="210"/>
                      </a:lnTo>
                      <a:lnTo>
                        <a:pt x="205" y="191"/>
                      </a:lnTo>
                      <a:lnTo>
                        <a:pt x="190" y="182"/>
                      </a:lnTo>
                      <a:lnTo>
                        <a:pt x="178" y="161"/>
                      </a:lnTo>
                      <a:lnTo>
                        <a:pt x="160" y="141"/>
                      </a:lnTo>
                      <a:lnTo>
                        <a:pt x="139" y="122"/>
                      </a:lnTo>
                      <a:lnTo>
                        <a:pt x="135" y="104"/>
                      </a:lnTo>
                      <a:lnTo>
                        <a:pt x="112" y="104"/>
                      </a:lnTo>
                      <a:lnTo>
                        <a:pt x="103" y="84"/>
                      </a:lnTo>
                      <a:lnTo>
                        <a:pt x="115" y="84"/>
                      </a:lnTo>
                      <a:lnTo>
                        <a:pt x="127" y="72"/>
                      </a:lnTo>
                      <a:lnTo>
                        <a:pt x="112" y="53"/>
                      </a:lnTo>
                      <a:lnTo>
                        <a:pt x="102" y="45"/>
                      </a:lnTo>
                      <a:lnTo>
                        <a:pt x="88" y="48"/>
                      </a:lnTo>
                      <a:lnTo>
                        <a:pt x="69" y="42"/>
                      </a:lnTo>
                      <a:lnTo>
                        <a:pt x="69" y="24"/>
                      </a:lnTo>
                      <a:lnTo>
                        <a:pt x="39"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5" name="Freeform 240"/>
                <p:cNvSpPr>
                  <a:spLocks/>
                </p:cNvSpPr>
                <p:nvPr/>
              </p:nvSpPr>
              <p:spPr bwMode="auto">
                <a:xfrm>
                  <a:off x="7082420" y="3510484"/>
                  <a:ext cx="141166" cy="125245"/>
                </a:xfrm>
                <a:custGeom>
                  <a:avLst/>
                  <a:gdLst>
                    <a:gd name="T0" fmla="*/ 128 w 137"/>
                    <a:gd name="T1" fmla="*/ 2 h 125"/>
                    <a:gd name="T2" fmla="*/ 132 w 137"/>
                    <a:gd name="T3" fmla="*/ 18 h 125"/>
                    <a:gd name="T4" fmla="*/ 137 w 137"/>
                    <a:gd name="T5" fmla="*/ 39 h 125"/>
                    <a:gd name="T6" fmla="*/ 137 w 137"/>
                    <a:gd name="T7" fmla="*/ 63 h 125"/>
                    <a:gd name="T8" fmla="*/ 98 w 137"/>
                    <a:gd name="T9" fmla="*/ 83 h 125"/>
                    <a:gd name="T10" fmla="*/ 102 w 137"/>
                    <a:gd name="T11" fmla="*/ 101 h 125"/>
                    <a:gd name="T12" fmla="*/ 108 w 137"/>
                    <a:gd name="T13" fmla="*/ 113 h 125"/>
                    <a:gd name="T14" fmla="*/ 92 w 137"/>
                    <a:gd name="T15" fmla="*/ 105 h 125"/>
                    <a:gd name="T16" fmla="*/ 77 w 137"/>
                    <a:gd name="T17" fmla="*/ 108 h 125"/>
                    <a:gd name="T18" fmla="*/ 65 w 137"/>
                    <a:gd name="T19" fmla="*/ 125 h 125"/>
                    <a:gd name="T20" fmla="*/ 38 w 137"/>
                    <a:gd name="T21" fmla="*/ 119 h 125"/>
                    <a:gd name="T22" fmla="*/ 12 w 137"/>
                    <a:gd name="T23" fmla="*/ 72 h 125"/>
                    <a:gd name="T24" fmla="*/ 17 w 137"/>
                    <a:gd name="T25" fmla="*/ 60 h 125"/>
                    <a:gd name="T26" fmla="*/ 6 w 137"/>
                    <a:gd name="T27" fmla="*/ 53 h 125"/>
                    <a:gd name="T28" fmla="*/ 6 w 137"/>
                    <a:gd name="T29" fmla="*/ 41 h 125"/>
                    <a:gd name="T30" fmla="*/ 0 w 137"/>
                    <a:gd name="T31" fmla="*/ 32 h 125"/>
                    <a:gd name="T32" fmla="*/ 12 w 137"/>
                    <a:gd name="T33" fmla="*/ 23 h 125"/>
                    <a:gd name="T34" fmla="*/ 20 w 137"/>
                    <a:gd name="T35" fmla="*/ 6 h 125"/>
                    <a:gd name="T36" fmla="*/ 72 w 137"/>
                    <a:gd name="T37" fmla="*/ 5 h 125"/>
                    <a:gd name="T38" fmla="*/ 65 w 137"/>
                    <a:gd name="T39" fmla="*/ 15 h 125"/>
                    <a:gd name="T40" fmla="*/ 98 w 137"/>
                    <a:gd name="T41" fmla="*/ 23 h 125"/>
                    <a:gd name="T42" fmla="*/ 98 w 137"/>
                    <a:gd name="T43" fmla="*/ 12 h 125"/>
                    <a:gd name="T44" fmla="*/ 108 w 137"/>
                    <a:gd name="T45" fmla="*/ 0 h 125"/>
                    <a:gd name="T46" fmla="*/ 128 w 137"/>
                    <a:gd name="T47" fmla="*/ 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7" h="125">
                      <a:moveTo>
                        <a:pt x="128" y="2"/>
                      </a:moveTo>
                      <a:lnTo>
                        <a:pt x="132" y="18"/>
                      </a:lnTo>
                      <a:lnTo>
                        <a:pt x="137" y="39"/>
                      </a:lnTo>
                      <a:lnTo>
                        <a:pt x="137" y="63"/>
                      </a:lnTo>
                      <a:lnTo>
                        <a:pt x="98" y="83"/>
                      </a:lnTo>
                      <a:lnTo>
                        <a:pt x="102" y="101"/>
                      </a:lnTo>
                      <a:lnTo>
                        <a:pt x="108" y="113"/>
                      </a:lnTo>
                      <a:lnTo>
                        <a:pt x="92" y="105"/>
                      </a:lnTo>
                      <a:lnTo>
                        <a:pt x="77" y="108"/>
                      </a:lnTo>
                      <a:lnTo>
                        <a:pt x="65" y="125"/>
                      </a:lnTo>
                      <a:lnTo>
                        <a:pt x="38" y="119"/>
                      </a:lnTo>
                      <a:lnTo>
                        <a:pt x="12" y="72"/>
                      </a:lnTo>
                      <a:lnTo>
                        <a:pt x="17" y="60"/>
                      </a:lnTo>
                      <a:lnTo>
                        <a:pt x="6" y="53"/>
                      </a:lnTo>
                      <a:lnTo>
                        <a:pt x="6" y="41"/>
                      </a:lnTo>
                      <a:lnTo>
                        <a:pt x="0" y="32"/>
                      </a:lnTo>
                      <a:lnTo>
                        <a:pt x="12" y="23"/>
                      </a:lnTo>
                      <a:lnTo>
                        <a:pt x="20" y="6"/>
                      </a:lnTo>
                      <a:lnTo>
                        <a:pt x="72" y="5"/>
                      </a:lnTo>
                      <a:lnTo>
                        <a:pt x="65" y="15"/>
                      </a:lnTo>
                      <a:lnTo>
                        <a:pt x="98" y="23"/>
                      </a:lnTo>
                      <a:lnTo>
                        <a:pt x="98" y="12"/>
                      </a:lnTo>
                      <a:lnTo>
                        <a:pt x="108" y="0"/>
                      </a:lnTo>
                      <a:lnTo>
                        <a:pt x="128" y="2"/>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6" name="Freeform 241"/>
                <p:cNvSpPr>
                  <a:spLocks/>
                </p:cNvSpPr>
                <p:nvPr/>
              </p:nvSpPr>
              <p:spPr bwMode="auto">
                <a:xfrm>
                  <a:off x="6935050" y="3336953"/>
                  <a:ext cx="228036" cy="440619"/>
                </a:xfrm>
                <a:custGeom>
                  <a:avLst/>
                  <a:gdLst>
                    <a:gd name="T0" fmla="*/ 162 w 222"/>
                    <a:gd name="T1" fmla="*/ 234 h 440"/>
                    <a:gd name="T2" fmla="*/ 147 w 222"/>
                    <a:gd name="T3" fmla="*/ 215 h 440"/>
                    <a:gd name="T4" fmla="*/ 156 w 222"/>
                    <a:gd name="T5" fmla="*/ 197 h 440"/>
                    <a:gd name="T6" fmla="*/ 216 w 222"/>
                    <a:gd name="T7" fmla="*/ 179 h 440"/>
                    <a:gd name="T8" fmla="*/ 213 w 222"/>
                    <a:gd name="T9" fmla="*/ 138 h 440"/>
                    <a:gd name="T10" fmla="*/ 192 w 222"/>
                    <a:gd name="T11" fmla="*/ 86 h 440"/>
                    <a:gd name="T12" fmla="*/ 159 w 222"/>
                    <a:gd name="T13" fmla="*/ 62 h 440"/>
                    <a:gd name="T14" fmla="*/ 137 w 222"/>
                    <a:gd name="T15" fmla="*/ 75 h 440"/>
                    <a:gd name="T16" fmla="*/ 107 w 222"/>
                    <a:gd name="T17" fmla="*/ 87 h 440"/>
                    <a:gd name="T18" fmla="*/ 101 w 222"/>
                    <a:gd name="T19" fmla="*/ 69 h 440"/>
                    <a:gd name="T20" fmla="*/ 101 w 222"/>
                    <a:gd name="T21" fmla="*/ 47 h 440"/>
                    <a:gd name="T22" fmla="*/ 71 w 222"/>
                    <a:gd name="T23" fmla="*/ 29 h 440"/>
                    <a:gd name="T24" fmla="*/ 62 w 222"/>
                    <a:gd name="T25" fmla="*/ 0 h 440"/>
                    <a:gd name="T26" fmla="*/ 12 w 222"/>
                    <a:gd name="T27" fmla="*/ 20 h 440"/>
                    <a:gd name="T28" fmla="*/ 14 w 222"/>
                    <a:gd name="T29" fmla="*/ 54 h 440"/>
                    <a:gd name="T30" fmla="*/ 12 w 222"/>
                    <a:gd name="T31" fmla="*/ 83 h 440"/>
                    <a:gd name="T32" fmla="*/ 44 w 222"/>
                    <a:gd name="T33" fmla="*/ 117 h 440"/>
                    <a:gd name="T34" fmla="*/ 33 w 222"/>
                    <a:gd name="T35" fmla="*/ 152 h 440"/>
                    <a:gd name="T36" fmla="*/ 47 w 222"/>
                    <a:gd name="T37" fmla="*/ 179 h 440"/>
                    <a:gd name="T38" fmla="*/ 69 w 222"/>
                    <a:gd name="T39" fmla="*/ 231 h 440"/>
                    <a:gd name="T40" fmla="*/ 69 w 222"/>
                    <a:gd name="T41" fmla="*/ 278 h 440"/>
                    <a:gd name="T42" fmla="*/ 53 w 222"/>
                    <a:gd name="T43" fmla="*/ 327 h 440"/>
                    <a:gd name="T44" fmla="*/ 50 w 222"/>
                    <a:gd name="T45" fmla="*/ 380 h 440"/>
                    <a:gd name="T46" fmla="*/ 62 w 222"/>
                    <a:gd name="T47" fmla="*/ 362 h 440"/>
                    <a:gd name="T48" fmla="*/ 89 w 222"/>
                    <a:gd name="T49" fmla="*/ 401 h 440"/>
                    <a:gd name="T50" fmla="*/ 107 w 222"/>
                    <a:gd name="T51" fmla="*/ 404 h 440"/>
                    <a:gd name="T52" fmla="*/ 128 w 222"/>
                    <a:gd name="T53" fmla="*/ 440 h 440"/>
                    <a:gd name="T54" fmla="*/ 147 w 222"/>
                    <a:gd name="T55" fmla="*/ 438 h 440"/>
                    <a:gd name="T56" fmla="*/ 135 w 222"/>
                    <a:gd name="T57" fmla="*/ 402 h 440"/>
                    <a:gd name="T58" fmla="*/ 107 w 222"/>
                    <a:gd name="T59" fmla="*/ 389 h 440"/>
                    <a:gd name="T60" fmla="*/ 84 w 222"/>
                    <a:gd name="T61" fmla="*/ 335 h 440"/>
                    <a:gd name="T62" fmla="*/ 81 w 222"/>
                    <a:gd name="T63" fmla="*/ 293 h 440"/>
                    <a:gd name="T64" fmla="*/ 101 w 222"/>
                    <a:gd name="T65" fmla="*/ 210 h 440"/>
                    <a:gd name="T66" fmla="*/ 128 w 222"/>
                    <a:gd name="T67" fmla="*/ 234 h 440"/>
                    <a:gd name="T68" fmla="*/ 149 w 222"/>
                    <a:gd name="T69" fmla="*/ 25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440">
                      <a:moveTo>
                        <a:pt x="156" y="246"/>
                      </a:moveTo>
                      <a:lnTo>
                        <a:pt x="162" y="234"/>
                      </a:lnTo>
                      <a:lnTo>
                        <a:pt x="150" y="228"/>
                      </a:lnTo>
                      <a:lnTo>
                        <a:pt x="147" y="215"/>
                      </a:lnTo>
                      <a:lnTo>
                        <a:pt x="143" y="204"/>
                      </a:lnTo>
                      <a:lnTo>
                        <a:pt x="156" y="197"/>
                      </a:lnTo>
                      <a:lnTo>
                        <a:pt x="162" y="179"/>
                      </a:lnTo>
                      <a:lnTo>
                        <a:pt x="216" y="179"/>
                      </a:lnTo>
                      <a:lnTo>
                        <a:pt x="222" y="156"/>
                      </a:lnTo>
                      <a:lnTo>
                        <a:pt x="213" y="138"/>
                      </a:lnTo>
                      <a:lnTo>
                        <a:pt x="197" y="107"/>
                      </a:lnTo>
                      <a:lnTo>
                        <a:pt x="192" y="86"/>
                      </a:lnTo>
                      <a:lnTo>
                        <a:pt x="174" y="69"/>
                      </a:lnTo>
                      <a:lnTo>
                        <a:pt x="159" y="62"/>
                      </a:lnTo>
                      <a:lnTo>
                        <a:pt x="149" y="71"/>
                      </a:lnTo>
                      <a:lnTo>
                        <a:pt x="137" y="75"/>
                      </a:lnTo>
                      <a:lnTo>
                        <a:pt x="120" y="69"/>
                      </a:lnTo>
                      <a:lnTo>
                        <a:pt x="107" y="87"/>
                      </a:lnTo>
                      <a:lnTo>
                        <a:pt x="93" y="90"/>
                      </a:lnTo>
                      <a:lnTo>
                        <a:pt x="101" y="69"/>
                      </a:lnTo>
                      <a:lnTo>
                        <a:pt x="92" y="62"/>
                      </a:lnTo>
                      <a:lnTo>
                        <a:pt x="101" y="47"/>
                      </a:lnTo>
                      <a:lnTo>
                        <a:pt x="99" y="29"/>
                      </a:lnTo>
                      <a:lnTo>
                        <a:pt x="71" y="29"/>
                      </a:lnTo>
                      <a:lnTo>
                        <a:pt x="77" y="11"/>
                      </a:lnTo>
                      <a:lnTo>
                        <a:pt x="62" y="0"/>
                      </a:lnTo>
                      <a:lnTo>
                        <a:pt x="32" y="23"/>
                      </a:lnTo>
                      <a:lnTo>
                        <a:pt x="12" y="20"/>
                      </a:lnTo>
                      <a:lnTo>
                        <a:pt x="8" y="33"/>
                      </a:lnTo>
                      <a:lnTo>
                        <a:pt x="14" y="54"/>
                      </a:lnTo>
                      <a:lnTo>
                        <a:pt x="0" y="57"/>
                      </a:lnTo>
                      <a:lnTo>
                        <a:pt x="12" y="83"/>
                      </a:lnTo>
                      <a:lnTo>
                        <a:pt x="32" y="98"/>
                      </a:lnTo>
                      <a:lnTo>
                        <a:pt x="44" y="117"/>
                      </a:lnTo>
                      <a:lnTo>
                        <a:pt x="44" y="149"/>
                      </a:lnTo>
                      <a:lnTo>
                        <a:pt x="33" y="152"/>
                      </a:lnTo>
                      <a:lnTo>
                        <a:pt x="33" y="167"/>
                      </a:lnTo>
                      <a:lnTo>
                        <a:pt x="47" y="179"/>
                      </a:lnTo>
                      <a:lnTo>
                        <a:pt x="60" y="203"/>
                      </a:lnTo>
                      <a:lnTo>
                        <a:pt x="69" y="231"/>
                      </a:lnTo>
                      <a:lnTo>
                        <a:pt x="80" y="252"/>
                      </a:lnTo>
                      <a:lnTo>
                        <a:pt x="69" y="278"/>
                      </a:lnTo>
                      <a:lnTo>
                        <a:pt x="62" y="293"/>
                      </a:lnTo>
                      <a:lnTo>
                        <a:pt x="53" y="327"/>
                      </a:lnTo>
                      <a:lnTo>
                        <a:pt x="50" y="344"/>
                      </a:lnTo>
                      <a:lnTo>
                        <a:pt x="50" y="380"/>
                      </a:lnTo>
                      <a:lnTo>
                        <a:pt x="54" y="369"/>
                      </a:lnTo>
                      <a:lnTo>
                        <a:pt x="62" y="362"/>
                      </a:lnTo>
                      <a:lnTo>
                        <a:pt x="71" y="375"/>
                      </a:lnTo>
                      <a:lnTo>
                        <a:pt x="89" y="401"/>
                      </a:lnTo>
                      <a:lnTo>
                        <a:pt x="99" y="411"/>
                      </a:lnTo>
                      <a:lnTo>
                        <a:pt x="107" y="404"/>
                      </a:lnTo>
                      <a:lnTo>
                        <a:pt x="125" y="419"/>
                      </a:lnTo>
                      <a:lnTo>
                        <a:pt x="128" y="440"/>
                      </a:lnTo>
                      <a:lnTo>
                        <a:pt x="135" y="431"/>
                      </a:lnTo>
                      <a:lnTo>
                        <a:pt x="147" y="438"/>
                      </a:lnTo>
                      <a:lnTo>
                        <a:pt x="155" y="422"/>
                      </a:lnTo>
                      <a:lnTo>
                        <a:pt x="135" y="402"/>
                      </a:lnTo>
                      <a:lnTo>
                        <a:pt x="120" y="402"/>
                      </a:lnTo>
                      <a:lnTo>
                        <a:pt x="107" y="389"/>
                      </a:lnTo>
                      <a:cubicBezTo>
                        <a:pt x="105" y="379"/>
                        <a:pt x="108" y="358"/>
                        <a:pt x="96" y="356"/>
                      </a:cubicBezTo>
                      <a:cubicBezTo>
                        <a:pt x="85" y="351"/>
                        <a:pt x="96" y="337"/>
                        <a:pt x="84" y="335"/>
                      </a:cubicBezTo>
                      <a:cubicBezTo>
                        <a:pt x="76" y="331"/>
                        <a:pt x="76" y="324"/>
                        <a:pt x="74" y="315"/>
                      </a:cubicBezTo>
                      <a:cubicBezTo>
                        <a:pt x="75" y="303"/>
                        <a:pt x="73" y="299"/>
                        <a:pt x="81" y="293"/>
                      </a:cubicBezTo>
                      <a:cubicBezTo>
                        <a:pt x="83" y="282"/>
                        <a:pt x="81" y="270"/>
                        <a:pt x="86" y="260"/>
                      </a:cubicBezTo>
                      <a:cubicBezTo>
                        <a:pt x="89" y="244"/>
                        <a:pt x="83" y="217"/>
                        <a:pt x="101" y="210"/>
                      </a:cubicBezTo>
                      <a:cubicBezTo>
                        <a:pt x="110" y="214"/>
                        <a:pt x="104" y="228"/>
                        <a:pt x="110" y="231"/>
                      </a:cubicBezTo>
                      <a:cubicBezTo>
                        <a:pt x="116" y="233"/>
                        <a:pt x="122" y="233"/>
                        <a:pt x="128" y="234"/>
                      </a:cubicBezTo>
                      <a:cubicBezTo>
                        <a:pt x="133" y="236"/>
                        <a:pt x="137" y="237"/>
                        <a:pt x="141" y="240"/>
                      </a:cubicBezTo>
                      <a:cubicBezTo>
                        <a:pt x="144" y="245"/>
                        <a:pt x="146" y="249"/>
                        <a:pt x="149" y="254"/>
                      </a:cubicBezTo>
                      <a:cubicBezTo>
                        <a:pt x="157" y="251"/>
                        <a:pt x="155" y="254"/>
                        <a:pt x="156" y="246"/>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7" name="Freeform 242"/>
                <p:cNvSpPr>
                  <a:spLocks/>
                </p:cNvSpPr>
                <p:nvPr/>
              </p:nvSpPr>
              <p:spPr bwMode="auto">
                <a:xfrm>
                  <a:off x="7538493" y="3386748"/>
                  <a:ext cx="131858" cy="190130"/>
                </a:xfrm>
                <a:custGeom>
                  <a:avLst/>
                  <a:gdLst>
                    <a:gd name="T0" fmla="*/ 7 w 129"/>
                    <a:gd name="T1" fmla="*/ 9 h 189"/>
                    <a:gd name="T2" fmla="*/ 30 w 129"/>
                    <a:gd name="T3" fmla="*/ 4 h 189"/>
                    <a:gd name="T4" fmla="*/ 45 w 129"/>
                    <a:gd name="T5" fmla="*/ 19 h 189"/>
                    <a:gd name="T6" fmla="*/ 57 w 129"/>
                    <a:gd name="T7" fmla="*/ 16 h 189"/>
                    <a:gd name="T8" fmla="*/ 52 w 129"/>
                    <a:gd name="T9" fmla="*/ 34 h 189"/>
                    <a:gd name="T10" fmla="*/ 64 w 129"/>
                    <a:gd name="T11" fmla="*/ 45 h 189"/>
                    <a:gd name="T12" fmla="*/ 49 w 129"/>
                    <a:gd name="T13" fmla="*/ 82 h 189"/>
                    <a:gd name="T14" fmla="*/ 51 w 129"/>
                    <a:gd name="T15" fmla="*/ 112 h 189"/>
                    <a:gd name="T16" fmla="*/ 57 w 129"/>
                    <a:gd name="T17" fmla="*/ 133 h 189"/>
                    <a:gd name="T18" fmla="*/ 78 w 129"/>
                    <a:gd name="T19" fmla="*/ 132 h 189"/>
                    <a:gd name="T20" fmla="*/ 93 w 129"/>
                    <a:gd name="T21" fmla="*/ 151 h 189"/>
                    <a:gd name="T22" fmla="*/ 102 w 129"/>
                    <a:gd name="T23" fmla="*/ 139 h 189"/>
                    <a:gd name="T24" fmla="*/ 108 w 129"/>
                    <a:gd name="T25" fmla="*/ 156 h 189"/>
                    <a:gd name="T26" fmla="*/ 129 w 129"/>
                    <a:gd name="T27" fmla="*/ 177 h 189"/>
                    <a:gd name="T28" fmla="*/ 120 w 129"/>
                    <a:gd name="T29" fmla="*/ 189 h 189"/>
                    <a:gd name="T30" fmla="*/ 82 w 129"/>
                    <a:gd name="T31" fmla="*/ 148 h 189"/>
                    <a:gd name="T32" fmla="*/ 87 w 129"/>
                    <a:gd name="T33" fmla="*/ 160 h 189"/>
                    <a:gd name="T34" fmla="*/ 79 w 129"/>
                    <a:gd name="T35" fmla="*/ 168 h 189"/>
                    <a:gd name="T36" fmla="*/ 57 w 129"/>
                    <a:gd name="T37" fmla="*/ 148 h 189"/>
                    <a:gd name="T38" fmla="*/ 39 w 129"/>
                    <a:gd name="T39" fmla="*/ 153 h 189"/>
                    <a:gd name="T40" fmla="*/ 27 w 129"/>
                    <a:gd name="T41" fmla="*/ 142 h 189"/>
                    <a:gd name="T42" fmla="*/ 34 w 129"/>
                    <a:gd name="T43" fmla="*/ 126 h 189"/>
                    <a:gd name="T44" fmla="*/ 22 w 129"/>
                    <a:gd name="T45" fmla="*/ 133 h 189"/>
                    <a:gd name="T46" fmla="*/ 10 w 129"/>
                    <a:gd name="T47" fmla="*/ 117 h 189"/>
                    <a:gd name="T48" fmla="*/ 4 w 129"/>
                    <a:gd name="T49" fmla="*/ 93 h 189"/>
                    <a:gd name="T50" fmla="*/ 0 w 129"/>
                    <a:gd name="T51" fmla="*/ 79 h 189"/>
                    <a:gd name="T52" fmla="*/ 12 w 129"/>
                    <a:gd name="T53" fmla="*/ 78 h 189"/>
                    <a:gd name="T54" fmla="*/ 13 w 129"/>
                    <a:gd name="T55" fmla="*/ 54 h 189"/>
                    <a:gd name="T56" fmla="*/ 7 w 129"/>
                    <a:gd name="T57" fmla="*/ 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9" h="189">
                      <a:moveTo>
                        <a:pt x="7" y="9"/>
                      </a:moveTo>
                      <a:cubicBezTo>
                        <a:pt x="13" y="0"/>
                        <a:pt x="19" y="3"/>
                        <a:pt x="30" y="4"/>
                      </a:cubicBezTo>
                      <a:cubicBezTo>
                        <a:pt x="34" y="11"/>
                        <a:pt x="37" y="18"/>
                        <a:pt x="45" y="19"/>
                      </a:cubicBezTo>
                      <a:cubicBezTo>
                        <a:pt x="50" y="14"/>
                        <a:pt x="52" y="9"/>
                        <a:pt x="57" y="16"/>
                      </a:cubicBezTo>
                      <a:cubicBezTo>
                        <a:pt x="56" y="22"/>
                        <a:pt x="55" y="28"/>
                        <a:pt x="52" y="34"/>
                      </a:cubicBezTo>
                      <a:cubicBezTo>
                        <a:pt x="57" y="37"/>
                        <a:pt x="59" y="41"/>
                        <a:pt x="64" y="45"/>
                      </a:cubicBezTo>
                      <a:cubicBezTo>
                        <a:pt x="63" y="56"/>
                        <a:pt x="64" y="79"/>
                        <a:pt x="49" y="82"/>
                      </a:cubicBezTo>
                      <a:cubicBezTo>
                        <a:pt x="39" y="89"/>
                        <a:pt x="45" y="104"/>
                        <a:pt x="51" y="112"/>
                      </a:cubicBezTo>
                      <a:cubicBezTo>
                        <a:pt x="52" y="119"/>
                        <a:pt x="54" y="127"/>
                        <a:pt x="57" y="133"/>
                      </a:cubicBezTo>
                      <a:cubicBezTo>
                        <a:pt x="60" y="147"/>
                        <a:pt x="68" y="133"/>
                        <a:pt x="78" y="132"/>
                      </a:cubicBezTo>
                      <a:cubicBezTo>
                        <a:pt x="95" y="134"/>
                        <a:pt x="84" y="139"/>
                        <a:pt x="93" y="151"/>
                      </a:cubicBezTo>
                      <a:cubicBezTo>
                        <a:pt x="97" y="145"/>
                        <a:pt x="95" y="142"/>
                        <a:pt x="102" y="139"/>
                      </a:cubicBezTo>
                      <a:cubicBezTo>
                        <a:pt x="113" y="143"/>
                        <a:pt x="114" y="146"/>
                        <a:pt x="108" y="156"/>
                      </a:cubicBezTo>
                      <a:cubicBezTo>
                        <a:pt x="115" y="165"/>
                        <a:pt x="124" y="166"/>
                        <a:pt x="129" y="177"/>
                      </a:cubicBezTo>
                      <a:cubicBezTo>
                        <a:pt x="126" y="182"/>
                        <a:pt x="125" y="186"/>
                        <a:pt x="120" y="189"/>
                      </a:cubicBezTo>
                      <a:cubicBezTo>
                        <a:pt x="106" y="183"/>
                        <a:pt x="104" y="157"/>
                        <a:pt x="82" y="148"/>
                      </a:cubicBezTo>
                      <a:cubicBezTo>
                        <a:pt x="78" y="155"/>
                        <a:pt x="80" y="156"/>
                        <a:pt x="87" y="160"/>
                      </a:cubicBezTo>
                      <a:cubicBezTo>
                        <a:pt x="89" y="170"/>
                        <a:pt x="95" y="169"/>
                        <a:pt x="79" y="168"/>
                      </a:cubicBezTo>
                      <a:cubicBezTo>
                        <a:pt x="77" y="157"/>
                        <a:pt x="66" y="154"/>
                        <a:pt x="57" y="148"/>
                      </a:cubicBezTo>
                      <a:cubicBezTo>
                        <a:pt x="51" y="150"/>
                        <a:pt x="45" y="150"/>
                        <a:pt x="39" y="153"/>
                      </a:cubicBezTo>
                      <a:cubicBezTo>
                        <a:pt x="36" y="145"/>
                        <a:pt x="35" y="145"/>
                        <a:pt x="27" y="142"/>
                      </a:cubicBezTo>
                      <a:cubicBezTo>
                        <a:pt x="28" y="135"/>
                        <a:pt x="30" y="132"/>
                        <a:pt x="34" y="126"/>
                      </a:cubicBezTo>
                      <a:cubicBezTo>
                        <a:pt x="27" y="114"/>
                        <a:pt x="25" y="127"/>
                        <a:pt x="22" y="133"/>
                      </a:cubicBezTo>
                      <a:cubicBezTo>
                        <a:pt x="11" y="131"/>
                        <a:pt x="14" y="125"/>
                        <a:pt x="10" y="117"/>
                      </a:cubicBezTo>
                      <a:cubicBezTo>
                        <a:pt x="9" y="109"/>
                        <a:pt x="8" y="100"/>
                        <a:pt x="4" y="93"/>
                      </a:cubicBezTo>
                      <a:cubicBezTo>
                        <a:pt x="3" y="88"/>
                        <a:pt x="1" y="84"/>
                        <a:pt x="0" y="79"/>
                      </a:cubicBezTo>
                      <a:cubicBezTo>
                        <a:pt x="1" y="69"/>
                        <a:pt x="8" y="69"/>
                        <a:pt x="12" y="78"/>
                      </a:cubicBezTo>
                      <a:cubicBezTo>
                        <a:pt x="23" y="74"/>
                        <a:pt x="17" y="62"/>
                        <a:pt x="13" y="54"/>
                      </a:cubicBezTo>
                      <a:cubicBezTo>
                        <a:pt x="12" y="38"/>
                        <a:pt x="9" y="25"/>
                        <a:pt x="7" y="9"/>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8" name="Freeform 243"/>
                <p:cNvSpPr>
                  <a:spLocks/>
                </p:cNvSpPr>
                <p:nvPr/>
              </p:nvSpPr>
              <p:spPr bwMode="auto">
                <a:xfrm>
                  <a:off x="7670350" y="3564807"/>
                  <a:ext cx="48090" cy="82993"/>
                </a:xfrm>
                <a:custGeom>
                  <a:avLst/>
                  <a:gdLst>
                    <a:gd name="T0" fmla="*/ 11 w 48"/>
                    <a:gd name="T1" fmla="*/ 5 h 83"/>
                    <a:gd name="T2" fmla="*/ 31 w 48"/>
                    <a:gd name="T3" fmla="*/ 18 h 83"/>
                    <a:gd name="T4" fmla="*/ 46 w 48"/>
                    <a:gd name="T5" fmla="*/ 44 h 83"/>
                    <a:gd name="T6" fmla="*/ 44 w 48"/>
                    <a:gd name="T7" fmla="*/ 56 h 83"/>
                    <a:gd name="T8" fmla="*/ 26 w 48"/>
                    <a:gd name="T9" fmla="*/ 53 h 83"/>
                    <a:gd name="T10" fmla="*/ 31 w 48"/>
                    <a:gd name="T11" fmla="*/ 74 h 83"/>
                    <a:gd name="T12" fmla="*/ 17 w 48"/>
                    <a:gd name="T13" fmla="*/ 74 h 83"/>
                    <a:gd name="T14" fmla="*/ 7 w 48"/>
                    <a:gd name="T15" fmla="*/ 54 h 83"/>
                    <a:gd name="T16" fmla="*/ 19 w 48"/>
                    <a:gd name="T17" fmla="*/ 41 h 83"/>
                    <a:gd name="T18" fmla="*/ 8 w 48"/>
                    <a:gd name="T19" fmla="*/ 29 h 83"/>
                    <a:gd name="T20" fmla="*/ 1 w 48"/>
                    <a:gd name="T21" fmla="*/ 15 h 83"/>
                    <a:gd name="T22" fmla="*/ 2 w 48"/>
                    <a:gd name="T23" fmla="*/ 6 h 83"/>
                    <a:gd name="T24" fmla="*/ 11 w 48"/>
                    <a:gd name="T25"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83">
                      <a:moveTo>
                        <a:pt x="11" y="5"/>
                      </a:moveTo>
                      <a:cubicBezTo>
                        <a:pt x="24" y="6"/>
                        <a:pt x="26" y="6"/>
                        <a:pt x="31" y="18"/>
                      </a:cubicBezTo>
                      <a:cubicBezTo>
                        <a:pt x="33" y="28"/>
                        <a:pt x="37" y="38"/>
                        <a:pt x="46" y="44"/>
                      </a:cubicBezTo>
                      <a:cubicBezTo>
                        <a:pt x="45" y="48"/>
                        <a:pt x="48" y="54"/>
                        <a:pt x="44" y="56"/>
                      </a:cubicBezTo>
                      <a:cubicBezTo>
                        <a:pt x="38" y="58"/>
                        <a:pt x="26" y="53"/>
                        <a:pt x="26" y="53"/>
                      </a:cubicBezTo>
                      <a:cubicBezTo>
                        <a:pt x="24" y="63"/>
                        <a:pt x="28" y="66"/>
                        <a:pt x="31" y="74"/>
                      </a:cubicBezTo>
                      <a:cubicBezTo>
                        <a:pt x="28" y="83"/>
                        <a:pt x="21" y="82"/>
                        <a:pt x="17" y="74"/>
                      </a:cubicBezTo>
                      <a:cubicBezTo>
                        <a:pt x="16" y="54"/>
                        <a:pt x="18" y="62"/>
                        <a:pt x="7" y="54"/>
                      </a:cubicBezTo>
                      <a:cubicBezTo>
                        <a:pt x="8" y="43"/>
                        <a:pt x="9" y="43"/>
                        <a:pt x="19" y="41"/>
                      </a:cubicBezTo>
                      <a:cubicBezTo>
                        <a:pt x="17" y="34"/>
                        <a:pt x="14" y="33"/>
                        <a:pt x="8" y="29"/>
                      </a:cubicBezTo>
                      <a:cubicBezTo>
                        <a:pt x="7" y="23"/>
                        <a:pt x="4" y="20"/>
                        <a:pt x="1" y="15"/>
                      </a:cubicBezTo>
                      <a:cubicBezTo>
                        <a:pt x="1" y="12"/>
                        <a:pt x="0" y="9"/>
                        <a:pt x="2" y="6"/>
                      </a:cubicBezTo>
                      <a:cubicBezTo>
                        <a:pt x="6" y="0"/>
                        <a:pt x="17" y="14"/>
                        <a:pt x="11" y="5"/>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39" name="Freeform 244"/>
                <p:cNvSpPr>
                  <a:spLocks/>
                </p:cNvSpPr>
                <p:nvPr/>
              </p:nvSpPr>
              <p:spPr bwMode="auto">
                <a:xfrm>
                  <a:off x="7566416" y="3543682"/>
                  <a:ext cx="31025" cy="46778"/>
                </a:xfrm>
                <a:custGeom>
                  <a:avLst/>
                  <a:gdLst>
                    <a:gd name="T0" fmla="*/ 27 w 30"/>
                    <a:gd name="T1" fmla="*/ 10 h 47"/>
                    <a:gd name="T2" fmla="*/ 1 w 30"/>
                    <a:gd name="T3" fmla="*/ 0 h 47"/>
                    <a:gd name="T4" fmla="*/ 7 w 30"/>
                    <a:gd name="T5" fmla="*/ 15 h 47"/>
                    <a:gd name="T6" fmla="*/ 18 w 30"/>
                    <a:gd name="T7" fmla="*/ 31 h 47"/>
                    <a:gd name="T8" fmla="*/ 27 w 30"/>
                    <a:gd name="T9" fmla="*/ 37 h 47"/>
                    <a:gd name="T10" fmla="*/ 27 w 30"/>
                    <a:gd name="T11" fmla="*/ 10 h 47"/>
                  </a:gdLst>
                  <a:ahLst/>
                  <a:cxnLst>
                    <a:cxn ang="0">
                      <a:pos x="T0" y="T1"/>
                    </a:cxn>
                    <a:cxn ang="0">
                      <a:pos x="T2" y="T3"/>
                    </a:cxn>
                    <a:cxn ang="0">
                      <a:pos x="T4" y="T5"/>
                    </a:cxn>
                    <a:cxn ang="0">
                      <a:pos x="T6" y="T7"/>
                    </a:cxn>
                    <a:cxn ang="0">
                      <a:pos x="T8" y="T9"/>
                    </a:cxn>
                    <a:cxn ang="0">
                      <a:pos x="T10" y="T11"/>
                    </a:cxn>
                  </a:cxnLst>
                  <a:rect l="0" t="0" r="r" b="b"/>
                  <a:pathLst>
                    <a:path w="30" h="47">
                      <a:moveTo>
                        <a:pt x="27" y="10"/>
                      </a:moveTo>
                      <a:cubicBezTo>
                        <a:pt x="20" y="6"/>
                        <a:pt x="9" y="1"/>
                        <a:pt x="1" y="0"/>
                      </a:cubicBezTo>
                      <a:cubicBezTo>
                        <a:pt x="0" y="8"/>
                        <a:pt x="1" y="10"/>
                        <a:pt x="7" y="15"/>
                      </a:cubicBezTo>
                      <a:cubicBezTo>
                        <a:pt x="10" y="21"/>
                        <a:pt x="14" y="26"/>
                        <a:pt x="18" y="31"/>
                      </a:cubicBezTo>
                      <a:cubicBezTo>
                        <a:pt x="19" y="38"/>
                        <a:pt x="21" y="47"/>
                        <a:pt x="27" y="37"/>
                      </a:cubicBezTo>
                      <a:cubicBezTo>
                        <a:pt x="29" y="23"/>
                        <a:pt x="30" y="29"/>
                        <a:pt x="27" y="1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0" name="Freeform 245"/>
                <p:cNvSpPr>
                  <a:spLocks/>
                </p:cNvSpPr>
                <p:nvPr/>
              </p:nvSpPr>
              <p:spPr bwMode="auto">
                <a:xfrm>
                  <a:off x="7493506" y="3607058"/>
                  <a:ext cx="77563" cy="101100"/>
                </a:xfrm>
                <a:custGeom>
                  <a:avLst/>
                  <a:gdLst>
                    <a:gd name="T0" fmla="*/ 54 w 76"/>
                    <a:gd name="T1" fmla="*/ 0 h 101"/>
                    <a:gd name="T2" fmla="*/ 45 w 76"/>
                    <a:gd name="T3" fmla="*/ 21 h 101"/>
                    <a:gd name="T4" fmla="*/ 27 w 76"/>
                    <a:gd name="T5" fmla="*/ 35 h 101"/>
                    <a:gd name="T6" fmla="*/ 6 w 76"/>
                    <a:gd name="T7" fmla="*/ 65 h 101"/>
                    <a:gd name="T8" fmla="*/ 0 w 76"/>
                    <a:gd name="T9" fmla="*/ 81 h 101"/>
                    <a:gd name="T10" fmla="*/ 14 w 76"/>
                    <a:gd name="T11" fmla="*/ 77 h 101"/>
                    <a:gd name="T12" fmla="*/ 65 w 76"/>
                    <a:gd name="T13" fmla="*/ 29 h 101"/>
                    <a:gd name="T14" fmla="*/ 59 w 76"/>
                    <a:gd name="T15" fmla="*/ 18 h 101"/>
                    <a:gd name="T16" fmla="*/ 54 w 7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01">
                      <a:moveTo>
                        <a:pt x="54" y="0"/>
                      </a:moveTo>
                      <a:cubicBezTo>
                        <a:pt x="45" y="7"/>
                        <a:pt x="48" y="10"/>
                        <a:pt x="45" y="21"/>
                      </a:cubicBezTo>
                      <a:cubicBezTo>
                        <a:pt x="43" y="28"/>
                        <a:pt x="33" y="31"/>
                        <a:pt x="27" y="35"/>
                      </a:cubicBezTo>
                      <a:cubicBezTo>
                        <a:pt x="20" y="45"/>
                        <a:pt x="12" y="54"/>
                        <a:pt x="6" y="65"/>
                      </a:cubicBezTo>
                      <a:cubicBezTo>
                        <a:pt x="5" y="71"/>
                        <a:pt x="4" y="76"/>
                        <a:pt x="0" y="81"/>
                      </a:cubicBezTo>
                      <a:cubicBezTo>
                        <a:pt x="4" y="101"/>
                        <a:pt x="7" y="86"/>
                        <a:pt x="14" y="77"/>
                      </a:cubicBezTo>
                      <a:cubicBezTo>
                        <a:pt x="16" y="67"/>
                        <a:pt x="54" y="31"/>
                        <a:pt x="65" y="29"/>
                      </a:cubicBezTo>
                      <a:cubicBezTo>
                        <a:pt x="76" y="21"/>
                        <a:pt x="68" y="21"/>
                        <a:pt x="59" y="18"/>
                      </a:cubicBezTo>
                      <a:cubicBezTo>
                        <a:pt x="55" y="11"/>
                        <a:pt x="54" y="9"/>
                        <a:pt x="54"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1" name="Freeform 246"/>
                <p:cNvSpPr>
                  <a:spLocks/>
                </p:cNvSpPr>
                <p:nvPr/>
              </p:nvSpPr>
              <p:spPr bwMode="auto">
                <a:xfrm>
                  <a:off x="7611402" y="3591969"/>
                  <a:ext cx="83768" cy="86011"/>
                </a:xfrm>
                <a:custGeom>
                  <a:avLst/>
                  <a:gdLst>
                    <a:gd name="T0" fmla="*/ 0 w 81"/>
                    <a:gd name="T1" fmla="*/ 0 h 86"/>
                    <a:gd name="T2" fmla="*/ 1 w 81"/>
                    <a:gd name="T3" fmla="*/ 23 h 86"/>
                    <a:gd name="T4" fmla="*/ 12 w 81"/>
                    <a:gd name="T5" fmla="*/ 35 h 86"/>
                    <a:gd name="T6" fmla="*/ 27 w 81"/>
                    <a:gd name="T7" fmla="*/ 33 h 86"/>
                    <a:gd name="T8" fmla="*/ 16 w 81"/>
                    <a:gd name="T9" fmla="*/ 56 h 86"/>
                    <a:gd name="T10" fmla="*/ 37 w 81"/>
                    <a:gd name="T11" fmla="*/ 86 h 86"/>
                    <a:gd name="T12" fmla="*/ 37 w 81"/>
                    <a:gd name="T13" fmla="*/ 54 h 86"/>
                    <a:gd name="T14" fmla="*/ 46 w 81"/>
                    <a:gd name="T15" fmla="*/ 71 h 86"/>
                    <a:gd name="T16" fmla="*/ 52 w 81"/>
                    <a:gd name="T17" fmla="*/ 60 h 86"/>
                    <a:gd name="T18" fmla="*/ 63 w 81"/>
                    <a:gd name="T19" fmla="*/ 72 h 86"/>
                    <a:gd name="T20" fmla="*/ 61 w 81"/>
                    <a:gd name="T21" fmla="*/ 56 h 86"/>
                    <a:gd name="T22" fmla="*/ 57 w 81"/>
                    <a:gd name="T23" fmla="*/ 42 h 86"/>
                    <a:gd name="T24" fmla="*/ 46 w 81"/>
                    <a:gd name="T25" fmla="*/ 36 h 86"/>
                    <a:gd name="T26" fmla="*/ 42 w 81"/>
                    <a:gd name="T27" fmla="*/ 39 h 86"/>
                    <a:gd name="T28" fmla="*/ 40 w 81"/>
                    <a:gd name="T29" fmla="*/ 44 h 86"/>
                    <a:gd name="T30" fmla="*/ 39 w 81"/>
                    <a:gd name="T31" fmla="*/ 50 h 86"/>
                    <a:gd name="T32" fmla="*/ 40 w 81"/>
                    <a:gd name="T33" fmla="*/ 39 h 86"/>
                    <a:gd name="T34" fmla="*/ 28 w 81"/>
                    <a:gd name="T35" fmla="*/ 26 h 86"/>
                    <a:gd name="T36" fmla="*/ 31 w 81"/>
                    <a:gd name="T37" fmla="*/ 18 h 86"/>
                    <a:gd name="T38" fmla="*/ 13 w 81"/>
                    <a:gd name="T39" fmla="*/ 5 h 86"/>
                    <a:gd name="T40" fmla="*/ 0 w 81"/>
                    <a:gd name="T4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6">
                      <a:moveTo>
                        <a:pt x="0" y="0"/>
                      </a:moveTo>
                      <a:cubicBezTo>
                        <a:pt x="4" y="17"/>
                        <a:pt x="4" y="9"/>
                        <a:pt x="1" y="23"/>
                      </a:cubicBezTo>
                      <a:cubicBezTo>
                        <a:pt x="3" y="31"/>
                        <a:pt x="4" y="32"/>
                        <a:pt x="12" y="35"/>
                      </a:cubicBezTo>
                      <a:cubicBezTo>
                        <a:pt x="18" y="32"/>
                        <a:pt x="21" y="32"/>
                        <a:pt x="27" y="33"/>
                      </a:cubicBezTo>
                      <a:cubicBezTo>
                        <a:pt x="24" y="45"/>
                        <a:pt x="29" y="53"/>
                        <a:pt x="16" y="56"/>
                      </a:cubicBezTo>
                      <a:cubicBezTo>
                        <a:pt x="7" y="68"/>
                        <a:pt x="29" y="80"/>
                        <a:pt x="37" y="86"/>
                      </a:cubicBezTo>
                      <a:cubicBezTo>
                        <a:pt x="30" y="75"/>
                        <a:pt x="35" y="66"/>
                        <a:pt x="37" y="54"/>
                      </a:cubicBezTo>
                      <a:cubicBezTo>
                        <a:pt x="41" y="60"/>
                        <a:pt x="40" y="66"/>
                        <a:pt x="46" y="71"/>
                      </a:cubicBezTo>
                      <a:cubicBezTo>
                        <a:pt x="48" y="65"/>
                        <a:pt x="45" y="51"/>
                        <a:pt x="52" y="60"/>
                      </a:cubicBezTo>
                      <a:cubicBezTo>
                        <a:pt x="55" y="68"/>
                        <a:pt x="55" y="71"/>
                        <a:pt x="63" y="72"/>
                      </a:cubicBezTo>
                      <a:cubicBezTo>
                        <a:pt x="81" y="70"/>
                        <a:pt x="74" y="58"/>
                        <a:pt x="61" y="56"/>
                      </a:cubicBezTo>
                      <a:cubicBezTo>
                        <a:pt x="52" y="51"/>
                        <a:pt x="47" y="52"/>
                        <a:pt x="57" y="42"/>
                      </a:cubicBezTo>
                      <a:cubicBezTo>
                        <a:pt x="59" y="32"/>
                        <a:pt x="54" y="35"/>
                        <a:pt x="46" y="36"/>
                      </a:cubicBezTo>
                      <a:cubicBezTo>
                        <a:pt x="45" y="37"/>
                        <a:pt x="43" y="38"/>
                        <a:pt x="42" y="39"/>
                      </a:cubicBezTo>
                      <a:cubicBezTo>
                        <a:pt x="41" y="40"/>
                        <a:pt x="40" y="42"/>
                        <a:pt x="40" y="44"/>
                      </a:cubicBezTo>
                      <a:cubicBezTo>
                        <a:pt x="39" y="46"/>
                        <a:pt x="39" y="52"/>
                        <a:pt x="39" y="50"/>
                      </a:cubicBezTo>
                      <a:cubicBezTo>
                        <a:pt x="39" y="46"/>
                        <a:pt x="40" y="43"/>
                        <a:pt x="40" y="39"/>
                      </a:cubicBezTo>
                      <a:cubicBezTo>
                        <a:pt x="39" y="27"/>
                        <a:pt x="39" y="28"/>
                        <a:pt x="28" y="26"/>
                      </a:cubicBezTo>
                      <a:cubicBezTo>
                        <a:pt x="25" y="11"/>
                        <a:pt x="27" y="30"/>
                        <a:pt x="31" y="18"/>
                      </a:cubicBezTo>
                      <a:cubicBezTo>
                        <a:pt x="34" y="7"/>
                        <a:pt x="19" y="6"/>
                        <a:pt x="13" y="5"/>
                      </a:cubicBezTo>
                      <a:cubicBezTo>
                        <a:pt x="6" y="2"/>
                        <a:pt x="10" y="3"/>
                        <a:pt x="0"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2" name="Freeform 247"/>
                <p:cNvSpPr>
                  <a:spLocks/>
                </p:cNvSpPr>
                <p:nvPr/>
              </p:nvSpPr>
              <p:spPr bwMode="auto">
                <a:xfrm>
                  <a:off x="7620710" y="3638746"/>
                  <a:ext cx="128755" cy="141843"/>
                </a:xfrm>
                <a:custGeom>
                  <a:avLst/>
                  <a:gdLst>
                    <a:gd name="T0" fmla="*/ 91 w 124"/>
                    <a:gd name="T1" fmla="*/ 18 h 141"/>
                    <a:gd name="T2" fmla="*/ 108 w 124"/>
                    <a:gd name="T3" fmla="*/ 37 h 141"/>
                    <a:gd name="T4" fmla="*/ 108 w 124"/>
                    <a:gd name="T5" fmla="*/ 51 h 141"/>
                    <a:gd name="T6" fmla="*/ 117 w 124"/>
                    <a:gd name="T7" fmla="*/ 76 h 141"/>
                    <a:gd name="T8" fmla="*/ 103 w 124"/>
                    <a:gd name="T9" fmla="*/ 97 h 141"/>
                    <a:gd name="T10" fmla="*/ 93 w 124"/>
                    <a:gd name="T11" fmla="*/ 90 h 141"/>
                    <a:gd name="T12" fmla="*/ 96 w 124"/>
                    <a:gd name="T13" fmla="*/ 115 h 141"/>
                    <a:gd name="T14" fmla="*/ 90 w 124"/>
                    <a:gd name="T15" fmla="*/ 141 h 141"/>
                    <a:gd name="T16" fmla="*/ 72 w 124"/>
                    <a:gd name="T17" fmla="*/ 129 h 141"/>
                    <a:gd name="T18" fmla="*/ 61 w 124"/>
                    <a:gd name="T19" fmla="*/ 117 h 141"/>
                    <a:gd name="T20" fmla="*/ 46 w 124"/>
                    <a:gd name="T21" fmla="*/ 76 h 141"/>
                    <a:gd name="T22" fmla="*/ 36 w 124"/>
                    <a:gd name="T23" fmla="*/ 93 h 141"/>
                    <a:gd name="T24" fmla="*/ 30 w 124"/>
                    <a:gd name="T25" fmla="*/ 79 h 141"/>
                    <a:gd name="T26" fmla="*/ 22 w 124"/>
                    <a:gd name="T27" fmla="*/ 94 h 141"/>
                    <a:gd name="T28" fmla="*/ 13 w 124"/>
                    <a:gd name="T29" fmla="*/ 76 h 141"/>
                    <a:gd name="T30" fmla="*/ 7 w 124"/>
                    <a:gd name="T31" fmla="*/ 91 h 141"/>
                    <a:gd name="T32" fmla="*/ 0 w 124"/>
                    <a:gd name="T33" fmla="*/ 94 h 141"/>
                    <a:gd name="T34" fmla="*/ 22 w 124"/>
                    <a:gd name="T35" fmla="*/ 63 h 141"/>
                    <a:gd name="T36" fmla="*/ 37 w 124"/>
                    <a:gd name="T37" fmla="*/ 51 h 141"/>
                    <a:gd name="T38" fmla="*/ 49 w 124"/>
                    <a:gd name="T39" fmla="*/ 67 h 141"/>
                    <a:gd name="T40" fmla="*/ 55 w 124"/>
                    <a:gd name="T41" fmla="*/ 58 h 141"/>
                    <a:gd name="T42" fmla="*/ 69 w 124"/>
                    <a:gd name="T43" fmla="*/ 49 h 141"/>
                    <a:gd name="T44" fmla="*/ 70 w 124"/>
                    <a:gd name="T45" fmla="*/ 33 h 141"/>
                    <a:gd name="T46" fmla="*/ 79 w 124"/>
                    <a:gd name="T47" fmla="*/ 40 h 141"/>
                    <a:gd name="T48" fmla="*/ 93 w 124"/>
                    <a:gd name="T49" fmla="*/ 0 h 141"/>
                    <a:gd name="T50" fmla="*/ 91 w 124"/>
                    <a:gd name="T51" fmla="*/ 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141">
                      <a:moveTo>
                        <a:pt x="91" y="18"/>
                      </a:moveTo>
                      <a:cubicBezTo>
                        <a:pt x="98" y="19"/>
                        <a:pt x="101" y="32"/>
                        <a:pt x="108" y="37"/>
                      </a:cubicBezTo>
                      <a:cubicBezTo>
                        <a:pt x="112" y="44"/>
                        <a:pt x="109" y="44"/>
                        <a:pt x="108" y="51"/>
                      </a:cubicBezTo>
                      <a:cubicBezTo>
                        <a:pt x="114" y="58"/>
                        <a:pt x="113" y="68"/>
                        <a:pt x="117" y="76"/>
                      </a:cubicBezTo>
                      <a:cubicBezTo>
                        <a:pt x="119" y="93"/>
                        <a:pt x="124" y="100"/>
                        <a:pt x="103" y="97"/>
                      </a:cubicBezTo>
                      <a:cubicBezTo>
                        <a:pt x="98" y="90"/>
                        <a:pt x="102" y="87"/>
                        <a:pt x="93" y="90"/>
                      </a:cubicBezTo>
                      <a:cubicBezTo>
                        <a:pt x="87" y="98"/>
                        <a:pt x="90" y="108"/>
                        <a:pt x="96" y="115"/>
                      </a:cubicBezTo>
                      <a:cubicBezTo>
                        <a:pt x="98" y="125"/>
                        <a:pt x="98" y="135"/>
                        <a:pt x="90" y="141"/>
                      </a:cubicBezTo>
                      <a:cubicBezTo>
                        <a:pt x="72" y="134"/>
                        <a:pt x="99" y="131"/>
                        <a:pt x="72" y="129"/>
                      </a:cubicBezTo>
                      <a:cubicBezTo>
                        <a:pt x="66" y="126"/>
                        <a:pt x="65" y="122"/>
                        <a:pt x="61" y="117"/>
                      </a:cubicBezTo>
                      <a:cubicBezTo>
                        <a:pt x="58" y="104"/>
                        <a:pt x="58" y="83"/>
                        <a:pt x="46" y="76"/>
                      </a:cubicBezTo>
                      <a:cubicBezTo>
                        <a:pt x="35" y="80"/>
                        <a:pt x="46" y="86"/>
                        <a:pt x="36" y="93"/>
                      </a:cubicBezTo>
                      <a:cubicBezTo>
                        <a:pt x="33" y="88"/>
                        <a:pt x="31" y="85"/>
                        <a:pt x="30" y="79"/>
                      </a:cubicBezTo>
                      <a:cubicBezTo>
                        <a:pt x="27" y="84"/>
                        <a:pt x="26" y="89"/>
                        <a:pt x="22" y="94"/>
                      </a:cubicBezTo>
                      <a:cubicBezTo>
                        <a:pt x="16" y="86"/>
                        <a:pt x="25" y="74"/>
                        <a:pt x="13" y="76"/>
                      </a:cubicBezTo>
                      <a:cubicBezTo>
                        <a:pt x="12" y="81"/>
                        <a:pt x="7" y="91"/>
                        <a:pt x="7" y="91"/>
                      </a:cubicBezTo>
                      <a:cubicBezTo>
                        <a:pt x="6" y="97"/>
                        <a:pt x="2" y="104"/>
                        <a:pt x="0" y="94"/>
                      </a:cubicBezTo>
                      <a:cubicBezTo>
                        <a:pt x="1" y="77"/>
                        <a:pt x="4" y="65"/>
                        <a:pt x="22" y="63"/>
                      </a:cubicBezTo>
                      <a:cubicBezTo>
                        <a:pt x="25" y="53"/>
                        <a:pt x="25" y="52"/>
                        <a:pt x="37" y="51"/>
                      </a:cubicBezTo>
                      <a:cubicBezTo>
                        <a:pt x="57" y="53"/>
                        <a:pt x="42" y="48"/>
                        <a:pt x="49" y="67"/>
                      </a:cubicBezTo>
                      <a:cubicBezTo>
                        <a:pt x="50" y="70"/>
                        <a:pt x="53" y="61"/>
                        <a:pt x="55" y="58"/>
                      </a:cubicBezTo>
                      <a:cubicBezTo>
                        <a:pt x="59" y="52"/>
                        <a:pt x="63" y="51"/>
                        <a:pt x="69" y="49"/>
                      </a:cubicBezTo>
                      <a:cubicBezTo>
                        <a:pt x="69" y="44"/>
                        <a:pt x="67" y="38"/>
                        <a:pt x="70" y="33"/>
                      </a:cubicBezTo>
                      <a:cubicBezTo>
                        <a:pt x="72" y="30"/>
                        <a:pt x="78" y="36"/>
                        <a:pt x="79" y="40"/>
                      </a:cubicBezTo>
                      <a:cubicBezTo>
                        <a:pt x="98" y="38"/>
                        <a:pt x="81" y="16"/>
                        <a:pt x="93" y="0"/>
                      </a:cubicBezTo>
                      <a:cubicBezTo>
                        <a:pt x="94" y="8"/>
                        <a:pt x="99" y="13"/>
                        <a:pt x="91" y="18"/>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3" name="Freeform 248"/>
                <p:cNvSpPr>
                  <a:spLocks/>
                </p:cNvSpPr>
                <p:nvPr/>
              </p:nvSpPr>
              <p:spPr bwMode="auto">
                <a:xfrm>
                  <a:off x="7690517" y="3987318"/>
                  <a:ext cx="54295" cy="31689"/>
                </a:xfrm>
                <a:custGeom>
                  <a:avLst/>
                  <a:gdLst>
                    <a:gd name="T0" fmla="*/ 53 w 53"/>
                    <a:gd name="T1" fmla="*/ 7 h 31"/>
                    <a:gd name="T2" fmla="*/ 18 w 53"/>
                    <a:gd name="T3" fmla="*/ 3 h 31"/>
                    <a:gd name="T4" fmla="*/ 0 w 53"/>
                    <a:gd name="T5" fmla="*/ 6 h 31"/>
                    <a:gd name="T6" fmla="*/ 11 w 53"/>
                    <a:gd name="T7" fmla="*/ 16 h 31"/>
                    <a:gd name="T8" fmla="*/ 38 w 53"/>
                    <a:gd name="T9" fmla="*/ 18 h 31"/>
                    <a:gd name="T10" fmla="*/ 45 w 53"/>
                    <a:gd name="T11" fmla="*/ 31 h 31"/>
                    <a:gd name="T12" fmla="*/ 53 w 53"/>
                    <a:gd name="T13" fmla="*/ 7 h 31"/>
                  </a:gdLst>
                  <a:ahLst/>
                  <a:cxnLst>
                    <a:cxn ang="0">
                      <a:pos x="T0" y="T1"/>
                    </a:cxn>
                    <a:cxn ang="0">
                      <a:pos x="T2" y="T3"/>
                    </a:cxn>
                    <a:cxn ang="0">
                      <a:pos x="T4" y="T5"/>
                    </a:cxn>
                    <a:cxn ang="0">
                      <a:pos x="T6" y="T7"/>
                    </a:cxn>
                    <a:cxn ang="0">
                      <a:pos x="T8" y="T9"/>
                    </a:cxn>
                    <a:cxn ang="0">
                      <a:pos x="T10" y="T11"/>
                    </a:cxn>
                    <a:cxn ang="0">
                      <a:pos x="T12" y="T13"/>
                    </a:cxn>
                  </a:cxnLst>
                  <a:rect l="0" t="0" r="r" b="b"/>
                  <a:pathLst>
                    <a:path w="53" h="31">
                      <a:moveTo>
                        <a:pt x="53" y="7"/>
                      </a:moveTo>
                      <a:cubicBezTo>
                        <a:pt x="41" y="6"/>
                        <a:pt x="30" y="5"/>
                        <a:pt x="18" y="3"/>
                      </a:cubicBezTo>
                      <a:cubicBezTo>
                        <a:pt x="11" y="0"/>
                        <a:pt x="6" y="2"/>
                        <a:pt x="0" y="6"/>
                      </a:cubicBezTo>
                      <a:cubicBezTo>
                        <a:pt x="2" y="14"/>
                        <a:pt x="3" y="14"/>
                        <a:pt x="11" y="16"/>
                      </a:cubicBezTo>
                      <a:cubicBezTo>
                        <a:pt x="17" y="19"/>
                        <a:pt x="31" y="17"/>
                        <a:pt x="38" y="18"/>
                      </a:cubicBezTo>
                      <a:cubicBezTo>
                        <a:pt x="39" y="25"/>
                        <a:pt x="40" y="27"/>
                        <a:pt x="45" y="31"/>
                      </a:cubicBezTo>
                      <a:cubicBezTo>
                        <a:pt x="53" y="26"/>
                        <a:pt x="53" y="16"/>
                        <a:pt x="53" y="7"/>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4" name="Freeform 249"/>
                <p:cNvSpPr>
                  <a:spLocks/>
                </p:cNvSpPr>
                <p:nvPr/>
              </p:nvSpPr>
              <p:spPr bwMode="auto">
                <a:xfrm>
                  <a:off x="8121770" y="4019007"/>
                  <a:ext cx="286985" cy="255015"/>
                </a:xfrm>
                <a:custGeom>
                  <a:avLst/>
                  <a:gdLst>
                    <a:gd name="T0" fmla="*/ 5 w 279"/>
                    <a:gd name="T1" fmla="*/ 195 h 255"/>
                    <a:gd name="T2" fmla="*/ 11 w 279"/>
                    <a:gd name="T3" fmla="*/ 126 h 255"/>
                    <a:gd name="T4" fmla="*/ 0 w 279"/>
                    <a:gd name="T5" fmla="*/ 122 h 255"/>
                    <a:gd name="T6" fmla="*/ 14 w 279"/>
                    <a:gd name="T7" fmla="*/ 101 h 255"/>
                    <a:gd name="T8" fmla="*/ 14 w 279"/>
                    <a:gd name="T9" fmla="*/ 0 h 255"/>
                    <a:gd name="T10" fmla="*/ 38 w 279"/>
                    <a:gd name="T11" fmla="*/ 9 h 255"/>
                    <a:gd name="T12" fmla="*/ 50 w 279"/>
                    <a:gd name="T13" fmla="*/ 18 h 255"/>
                    <a:gd name="T14" fmla="*/ 78 w 279"/>
                    <a:gd name="T15" fmla="*/ 30 h 255"/>
                    <a:gd name="T16" fmla="*/ 101 w 279"/>
                    <a:gd name="T17" fmla="*/ 39 h 255"/>
                    <a:gd name="T18" fmla="*/ 128 w 279"/>
                    <a:gd name="T19" fmla="*/ 56 h 255"/>
                    <a:gd name="T20" fmla="*/ 137 w 279"/>
                    <a:gd name="T21" fmla="*/ 69 h 255"/>
                    <a:gd name="T22" fmla="*/ 131 w 279"/>
                    <a:gd name="T23" fmla="*/ 83 h 255"/>
                    <a:gd name="T24" fmla="*/ 161 w 279"/>
                    <a:gd name="T25" fmla="*/ 95 h 255"/>
                    <a:gd name="T26" fmla="*/ 179 w 279"/>
                    <a:gd name="T27" fmla="*/ 98 h 255"/>
                    <a:gd name="T28" fmla="*/ 189 w 279"/>
                    <a:gd name="T29" fmla="*/ 113 h 255"/>
                    <a:gd name="T30" fmla="*/ 170 w 279"/>
                    <a:gd name="T31" fmla="*/ 126 h 255"/>
                    <a:gd name="T32" fmla="*/ 191 w 279"/>
                    <a:gd name="T33" fmla="*/ 161 h 255"/>
                    <a:gd name="T34" fmla="*/ 198 w 279"/>
                    <a:gd name="T35" fmla="*/ 183 h 255"/>
                    <a:gd name="T36" fmla="*/ 221 w 279"/>
                    <a:gd name="T37" fmla="*/ 192 h 255"/>
                    <a:gd name="T38" fmla="*/ 218 w 279"/>
                    <a:gd name="T39" fmla="*/ 203 h 255"/>
                    <a:gd name="T40" fmla="*/ 233 w 279"/>
                    <a:gd name="T41" fmla="*/ 210 h 255"/>
                    <a:gd name="T42" fmla="*/ 233 w 279"/>
                    <a:gd name="T43" fmla="*/ 224 h 255"/>
                    <a:gd name="T44" fmla="*/ 248 w 279"/>
                    <a:gd name="T45" fmla="*/ 228 h 255"/>
                    <a:gd name="T46" fmla="*/ 263 w 279"/>
                    <a:gd name="T47" fmla="*/ 228 h 255"/>
                    <a:gd name="T48" fmla="*/ 246 w 279"/>
                    <a:gd name="T49" fmla="*/ 213 h 255"/>
                    <a:gd name="T50" fmla="*/ 240 w 279"/>
                    <a:gd name="T51" fmla="*/ 194 h 255"/>
                    <a:gd name="T52" fmla="*/ 258 w 279"/>
                    <a:gd name="T53" fmla="*/ 195 h 255"/>
                    <a:gd name="T54" fmla="*/ 273 w 279"/>
                    <a:gd name="T55" fmla="*/ 231 h 255"/>
                    <a:gd name="T56" fmla="*/ 279 w 279"/>
                    <a:gd name="T57" fmla="*/ 245 h 255"/>
                    <a:gd name="T58" fmla="*/ 252 w 279"/>
                    <a:gd name="T59" fmla="*/ 240 h 255"/>
                    <a:gd name="T60" fmla="*/ 236 w 279"/>
                    <a:gd name="T61" fmla="*/ 246 h 255"/>
                    <a:gd name="T62" fmla="*/ 225 w 279"/>
                    <a:gd name="T63" fmla="*/ 236 h 255"/>
                    <a:gd name="T64" fmla="*/ 201 w 279"/>
                    <a:gd name="T65" fmla="*/ 230 h 255"/>
                    <a:gd name="T66" fmla="*/ 179 w 279"/>
                    <a:gd name="T67" fmla="*/ 224 h 255"/>
                    <a:gd name="T68" fmla="*/ 162 w 279"/>
                    <a:gd name="T69" fmla="*/ 204 h 255"/>
                    <a:gd name="T70" fmla="*/ 111 w 279"/>
                    <a:gd name="T71" fmla="*/ 152 h 255"/>
                    <a:gd name="T72" fmla="*/ 86 w 279"/>
                    <a:gd name="T73" fmla="*/ 147 h 255"/>
                    <a:gd name="T74" fmla="*/ 83 w 279"/>
                    <a:gd name="T75" fmla="*/ 159 h 255"/>
                    <a:gd name="T76" fmla="*/ 66 w 279"/>
                    <a:gd name="T77" fmla="*/ 162 h 255"/>
                    <a:gd name="T78" fmla="*/ 77 w 279"/>
                    <a:gd name="T79" fmla="*/ 173 h 255"/>
                    <a:gd name="T80" fmla="*/ 42 w 279"/>
                    <a:gd name="T81" fmla="*/ 167 h 255"/>
                    <a:gd name="T82" fmla="*/ 38 w 279"/>
                    <a:gd name="T83" fmla="*/ 165 h 255"/>
                    <a:gd name="T84" fmla="*/ 39 w 279"/>
                    <a:gd name="T85" fmla="*/ 170 h 255"/>
                    <a:gd name="T86" fmla="*/ 50 w 279"/>
                    <a:gd name="T87" fmla="*/ 173 h 255"/>
                    <a:gd name="T88" fmla="*/ 62 w 279"/>
                    <a:gd name="T89" fmla="*/ 189 h 255"/>
                    <a:gd name="T90" fmla="*/ 44 w 279"/>
                    <a:gd name="T91" fmla="*/ 198 h 255"/>
                    <a:gd name="T92" fmla="*/ 24 w 279"/>
                    <a:gd name="T93" fmla="*/ 194 h 255"/>
                    <a:gd name="T94" fmla="*/ 5 w 279"/>
                    <a:gd name="T95" fmla="*/ 19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9" h="255">
                      <a:moveTo>
                        <a:pt x="5" y="195"/>
                      </a:moveTo>
                      <a:lnTo>
                        <a:pt x="11" y="126"/>
                      </a:lnTo>
                      <a:lnTo>
                        <a:pt x="0" y="122"/>
                      </a:lnTo>
                      <a:lnTo>
                        <a:pt x="14" y="101"/>
                      </a:lnTo>
                      <a:lnTo>
                        <a:pt x="14" y="0"/>
                      </a:lnTo>
                      <a:cubicBezTo>
                        <a:pt x="22" y="3"/>
                        <a:pt x="31" y="4"/>
                        <a:pt x="38" y="9"/>
                      </a:cubicBezTo>
                      <a:cubicBezTo>
                        <a:pt x="44" y="13"/>
                        <a:pt x="42" y="16"/>
                        <a:pt x="50" y="18"/>
                      </a:cubicBezTo>
                      <a:cubicBezTo>
                        <a:pt x="58" y="24"/>
                        <a:pt x="68" y="29"/>
                        <a:pt x="78" y="30"/>
                      </a:cubicBezTo>
                      <a:cubicBezTo>
                        <a:pt x="86" y="33"/>
                        <a:pt x="93" y="38"/>
                        <a:pt x="101" y="39"/>
                      </a:cubicBezTo>
                      <a:cubicBezTo>
                        <a:pt x="109" y="45"/>
                        <a:pt x="119" y="52"/>
                        <a:pt x="128" y="56"/>
                      </a:cubicBezTo>
                      <a:cubicBezTo>
                        <a:pt x="136" y="66"/>
                        <a:pt x="133" y="62"/>
                        <a:pt x="137" y="69"/>
                      </a:cubicBezTo>
                      <a:cubicBezTo>
                        <a:pt x="138" y="76"/>
                        <a:pt x="135" y="77"/>
                        <a:pt x="131" y="83"/>
                      </a:cubicBezTo>
                      <a:cubicBezTo>
                        <a:pt x="140" y="87"/>
                        <a:pt x="151" y="93"/>
                        <a:pt x="161" y="95"/>
                      </a:cubicBezTo>
                      <a:cubicBezTo>
                        <a:pt x="167" y="96"/>
                        <a:pt x="179" y="98"/>
                        <a:pt x="179" y="98"/>
                      </a:cubicBezTo>
                      <a:cubicBezTo>
                        <a:pt x="188" y="105"/>
                        <a:pt x="188" y="97"/>
                        <a:pt x="189" y="113"/>
                      </a:cubicBezTo>
                      <a:cubicBezTo>
                        <a:pt x="187" y="124"/>
                        <a:pt x="180" y="125"/>
                        <a:pt x="170" y="126"/>
                      </a:cubicBezTo>
                      <a:cubicBezTo>
                        <a:pt x="152" y="132"/>
                        <a:pt x="181" y="155"/>
                        <a:pt x="191" y="161"/>
                      </a:cubicBezTo>
                      <a:cubicBezTo>
                        <a:pt x="192" y="169"/>
                        <a:pt x="191" y="178"/>
                        <a:pt x="198" y="183"/>
                      </a:cubicBezTo>
                      <a:cubicBezTo>
                        <a:pt x="203" y="194"/>
                        <a:pt x="207" y="191"/>
                        <a:pt x="221" y="192"/>
                      </a:cubicBezTo>
                      <a:cubicBezTo>
                        <a:pt x="227" y="197"/>
                        <a:pt x="223" y="199"/>
                        <a:pt x="218" y="203"/>
                      </a:cubicBezTo>
                      <a:cubicBezTo>
                        <a:pt x="223" y="208"/>
                        <a:pt x="226" y="209"/>
                        <a:pt x="233" y="210"/>
                      </a:cubicBezTo>
                      <a:cubicBezTo>
                        <a:pt x="237" y="217"/>
                        <a:pt x="234" y="217"/>
                        <a:pt x="233" y="224"/>
                      </a:cubicBezTo>
                      <a:cubicBezTo>
                        <a:pt x="238" y="225"/>
                        <a:pt x="243" y="227"/>
                        <a:pt x="248" y="228"/>
                      </a:cubicBezTo>
                      <a:cubicBezTo>
                        <a:pt x="254" y="231"/>
                        <a:pt x="257" y="232"/>
                        <a:pt x="263" y="228"/>
                      </a:cubicBezTo>
                      <a:cubicBezTo>
                        <a:pt x="260" y="219"/>
                        <a:pt x="254" y="217"/>
                        <a:pt x="246" y="213"/>
                      </a:cubicBezTo>
                      <a:cubicBezTo>
                        <a:pt x="239" y="204"/>
                        <a:pt x="239" y="210"/>
                        <a:pt x="240" y="194"/>
                      </a:cubicBezTo>
                      <a:cubicBezTo>
                        <a:pt x="246" y="194"/>
                        <a:pt x="252" y="194"/>
                        <a:pt x="258" y="195"/>
                      </a:cubicBezTo>
                      <a:cubicBezTo>
                        <a:pt x="270" y="197"/>
                        <a:pt x="265" y="223"/>
                        <a:pt x="273" y="231"/>
                      </a:cubicBezTo>
                      <a:cubicBezTo>
                        <a:pt x="275" y="236"/>
                        <a:pt x="278" y="239"/>
                        <a:pt x="279" y="245"/>
                      </a:cubicBezTo>
                      <a:cubicBezTo>
                        <a:pt x="271" y="255"/>
                        <a:pt x="261" y="243"/>
                        <a:pt x="252" y="240"/>
                      </a:cubicBezTo>
                      <a:cubicBezTo>
                        <a:pt x="246" y="247"/>
                        <a:pt x="245" y="249"/>
                        <a:pt x="236" y="246"/>
                      </a:cubicBezTo>
                      <a:cubicBezTo>
                        <a:pt x="232" y="241"/>
                        <a:pt x="232" y="237"/>
                        <a:pt x="225" y="236"/>
                      </a:cubicBezTo>
                      <a:cubicBezTo>
                        <a:pt x="218" y="233"/>
                        <a:pt x="209" y="231"/>
                        <a:pt x="201" y="230"/>
                      </a:cubicBezTo>
                      <a:cubicBezTo>
                        <a:pt x="194" y="227"/>
                        <a:pt x="187" y="225"/>
                        <a:pt x="179" y="224"/>
                      </a:cubicBezTo>
                      <a:cubicBezTo>
                        <a:pt x="169" y="220"/>
                        <a:pt x="167" y="213"/>
                        <a:pt x="162" y="204"/>
                      </a:cubicBezTo>
                      <a:cubicBezTo>
                        <a:pt x="149" y="183"/>
                        <a:pt x="138" y="156"/>
                        <a:pt x="111" y="152"/>
                      </a:cubicBezTo>
                      <a:cubicBezTo>
                        <a:pt x="103" y="148"/>
                        <a:pt x="94" y="151"/>
                        <a:pt x="86" y="147"/>
                      </a:cubicBezTo>
                      <a:cubicBezTo>
                        <a:pt x="71" y="152"/>
                        <a:pt x="91" y="148"/>
                        <a:pt x="83" y="159"/>
                      </a:cubicBezTo>
                      <a:cubicBezTo>
                        <a:pt x="80" y="164"/>
                        <a:pt x="72" y="162"/>
                        <a:pt x="66" y="162"/>
                      </a:cubicBezTo>
                      <a:cubicBezTo>
                        <a:pt x="69" y="168"/>
                        <a:pt x="71" y="170"/>
                        <a:pt x="77" y="173"/>
                      </a:cubicBezTo>
                      <a:cubicBezTo>
                        <a:pt x="70" y="187"/>
                        <a:pt x="51" y="169"/>
                        <a:pt x="42" y="167"/>
                      </a:cubicBezTo>
                      <a:cubicBezTo>
                        <a:pt x="41" y="166"/>
                        <a:pt x="39" y="164"/>
                        <a:pt x="38" y="165"/>
                      </a:cubicBezTo>
                      <a:cubicBezTo>
                        <a:pt x="37" y="166"/>
                        <a:pt x="38" y="169"/>
                        <a:pt x="39" y="170"/>
                      </a:cubicBezTo>
                      <a:cubicBezTo>
                        <a:pt x="42" y="173"/>
                        <a:pt x="46" y="172"/>
                        <a:pt x="50" y="173"/>
                      </a:cubicBezTo>
                      <a:cubicBezTo>
                        <a:pt x="54" y="179"/>
                        <a:pt x="59" y="182"/>
                        <a:pt x="62" y="189"/>
                      </a:cubicBezTo>
                      <a:cubicBezTo>
                        <a:pt x="57" y="197"/>
                        <a:pt x="53" y="197"/>
                        <a:pt x="44" y="198"/>
                      </a:cubicBezTo>
                      <a:cubicBezTo>
                        <a:pt x="35" y="201"/>
                        <a:pt x="33" y="196"/>
                        <a:pt x="24" y="194"/>
                      </a:cubicBezTo>
                      <a:cubicBezTo>
                        <a:pt x="19" y="194"/>
                        <a:pt x="9" y="198"/>
                        <a:pt x="5" y="195"/>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5" name="Freeform 250"/>
                <p:cNvSpPr>
                  <a:spLocks/>
                </p:cNvSpPr>
                <p:nvPr/>
              </p:nvSpPr>
              <p:spPr bwMode="auto">
                <a:xfrm>
                  <a:off x="8331190" y="4017498"/>
                  <a:ext cx="134961" cy="116191"/>
                </a:xfrm>
                <a:custGeom>
                  <a:avLst/>
                  <a:gdLst>
                    <a:gd name="T0" fmla="*/ 4 w 131"/>
                    <a:gd name="T1" fmla="*/ 88 h 116"/>
                    <a:gd name="T2" fmla="*/ 27 w 131"/>
                    <a:gd name="T3" fmla="*/ 85 h 116"/>
                    <a:gd name="T4" fmla="*/ 49 w 131"/>
                    <a:gd name="T5" fmla="*/ 72 h 116"/>
                    <a:gd name="T6" fmla="*/ 57 w 131"/>
                    <a:gd name="T7" fmla="*/ 88 h 116"/>
                    <a:gd name="T8" fmla="*/ 84 w 131"/>
                    <a:gd name="T9" fmla="*/ 70 h 116"/>
                    <a:gd name="T10" fmla="*/ 94 w 131"/>
                    <a:gd name="T11" fmla="*/ 46 h 116"/>
                    <a:gd name="T12" fmla="*/ 109 w 131"/>
                    <a:gd name="T13" fmla="*/ 55 h 116"/>
                    <a:gd name="T14" fmla="*/ 109 w 131"/>
                    <a:gd name="T15" fmla="*/ 43 h 116"/>
                    <a:gd name="T16" fmla="*/ 100 w 131"/>
                    <a:gd name="T17" fmla="*/ 36 h 116"/>
                    <a:gd name="T18" fmla="*/ 85 w 131"/>
                    <a:gd name="T19" fmla="*/ 22 h 116"/>
                    <a:gd name="T20" fmla="*/ 73 w 131"/>
                    <a:gd name="T21" fmla="*/ 6 h 116"/>
                    <a:gd name="T22" fmla="*/ 105 w 131"/>
                    <a:gd name="T23" fmla="*/ 21 h 116"/>
                    <a:gd name="T24" fmla="*/ 118 w 131"/>
                    <a:gd name="T25" fmla="*/ 31 h 116"/>
                    <a:gd name="T26" fmla="*/ 129 w 131"/>
                    <a:gd name="T27" fmla="*/ 54 h 116"/>
                    <a:gd name="T28" fmla="*/ 114 w 131"/>
                    <a:gd name="T29" fmla="*/ 67 h 116"/>
                    <a:gd name="T30" fmla="*/ 97 w 131"/>
                    <a:gd name="T31" fmla="*/ 76 h 116"/>
                    <a:gd name="T32" fmla="*/ 79 w 131"/>
                    <a:gd name="T33" fmla="*/ 91 h 116"/>
                    <a:gd name="T34" fmla="*/ 48 w 131"/>
                    <a:gd name="T35" fmla="*/ 112 h 116"/>
                    <a:gd name="T36" fmla="*/ 10 w 131"/>
                    <a:gd name="T37" fmla="*/ 102 h 116"/>
                    <a:gd name="T38" fmla="*/ 4 w 131"/>
                    <a:gd name="T39" fmla="*/ 90 h 116"/>
                    <a:gd name="T40" fmla="*/ 4 w 131"/>
                    <a:gd name="T41"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16">
                      <a:moveTo>
                        <a:pt x="4" y="88"/>
                      </a:moveTo>
                      <a:cubicBezTo>
                        <a:pt x="16" y="86"/>
                        <a:pt x="11" y="84"/>
                        <a:pt x="27" y="85"/>
                      </a:cubicBezTo>
                      <a:cubicBezTo>
                        <a:pt x="43" y="84"/>
                        <a:pt x="38" y="80"/>
                        <a:pt x="49" y="72"/>
                      </a:cubicBezTo>
                      <a:cubicBezTo>
                        <a:pt x="53" y="79"/>
                        <a:pt x="48" y="86"/>
                        <a:pt x="57" y="88"/>
                      </a:cubicBezTo>
                      <a:cubicBezTo>
                        <a:pt x="71" y="86"/>
                        <a:pt x="72" y="75"/>
                        <a:pt x="84" y="70"/>
                      </a:cubicBezTo>
                      <a:cubicBezTo>
                        <a:pt x="85" y="63"/>
                        <a:pt x="87" y="49"/>
                        <a:pt x="94" y="46"/>
                      </a:cubicBezTo>
                      <a:cubicBezTo>
                        <a:pt x="102" y="48"/>
                        <a:pt x="104" y="49"/>
                        <a:pt x="109" y="55"/>
                      </a:cubicBezTo>
                      <a:cubicBezTo>
                        <a:pt x="111" y="51"/>
                        <a:pt x="113" y="49"/>
                        <a:pt x="109" y="43"/>
                      </a:cubicBezTo>
                      <a:cubicBezTo>
                        <a:pt x="107" y="40"/>
                        <a:pt x="100" y="36"/>
                        <a:pt x="100" y="36"/>
                      </a:cubicBezTo>
                      <a:cubicBezTo>
                        <a:pt x="99" y="29"/>
                        <a:pt x="91" y="26"/>
                        <a:pt x="85" y="22"/>
                      </a:cubicBezTo>
                      <a:cubicBezTo>
                        <a:pt x="81" y="16"/>
                        <a:pt x="76" y="13"/>
                        <a:pt x="73" y="6"/>
                      </a:cubicBezTo>
                      <a:cubicBezTo>
                        <a:pt x="83" y="0"/>
                        <a:pt x="95" y="17"/>
                        <a:pt x="105" y="21"/>
                      </a:cubicBezTo>
                      <a:cubicBezTo>
                        <a:pt x="109" y="25"/>
                        <a:pt x="114" y="27"/>
                        <a:pt x="118" y="31"/>
                      </a:cubicBezTo>
                      <a:cubicBezTo>
                        <a:pt x="121" y="39"/>
                        <a:pt x="126" y="46"/>
                        <a:pt x="129" y="54"/>
                      </a:cubicBezTo>
                      <a:cubicBezTo>
                        <a:pt x="125" y="73"/>
                        <a:pt x="131" y="70"/>
                        <a:pt x="114" y="67"/>
                      </a:cubicBezTo>
                      <a:cubicBezTo>
                        <a:pt x="100" y="58"/>
                        <a:pt x="107" y="74"/>
                        <a:pt x="97" y="76"/>
                      </a:cubicBezTo>
                      <a:cubicBezTo>
                        <a:pt x="93" y="91"/>
                        <a:pt x="94" y="90"/>
                        <a:pt x="79" y="91"/>
                      </a:cubicBezTo>
                      <a:cubicBezTo>
                        <a:pt x="72" y="103"/>
                        <a:pt x="62" y="110"/>
                        <a:pt x="48" y="112"/>
                      </a:cubicBezTo>
                      <a:cubicBezTo>
                        <a:pt x="38" y="116"/>
                        <a:pt x="24" y="103"/>
                        <a:pt x="10" y="102"/>
                      </a:cubicBezTo>
                      <a:cubicBezTo>
                        <a:pt x="6" y="100"/>
                        <a:pt x="0" y="96"/>
                        <a:pt x="4" y="90"/>
                      </a:cubicBezTo>
                      <a:cubicBezTo>
                        <a:pt x="6" y="87"/>
                        <a:pt x="15" y="88"/>
                        <a:pt x="4" y="88"/>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6" name="Freeform 251"/>
                <p:cNvSpPr>
                  <a:spLocks/>
                </p:cNvSpPr>
                <p:nvPr/>
              </p:nvSpPr>
              <p:spPr bwMode="auto">
                <a:xfrm>
                  <a:off x="7940271" y="4105018"/>
                  <a:ext cx="29475" cy="40742"/>
                </a:xfrm>
                <a:custGeom>
                  <a:avLst/>
                  <a:gdLst>
                    <a:gd name="T0" fmla="*/ 20 w 29"/>
                    <a:gd name="T1" fmla="*/ 0 h 42"/>
                    <a:gd name="T2" fmla="*/ 8 w 29"/>
                    <a:gd name="T3" fmla="*/ 12 h 42"/>
                    <a:gd name="T4" fmla="*/ 15 w 29"/>
                    <a:gd name="T5" fmla="*/ 42 h 42"/>
                    <a:gd name="T6" fmla="*/ 26 w 29"/>
                    <a:gd name="T7" fmla="*/ 24 h 42"/>
                    <a:gd name="T8" fmla="*/ 26 w 29"/>
                    <a:gd name="T9" fmla="*/ 4 h 42"/>
                    <a:gd name="T10" fmla="*/ 21 w 29"/>
                    <a:gd name="T11" fmla="*/ 3 h 42"/>
                    <a:gd name="T12" fmla="*/ 20 w 29"/>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9" h="42">
                      <a:moveTo>
                        <a:pt x="20" y="0"/>
                      </a:moveTo>
                      <a:cubicBezTo>
                        <a:pt x="15" y="4"/>
                        <a:pt x="13" y="8"/>
                        <a:pt x="8" y="12"/>
                      </a:cubicBezTo>
                      <a:cubicBezTo>
                        <a:pt x="2" y="25"/>
                        <a:pt x="0" y="35"/>
                        <a:pt x="15" y="42"/>
                      </a:cubicBezTo>
                      <a:cubicBezTo>
                        <a:pt x="18" y="35"/>
                        <a:pt x="22" y="30"/>
                        <a:pt x="26" y="24"/>
                      </a:cubicBezTo>
                      <a:cubicBezTo>
                        <a:pt x="27" y="17"/>
                        <a:pt x="29" y="12"/>
                        <a:pt x="26" y="4"/>
                      </a:cubicBezTo>
                      <a:cubicBezTo>
                        <a:pt x="25" y="2"/>
                        <a:pt x="22" y="4"/>
                        <a:pt x="21" y="3"/>
                      </a:cubicBezTo>
                      <a:cubicBezTo>
                        <a:pt x="20" y="2"/>
                        <a:pt x="20" y="1"/>
                        <a:pt x="20"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7" name="Freeform 252"/>
                <p:cNvSpPr>
                  <a:spLocks/>
                </p:cNvSpPr>
                <p:nvPr/>
              </p:nvSpPr>
              <p:spPr bwMode="auto">
                <a:xfrm>
                  <a:off x="7856503" y="4150287"/>
                  <a:ext cx="37230" cy="49796"/>
                </a:xfrm>
                <a:custGeom>
                  <a:avLst/>
                  <a:gdLst>
                    <a:gd name="T0" fmla="*/ 33 w 37"/>
                    <a:gd name="T1" fmla="*/ 0 h 50"/>
                    <a:gd name="T2" fmla="*/ 4 w 37"/>
                    <a:gd name="T3" fmla="*/ 18 h 50"/>
                    <a:gd name="T4" fmla="*/ 0 w 37"/>
                    <a:gd name="T5" fmla="*/ 38 h 50"/>
                    <a:gd name="T6" fmla="*/ 21 w 37"/>
                    <a:gd name="T7" fmla="*/ 29 h 50"/>
                    <a:gd name="T8" fmla="*/ 33 w 37"/>
                    <a:gd name="T9" fmla="*/ 15 h 50"/>
                    <a:gd name="T10" fmla="*/ 33 w 37"/>
                    <a:gd name="T11" fmla="*/ 0 h 50"/>
                  </a:gdLst>
                  <a:ahLst/>
                  <a:cxnLst>
                    <a:cxn ang="0">
                      <a:pos x="T0" y="T1"/>
                    </a:cxn>
                    <a:cxn ang="0">
                      <a:pos x="T2" y="T3"/>
                    </a:cxn>
                    <a:cxn ang="0">
                      <a:pos x="T4" y="T5"/>
                    </a:cxn>
                    <a:cxn ang="0">
                      <a:pos x="T6" y="T7"/>
                    </a:cxn>
                    <a:cxn ang="0">
                      <a:pos x="T8" y="T9"/>
                    </a:cxn>
                    <a:cxn ang="0">
                      <a:pos x="T10" y="T11"/>
                    </a:cxn>
                  </a:cxnLst>
                  <a:rect l="0" t="0" r="r" b="b"/>
                  <a:pathLst>
                    <a:path w="37" h="50">
                      <a:moveTo>
                        <a:pt x="33" y="0"/>
                      </a:moveTo>
                      <a:cubicBezTo>
                        <a:pt x="22" y="4"/>
                        <a:pt x="14" y="12"/>
                        <a:pt x="4" y="18"/>
                      </a:cubicBezTo>
                      <a:cubicBezTo>
                        <a:pt x="8" y="29"/>
                        <a:pt x="5" y="29"/>
                        <a:pt x="0" y="38"/>
                      </a:cubicBezTo>
                      <a:cubicBezTo>
                        <a:pt x="6" y="50"/>
                        <a:pt x="13" y="34"/>
                        <a:pt x="21" y="29"/>
                      </a:cubicBezTo>
                      <a:cubicBezTo>
                        <a:pt x="25" y="24"/>
                        <a:pt x="30" y="21"/>
                        <a:pt x="33" y="15"/>
                      </a:cubicBezTo>
                      <a:cubicBezTo>
                        <a:pt x="34" y="7"/>
                        <a:pt x="37" y="7"/>
                        <a:pt x="33"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8" name="Freeform 253"/>
                <p:cNvSpPr>
                  <a:spLocks/>
                </p:cNvSpPr>
                <p:nvPr/>
              </p:nvSpPr>
              <p:spPr bwMode="auto">
                <a:xfrm>
                  <a:off x="7702927" y="4188011"/>
                  <a:ext cx="62051" cy="33198"/>
                </a:xfrm>
                <a:custGeom>
                  <a:avLst/>
                  <a:gdLst>
                    <a:gd name="T0" fmla="*/ 60 w 60"/>
                    <a:gd name="T1" fmla="*/ 0 h 33"/>
                    <a:gd name="T2" fmla="*/ 11 w 60"/>
                    <a:gd name="T3" fmla="*/ 6 h 33"/>
                    <a:gd name="T4" fmla="*/ 0 w 60"/>
                    <a:gd name="T5" fmla="*/ 13 h 33"/>
                    <a:gd name="T6" fmla="*/ 3 w 60"/>
                    <a:gd name="T7" fmla="*/ 30 h 33"/>
                    <a:gd name="T8" fmla="*/ 38 w 60"/>
                    <a:gd name="T9" fmla="*/ 15 h 33"/>
                    <a:gd name="T10" fmla="*/ 56 w 60"/>
                    <a:gd name="T11" fmla="*/ 9 h 33"/>
                    <a:gd name="T12" fmla="*/ 60 w 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60" y="0"/>
                      </a:moveTo>
                      <a:cubicBezTo>
                        <a:pt x="42" y="3"/>
                        <a:pt x="31" y="5"/>
                        <a:pt x="11" y="6"/>
                      </a:cubicBezTo>
                      <a:cubicBezTo>
                        <a:pt x="5" y="7"/>
                        <a:pt x="3" y="7"/>
                        <a:pt x="0" y="13"/>
                      </a:cubicBezTo>
                      <a:cubicBezTo>
                        <a:pt x="1" y="17"/>
                        <a:pt x="3" y="30"/>
                        <a:pt x="3" y="30"/>
                      </a:cubicBezTo>
                      <a:cubicBezTo>
                        <a:pt x="12" y="33"/>
                        <a:pt x="28" y="17"/>
                        <a:pt x="38" y="15"/>
                      </a:cubicBezTo>
                      <a:cubicBezTo>
                        <a:pt x="44" y="12"/>
                        <a:pt x="50" y="10"/>
                        <a:pt x="56" y="9"/>
                      </a:cubicBezTo>
                      <a:cubicBezTo>
                        <a:pt x="60" y="3"/>
                        <a:pt x="59" y="6"/>
                        <a:pt x="60"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49" name="Freeform 261"/>
                <p:cNvSpPr>
                  <a:spLocks/>
                </p:cNvSpPr>
                <p:nvPr/>
              </p:nvSpPr>
              <p:spPr bwMode="auto">
                <a:xfrm>
                  <a:off x="7830131" y="4269496"/>
                  <a:ext cx="38782" cy="24143"/>
                </a:xfrm>
                <a:custGeom>
                  <a:avLst/>
                  <a:gdLst>
                    <a:gd name="T0" fmla="*/ 37 w 38"/>
                    <a:gd name="T1" fmla="*/ 1 h 24"/>
                    <a:gd name="T2" fmla="*/ 2 w 38"/>
                    <a:gd name="T3" fmla="*/ 13 h 24"/>
                    <a:gd name="T4" fmla="*/ 17 w 38"/>
                    <a:gd name="T5" fmla="*/ 24 h 24"/>
                    <a:gd name="T6" fmla="*/ 37 w 38"/>
                    <a:gd name="T7" fmla="*/ 13 h 24"/>
                    <a:gd name="T8" fmla="*/ 37 w 38"/>
                    <a:gd name="T9" fmla="*/ 1 h 24"/>
                  </a:gdLst>
                  <a:ahLst/>
                  <a:cxnLst>
                    <a:cxn ang="0">
                      <a:pos x="T0" y="T1"/>
                    </a:cxn>
                    <a:cxn ang="0">
                      <a:pos x="T2" y="T3"/>
                    </a:cxn>
                    <a:cxn ang="0">
                      <a:pos x="T4" y="T5"/>
                    </a:cxn>
                    <a:cxn ang="0">
                      <a:pos x="T6" y="T7"/>
                    </a:cxn>
                    <a:cxn ang="0">
                      <a:pos x="T8" y="T9"/>
                    </a:cxn>
                  </a:cxnLst>
                  <a:rect l="0" t="0" r="r" b="b"/>
                  <a:pathLst>
                    <a:path w="38" h="24">
                      <a:moveTo>
                        <a:pt x="37" y="1"/>
                      </a:moveTo>
                      <a:cubicBezTo>
                        <a:pt x="22" y="5"/>
                        <a:pt x="12" y="0"/>
                        <a:pt x="2" y="13"/>
                      </a:cubicBezTo>
                      <a:cubicBezTo>
                        <a:pt x="0" y="23"/>
                        <a:pt x="9" y="22"/>
                        <a:pt x="17" y="24"/>
                      </a:cubicBezTo>
                      <a:cubicBezTo>
                        <a:pt x="32" y="22"/>
                        <a:pt x="32" y="24"/>
                        <a:pt x="37" y="13"/>
                      </a:cubicBezTo>
                      <a:cubicBezTo>
                        <a:pt x="38" y="5"/>
                        <a:pt x="38" y="9"/>
                        <a:pt x="37" y="1"/>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0" name="Freeform 262"/>
                <p:cNvSpPr>
                  <a:spLocks/>
                </p:cNvSpPr>
                <p:nvPr/>
              </p:nvSpPr>
              <p:spPr bwMode="auto">
                <a:xfrm>
                  <a:off x="7813068" y="4989273"/>
                  <a:ext cx="35680" cy="22634"/>
                </a:xfrm>
                <a:custGeom>
                  <a:avLst/>
                  <a:gdLst>
                    <a:gd name="T0" fmla="*/ 33 w 35"/>
                    <a:gd name="T1" fmla="*/ 7 h 23"/>
                    <a:gd name="T2" fmla="*/ 3 w 35"/>
                    <a:gd name="T3" fmla="*/ 10 h 23"/>
                    <a:gd name="T4" fmla="*/ 10 w 35"/>
                    <a:gd name="T5" fmla="*/ 22 h 23"/>
                    <a:gd name="T6" fmla="*/ 33 w 35"/>
                    <a:gd name="T7" fmla="*/ 14 h 23"/>
                    <a:gd name="T8" fmla="*/ 33 w 35"/>
                    <a:gd name="T9" fmla="*/ 7 h 23"/>
                  </a:gdLst>
                  <a:ahLst/>
                  <a:cxnLst>
                    <a:cxn ang="0">
                      <a:pos x="T0" y="T1"/>
                    </a:cxn>
                    <a:cxn ang="0">
                      <a:pos x="T2" y="T3"/>
                    </a:cxn>
                    <a:cxn ang="0">
                      <a:pos x="T4" y="T5"/>
                    </a:cxn>
                    <a:cxn ang="0">
                      <a:pos x="T6" y="T7"/>
                    </a:cxn>
                    <a:cxn ang="0">
                      <a:pos x="T8" y="T9"/>
                    </a:cxn>
                  </a:cxnLst>
                  <a:rect l="0" t="0" r="r" b="b"/>
                  <a:pathLst>
                    <a:path w="35" h="23">
                      <a:moveTo>
                        <a:pt x="33" y="7"/>
                      </a:moveTo>
                      <a:cubicBezTo>
                        <a:pt x="23" y="7"/>
                        <a:pt x="5" y="0"/>
                        <a:pt x="3" y="10"/>
                      </a:cubicBezTo>
                      <a:cubicBezTo>
                        <a:pt x="0" y="21"/>
                        <a:pt x="3" y="20"/>
                        <a:pt x="10" y="22"/>
                      </a:cubicBezTo>
                      <a:cubicBezTo>
                        <a:pt x="19" y="20"/>
                        <a:pt x="29" y="23"/>
                        <a:pt x="33" y="14"/>
                      </a:cubicBezTo>
                      <a:cubicBezTo>
                        <a:pt x="34" y="8"/>
                        <a:pt x="35" y="9"/>
                        <a:pt x="33" y="7"/>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1" name="Freeform 263"/>
                <p:cNvSpPr>
                  <a:spLocks/>
                </p:cNvSpPr>
                <p:nvPr/>
              </p:nvSpPr>
              <p:spPr bwMode="auto">
                <a:xfrm>
                  <a:off x="5493923" y="4299675"/>
                  <a:ext cx="207870" cy="398368"/>
                </a:xfrm>
                <a:custGeom>
                  <a:avLst/>
                  <a:gdLst>
                    <a:gd name="T0" fmla="*/ 174 w 203"/>
                    <a:gd name="T1" fmla="*/ 0 h 398"/>
                    <a:gd name="T2" fmla="*/ 164 w 203"/>
                    <a:gd name="T3" fmla="*/ 11 h 398"/>
                    <a:gd name="T4" fmla="*/ 153 w 203"/>
                    <a:gd name="T5" fmla="*/ 36 h 398"/>
                    <a:gd name="T6" fmla="*/ 141 w 203"/>
                    <a:gd name="T7" fmla="*/ 44 h 398"/>
                    <a:gd name="T8" fmla="*/ 126 w 203"/>
                    <a:gd name="T9" fmla="*/ 84 h 398"/>
                    <a:gd name="T10" fmla="*/ 116 w 203"/>
                    <a:gd name="T11" fmla="*/ 93 h 398"/>
                    <a:gd name="T12" fmla="*/ 99 w 203"/>
                    <a:gd name="T13" fmla="*/ 104 h 398"/>
                    <a:gd name="T14" fmla="*/ 81 w 203"/>
                    <a:gd name="T15" fmla="*/ 114 h 398"/>
                    <a:gd name="T16" fmla="*/ 66 w 203"/>
                    <a:gd name="T17" fmla="*/ 119 h 398"/>
                    <a:gd name="T18" fmla="*/ 41 w 203"/>
                    <a:gd name="T19" fmla="*/ 120 h 398"/>
                    <a:gd name="T20" fmla="*/ 36 w 203"/>
                    <a:gd name="T21" fmla="*/ 147 h 398"/>
                    <a:gd name="T22" fmla="*/ 30 w 203"/>
                    <a:gd name="T23" fmla="*/ 165 h 398"/>
                    <a:gd name="T24" fmla="*/ 35 w 203"/>
                    <a:gd name="T25" fmla="*/ 180 h 398"/>
                    <a:gd name="T26" fmla="*/ 30 w 203"/>
                    <a:gd name="T27" fmla="*/ 243 h 398"/>
                    <a:gd name="T28" fmla="*/ 15 w 203"/>
                    <a:gd name="T29" fmla="*/ 270 h 398"/>
                    <a:gd name="T30" fmla="*/ 11 w 203"/>
                    <a:gd name="T31" fmla="*/ 281 h 398"/>
                    <a:gd name="T32" fmla="*/ 6 w 203"/>
                    <a:gd name="T33" fmla="*/ 299 h 398"/>
                    <a:gd name="T34" fmla="*/ 11 w 203"/>
                    <a:gd name="T35" fmla="*/ 324 h 398"/>
                    <a:gd name="T36" fmla="*/ 20 w 203"/>
                    <a:gd name="T37" fmla="*/ 384 h 398"/>
                    <a:gd name="T38" fmla="*/ 35 w 203"/>
                    <a:gd name="T39" fmla="*/ 393 h 398"/>
                    <a:gd name="T40" fmla="*/ 72 w 203"/>
                    <a:gd name="T41" fmla="*/ 395 h 398"/>
                    <a:gd name="T42" fmla="*/ 92 w 203"/>
                    <a:gd name="T43" fmla="*/ 389 h 398"/>
                    <a:gd name="T44" fmla="*/ 105 w 203"/>
                    <a:gd name="T45" fmla="*/ 363 h 398"/>
                    <a:gd name="T46" fmla="*/ 113 w 203"/>
                    <a:gd name="T47" fmla="*/ 350 h 398"/>
                    <a:gd name="T48" fmla="*/ 122 w 203"/>
                    <a:gd name="T49" fmla="*/ 320 h 398"/>
                    <a:gd name="T50" fmla="*/ 128 w 203"/>
                    <a:gd name="T51" fmla="*/ 302 h 398"/>
                    <a:gd name="T52" fmla="*/ 137 w 203"/>
                    <a:gd name="T53" fmla="*/ 279 h 398"/>
                    <a:gd name="T54" fmla="*/ 158 w 203"/>
                    <a:gd name="T55" fmla="*/ 230 h 398"/>
                    <a:gd name="T56" fmla="*/ 165 w 203"/>
                    <a:gd name="T57" fmla="*/ 207 h 398"/>
                    <a:gd name="T58" fmla="*/ 176 w 203"/>
                    <a:gd name="T59" fmla="*/ 161 h 398"/>
                    <a:gd name="T60" fmla="*/ 183 w 203"/>
                    <a:gd name="T61" fmla="*/ 144 h 398"/>
                    <a:gd name="T62" fmla="*/ 188 w 203"/>
                    <a:gd name="T63" fmla="*/ 107 h 398"/>
                    <a:gd name="T64" fmla="*/ 189 w 203"/>
                    <a:gd name="T65" fmla="*/ 113 h 398"/>
                    <a:gd name="T66" fmla="*/ 194 w 203"/>
                    <a:gd name="T67" fmla="*/ 114 h 398"/>
                    <a:gd name="T68" fmla="*/ 203 w 203"/>
                    <a:gd name="T69" fmla="*/ 95 h 398"/>
                    <a:gd name="T70" fmla="*/ 195 w 203"/>
                    <a:gd name="T71" fmla="*/ 74 h 398"/>
                    <a:gd name="T72" fmla="*/ 197 w 203"/>
                    <a:gd name="T73" fmla="*/ 53 h 398"/>
                    <a:gd name="T74" fmla="*/ 191 w 203"/>
                    <a:gd name="T75" fmla="*/ 21 h 398"/>
                    <a:gd name="T76" fmla="*/ 183 w 203"/>
                    <a:gd name="T77" fmla="*/ 8 h 398"/>
                    <a:gd name="T78" fmla="*/ 174 w 203"/>
                    <a:gd name="T79"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3" h="398">
                      <a:moveTo>
                        <a:pt x="174" y="0"/>
                      </a:moveTo>
                      <a:cubicBezTo>
                        <a:pt x="169" y="4"/>
                        <a:pt x="165" y="4"/>
                        <a:pt x="164" y="11"/>
                      </a:cubicBezTo>
                      <a:cubicBezTo>
                        <a:pt x="163" y="22"/>
                        <a:pt x="168" y="42"/>
                        <a:pt x="153" y="36"/>
                      </a:cubicBezTo>
                      <a:cubicBezTo>
                        <a:pt x="147" y="39"/>
                        <a:pt x="145" y="38"/>
                        <a:pt x="141" y="44"/>
                      </a:cubicBezTo>
                      <a:cubicBezTo>
                        <a:pt x="139" y="57"/>
                        <a:pt x="141" y="82"/>
                        <a:pt x="126" y="84"/>
                      </a:cubicBezTo>
                      <a:cubicBezTo>
                        <a:pt x="121" y="86"/>
                        <a:pt x="120" y="90"/>
                        <a:pt x="116" y="93"/>
                      </a:cubicBezTo>
                      <a:cubicBezTo>
                        <a:pt x="112" y="99"/>
                        <a:pt x="106" y="100"/>
                        <a:pt x="99" y="104"/>
                      </a:cubicBezTo>
                      <a:cubicBezTo>
                        <a:pt x="94" y="111"/>
                        <a:pt x="89" y="113"/>
                        <a:pt x="81" y="114"/>
                      </a:cubicBezTo>
                      <a:cubicBezTo>
                        <a:pt x="76" y="116"/>
                        <a:pt x="71" y="117"/>
                        <a:pt x="66" y="119"/>
                      </a:cubicBezTo>
                      <a:cubicBezTo>
                        <a:pt x="59" y="115"/>
                        <a:pt x="49" y="119"/>
                        <a:pt x="41" y="120"/>
                      </a:cubicBezTo>
                      <a:cubicBezTo>
                        <a:pt x="40" y="130"/>
                        <a:pt x="40" y="138"/>
                        <a:pt x="36" y="147"/>
                      </a:cubicBezTo>
                      <a:cubicBezTo>
                        <a:pt x="35" y="153"/>
                        <a:pt x="33" y="159"/>
                        <a:pt x="30" y="165"/>
                      </a:cubicBezTo>
                      <a:cubicBezTo>
                        <a:pt x="32" y="170"/>
                        <a:pt x="33" y="175"/>
                        <a:pt x="35" y="180"/>
                      </a:cubicBezTo>
                      <a:cubicBezTo>
                        <a:pt x="27" y="200"/>
                        <a:pt x="40" y="224"/>
                        <a:pt x="30" y="243"/>
                      </a:cubicBezTo>
                      <a:cubicBezTo>
                        <a:pt x="28" y="253"/>
                        <a:pt x="21" y="262"/>
                        <a:pt x="15" y="270"/>
                      </a:cubicBezTo>
                      <a:cubicBezTo>
                        <a:pt x="14" y="274"/>
                        <a:pt x="11" y="277"/>
                        <a:pt x="11" y="281"/>
                      </a:cubicBezTo>
                      <a:cubicBezTo>
                        <a:pt x="8" y="287"/>
                        <a:pt x="6" y="299"/>
                        <a:pt x="6" y="299"/>
                      </a:cubicBezTo>
                      <a:cubicBezTo>
                        <a:pt x="7" y="308"/>
                        <a:pt x="7" y="316"/>
                        <a:pt x="11" y="324"/>
                      </a:cubicBezTo>
                      <a:cubicBezTo>
                        <a:pt x="12" y="344"/>
                        <a:pt x="0" y="380"/>
                        <a:pt x="20" y="384"/>
                      </a:cubicBezTo>
                      <a:cubicBezTo>
                        <a:pt x="26" y="388"/>
                        <a:pt x="28" y="392"/>
                        <a:pt x="35" y="393"/>
                      </a:cubicBezTo>
                      <a:cubicBezTo>
                        <a:pt x="46" y="398"/>
                        <a:pt x="61" y="396"/>
                        <a:pt x="72" y="395"/>
                      </a:cubicBezTo>
                      <a:cubicBezTo>
                        <a:pt x="80" y="390"/>
                        <a:pt x="82" y="390"/>
                        <a:pt x="92" y="389"/>
                      </a:cubicBezTo>
                      <a:cubicBezTo>
                        <a:pt x="97" y="380"/>
                        <a:pt x="96" y="370"/>
                        <a:pt x="105" y="363"/>
                      </a:cubicBezTo>
                      <a:cubicBezTo>
                        <a:pt x="107" y="358"/>
                        <a:pt x="111" y="355"/>
                        <a:pt x="113" y="350"/>
                      </a:cubicBezTo>
                      <a:cubicBezTo>
                        <a:pt x="114" y="341"/>
                        <a:pt x="116" y="328"/>
                        <a:pt x="122" y="320"/>
                      </a:cubicBezTo>
                      <a:cubicBezTo>
                        <a:pt x="123" y="314"/>
                        <a:pt x="125" y="308"/>
                        <a:pt x="128" y="302"/>
                      </a:cubicBezTo>
                      <a:cubicBezTo>
                        <a:pt x="130" y="294"/>
                        <a:pt x="133" y="286"/>
                        <a:pt x="137" y="279"/>
                      </a:cubicBezTo>
                      <a:cubicBezTo>
                        <a:pt x="140" y="260"/>
                        <a:pt x="141" y="240"/>
                        <a:pt x="158" y="230"/>
                      </a:cubicBezTo>
                      <a:cubicBezTo>
                        <a:pt x="162" y="223"/>
                        <a:pt x="163" y="215"/>
                        <a:pt x="165" y="207"/>
                      </a:cubicBezTo>
                      <a:cubicBezTo>
                        <a:pt x="166" y="187"/>
                        <a:pt x="165" y="176"/>
                        <a:pt x="176" y="161"/>
                      </a:cubicBezTo>
                      <a:cubicBezTo>
                        <a:pt x="177" y="153"/>
                        <a:pt x="179" y="151"/>
                        <a:pt x="183" y="144"/>
                      </a:cubicBezTo>
                      <a:cubicBezTo>
                        <a:pt x="184" y="132"/>
                        <a:pt x="184" y="95"/>
                        <a:pt x="188" y="107"/>
                      </a:cubicBezTo>
                      <a:cubicBezTo>
                        <a:pt x="189" y="109"/>
                        <a:pt x="188" y="111"/>
                        <a:pt x="189" y="113"/>
                      </a:cubicBezTo>
                      <a:cubicBezTo>
                        <a:pt x="190" y="114"/>
                        <a:pt x="192" y="114"/>
                        <a:pt x="194" y="114"/>
                      </a:cubicBezTo>
                      <a:cubicBezTo>
                        <a:pt x="201" y="109"/>
                        <a:pt x="199" y="102"/>
                        <a:pt x="203" y="95"/>
                      </a:cubicBezTo>
                      <a:cubicBezTo>
                        <a:pt x="200" y="88"/>
                        <a:pt x="198" y="81"/>
                        <a:pt x="195" y="74"/>
                      </a:cubicBezTo>
                      <a:cubicBezTo>
                        <a:pt x="194" y="67"/>
                        <a:pt x="194" y="60"/>
                        <a:pt x="197" y="53"/>
                      </a:cubicBezTo>
                      <a:cubicBezTo>
                        <a:pt x="198" y="42"/>
                        <a:pt x="201" y="28"/>
                        <a:pt x="191" y="21"/>
                      </a:cubicBezTo>
                      <a:cubicBezTo>
                        <a:pt x="189" y="16"/>
                        <a:pt x="186" y="12"/>
                        <a:pt x="183" y="8"/>
                      </a:cubicBezTo>
                      <a:cubicBezTo>
                        <a:pt x="182" y="2"/>
                        <a:pt x="180" y="0"/>
                        <a:pt x="174" y="0"/>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2" name="Freeform 264"/>
                <p:cNvSpPr>
                  <a:spLocks/>
                </p:cNvSpPr>
                <p:nvPr/>
              </p:nvSpPr>
              <p:spPr bwMode="auto">
                <a:xfrm>
                  <a:off x="2893999" y="4830832"/>
                  <a:ext cx="127204" cy="140334"/>
                </a:xfrm>
                <a:custGeom>
                  <a:avLst/>
                  <a:gdLst>
                    <a:gd name="T0" fmla="*/ 0 w 124"/>
                    <a:gd name="T1" fmla="*/ 109 h 140"/>
                    <a:gd name="T2" fmla="*/ 0 w 124"/>
                    <a:gd name="T3" fmla="*/ 0 h 140"/>
                    <a:gd name="T4" fmla="*/ 16 w 124"/>
                    <a:gd name="T5" fmla="*/ 0 h 140"/>
                    <a:gd name="T6" fmla="*/ 47 w 124"/>
                    <a:gd name="T7" fmla="*/ 31 h 140"/>
                    <a:gd name="T8" fmla="*/ 47 w 124"/>
                    <a:gd name="T9" fmla="*/ 16 h 140"/>
                    <a:gd name="T10" fmla="*/ 91 w 124"/>
                    <a:gd name="T11" fmla="*/ 56 h 140"/>
                    <a:gd name="T12" fmla="*/ 124 w 124"/>
                    <a:gd name="T13" fmla="*/ 78 h 140"/>
                    <a:gd name="T14" fmla="*/ 124 w 124"/>
                    <a:gd name="T15" fmla="*/ 109 h 140"/>
                    <a:gd name="T16" fmla="*/ 109 w 124"/>
                    <a:gd name="T17" fmla="*/ 124 h 140"/>
                    <a:gd name="T18" fmla="*/ 92 w 124"/>
                    <a:gd name="T19" fmla="*/ 140 h 140"/>
                    <a:gd name="T20" fmla="*/ 62 w 124"/>
                    <a:gd name="T21" fmla="*/ 140 h 140"/>
                    <a:gd name="T22" fmla="*/ 23 w 124"/>
                    <a:gd name="T23" fmla="*/ 126 h 140"/>
                    <a:gd name="T24" fmla="*/ 0 w 124"/>
                    <a:gd name="T25" fmla="*/ 10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140">
                      <a:moveTo>
                        <a:pt x="0" y="109"/>
                      </a:moveTo>
                      <a:lnTo>
                        <a:pt x="0" y="0"/>
                      </a:lnTo>
                      <a:lnTo>
                        <a:pt x="16" y="0"/>
                      </a:lnTo>
                      <a:lnTo>
                        <a:pt x="47" y="31"/>
                      </a:lnTo>
                      <a:lnTo>
                        <a:pt x="47" y="16"/>
                      </a:lnTo>
                      <a:lnTo>
                        <a:pt x="91" y="56"/>
                      </a:lnTo>
                      <a:lnTo>
                        <a:pt x="124" y="78"/>
                      </a:lnTo>
                      <a:lnTo>
                        <a:pt x="124" y="109"/>
                      </a:lnTo>
                      <a:lnTo>
                        <a:pt x="109" y="124"/>
                      </a:lnTo>
                      <a:lnTo>
                        <a:pt x="92" y="140"/>
                      </a:lnTo>
                      <a:lnTo>
                        <a:pt x="62" y="140"/>
                      </a:lnTo>
                      <a:lnTo>
                        <a:pt x="23" y="126"/>
                      </a:lnTo>
                      <a:lnTo>
                        <a:pt x="0" y="109"/>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3" name="Freeform 265"/>
                <p:cNvSpPr>
                  <a:spLocks/>
                </p:cNvSpPr>
                <p:nvPr/>
              </p:nvSpPr>
              <p:spPr bwMode="auto">
                <a:xfrm>
                  <a:off x="2386735" y="3792661"/>
                  <a:ext cx="1042451" cy="1148325"/>
                </a:xfrm>
                <a:custGeom>
                  <a:avLst/>
                  <a:gdLst>
                    <a:gd name="T0" fmla="*/ 522 w 1014"/>
                    <a:gd name="T1" fmla="*/ 83 h 1148"/>
                    <a:gd name="T2" fmla="*/ 461 w 1014"/>
                    <a:gd name="T3" fmla="*/ 78 h 1148"/>
                    <a:gd name="T4" fmla="*/ 430 w 1014"/>
                    <a:gd name="T5" fmla="*/ 93 h 1148"/>
                    <a:gd name="T6" fmla="*/ 352 w 1014"/>
                    <a:gd name="T7" fmla="*/ 78 h 1148"/>
                    <a:gd name="T8" fmla="*/ 336 w 1014"/>
                    <a:gd name="T9" fmla="*/ 0 h 1148"/>
                    <a:gd name="T10" fmla="*/ 234 w 1014"/>
                    <a:gd name="T11" fmla="*/ 26 h 1148"/>
                    <a:gd name="T12" fmla="*/ 269 w 1014"/>
                    <a:gd name="T13" fmla="*/ 80 h 1148"/>
                    <a:gd name="T14" fmla="*/ 181 w 1014"/>
                    <a:gd name="T15" fmla="*/ 124 h 1148"/>
                    <a:gd name="T16" fmla="*/ 107 w 1014"/>
                    <a:gd name="T17" fmla="*/ 98 h 1148"/>
                    <a:gd name="T18" fmla="*/ 87 w 1014"/>
                    <a:gd name="T19" fmla="*/ 140 h 1148"/>
                    <a:gd name="T20" fmla="*/ 103 w 1014"/>
                    <a:gd name="T21" fmla="*/ 279 h 1148"/>
                    <a:gd name="T22" fmla="*/ 20 w 1014"/>
                    <a:gd name="T23" fmla="*/ 309 h 1148"/>
                    <a:gd name="T24" fmla="*/ 0 w 1014"/>
                    <a:gd name="T25" fmla="*/ 374 h 1148"/>
                    <a:gd name="T26" fmla="*/ 87 w 1014"/>
                    <a:gd name="T27" fmla="*/ 434 h 1148"/>
                    <a:gd name="T28" fmla="*/ 149 w 1014"/>
                    <a:gd name="T29" fmla="*/ 481 h 1148"/>
                    <a:gd name="T30" fmla="*/ 227 w 1014"/>
                    <a:gd name="T31" fmla="*/ 481 h 1148"/>
                    <a:gd name="T32" fmla="*/ 368 w 1014"/>
                    <a:gd name="T33" fmla="*/ 590 h 1148"/>
                    <a:gd name="T34" fmla="*/ 414 w 1014"/>
                    <a:gd name="T35" fmla="*/ 636 h 1148"/>
                    <a:gd name="T36" fmla="*/ 438 w 1014"/>
                    <a:gd name="T37" fmla="*/ 731 h 1148"/>
                    <a:gd name="T38" fmla="*/ 470 w 1014"/>
                    <a:gd name="T39" fmla="*/ 806 h 1148"/>
                    <a:gd name="T40" fmla="*/ 508 w 1014"/>
                    <a:gd name="T41" fmla="*/ 853 h 1148"/>
                    <a:gd name="T42" fmla="*/ 555 w 1014"/>
                    <a:gd name="T43" fmla="*/ 900 h 1148"/>
                    <a:gd name="T44" fmla="*/ 524 w 1014"/>
                    <a:gd name="T45" fmla="*/ 986 h 1148"/>
                    <a:gd name="T46" fmla="*/ 539 w 1014"/>
                    <a:gd name="T47" fmla="*/ 1070 h 1148"/>
                    <a:gd name="T48" fmla="*/ 617 w 1014"/>
                    <a:gd name="T49" fmla="*/ 1117 h 1148"/>
                    <a:gd name="T50" fmla="*/ 630 w 1014"/>
                    <a:gd name="T51" fmla="*/ 1121 h 1148"/>
                    <a:gd name="T52" fmla="*/ 648 w 1014"/>
                    <a:gd name="T53" fmla="*/ 1059 h 1148"/>
                    <a:gd name="T54" fmla="*/ 660 w 1014"/>
                    <a:gd name="T55" fmla="*/ 1059 h 1148"/>
                    <a:gd name="T56" fmla="*/ 672 w 1014"/>
                    <a:gd name="T57" fmla="*/ 1050 h 1148"/>
                    <a:gd name="T58" fmla="*/ 704 w 1014"/>
                    <a:gd name="T59" fmla="*/ 987 h 1148"/>
                    <a:gd name="T60" fmla="*/ 696 w 1014"/>
                    <a:gd name="T61" fmla="*/ 918 h 1148"/>
                    <a:gd name="T62" fmla="*/ 740 w 1014"/>
                    <a:gd name="T63" fmla="*/ 866 h 1148"/>
                    <a:gd name="T64" fmla="*/ 777 w 1014"/>
                    <a:gd name="T65" fmla="*/ 843 h 1148"/>
                    <a:gd name="T66" fmla="*/ 827 w 1014"/>
                    <a:gd name="T67" fmla="*/ 828 h 1148"/>
                    <a:gd name="T68" fmla="*/ 882 w 1014"/>
                    <a:gd name="T69" fmla="*/ 791 h 1148"/>
                    <a:gd name="T70" fmla="*/ 905 w 1014"/>
                    <a:gd name="T71" fmla="*/ 723 h 1148"/>
                    <a:gd name="T72" fmla="*/ 913 w 1014"/>
                    <a:gd name="T73" fmla="*/ 667 h 1148"/>
                    <a:gd name="T74" fmla="*/ 917 w 1014"/>
                    <a:gd name="T75" fmla="*/ 603 h 1148"/>
                    <a:gd name="T76" fmla="*/ 918 w 1014"/>
                    <a:gd name="T77" fmla="*/ 531 h 1148"/>
                    <a:gd name="T78" fmla="*/ 954 w 1014"/>
                    <a:gd name="T79" fmla="*/ 485 h 1148"/>
                    <a:gd name="T80" fmla="*/ 1002 w 1014"/>
                    <a:gd name="T81" fmla="*/ 420 h 1148"/>
                    <a:gd name="T82" fmla="*/ 1010 w 1014"/>
                    <a:gd name="T83" fmla="*/ 339 h 1148"/>
                    <a:gd name="T84" fmla="*/ 960 w 1014"/>
                    <a:gd name="T85" fmla="*/ 295 h 1148"/>
                    <a:gd name="T86" fmla="*/ 882 w 1014"/>
                    <a:gd name="T87" fmla="*/ 233 h 1148"/>
                    <a:gd name="T88" fmla="*/ 789 w 1014"/>
                    <a:gd name="T89" fmla="*/ 217 h 1148"/>
                    <a:gd name="T90" fmla="*/ 758 w 1014"/>
                    <a:gd name="T91" fmla="*/ 202 h 1148"/>
                    <a:gd name="T92" fmla="*/ 680 w 1014"/>
                    <a:gd name="T93" fmla="*/ 171 h 1148"/>
                    <a:gd name="T94" fmla="*/ 648 w 1014"/>
                    <a:gd name="T95" fmla="*/ 155 h 1148"/>
                    <a:gd name="T96" fmla="*/ 586 w 1014"/>
                    <a:gd name="T97" fmla="*/ 155 h 1148"/>
                    <a:gd name="T98" fmla="*/ 602 w 1014"/>
                    <a:gd name="T99" fmla="*/ 93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4" h="1148">
                      <a:moveTo>
                        <a:pt x="570" y="31"/>
                      </a:moveTo>
                      <a:lnTo>
                        <a:pt x="542" y="86"/>
                      </a:lnTo>
                      <a:lnTo>
                        <a:pt x="522" y="83"/>
                      </a:lnTo>
                      <a:lnTo>
                        <a:pt x="508" y="93"/>
                      </a:lnTo>
                      <a:lnTo>
                        <a:pt x="489" y="75"/>
                      </a:lnTo>
                      <a:lnTo>
                        <a:pt x="461" y="78"/>
                      </a:lnTo>
                      <a:lnTo>
                        <a:pt x="461" y="93"/>
                      </a:lnTo>
                      <a:lnTo>
                        <a:pt x="446" y="93"/>
                      </a:lnTo>
                      <a:lnTo>
                        <a:pt x="430" y="93"/>
                      </a:lnTo>
                      <a:lnTo>
                        <a:pt x="383" y="109"/>
                      </a:lnTo>
                      <a:lnTo>
                        <a:pt x="368" y="109"/>
                      </a:lnTo>
                      <a:lnTo>
                        <a:pt x="352" y="78"/>
                      </a:lnTo>
                      <a:lnTo>
                        <a:pt x="368" y="31"/>
                      </a:lnTo>
                      <a:lnTo>
                        <a:pt x="352" y="0"/>
                      </a:lnTo>
                      <a:lnTo>
                        <a:pt x="336" y="0"/>
                      </a:lnTo>
                      <a:lnTo>
                        <a:pt x="336" y="16"/>
                      </a:lnTo>
                      <a:lnTo>
                        <a:pt x="279" y="38"/>
                      </a:lnTo>
                      <a:lnTo>
                        <a:pt x="234" y="26"/>
                      </a:lnTo>
                      <a:lnTo>
                        <a:pt x="243" y="47"/>
                      </a:lnTo>
                      <a:lnTo>
                        <a:pt x="252" y="69"/>
                      </a:lnTo>
                      <a:lnTo>
                        <a:pt x="269" y="80"/>
                      </a:lnTo>
                      <a:lnTo>
                        <a:pt x="259" y="93"/>
                      </a:lnTo>
                      <a:lnTo>
                        <a:pt x="212" y="124"/>
                      </a:lnTo>
                      <a:lnTo>
                        <a:pt x="181" y="124"/>
                      </a:lnTo>
                      <a:lnTo>
                        <a:pt x="181" y="109"/>
                      </a:lnTo>
                      <a:lnTo>
                        <a:pt x="165" y="93"/>
                      </a:lnTo>
                      <a:lnTo>
                        <a:pt x="107" y="98"/>
                      </a:lnTo>
                      <a:lnTo>
                        <a:pt x="102" y="110"/>
                      </a:lnTo>
                      <a:lnTo>
                        <a:pt x="120" y="126"/>
                      </a:lnTo>
                      <a:lnTo>
                        <a:pt x="87" y="140"/>
                      </a:lnTo>
                      <a:lnTo>
                        <a:pt x="108" y="176"/>
                      </a:lnTo>
                      <a:lnTo>
                        <a:pt x="104" y="209"/>
                      </a:lnTo>
                      <a:lnTo>
                        <a:pt x="103" y="279"/>
                      </a:lnTo>
                      <a:lnTo>
                        <a:pt x="77" y="276"/>
                      </a:lnTo>
                      <a:lnTo>
                        <a:pt x="38" y="290"/>
                      </a:lnTo>
                      <a:lnTo>
                        <a:pt x="20" y="309"/>
                      </a:lnTo>
                      <a:lnTo>
                        <a:pt x="20" y="338"/>
                      </a:lnTo>
                      <a:lnTo>
                        <a:pt x="3" y="351"/>
                      </a:lnTo>
                      <a:lnTo>
                        <a:pt x="0" y="374"/>
                      </a:lnTo>
                      <a:lnTo>
                        <a:pt x="25" y="419"/>
                      </a:lnTo>
                      <a:lnTo>
                        <a:pt x="56" y="450"/>
                      </a:lnTo>
                      <a:lnTo>
                        <a:pt x="87" y="434"/>
                      </a:lnTo>
                      <a:lnTo>
                        <a:pt x="87" y="465"/>
                      </a:lnTo>
                      <a:lnTo>
                        <a:pt x="118" y="465"/>
                      </a:lnTo>
                      <a:lnTo>
                        <a:pt x="149" y="481"/>
                      </a:lnTo>
                      <a:lnTo>
                        <a:pt x="179" y="452"/>
                      </a:lnTo>
                      <a:lnTo>
                        <a:pt x="227" y="434"/>
                      </a:lnTo>
                      <a:lnTo>
                        <a:pt x="227" y="481"/>
                      </a:lnTo>
                      <a:lnTo>
                        <a:pt x="243" y="512"/>
                      </a:lnTo>
                      <a:lnTo>
                        <a:pt x="352" y="558"/>
                      </a:lnTo>
                      <a:lnTo>
                        <a:pt x="368" y="590"/>
                      </a:lnTo>
                      <a:lnTo>
                        <a:pt x="368" y="605"/>
                      </a:lnTo>
                      <a:lnTo>
                        <a:pt x="368" y="621"/>
                      </a:lnTo>
                      <a:lnTo>
                        <a:pt x="414" y="636"/>
                      </a:lnTo>
                      <a:lnTo>
                        <a:pt x="414" y="652"/>
                      </a:lnTo>
                      <a:lnTo>
                        <a:pt x="446" y="683"/>
                      </a:lnTo>
                      <a:lnTo>
                        <a:pt x="438" y="731"/>
                      </a:lnTo>
                      <a:lnTo>
                        <a:pt x="430" y="745"/>
                      </a:lnTo>
                      <a:lnTo>
                        <a:pt x="446" y="791"/>
                      </a:lnTo>
                      <a:lnTo>
                        <a:pt x="470" y="806"/>
                      </a:lnTo>
                      <a:lnTo>
                        <a:pt x="492" y="807"/>
                      </a:lnTo>
                      <a:lnTo>
                        <a:pt x="508" y="807"/>
                      </a:lnTo>
                      <a:lnTo>
                        <a:pt x="508" y="853"/>
                      </a:lnTo>
                      <a:lnTo>
                        <a:pt x="539" y="853"/>
                      </a:lnTo>
                      <a:lnTo>
                        <a:pt x="539" y="900"/>
                      </a:lnTo>
                      <a:lnTo>
                        <a:pt x="555" y="900"/>
                      </a:lnTo>
                      <a:lnTo>
                        <a:pt x="570" y="946"/>
                      </a:lnTo>
                      <a:lnTo>
                        <a:pt x="555" y="962"/>
                      </a:lnTo>
                      <a:lnTo>
                        <a:pt x="524" y="986"/>
                      </a:lnTo>
                      <a:lnTo>
                        <a:pt x="492" y="1039"/>
                      </a:lnTo>
                      <a:lnTo>
                        <a:pt x="508" y="1039"/>
                      </a:lnTo>
                      <a:lnTo>
                        <a:pt x="539" y="1070"/>
                      </a:lnTo>
                      <a:lnTo>
                        <a:pt x="539" y="1055"/>
                      </a:lnTo>
                      <a:lnTo>
                        <a:pt x="590" y="1097"/>
                      </a:lnTo>
                      <a:lnTo>
                        <a:pt x="617" y="1117"/>
                      </a:lnTo>
                      <a:lnTo>
                        <a:pt x="606" y="1133"/>
                      </a:lnTo>
                      <a:lnTo>
                        <a:pt x="617" y="1148"/>
                      </a:lnTo>
                      <a:lnTo>
                        <a:pt x="630" y="1121"/>
                      </a:lnTo>
                      <a:lnTo>
                        <a:pt x="633" y="1101"/>
                      </a:lnTo>
                      <a:lnTo>
                        <a:pt x="636" y="1083"/>
                      </a:lnTo>
                      <a:lnTo>
                        <a:pt x="648" y="1059"/>
                      </a:lnTo>
                      <a:lnTo>
                        <a:pt x="650" y="1047"/>
                      </a:lnTo>
                      <a:lnTo>
                        <a:pt x="662" y="1044"/>
                      </a:lnTo>
                      <a:lnTo>
                        <a:pt x="660" y="1059"/>
                      </a:lnTo>
                      <a:lnTo>
                        <a:pt x="650" y="1088"/>
                      </a:lnTo>
                      <a:lnTo>
                        <a:pt x="666" y="1068"/>
                      </a:lnTo>
                      <a:lnTo>
                        <a:pt x="672" y="1050"/>
                      </a:lnTo>
                      <a:lnTo>
                        <a:pt x="680" y="1024"/>
                      </a:lnTo>
                      <a:lnTo>
                        <a:pt x="690" y="1005"/>
                      </a:lnTo>
                      <a:lnTo>
                        <a:pt x="704" y="987"/>
                      </a:lnTo>
                      <a:lnTo>
                        <a:pt x="708" y="969"/>
                      </a:lnTo>
                      <a:lnTo>
                        <a:pt x="701" y="951"/>
                      </a:lnTo>
                      <a:lnTo>
                        <a:pt x="696" y="918"/>
                      </a:lnTo>
                      <a:lnTo>
                        <a:pt x="695" y="900"/>
                      </a:lnTo>
                      <a:lnTo>
                        <a:pt x="720" y="881"/>
                      </a:lnTo>
                      <a:lnTo>
                        <a:pt x="740" y="866"/>
                      </a:lnTo>
                      <a:lnTo>
                        <a:pt x="758" y="853"/>
                      </a:lnTo>
                      <a:lnTo>
                        <a:pt x="773" y="853"/>
                      </a:lnTo>
                      <a:lnTo>
                        <a:pt x="777" y="843"/>
                      </a:lnTo>
                      <a:lnTo>
                        <a:pt x="789" y="838"/>
                      </a:lnTo>
                      <a:lnTo>
                        <a:pt x="798" y="831"/>
                      </a:lnTo>
                      <a:lnTo>
                        <a:pt x="827" y="828"/>
                      </a:lnTo>
                      <a:lnTo>
                        <a:pt x="852" y="825"/>
                      </a:lnTo>
                      <a:lnTo>
                        <a:pt x="858" y="812"/>
                      </a:lnTo>
                      <a:lnTo>
                        <a:pt x="882" y="791"/>
                      </a:lnTo>
                      <a:lnTo>
                        <a:pt x="882" y="776"/>
                      </a:lnTo>
                      <a:lnTo>
                        <a:pt x="893" y="746"/>
                      </a:lnTo>
                      <a:lnTo>
                        <a:pt x="905" y="723"/>
                      </a:lnTo>
                      <a:lnTo>
                        <a:pt x="905" y="707"/>
                      </a:lnTo>
                      <a:lnTo>
                        <a:pt x="905" y="687"/>
                      </a:lnTo>
                      <a:lnTo>
                        <a:pt x="913" y="667"/>
                      </a:lnTo>
                      <a:lnTo>
                        <a:pt x="917" y="645"/>
                      </a:lnTo>
                      <a:lnTo>
                        <a:pt x="918" y="621"/>
                      </a:lnTo>
                      <a:lnTo>
                        <a:pt x="917" y="603"/>
                      </a:lnTo>
                      <a:lnTo>
                        <a:pt x="917" y="570"/>
                      </a:lnTo>
                      <a:lnTo>
                        <a:pt x="917" y="549"/>
                      </a:lnTo>
                      <a:lnTo>
                        <a:pt x="918" y="531"/>
                      </a:lnTo>
                      <a:lnTo>
                        <a:pt x="936" y="524"/>
                      </a:lnTo>
                      <a:lnTo>
                        <a:pt x="944" y="509"/>
                      </a:lnTo>
                      <a:lnTo>
                        <a:pt x="954" y="485"/>
                      </a:lnTo>
                      <a:lnTo>
                        <a:pt x="965" y="465"/>
                      </a:lnTo>
                      <a:lnTo>
                        <a:pt x="984" y="446"/>
                      </a:lnTo>
                      <a:lnTo>
                        <a:pt x="1002" y="420"/>
                      </a:lnTo>
                      <a:lnTo>
                        <a:pt x="1013" y="396"/>
                      </a:lnTo>
                      <a:lnTo>
                        <a:pt x="1014" y="369"/>
                      </a:lnTo>
                      <a:lnTo>
                        <a:pt x="1010" y="339"/>
                      </a:lnTo>
                      <a:lnTo>
                        <a:pt x="998" y="306"/>
                      </a:lnTo>
                      <a:lnTo>
                        <a:pt x="986" y="300"/>
                      </a:lnTo>
                      <a:lnTo>
                        <a:pt x="960" y="295"/>
                      </a:lnTo>
                      <a:lnTo>
                        <a:pt x="938" y="281"/>
                      </a:lnTo>
                      <a:lnTo>
                        <a:pt x="920" y="258"/>
                      </a:lnTo>
                      <a:lnTo>
                        <a:pt x="882" y="233"/>
                      </a:lnTo>
                      <a:lnTo>
                        <a:pt x="845" y="237"/>
                      </a:lnTo>
                      <a:lnTo>
                        <a:pt x="822" y="234"/>
                      </a:lnTo>
                      <a:lnTo>
                        <a:pt x="789" y="217"/>
                      </a:lnTo>
                      <a:lnTo>
                        <a:pt x="758" y="233"/>
                      </a:lnTo>
                      <a:lnTo>
                        <a:pt x="758" y="217"/>
                      </a:lnTo>
                      <a:lnTo>
                        <a:pt x="758" y="202"/>
                      </a:lnTo>
                      <a:lnTo>
                        <a:pt x="742" y="202"/>
                      </a:lnTo>
                      <a:lnTo>
                        <a:pt x="726" y="186"/>
                      </a:lnTo>
                      <a:lnTo>
                        <a:pt x="680" y="171"/>
                      </a:lnTo>
                      <a:lnTo>
                        <a:pt x="664" y="171"/>
                      </a:lnTo>
                      <a:lnTo>
                        <a:pt x="664" y="155"/>
                      </a:lnTo>
                      <a:lnTo>
                        <a:pt x="648" y="155"/>
                      </a:lnTo>
                      <a:lnTo>
                        <a:pt x="633" y="149"/>
                      </a:lnTo>
                      <a:lnTo>
                        <a:pt x="617" y="140"/>
                      </a:lnTo>
                      <a:lnTo>
                        <a:pt x="586" y="155"/>
                      </a:lnTo>
                      <a:lnTo>
                        <a:pt x="617" y="124"/>
                      </a:lnTo>
                      <a:lnTo>
                        <a:pt x="617" y="109"/>
                      </a:lnTo>
                      <a:lnTo>
                        <a:pt x="602" y="93"/>
                      </a:lnTo>
                      <a:lnTo>
                        <a:pt x="586" y="47"/>
                      </a:lnTo>
                      <a:lnTo>
                        <a:pt x="570" y="3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4" name="Freeform 266"/>
                <p:cNvSpPr>
                  <a:spLocks/>
                </p:cNvSpPr>
                <p:nvPr/>
              </p:nvSpPr>
              <p:spPr bwMode="auto">
                <a:xfrm>
                  <a:off x="2188173" y="3949594"/>
                  <a:ext cx="352138" cy="532666"/>
                </a:xfrm>
                <a:custGeom>
                  <a:avLst/>
                  <a:gdLst>
                    <a:gd name="T0" fmla="*/ 16 w 342"/>
                    <a:gd name="T1" fmla="*/ 93 h 533"/>
                    <a:gd name="T2" fmla="*/ 0 w 342"/>
                    <a:gd name="T3" fmla="*/ 124 h 533"/>
                    <a:gd name="T4" fmla="*/ 16 w 342"/>
                    <a:gd name="T5" fmla="*/ 170 h 533"/>
                    <a:gd name="T6" fmla="*/ 0 w 342"/>
                    <a:gd name="T7" fmla="*/ 170 h 533"/>
                    <a:gd name="T8" fmla="*/ 36 w 342"/>
                    <a:gd name="T9" fmla="*/ 192 h 533"/>
                    <a:gd name="T10" fmla="*/ 62 w 342"/>
                    <a:gd name="T11" fmla="*/ 248 h 533"/>
                    <a:gd name="T12" fmla="*/ 96 w 342"/>
                    <a:gd name="T13" fmla="*/ 306 h 533"/>
                    <a:gd name="T14" fmla="*/ 133 w 342"/>
                    <a:gd name="T15" fmla="*/ 377 h 533"/>
                    <a:gd name="T16" fmla="*/ 145 w 342"/>
                    <a:gd name="T17" fmla="*/ 395 h 533"/>
                    <a:gd name="T18" fmla="*/ 147 w 342"/>
                    <a:gd name="T19" fmla="*/ 416 h 533"/>
                    <a:gd name="T20" fmla="*/ 155 w 342"/>
                    <a:gd name="T21" fmla="*/ 433 h 533"/>
                    <a:gd name="T22" fmla="*/ 190 w 342"/>
                    <a:gd name="T23" fmla="*/ 459 h 533"/>
                    <a:gd name="T24" fmla="*/ 249 w 342"/>
                    <a:gd name="T25" fmla="*/ 489 h 533"/>
                    <a:gd name="T26" fmla="*/ 271 w 342"/>
                    <a:gd name="T27" fmla="*/ 504 h 533"/>
                    <a:gd name="T28" fmla="*/ 295 w 342"/>
                    <a:gd name="T29" fmla="*/ 526 h 533"/>
                    <a:gd name="T30" fmla="*/ 316 w 342"/>
                    <a:gd name="T31" fmla="*/ 533 h 533"/>
                    <a:gd name="T32" fmla="*/ 326 w 342"/>
                    <a:gd name="T33" fmla="*/ 511 h 533"/>
                    <a:gd name="T34" fmla="*/ 342 w 342"/>
                    <a:gd name="T35" fmla="*/ 480 h 533"/>
                    <a:gd name="T36" fmla="*/ 326 w 342"/>
                    <a:gd name="T37" fmla="*/ 464 h 533"/>
                    <a:gd name="T38" fmla="*/ 326 w 342"/>
                    <a:gd name="T39" fmla="*/ 356 h 533"/>
                    <a:gd name="T40" fmla="*/ 311 w 342"/>
                    <a:gd name="T41" fmla="*/ 309 h 533"/>
                    <a:gd name="T42" fmla="*/ 280 w 342"/>
                    <a:gd name="T43" fmla="*/ 309 h 533"/>
                    <a:gd name="T44" fmla="*/ 280 w 342"/>
                    <a:gd name="T45" fmla="*/ 278 h 533"/>
                    <a:gd name="T46" fmla="*/ 249 w 342"/>
                    <a:gd name="T47" fmla="*/ 294 h 533"/>
                    <a:gd name="T48" fmla="*/ 218 w 342"/>
                    <a:gd name="T49" fmla="*/ 263 h 533"/>
                    <a:gd name="T50" fmla="*/ 192 w 342"/>
                    <a:gd name="T51" fmla="*/ 219 h 533"/>
                    <a:gd name="T52" fmla="*/ 196 w 342"/>
                    <a:gd name="T53" fmla="*/ 195 h 533"/>
                    <a:gd name="T54" fmla="*/ 214 w 342"/>
                    <a:gd name="T55" fmla="*/ 179 h 533"/>
                    <a:gd name="T56" fmla="*/ 211 w 342"/>
                    <a:gd name="T57" fmla="*/ 152 h 533"/>
                    <a:gd name="T58" fmla="*/ 231 w 342"/>
                    <a:gd name="T59" fmla="*/ 132 h 533"/>
                    <a:gd name="T60" fmla="*/ 271 w 342"/>
                    <a:gd name="T61" fmla="*/ 120 h 533"/>
                    <a:gd name="T62" fmla="*/ 295 w 342"/>
                    <a:gd name="T63" fmla="*/ 124 h 533"/>
                    <a:gd name="T64" fmla="*/ 280 w 342"/>
                    <a:gd name="T65" fmla="*/ 108 h 533"/>
                    <a:gd name="T66" fmla="*/ 280 w 342"/>
                    <a:gd name="T67" fmla="*/ 77 h 533"/>
                    <a:gd name="T68" fmla="*/ 264 w 342"/>
                    <a:gd name="T69" fmla="*/ 62 h 533"/>
                    <a:gd name="T70" fmla="*/ 213 w 342"/>
                    <a:gd name="T71" fmla="*/ 66 h 533"/>
                    <a:gd name="T72" fmla="*/ 187 w 342"/>
                    <a:gd name="T73" fmla="*/ 31 h 533"/>
                    <a:gd name="T74" fmla="*/ 155 w 342"/>
                    <a:gd name="T75" fmla="*/ 0 h 533"/>
                    <a:gd name="T76" fmla="*/ 140 w 342"/>
                    <a:gd name="T77" fmla="*/ 0 h 533"/>
                    <a:gd name="T78" fmla="*/ 155 w 342"/>
                    <a:gd name="T79" fmla="*/ 31 h 533"/>
                    <a:gd name="T80" fmla="*/ 140 w 342"/>
                    <a:gd name="T81" fmla="*/ 46 h 533"/>
                    <a:gd name="T82" fmla="*/ 112 w 342"/>
                    <a:gd name="T83" fmla="*/ 74 h 533"/>
                    <a:gd name="T84" fmla="*/ 93 w 342"/>
                    <a:gd name="T85" fmla="*/ 80 h 533"/>
                    <a:gd name="T86" fmla="*/ 78 w 342"/>
                    <a:gd name="T87" fmla="*/ 93 h 533"/>
                    <a:gd name="T88" fmla="*/ 63 w 342"/>
                    <a:gd name="T89" fmla="*/ 129 h 533"/>
                    <a:gd name="T90" fmla="*/ 47 w 342"/>
                    <a:gd name="T91" fmla="*/ 139 h 533"/>
                    <a:gd name="T92" fmla="*/ 16 w 342"/>
                    <a:gd name="T93" fmla="*/ 124 h 533"/>
                    <a:gd name="T94" fmla="*/ 16 w 342"/>
                    <a:gd name="T95" fmla="*/ 9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2" h="533">
                      <a:moveTo>
                        <a:pt x="16" y="93"/>
                      </a:moveTo>
                      <a:lnTo>
                        <a:pt x="0" y="124"/>
                      </a:lnTo>
                      <a:lnTo>
                        <a:pt x="16" y="170"/>
                      </a:lnTo>
                      <a:lnTo>
                        <a:pt x="0" y="170"/>
                      </a:lnTo>
                      <a:lnTo>
                        <a:pt x="36" y="192"/>
                      </a:lnTo>
                      <a:lnTo>
                        <a:pt x="62" y="248"/>
                      </a:lnTo>
                      <a:lnTo>
                        <a:pt x="96" y="306"/>
                      </a:lnTo>
                      <a:lnTo>
                        <a:pt x="133" y="377"/>
                      </a:lnTo>
                      <a:lnTo>
                        <a:pt x="145" y="395"/>
                      </a:lnTo>
                      <a:lnTo>
                        <a:pt x="147" y="416"/>
                      </a:lnTo>
                      <a:lnTo>
                        <a:pt x="155" y="433"/>
                      </a:lnTo>
                      <a:lnTo>
                        <a:pt x="190" y="459"/>
                      </a:lnTo>
                      <a:lnTo>
                        <a:pt x="249" y="489"/>
                      </a:lnTo>
                      <a:lnTo>
                        <a:pt x="271" y="504"/>
                      </a:lnTo>
                      <a:lnTo>
                        <a:pt x="295" y="526"/>
                      </a:lnTo>
                      <a:lnTo>
                        <a:pt x="316" y="533"/>
                      </a:lnTo>
                      <a:lnTo>
                        <a:pt x="326" y="511"/>
                      </a:lnTo>
                      <a:lnTo>
                        <a:pt x="342" y="480"/>
                      </a:lnTo>
                      <a:lnTo>
                        <a:pt x="326" y="464"/>
                      </a:lnTo>
                      <a:lnTo>
                        <a:pt x="326" y="356"/>
                      </a:lnTo>
                      <a:lnTo>
                        <a:pt x="311" y="309"/>
                      </a:lnTo>
                      <a:lnTo>
                        <a:pt x="280" y="309"/>
                      </a:lnTo>
                      <a:lnTo>
                        <a:pt x="280" y="278"/>
                      </a:lnTo>
                      <a:lnTo>
                        <a:pt x="249" y="294"/>
                      </a:lnTo>
                      <a:lnTo>
                        <a:pt x="218" y="263"/>
                      </a:lnTo>
                      <a:lnTo>
                        <a:pt x="192" y="219"/>
                      </a:lnTo>
                      <a:lnTo>
                        <a:pt x="196" y="195"/>
                      </a:lnTo>
                      <a:lnTo>
                        <a:pt x="214" y="179"/>
                      </a:lnTo>
                      <a:lnTo>
                        <a:pt x="211" y="152"/>
                      </a:lnTo>
                      <a:lnTo>
                        <a:pt x="231" y="132"/>
                      </a:lnTo>
                      <a:lnTo>
                        <a:pt x="271" y="120"/>
                      </a:lnTo>
                      <a:lnTo>
                        <a:pt x="295" y="124"/>
                      </a:lnTo>
                      <a:lnTo>
                        <a:pt x="280" y="108"/>
                      </a:lnTo>
                      <a:lnTo>
                        <a:pt x="280" y="77"/>
                      </a:lnTo>
                      <a:lnTo>
                        <a:pt x="264" y="62"/>
                      </a:lnTo>
                      <a:lnTo>
                        <a:pt x="213" y="66"/>
                      </a:lnTo>
                      <a:lnTo>
                        <a:pt x="187" y="31"/>
                      </a:lnTo>
                      <a:lnTo>
                        <a:pt x="155" y="0"/>
                      </a:lnTo>
                      <a:lnTo>
                        <a:pt x="140" y="0"/>
                      </a:lnTo>
                      <a:lnTo>
                        <a:pt x="155" y="31"/>
                      </a:lnTo>
                      <a:lnTo>
                        <a:pt x="140" y="46"/>
                      </a:lnTo>
                      <a:lnTo>
                        <a:pt x="112" y="74"/>
                      </a:lnTo>
                      <a:lnTo>
                        <a:pt x="93" y="80"/>
                      </a:lnTo>
                      <a:lnTo>
                        <a:pt x="78" y="93"/>
                      </a:lnTo>
                      <a:lnTo>
                        <a:pt x="63" y="129"/>
                      </a:lnTo>
                      <a:lnTo>
                        <a:pt x="47" y="139"/>
                      </a:lnTo>
                      <a:lnTo>
                        <a:pt x="16" y="124"/>
                      </a:lnTo>
                      <a:lnTo>
                        <a:pt x="16" y="9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5" name="Freeform 267"/>
                <p:cNvSpPr>
                  <a:spLocks/>
                </p:cNvSpPr>
                <p:nvPr/>
              </p:nvSpPr>
              <p:spPr bwMode="auto">
                <a:xfrm>
                  <a:off x="2188173" y="3902816"/>
                  <a:ext cx="161332" cy="185604"/>
                </a:xfrm>
                <a:custGeom>
                  <a:avLst/>
                  <a:gdLst>
                    <a:gd name="T0" fmla="*/ 16 w 156"/>
                    <a:gd name="T1" fmla="*/ 140 h 186"/>
                    <a:gd name="T2" fmla="*/ 16 w 156"/>
                    <a:gd name="T3" fmla="*/ 171 h 186"/>
                    <a:gd name="T4" fmla="*/ 47 w 156"/>
                    <a:gd name="T5" fmla="*/ 186 h 186"/>
                    <a:gd name="T6" fmla="*/ 66 w 156"/>
                    <a:gd name="T7" fmla="*/ 176 h 186"/>
                    <a:gd name="T8" fmla="*/ 78 w 156"/>
                    <a:gd name="T9" fmla="*/ 140 h 186"/>
                    <a:gd name="T10" fmla="*/ 96 w 156"/>
                    <a:gd name="T11" fmla="*/ 128 h 186"/>
                    <a:gd name="T12" fmla="*/ 111 w 156"/>
                    <a:gd name="T13" fmla="*/ 122 h 186"/>
                    <a:gd name="T14" fmla="*/ 140 w 156"/>
                    <a:gd name="T15" fmla="*/ 93 h 186"/>
                    <a:gd name="T16" fmla="*/ 156 w 156"/>
                    <a:gd name="T17" fmla="*/ 78 h 186"/>
                    <a:gd name="T18" fmla="*/ 140 w 156"/>
                    <a:gd name="T19" fmla="*/ 47 h 186"/>
                    <a:gd name="T20" fmla="*/ 156 w 156"/>
                    <a:gd name="T21" fmla="*/ 47 h 186"/>
                    <a:gd name="T22" fmla="*/ 140 w 156"/>
                    <a:gd name="T23" fmla="*/ 31 h 186"/>
                    <a:gd name="T24" fmla="*/ 94 w 156"/>
                    <a:gd name="T25" fmla="*/ 28 h 186"/>
                    <a:gd name="T26" fmla="*/ 62 w 156"/>
                    <a:gd name="T27" fmla="*/ 0 h 186"/>
                    <a:gd name="T28" fmla="*/ 34 w 156"/>
                    <a:gd name="T29" fmla="*/ 14 h 186"/>
                    <a:gd name="T30" fmla="*/ 25 w 156"/>
                    <a:gd name="T31" fmla="*/ 26 h 186"/>
                    <a:gd name="T32" fmla="*/ 24 w 156"/>
                    <a:gd name="T33" fmla="*/ 41 h 186"/>
                    <a:gd name="T34" fmla="*/ 16 w 156"/>
                    <a:gd name="T35" fmla="*/ 47 h 186"/>
                    <a:gd name="T36" fmla="*/ 12 w 156"/>
                    <a:gd name="T37" fmla="*/ 65 h 186"/>
                    <a:gd name="T38" fmla="*/ 0 w 156"/>
                    <a:gd name="T39" fmla="*/ 78 h 186"/>
                    <a:gd name="T40" fmla="*/ 7 w 156"/>
                    <a:gd name="T41" fmla="*/ 91 h 186"/>
                    <a:gd name="T42" fmla="*/ 4 w 156"/>
                    <a:gd name="T43" fmla="*/ 113 h 186"/>
                    <a:gd name="T44" fmla="*/ 21 w 156"/>
                    <a:gd name="T45" fmla="*/ 122 h 186"/>
                    <a:gd name="T46" fmla="*/ 34 w 156"/>
                    <a:gd name="T47" fmla="*/ 122 h 186"/>
                    <a:gd name="T48" fmla="*/ 31 w 156"/>
                    <a:gd name="T49" fmla="*/ 140 h 186"/>
                    <a:gd name="T50" fmla="*/ 31 w 156"/>
                    <a:gd name="T51" fmla="*/ 140 h 186"/>
                    <a:gd name="T52" fmla="*/ 16 w 156"/>
                    <a:gd name="T53" fmla="*/ 14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186">
                      <a:moveTo>
                        <a:pt x="16" y="140"/>
                      </a:moveTo>
                      <a:lnTo>
                        <a:pt x="16" y="171"/>
                      </a:lnTo>
                      <a:lnTo>
                        <a:pt x="47" y="186"/>
                      </a:lnTo>
                      <a:lnTo>
                        <a:pt x="66" y="176"/>
                      </a:lnTo>
                      <a:lnTo>
                        <a:pt x="78" y="140"/>
                      </a:lnTo>
                      <a:lnTo>
                        <a:pt x="96" y="128"/>
                      </a:lnTo>
                      <a:lnTo>
                        <a:pt x="111" y="122"/>
                      </a:lnTo>
                      <a:lnTo>
                        <a:pt x="140" y="93"/>
                      </a:lnTo>
                      <a:lnTo>
                        <a:pt x="156" y="78"/>
                      </a:lnTo>
                      <a:lnTo>
                        <a:pt x="140" y="47"/>
                      </a:lnTo>
                      <a:lnTo>
                        <a:pt x="156" y="47"/>
                      </a:lnTo>
                      <a:lnTo>
                        <a:pt x="140" y="31"/>
                      </a:lnTo>
                      <a:lnTo>
                        <a:pt x="94" y="28"/>
                      </a:lnTo>
                      <a:lnTo>
                        <a:pt x="62" y="0"/>
                      </a:lnTo>
                      <a:lnTo>
                        <a:pt x="34" y="14"/>
                      </a:lnTo>
                      <a:lnTo>
                        <a:pt x="25" y="26"/>
                      </a:lnTo>
                      <a:lnTo>
                        <a:pt x="24" y="41"/>
                      </a:lnTo>
                      <a:lnTo>
                        <a:pt x="16" y="47"/>
                      </a:lnTo>
                      <a:lnTo>
                        <a:pt x="12" y="65"/>
                      </a:lnTo>
                      <a:lnTo>
                        <a:pt x="0" y="78"/>
                      </a:lnTo>
                      <a:lnTo>
                        <a:pt x="7" y="91"/>
                      </a:lnTo>
                      <a:lnTo>
                        <a:pt x="4" y="113"/>
                      </a:lnTo>
                      <a:lnTo>
                        <a:pt x="21" y="122"/>
                      </a:lnTo>
                      <a:lnTo>
                        <a:pt x="34" y="122"/>
                      </a:lnTo>
                      <a:lnTo>
                        <a:pt x="31" y="140"/>
                      </a:lnTo>
                      <a:lnTo>
                        <a:pt x="31" y="140"/>
                      </a:lnTo>
                      <a:lnTo>
                        <a:pt x="16" y="14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6" name="Freeform 268"/>
                <p:cNvSpPr>
                  <a:spLocks/>
                </p:cNvSpPr>
                <p:nvPr/>
              </p:nvSpPr>
              <p:spPr bwMode="auto">
                <a:xfrm>
                  <a:off x="2245569" y="3576879"/>
                  <a:ext cx="327317" cy="496451"/>
                </a:xfrm>
                <a:custGeom>
                  <a:avLst/>
                  <a:gdLst>
                    <a:gd name="T0" fmla="*/ 8 w 319"/>
                    <a:gd name="T1" fmla="*/ 326 h 496"/>
                    <a:gd name="T2" fmla="*/ 8 w 319"/>
                    <a:gd name="T3" fmla="*/ 326 h 496"/>
                    <a:gd name="T4" fmla="*/ 0 w 319"/>
                    <a:gd name="T5" fmla="*/ 312 h 496"/>
                    <a:gd name="T6" fmla="*/ 14 w 319"/>
                    <a:gd name="T7" fmla="*/ 294 h 496"/>
                    <a:gd name="T8" fmla="*/ 30 w 319"/>
                    <a:gd name="T9" fmla="*/ 287 h 496"/>
                    <a:gd name="T10" fmla="*/ 42 w 319"/>
                    <a:gd name="T11" fmla="*/ 264 h 496"/>
                    <a:gd name="T12" fmla="*/ 50 w 319"/>
                    <a:gd name="T13" fmla="*/ 254 h 496"/>
                    <a:gd name="T14" fmla="*/ 44 w 319"/>
                    <a:gd name="T15" fmla="*/ 245 h 496"/>
                    <a:gd name="T16" fmla="*/ 44 w 319"/>
                    <a:gd name="T17" fmla="*/ 210 h 496"/>
                    <a:gd name="T18" fmla="*/ 45 w 319"/>
                    <a:gd name="T19" fmla="*/ 189 h 496"/>
                    <a:gd name="T20" fmla="*/ 45 w 319"/>
                    <a:gd name="T21" fmla="*/ 171 h 496"/>
                    <a:gd name="T22" fmla="*/ 39 w 319"/>
                    <a:gd name="T23" fmla="*/ 155 h 496"/>
                    <a:gd name="T24" fmla="*/ 35 w 319"/>
                    <a:gd name="T25" fmla="*/ 147 h 496"/>
                    <a:gd name="T26" fmla="*/ 54 w 319"/>
                    <a:gd name="T27" fmla="*/ 124 h 496"/>
                    <a:gd name="T28" fmla="*/ 62 w 319"/>
                    <a:gd name="T29" fmla="*/ 116 h 496"/>
                    <a:gd name="T30" fmla="*/ 71 w 319"/>
                    <a:gd name="T31" fmla="*/ 105 h 496"/>
                    <a:gd name="T32" fmla="*/ 93 w 319"/>
                    <a:gd name="T33" fmla="*/ 83 h 496"/>
                    <a:gd name="T34" fmla="*/ 101 w 319"/>
                    <a:gd name="T35" fmla="*/ 47 h 496"/>
                    <a:gd name="T36" fmla="*/ 126 w 319"/>
                    <a:gd name="T37" fmla="*/ 42 h 496"/>
                    <a:gd name="T38" fmla="*/ 141 w 319"/>
                    <a:gd name="T39" fmla="*/ 33 h 496"/>
                    <a:gd name="T40" fmla="*/ 162 w 319"/>
                    <a:gd name="T41" fmla="*/ 29 h 496"/>
                    <a:gd name="T42" fmla="*/ 185 w 319"/>
                    <a:gd name="T43" fmla="*/ 9 h 496"/>
                    <a:gd name="T44" fmla="*/ 210 w 319"/>
                    <a:gd name="T45" fmla="*/ 0 h 496"/>
                    <a:gd name="T46" fmla="*/ 218 w 319"/>
                    <a:gd name="T47" fmla="*/ 8 h 496"/>
                    <a:gd name="T48" fmla="*/ 210 w 319"/>
                    <a:gd name="T49" fmla="*/ 16 h 496"/>
                    <a:gd name="T50" fmla="*/ 194 w 319"/>
                    <a:gd name="T51" fmla="*/ 31 h 496"/>
                    <a:gd name="T52" fmla="*/ 179 w 319"/>
                    <a:gd name="T53" fmla="*/ 47 h 496"/>
                    <a:gd name="T54" fmla="*/ 163 w 319"/>
                    <a:gd name="T55" fmla="*/ 93 h 496"/>
                    <a:gd name="T56" fmla="*/ 179 w 319"/>
                    <a:gd name="T57" fmla="*/ 140 h 496"/>
                    <a:gd name="T58" fmla="*/ 179 w 319"/>
                    <a:gd name="T59" fmla="*/ 155 h 496"/>
                    <a:gd name="T60" fmla="*/ 194 w 319"/>
                    <a:gd name="T61" fmla="*/ 155 h 496"/>
                    <a:gd name="T62" fmla="*/ 241 w 319"/>
                    <a:gd name="T63" fmla="*/ 171 h 496"/>
                    <a:gd name="T64" fmla="*/ 257 w 319"/>
                    <a:gd name="T65" fmla="*/ 186 h 496"/>
                    <a:gd name="T66" fmla="*/ 303 w 319"/>
                    <a:gd name="T67" fmla="*/ 186 h 496"/>
                    <a:gd name="T68" fmla="*/ 288 w 319"/>
                    <a:gd name="T69" fmla="*/ 233 h 496"/>
                    <a:gd name="T70" fmla="*/ 303 w 319"/>
                    <a:gd name="T71" fmla="*/ 279 h 496"/>
                    <a:gd name="T72" fmla="*/ 288 w 319"/>
                    <a:gd name="T73" fmla="*/ 279 h 496"/>
                    <a:gd name="T74" fmla="*/ 319 w 319"/>
                    <a:gd name="T75" fmla="*/ 326 h 496"/>
                    <a:gd name="T76" fmla="*/ 303 w 319"/>
                    <a:gd name="T77" fmla="*/ 310 h 496"/>
                    <a:gd name="T78" fmla="*/ 245 w 319"/>
                    <a:gd name="T79" fmla="*/ 315 h 496"/>
                    <a:gd name="T80" fmla="*/ 241 w 319"/>
                    <a:gd name="T81" fmla="*/ 326 h 496"/>
                    <a:gd name="T82" fmla="*/ 257 w 319"/>
                    <a:gd name="T83" fmla="*/ 339 h 496"/>
                    <a:gd name="T84" fmla="*/ 243 w 319"/>
                    <a:gd name="T85" fmla="*/ 348 h 496"/>
                    <a:gd name="T86" fmla="*/ 226 w 319"/>
                    <a:gd name="T87" fmla="*/ 357 h 496"/>
                    <a:gd name="T88" fmla="*/ 246 w 319"/>
                    <a:gd name="T89" fmla="*/ 389 h 496"/>
                    <a:gd name="T90" fmla="*/ 242 w 319"/>
                    <a:gd name="T91" fmla="*/ 432 h 496"/>
                    <a:gd name="T92" fmla="*/ 241 w 319"/>
                    <a:gd name="T93" fmla="*/ 496 h 496"/>
                    <a:gd name="T94" fmla="*/ 226 w 319"/>
                    <a:gd name="T95" fmla="*/ 481 h 496"/>
                    <a:gd name="T96" fmla="*/ 226 w 319"/>
                    <a:gd name="T97" fmla="*/ 450 h 496"/>
                    <a:gd name="T98" fmla="*/ 210 w 319"/>
                    <a:gd name="T99" fmla="*/ 434 h 496"/>
                    <a:gd name="T100" fmla="*/ 159 w 319"/>
                    <a:gd name="T101" fmla="*/ 438 h 496"/>
                    <a:gd name="T102" fmla="*/ 132 w 319"/>
                    <a:gd name="T103" fmla="*/ 403 h 496"/>
                    <a:gd name="T104" fmla="*/ 101 w 319"/>
                    <a:gd name="T105" fmla="*/ 372 h 496"/>
                    <a:gd name="T106" fmla="*/ 85 w 319"/>
                    <a:gd name="T107" fmla="*/ 357 h 496"/>
                    <a:gd name="T108" fmla="*/ 41 w 319"/>
                    <a:gd name="T109" fmla="*/ 353 h 496"/>
                    <a:gd name="T110" fmla="*/ 8 w 319"/>
                    <a:gd name="T111" fmla="*/ 32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9" h="496">
                      <a:moveTo>
                        <a:pt x="8" y="326"/>
                      </a:moveTo>
                      <a:lnTo>
                        <a:pt x="8" y="326"/>
                      </a:lnTo>
                      <a:lnTo>
                        <a:pt x="0" y="312"/>
                      </a:lnTo>
                      <a:lnTo>
                        <a:pt x="14" y="294"/>
                      </a:lnTo>
                      <a:lnTo>
                        <a:pt x="30" y="287"/>
                      </a:lnTo>
                      <a:lnTo>
                        <a:pt x="42" y="264"/>
                      </a:lnTo>
                      <a:lnTo>
                        <a:pt x="50" y="254"/>
                      </a:lnTo>
                      <a:lnTo>
                        <a:pt x="44" y="245"/>
                      </a:lnTo>
                      <a:lnTo>
                        <a:pt x="44" y="210"/>
                      </a:lnTo>
                      <a:lnTo>
                        <a:pt x="45" y="189"/>
                      </a:lnTo>
                      <a:lnTo>
                        <a:pt x="45" y="171"/>
                      </a:lnTo>
                      <a:lnTo>
                        <a:pt x="39" y="155"/>
                      </a:lnTo>
                      <a:lnTo>
                        <a:pt x="35" y="147"/>
                      </a:lnTo>
                      <a:lnTo>
                        <a:pt x="54" y="124"/>
                      </a:lnTo>
                      <a:lnTo>
                        <a:pt x="62" y="116"/>
                      </a:lnTo>
                      <a:lnTo>
                        <a:pt x="71" y="105"/>
                      </a:lnTo>
                      <a:lnTo>
                        <a:pt x="93" y="83"/>
                      </a:lnTo>
                      <a:lnTo>
                        <a:pt x="101" y="47"/>
                      </a:lnTo>
                      <a:lnTo>
                        <a:pt x="126" y="42"/>
                      </a:lnTo>
                      <a:lnTo>
                        <a:pt x="141" y="33"/>
                      </a:lnTo>
                      <a:lnTo>
                        <a:pt x="162" y="29"/>
                      </a:lnTo>
                      <a:lnTo>
                        <a:pt x="185" y="9"/>
                      </a:lnTo>
                      <a:lnTo>
                        <a:pt x="210" y="0"/>
                      </a:lnTo>
                      <a:lnTo>
                        <a:pt x="218" y="8"/>
                      </a:lnTo>
                      <a:lnTo>
                        <a:pt x="210" y="16"/>
                      </a:lnTo>
                      <a:lnTo>
                        <a:pt x="194" y="31"/>
                      </a:lnTo>
                      <a:lnTo>
                        <a:pt x="179" y="47"/>
                      </a:lnTo>
                      <a:lnTo>
                        <a:pt x="163" y="93"/>
                      </a:lnTo>
                      <a:lnTo>
                        <a:pt x="179" y="140"/>
                      </a:lnTo>
                      <a:lnTo>
                        <a:pt x="179" y="155"/>
                      </a:lnTo>
                      <a:lnTo>
                        <a:pt x="194" y="155"/>
                      </a:lnTo>
                      <a:lnTo>
                        <a:pt x="241" y="171"/>
                      </a:lnTo>
                      <a:lnTo>
                        <a:pt x="257" y="186"/>
                      </a:lnTo>
                      <a:lnTo>
                        <a:pt x="303" y="186"/>
                      </a:lnTo>
                      <a:lnTo>
                        <a:pt x="288" y="233"/>
                      </a:lnTo>
                      <a:lnTo>
                        <a:pt x="303" y="279"/>
                      </a:lnTo>
                      <a:lnTo>
                        <a:pt x="288" y="279"/>
                      </a:lnTo>
                      <a:lnTo>
                        <a:pt x="319" y="326"/>
                      </a:lnTo>
                      <a:lnTo>
                        <a:pt x="303" y="310"/>
                      </a:lnTo>
                      <a:lnTo>
                        <a:pt x="245" y="315"/>
                      </a:lnTo>
                      <a:lnTo>
                        <a:pt x="241" y="326"/>
                      </a:lnTo>
                      <a:lnTo>
                        <a:pt x="257" y="339"/>
                      </a:lnTo>
                      <a:lnTo>
                        <a:pt x="243" y="348"/>
                      </a:lnTo>
                      <a:lnTo>
                        <a:pt x="226" y="357"/>
                      </a:lnTo>
                      <a:lnTo>
                        <a:pt x="246" y="389"/>
                      </a:lnTo>
                      <a:lnTo>
                        <a:pt x="242" y="432"/>
                      </a:lnTo>
                      <a:lnTo>
                        <a:pt x="241" y="496"/>
                      </a:lnTo>
                      <a:lnTo>
                        <a:pt x="226" y="481"/>
                      </a:lnTo>
                      <a:lnTo>
                        <a:pt x="226" y="450"/>
                      </a:lnTo>
                      <a:lnTo>
                        <a:pt x="210" y="434"/>
                      </a:lnTo>
                      <a:lnTo>
                        <a:pt x="159" y="438"/>
                      </a:lnTo>
                      <a:lnTo>
                        <a:pt x="132" y="403"/>
                      </a:lnTo>
                      <a:lnTo>
                        <a:pt x="101" y="372"/>
                      </a:lnTo>
                      <a:lnTo>
                        <a:pt x="85" y="357"/>
                      </a:lnTo>
                      <a:lnTo>
                        <a:pt x="41" y="353"/>
                      </a:lnTo>
                      <a:lnTo>
                        <a:pt x="8" y="32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7" name="Freeform 269"/>
                <p:cNvSpPr>
                  <a:spLocks/>
                </p:cNvSpPr>
                <p:nvPr/>
              </p:nvSpPr>
              <p:spPr bwMode="auto">
                <a:xfrm>
                  <a:off x="2413107" y="3582914"/>
                  <a:ext cx="352138" cy="334991"/>
                </a:xfrm>
                <a:custGeom>
                  <a:avLst/>
                  <a:gdLst>
                    <a:gd name="T0" fmla="*/ 343 w 343"/>
                    <a:gd name="T1" fmla="*/ 118 h 335"/>
                    <a:gd name="T2" fmla="*/ 312 w 343"/>
                    <a:gd name="T3" fmla="*/ 133 h 335"/>
                    <a:gd name="T4" fmla="*/ 312 w 343"/>
                    <a:gd name="T5" fmla="*/ 149 h 335"/>
                    <a:gd name="T6" fmla="*/ 327 w 343"/>
                    <a:gd name="T7" fmla="*/ 164 h 335"/>
                    <a:gd name="T8" fmla="*/ 312 w 343"/>
                    <a:gd name="T9" fmla="*/ 164 h 335"/>
                    <a:gd name="T10" fmla="*/ 296 w 343"/>
                    <a:gd name="T11" fmla="*/ 195 h 335"/>
                    <a:gd name="T12" fmla="*/ 312 w 343"/>
                    <a:gd name="T13" fmla="*/ 211 h 335"/>
                    <a:gd name="T14" fmla="*/ 312 w 343"/>
                    <a:gd name="T15" fmla="*/ 226 h 335"/>
                    <a:gd name="T16" fmla="*/ 254 w 343"/>
                    <a:gd name="T17" fmla="*/ 249 h 335"/>
                    <a:gd name="T18" fmla="*/ 209 w 343"/>
                    <a:gd name="T19" fmla="*/ 236 h 335"/>
                    <a:gd name="T20" fmla="*/ 226 w 343"/>
                    <a:gd name="T21" fmla="*/ 281 h 335"/>
                    <a:gd name="T22" fmla="*/ 242 w 343"/>
                    <a:gd name="T23" fmla="*/ 288 h 335"/>
                    <a:gd name="T24" fmla="*/ 234 w 343"/>
                    <a:gd name="T25" fmla="*/ 304 h 335"/>
                    <a:gd name="T26" fmla="*/ 187 w 343"/>
                    <a:gd name="T27" fmla="*/ 335 h 335"/>
                    <a:gd name="T28" fmla="*/ 156 w 343"/>
                    <a:gd name="T29" fmla="*/ 335 h 335"/>
                    <a:gd name="T30" fmla="*/ 156 w 343"/>
                    <a:gd name="T31" fmla="*/ 319 h 335"/>
                    <a:gd name="T32" fmla="*/ 125 w 343"/>
                    <a:gd name="T33" fmla="*/ 273 h 335"/>
                    <a:gd name="T34" fmla="*/ 140 w 343"/>
                    <a:gd name="T35" fmla="*/ 273 h 335"/>
                    <a:gd name="T36" fmla="*/ 125 w 343"/>
                    <a:gd name="T37" fmla="*/ 226 h 335"/>
                    <a:gd name="T38" fmla="*/ 140 w 343"/>
                    <a:gd name="T39" fmla="*/ 180 h 335"/>
                    <a:gd name="T40" fmla="*/ 94 w 343"/>
                    <a:gd name="T41" fmla="*/ 180 h 335"/>
                    <a:gd name="T42" fmla="*/ 78 w 343"/>
                    <a:gd name="T43" fmla="*/ 164 h 335"/>
                    <a:gd name="T44" fmla="*/ 31 w 343"/>
                    <a:gd name="T45" fmla="*/ 149 h 335"/>
                    <a:gd name="T46" fmla="*/ 16 w 343"/>
                    <a:gd name="T47" fmla="*/ 149 h 335"/>
                    <a:gd name="T48" fmla="*/ 16 w 343"/>
                    <a:gd name="T49" fmla="*/ 133 h 335"/>
                    <a:gd name="T50" fmla="*/ 0 w 343"/>
                    <a:gd name="T51" fmla="*/ 87 h 335"/>
                    <a:gd name="T52" fmla="*/ 16 w 343"/>
                    <a:gd name="T53" fmla="*/ 40 h 335"/>
                    <a:gd name="T54" fmla="*/ 31 w 343"/>
                    <a:gd name="T55" fmla="*/ 25 h 335"/>
                    <a:gd name="T56" fmla="*/ 38 w 343"/>
                    <a:gd name="T57" fmla="*/ 48 h 335"/>
                    <a:gd name="T58" fmla="*/ 26 w 343"/>
                    <a:gd name="T59" fmla="*/ 68 h 335"/>
                    <a:gd name="T60" fmla="*/ 34 w 343"/>
                    <a:gd name="T61" fmla="*/ 90 h 335"/>
                    <a:gd name="T62" fmla="*/ 47 w 343"/>
                    <a:gd name="T63" fmla="*/ 87 h 335"/>
                    <a:gd name="T64" fmla="*/ 47 w 343"/>
                    <a:gd name="T65" fmla="*/ 40 h 335"/>
                    <a:gd name="T66" fmla="*/ 78 w 343"/>
                    <a:gd name="T67" fmla="*/ 25 h 335"/>
                    <a:gd name="T68" fmla="*/ 74 w 343"/>
                    <a:gd name="T69" fmla="*/ 0 h 335"/>
                    <a:gd name="T70" fmla="*/ 82 w 343"/>
                    <a:gd name="T71" fmla="*/ 0 h 335"/>
                    <a:gd name="T72" fmla="*/ 89 w 343"/>
                    <a:gd name="T73" fmla="*/ 15 h 335"/>
                    <a:gd name="T74" fmla="*/ 109 w 343"/>
                    <a:gd name="T75" fmla="*/ 23 h 335"/>
                    <a:gd name="T76" fmla="*/ 122 w 343"/>
                    <a:gd name="T77" fmla="*/ 32 h 335"/>
                    <a:gd name="T78" fmla="*/ 125 w 343"/>
                    <a:gd name="T79" fmla="*/ 47 h 335"/>
                    <a:gd name="T80" fmla="*/ 139 w 343"/>
                    <a:gd name="T81" fmla="*/ 51 h 335"/>
                    <a:gd name="T82" fmla="*/ 161 w 343"/>
                    <a:gd name="T83" fmla="*/ 50 h 335"/>
                    <a:gd name="T84" fmla="*/ 173 w 343"/>
                    <a:gd name="T85" fmla="*/ 45 h 335"/>
                    <a:gd name="T86" fmla="*/ 211 w 343"/>
                    <a:gd name="T87" fmla="*/ 63 h 335"/>
                    <a:gd name="T88" fmla="*/ 227 w 343"/>
                    <a:gd name="T89" fmla="*/ 53 h 335"/>
                    <a:gd name="T90" fmla="*/ 248 w 343"/>
                    <a:gd name="T91" fmla="*/ 45 h 335"/>
                    <a:gd name="T92" fmla="*/ 271 w 343"/>
                    <a:gd name="T93" fmla="*/ 44 h 335"/>
                    <a:gd name="T94" fmla="*/ 266 w 343"/>
                    <a:gd name="T95" fmla="*/ 60 h 335"/>
                    <a:gd name="T96" fmla="*/ 281 w 343"/>
                    <a:gd name="T97" fmla="*/ 71 h 335"/>
                    <a:gd name="T98" fmla="*/ 296 w 343"/>
                    <a:gd name="T99" fmla="*/ 72 h 335"/>
                    <a:gd name="T100" fmla="*/ 316 w 343"/>
                    <a:gd name="T101" fmla="*/ 83 h 335"/>
                    <a:gd name="T102" fmla="*/ 305 w 343"/>
                    <a:gd name="T103" fmla="*/ 108 h 335"/>
                    <a:gd name="T104" fmla="*/ 334 w 343"/>
                    <a:gd name="T105" fmla="*/ 104 h 335"/>
                    <a:gd name="T106" fmla="*/ 343 w 343"/>
                    <a:gd name="T107" fmla="*/ 11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3" h="335">
                      <a:moveTo>
                        <a:pt x="343" y="118"/>
                      </a:moveTo>
                      <a:lnTo>
                        <a:pt x="312" y="133"/>
                      </a:lnTo>
                      <a:lnTo>
                        <a:pt x="312" y="149"/>
                      </a:lnTo>
                      <a:lnTo>
                        <a:pt x="327" y="164"/>
                      </a:lnTo>
                      <a:lnTo>
                        <a:pt x="312" y="164"/>
                      </a:lnTo>
                      <a:lnTo>
                        <a:pt x="296" y="195"/>
                      </a:lnTo>
                      <a:lnTo>
                        <a:pt x="312" y="211"/>
                      </a:lnTo>
                      <a:lnTo>
                        <a:pt x="312" y="226"/>
                      </a:lnTo>
                      <a:lnTo>
                        <a:pt x="254" y="249"/>
                      </a:lnTo>
                      <a:lnTo>
                        <a:pt x="209" y="236"/>
                      </a:lnTo>
                      <a:lnTo>
                        <a:pt x="226" y="281"/>
                      </a:lnTo>
                      <a:lnTo>
                        <a:pt x="242" y="288"/>
                      </a:lnTo>
                      <a:lnTo>
                        <a:pt x="234" y="304"/>
                      </a:lnTo>
                      <a:lnTo>
                        <a:pt x="187" y="335"/>
                      </a:lnTo>
                      <a:lnTo>
                        <a:pt x="156" y="335"/>
                      </a:lnTo>
                      <a:lnTo>
                        <a:pt x="156" y="319"/>
                      </a:lnTo>
                      <a:lnTo>
                        <a:pt x="125" y="273"/>
                      </a:lnTo>
                      <a:lnTo>
                        <a:pt x="140" y="273"/>
                      </a:lnTo>
                      <a:lnTo>
                        <a:pt x="125" y="226"/>
                      </a:lnTo>
                      <a:lnTo>
                        <a:pt x="140" y="180"/>
                      </a:lnTo>
                      <a:lnTo>
                        <a:pt x="94" y="180"/>
                      </a:lnTo>
                      <a:lnTo>
                        <a:pt x="78" y="164"/>
                      </a:lnTo>
                      <a:lnTo>
                        <a:pt x="31" y="149"/>
                      </a:lnTo>
                      <a:lnTo>
                        <a:pt x="16" y="149"/>
                      </a:lnTo>
                      <a:lnTo>
                        <a:pt x="16" y="133"/>
                      </a:lnTo>
                      <a:lnTo>
                        <a:pt x="0" y="87"/>
                      </a:lnTo>
                      <a:lnTo>
                        <a:pt x="16" y="40"/>
                      </a:lnTo>
                      <a:lnTo>
                        <a:pt x="31" y="25"/>
                      </a:lnTo>
                      <a:lnTo>
                        <a:pt x="38" y="48"/>
                      </a:lnTo>
                      <a:lnTo>
                        <a:pt x="26" y="68"/>
                      </a:lnTo>
                      <a:lnTo>
                        <a:pt x="34" y="90"/>
                      </a:lnTo>
                      <a:lnTo>
                        <a:pt x="47" y="87"/>
                      </a:lnTo>
                      <a:lnTo>
                        <a:pt x="47" y="40"/>
                      </a:lnTo>
                      <a:lnTo>
                        <a:pt x="78" y="25"/>
                      </a:lnTo>
                      <a:lnTo>
                        <a:pt x="74" y="0"/>
                      </a:lnTo>
                      <a:lnTo>
                        <a:pt x="82" y="0"/>
                      </a:lnTo>
                      <a:lnTo>
                        <a:pt x="89" y="15"/>
                      </a:lnTo>
                      <a:lnTo>
                        <a:pt x="109" y="23"/>
                      </a:lnTo>
                      <a:lnTo>
                        <a:pt x="122" y="32"/>
                      </a:lnTo>
                      <a:lnTo>
                        <a:pt x="125" y="47"/>
                      </a:lnTo>
                      <a:lnTo>
                        <a:pt x="139" y="51"/>
                      </a:lnTo>
                      <a:lnTo>
                        <a:pt x="161" y="50"/>
                      </a:lnTo>
                      <a:lnTo>
                        <a:pt x="173" y="45"/>
                      </a:lnTo>
                      <a:lnTo>
                        <a:pt x="211" y="63"/>
                      </a:lnTo>
                      <a:lnTo>
                        <a:pt x="227" y="53"/>
                      </a:lnTo>
                      <a:lnTo>
                        <a:pt x="248" y="45"/>
                      </a:lnTo>
                      <a:lnTo>
                        <a:pt x="271" y="44"/>
                      </a:lnTo>
                      <a:lnTo>
                        <a:pt x="266" y="60"/>
                      </a:lnTo>
                      <a:lnTo>
                        <a:pt x="281" y="71"/>
                      </a:lnTo>
                      <a:lnTo>
                        <a:pt x="296" y="72"/>
                      </a:lnTo>
                      <a:lnTo>
                        <a:pt x="316" y="83"/>
                      </a:lnTo>
                      <a:lnTo>
                        <a:pt x="305" y="108"/>
                      </a:lnTo>
                      <a:lnTo>
                        <a:pt x="334" y="104"/>
                      </a:lnTo>
                      <a:lnTo>
                        <a:pt x="343" y="11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8" name="Freeform 270"/>
                <p:cNvSpPr>
                  <a:spLocks/>
                </p:cNvSpPr>
                <p:nvPr/>
              </p:nvSpPr>
              <p:spPr bwMode="auto">
                <a:xfrm>
                  <a:off x="2909511" y="3768518"/>
                  <a:ext cx="63602" cy="119209"/>
                </a:xfrm>
                <a:custGeom>
                  <a:avLst/>
                  <a:gdLst>
                    <a:gd name="T0" fmla="*/ 62 w 62"/>
                    <a:gd name="T1" fmla="*/ 56 h 118"/>
                    <a:gd name="T2" fmla="*/ 34 w 62"/>
                    <a:gd name="T3" fmla="*/ 108 h 118"/>
                    <a:gd name="T4" fmla="*/ 14 w 62"/>
                    <a:gd name="T5" fmla="*/ 105 h 118"/>
                    <a:gd name="T6" fmla="*/ 0 w 62"/>
                    <a:gd name="T7" fmla="*/ 118 h 118"/>
                    <a:gd name="T8" fmla="*/ 0 w 62"/>
                    <a:gd name="T9" fmla="*/ 71 h 118"/>
                    <a:gd name="T10" fmla="*/ 0 w 62"/>
                    <a:gd name="T11" fmla="*/ 40 h 118"/>
                    <a:gd name="T12" fmla="*/ 1 w 62"/>
                    <a:gd name="T13" fmla="*/ 0 h 118"/>
                    <a:gd name="T14" fmla="*/ 26 w 62"/>
                    <a:gd name="T15" fmla="*/ 8 h 118"/>
                    <a:gd name="T16" fmla="*/ 49 w 62"/>
                    <a:gd name="T17" fmla="*/ 23 h 118"/>
                    <a:gd name="T18" fmla="*/ 62 w 62"/>
                    <a:gd name="T19" fmla="*/ 5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118">
                      <a:moveTo>
                        <a:pt x="62" y="56"/>
                      </a:moveTo>
                      <a:lnTo>
                        <a:pt x="34" y="108"/>
                      </a:lnTo>
                      <a:lnTo>
                        <a:pt x="14" y="105"/>
                      </a:lnTo>
                      <a:lnTo>
                        <a:pt x="0" y="118"/>
                      </a:lnTo>
                      <a:lnTo>
                        <a:pt x="0" y="71"/>
                      </a:lnTo>
                      <a:lnTo>
                        <a:pt x="0" y="40"/>
                      </a:lnTo>
                      <a:lnTo>
                        <a:pt x="1" y="0"/>
                      </a:lnTo>
                      <a:lnTo>
                        <a:pt x="26" y="8"/>
                      </a:lnTo>
                      <a:lnTo>
                        <a:pt x="49" y="23"/>
                      </a:lnTo>
                      <a:lnTo>
                        <a:pt x="62" y="5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59" name="Freeform 271"/>
                <p:cNvSpPr>
                  <a:spLocks/>
                </p:cNvSpPr>
                <p:nvPr/>
              </p:nvSpPr>
              <p:spPr bwMode="auto">
                <a:xfrm>
                  <a:off x="2813333" y="3765499"/>
                  <a:ext cx="96178" cy="122226"/>
                </a:xfrm>
                <a:custGeom>
                  <a:avLst/>
                  <a:gdLst>
                    <a:gd name="T0" fmla="*/ 92 w 93"/>
                    <a:gd name="T1" fmla="*/ 3 h 122"/>
                    <a:gd name="T2" fmla="*/ 64 w 93"/>
                    <a:gd name="T3" fmla="*/ 0 h 122"/>
                    <a:gd name="T4" fmla="*/ 19 w 93"/>
                    <a:gd name="T5" fmla="*/ 1 h 122"/>
                    <a:gd name="T6" fmla="*/ 2 w 93"/>
                    <a:gd name="T7" fmla="*/ 28 h 122"/>
                    <a:gd name="T8" fmla="*/ 0 w 93"/>
                    <a:gd name="T9" fmla="*/ 60 h 122"/>
                    <a:gd name="T10" fmla="*/ 31 w 93"/>
                    <a:gd name="T11" fmla="*/ 122 h 122"/>
                    <a:gd name="T12" fmla="*/ 47 w 93"/>
                    <a:gd name="T13" fmla="*/ 122 h 122"/>
                    <a:gd name="T14" fmla="*/ 47 w 93"/>
                    <a:gd name="T15" fmla="*/ 106 h 122"/>
                    <a:gd name="T16" fmla="*/ 74 w 93"/>
                    <a:gd name="T17" fmla="*/ 103 h 122"/>
                    <a:gd name="T18" fmla="*/ 93 w 93"/>
                    <a:gd name="T19" fmla="*/ 122 h 122"/>
                    <a:gd name="T20" fmla="*/ 93 w 93"/>
                    <a:gd name="T21" fmla="*/ 75 h 122"/>
                    <a:gd name="T22" fmla="*/ 93 w 93"/>
                    <a:gd name="T23" fmla="*/ 44 h 122"/>
                    <a:gd name="T24" fmla="*/ 92 w 93"/>
                    <a:gd name="T25"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2">
                      <a:moveTo>
                        <a:pt x="92" y="3"/>
                      </a:moveTo>
                      <a:lnTo>
                        <a:pt x="64" y="0"/>
                      </a:lnTo>
                      <a:lnTo>
                        <a:pt x="19" y="1"/>
                      </a:lnTo>
                      <a:lnTo>
                        <a:pt x="2" y="28"/>
                      </a:lnTo>
                      <a:lnTo>
                        <a:pt x="0" y="60"/>
                      </a:lnTo>
                      <a:lnTo>
                        <a:pt x="31" y="122"/>
                      </a:lnTo>
                      <a:lnTo>
                        <a:pt x="47" y="122"/>
                      </a:lnTo>
                      <a:lnTo>
                        <a:pt x="47" y="106"/>
                      </a:lnTo>
                      <a:lnTo>
                        <a:pt x="74" y="103"/>
                      </a:lnTo>
                      <a:lnTo>
                        <a:pt x="93" y="122"/>
                      </a:lnTo>
                      <a:lnTo>
                        <a:pt x="93" y="75"/>
                      </a:lnTo>
                      <a:lnTo>
                        <a:pt x="93" y="44"/>
                      </a:lnTo>
                      <a:lnTo>
                        <a:pt x="92" y="3"/>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0" name="Freeform 272"/>
                <p:cNvSpPr>
                  <a:spLocks/>
                </p:cNvSpPr>
                <p:nvPr/>
              </p:nvSpPr>
              <p:spPr bwMode="auto">
                <a:xfrm>
                  <a:off x="2510836" y="4461135"/>
                  <a:ext cx="302497" cy="1065332"/>
                </a:xfrm>
                <a:custGeom>
                  <a:avLst/>
                  <a:gdLst>
                    <a:gd name="T0" fmla="*/ 2 w 295"/>
                    <a:gd name="T1" fmla="*/ 23 h 1066"/>
                    <a:gd name="T2" fmla="*/ 45 w 295"/>
                    <a:gd name="T3" fmla="*/ 46 h 1066"/>
                    <a:gd name="T4" fmla="*/ 77 w 295"/>
                    <a:gd name="T5" fmla="*/ 155 h 1066"/>
                    <a:gd name="T6" fmla="*/ 92 w 295"/>
                    <a:gd name="T7" fmla="*/ 186 h 1066"/>
                    <a:gd name="T8" fmla="*/ 77 w 295"/>
                    <a:gd name="T9" fmla="*/ 263 h 1066"/>
                    <a:gd name="T10" fmla="*/ 54 w 295"/>
                    <a:gd name="T11" fmla="*/ 418 h 1066"/>
                    <a:gd name="T12" fmla="*/ 77 w 295"/>
                    <a:gd name="T13" fmla="*/ 527 h 1066"/>
                    <a:gd name="T14" fmla="*/ 77 w 295"/>
                    <a:gd name="T15" fmla="*/ 573 h 1066"/>
                    <a:gd name="T16" fmla="*/ 93 w 295"/>
                    <a:gd name="T17" fmla="*/ 643 h 1066"/>
                    <a:gd name="T18" fmla="*/ 123 w 295"/>
                    <a:gd name="T19" fmla="*/ 712 h 1066"/>
                    <a:gd name="T20" fmla="*/ 139 w 295"/>
                    <a:gd name="T21" fmla="*/ 790 h 1066"/>
                    <a:gd name="T22" fmla="*/ 155 w 295"/>
                    <a:gd name="T23" fmla="*/ 790 h 1066"/>
                    <a:gd name="T24" fmla="*/ 170 w 295"/>
                    <a:gd name="T25" fmla="*/ 945 h 1066"/>
                    <a:gd name="T26" fmla="*/ 206 w 295"/>
                    <a:gd name="T27" fmla="*/ 976 h 1066"/>
                    <a:gd name="T28" fmla="*/ 295 w 295"/>
                    <a:gd name="T29" fmla="*/ 1007 h 1066"/>
                    <a:gd name="T30" fmla="*/ 279 w 295"/>
                    <a:gd name="T31" fmla="*/ 1022 h 1066"/>
                    <a:gd name="T32" fmla="*/ 279 w 295"/>
                    <a:gd name="T33" fmla="*/ 1053 h 1066"/>
                    <a:gd name="T34" fmla="*/ 242 w 295"/>
                    <a:gd name="T35" fmla="*/ 1054 h 1066"/>
                    <a:gd name="T36" fmla="*/ 264 w 295"/>
                    <a:gd name="T37" fmla="*/ 1022 h 1066"/>
                    <a:gd name="T38" fmla="*/ 225 w 295"/>
                    <a:gd name="T39" fmla="*/ 1027 h 1066"/>
                    <a:gd name="T40" fmla="*/ 204 w 295"/>
                    <a:gd name="T41" fmla="*/ 1004 h 1066"/>
                    <a:gd name="T42" fmla="*/ 170 w 295"/>
                    <a:gd name="T43" fmla="*/ 1007 h 1066"/>
                    <a:gd name="T44" fmla="*/ 170 w 295"/>
                    <a:gd name="T45" fmla="*/ 976 h 1066"/>
                    <a:gd name="T46" fmla="*/ 155 w 295"/>
                    <a:gd name="T47" fmla="*/ 991 h 1066"/>
                    <a:gd name="T48" fmla="*/ 147 w 295"/>
                    <a:gd name="T49" fmla="*/ 964 h 1066"/>
                    <a:gd name="T50" fmla="*/ 139 w 295"/>
                    <a:gd name="T51" fmla="*/ 945 h 1066"/>
                    <a:gd name="T52" fmla="*/ 108 w 295"/>
                    <a:gd name="T53" fmla="*/ 926 h 1066"/>
                    <a:gd name="T54" fmla="*/ 108 w 295"/>
                    <a:gd name="T55" fmla="*/ 883 h 1066"/>
                    <a:gd name="T56" fmla="*/ 119 w 295"/>
                    <a:gd name="T57" fmla="*/ 874 h 1066"/>
                    <a:gd name="T58" fmla="*/ 92 w 295"/>
                    <a:gd name="T59" fmla="*/ 862 h 1066"/>
                    <a:gd name="T60" fmla="*/ 92 w 295"/>
                    <a:gd name="T61" fmla="*/ 836 h 1066"/>
                    <a:gd name="T62" fmla="*/ 77 w 295"/>
                    <a:gd name="T63" fmla="*/ 774 h 1066"/>
                    <a:gd name="T64" fmla="*/ 95 w 295"/>
                    <a:gd name="T65" fmla="*/ 793 h 1066"/>
                    <a:gd name="T66" fmla="*/ 110 w 295"/>
                    <a:gd name="T67" fmla="*/ 820 h 1066"/>
                    <a:gd name="T68" fmla="*/ 92 w 295"/>
                    <a:gd name="T69" fmla="*/ 712 h 1066"/>
                    <a:gd name="T70" fmla="*/ 77 w 295"/>
                    <a:gd name="T71" fmla="*/ 712 h 1066"/>
                    <a:gd name="T72" fmla="*/ 51 w 295"/>
                    <a:gd name="T73" fmla="*/ 664 h 1066"/>
                    <a:gd name="T74" fmla="*/ 30 w 295"/>
                    <a:gd name="T75" fmla="*/ 588 h 1066"/>
                    <a:gd name="T76" fmla="*/ 41 w 295"/>
                    <a:gd name="T77" fmla="*/ 545 h 1066"/>
                    <a:gd name="T78" fmla="*/ 39 w 295"/>
                    <a:gd name="T79" fmla="*/ 445 h 1066"/>
                    <a:gd name="T80" fmla="*/ 24 w 295"/>
                    <a:gd name="T81" fmla="*/ 370 h 1066"/>
                    <a:gd name="T82" fmla="*/ 20 w 295"/>
                    <a:gd name="T83" fmla="*/ 295 h 1066"/>
                    <a:gd name="T84" fmla="*/ 17 w 295"/>
                    <a:gd name="T85" fmla="*/ 214 h 1066"/>
                    <a:gd name="T86" fmla="*/ 14 w 295"/>
                    <a:gd name="T87" fmla="*/ 124 h 1066"/>
                    <a:gd name="T88" fmla="*/ 0 w 295"/>
                    <a:gd name="T89" fmla="*/ 44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1066">
                      <a:moveTo>
                        <a:pt x="0" y="44"/>
                      </a:moveTo>
                      <a:lnTo>
                        <a:pt x="2" y="23"/>
                      </a:lnTo>
                      <a:lnTo>
                        <a:pt x="14" y="0"/>
                      </a:lnTo>
                      <a:lnTo>
                        <a:pt x="45" y="46"/>
                      </a:lnTo>
                      <a:lnTo>
                        <a:pt x="45" y="77"/>
                      </a:lnTo>
                      <a:lnTo>
                        <a:pt x="77" y="155"/>
                      </a:lnTo>
                      <a:lnTo>
                        <a:pt x="92" y="155"/>
                      </a:lnTo>
                      <a:lnTo>
                        <a:pt x="92" y="186"/>
                      </a:lnTo>
                      <a:lnTo>
                        <a:pt x="61" y="201"/>
                      </a:lnTo>
                      <a:lnTo>
                        <a:pt x="77" y="263"/>
                      </a:lnTo>
                      <a:lnTo>
                        <a:pt x="61" y="310"/>
                      </a:lnTo>
                      <a:lnTo>
                        <a:pt x="54" y="418"/>
                      </a:lnTo>
                      <a:lnTo>
                        <a:pt x="92" y="480"/>
                      </a:lnTo>
                      <a:lnTo>
                        <a:pt x="77" y="527"/>
                      </a:lnTo>
                      <a:lnTo>
                        <a:pt x="92" y="542"/>
                      </a:lnTo>
                      <a:lnTo>
                        <a:pt x="77" y="573"/>
                      </a:lnTo>
                      <a:lnTo>
                        <a:pt x="108" y="619"/>
                      </a:lnTo>
                      <a:lnTo>
                        <a:pt x="93" y="643"/>
                      </a:lnTo>
                      <a:lnTo>
                        <a:pt x="108" y="697"/>
                      </a:lnTo>
                      <a:lnTo>
                        <a:pt x="123" y="712"/>
                      </a:lnTo>
                      <a:lnTo>
                        <a:pt x="123" y="743"/>
                      </a:lnTo>
                      <a:lnTo>
                        <a:pt x="139" y="790"/>
                      </a:lnTo>
                      <a:lnTo>
                        <a:pt x="155" y="805"/>
                      </a:lnTo>
                      <a:lnTo>
                        <a:pt x="155" y="790"/>
                      </a:lnTo>
                      <a:lnTo>
                        <a:pt x="170" y="852"/>
                      </a:lnTo>
                      <a:lnTo>
                        <a:pt x="170" y="945"/>
                      </a:lnTo>
                      <a:lnTo>
                        <a:pt x="188" y="974"/>
                      </a:lnTo>
                      <a:lnTo>
                        <a:pt x="206" y="976"/>
                      </a:lnTo>
                      <a:lnTo>
                        <a:pt x="233" y="1007"/>
                      </a:lnTo>
                      <a:lnTo>
                        <a:pt x="295" y="1007"/>
                      </a:lnTo>
                      <a:lnTo>
                        <a:pt x="295" y="1022"/>
                      </a:lnTo>
                      <a:lnTo>
                        <a:pt x="279" y="1022"/>
                      </a:lnTo>
                      <a:lnTo>
                        <a:pt x="272" y="1034"/>
                      </a:lnTo>
                      <a:lnTo>
                        <a:pt x="279" y="1053"/>
                      </a:lnTo>
                      <a:lnTo>
                        <a:pt x="248" y="1066"/>
                      </a:lnTo>
                      <a:lnTo>
                        <a:pt x="242" y="1054"/>
                      </a:lnTo>
                      <a:lnTo>
                        <a:pt x="264" y="1038"/>
                      </a:lnTo>
                      <a:lnTo>
                        <a:pt x="264" y="1022"/>
                      </a:lnTo>
                      <a:lnTo>
                        <a:pt x="228" y="1054"/>
                      </a:lnTo>
                      <a:lnTo>
                        <a:pt x="225" y="1027"/>
                      </a:lnTo>
                      <a:lnTo>
                        <a:pt x="206" y="1024"/>
                      </a:lnTo>
                      <a:lnTo>
                        <a:pt x="204" y="1004"/>
                      </a:lnTo>
                      <a:lnTo>
                        <a:pt x="185" y="1012"/>
                      </a:lnTo>
                      <a:lnTo>
                        <a:pt x="170" y="1007"/>
                      </a:lnTo>
                      <a:lnTo>
                        <a:pt x="186" y="991"/>
                      </a:lnTo>
                      <a:lnTo>
                        <a:pt x="170" y="976"/>
                      </a:lnTo>
                      <a:lnTo>
                        <a:pt x="165" y="982"/>
                      </a:lnTo>
                      <a:lnTo>
                        <a:pt x="155" y="991"/>
                      </a:lnTo>
                      <a:lnTo>
                        <a:pt x="155" y="960"/>
                      </a:lnTo>
                      <a:lnTo>
                        <a:pt x="147" y="964"/>
                      </a:lnTo>
                      <a:lnTo>
                        <a:pt x="139" y="960"/>
                      </a:lnTo>
                      <a:lnTo>
                        <a:pt x="139" y="945"/>
                      </a:lnTo>
                      <a:lnTo>
                        <a:pt x="123" y="945"/>
                      </a:lnTo>
                      <a:lnTo>
                        <a:pt x="108" y="926"/>
                      </a:lnTo>
                      <a:lnTo>
                        <a:pt x="108" y="898"/>
                      </a:lnTo>
                      <a:lnTo>
                        <a:pt x="108" y="883"/>
                      </a:lnTo>
                      <a:lnTo>
                        <a:pt x="123" y="898"/>
                      </a:lnTo>
                      <a:lnTo>
                        <a:pt x="119" y="874"/>
                      </a:lnTo>
                      <a:lnTo>
                        <a:pt x="108" y="865"/>
                      </a:lnTo>
                      <a:lnTo>
                        <a:pt x="92" y="862"/>
                      </a:lnTo>
                      <a:lnTo>
                        <a:pt x="77" y="852"/>
                      </a:lnTo>
                      <a:lnTo>
                        <a:pt x="92" y="836"/>
                      </a:lnTo>
                      <a:lnTo>
                        <a:pt x="92" y="821"/>
                      </a:lnTo>
                      <a:lnTo>
                        <a:pt x="77" y="774"/>
                      </a:lnTo>
                      <a:lnTo>
                        <a:pt x="92" y="774"/>
                      </a:lnTo>
                      <a:lnTo>
                        <a:pt x="95" y="793"/>
                      </a:lnTo>
                      <a:lnTo>
                        <a:pt x="108" y="805"/>
                      </a:lnTo>
                      <a:lnTo>
                        <a:pt x="110" y="820"/>
                      </a:lnTo>
                      <a:lnTo>
                        <a:pt x="108" y="774"/>
                      </a:lnTo>
                      <a:lnTo>
                        <a:pt x="92" y="712"/>
                      </a:lnTo>
                      <a:lnTo>
                        <a:pt x="77" y="697"/>
                      </a:lnTo>
                      <a:lnTo>
                        <a:pt x="77" y="712"/>
                      </a:lnTo>
                      <a:lnTo>
                        <a:pt x="53" y="697"/>
                      </a:lnTo>
                      <a:lnTo>
                        <a:pt x="51" y="664"/>
                      </a:lnTo>
                      <a:lnTo>
                        <a:pt x="61" y="650"/>
                      </a:lnTo>
                      <a:lnTo>
                        <a:pt x="30" y="588"/>
                      </a:lnTo>
                      <a:lnTo>
                        <a:pt x="30" y="573"/>
                      </a:lnTo>
                      <a:lnTo>
                        <a:pt x="41" y="545"/>
                      </a:lnTo>
                      <a:lnTo>
                        <a:pt x="42" y="484"/>
                      </a:lnTo>
                      <a:lnTo>
                        <a:pt x="39" y="445"/>
                      </a:lnTo>
                      <a:lnTo>
                        <a:pt x="21" y="394"/>
                      </a:lnTo>
                      <a:lnTo>
                        <a:pt x="24" y="370"/>
                      </a:lnTo>
                      <a:lnTo>
                        <a:pt x="14" y="341"/>
                      </a:lnTo>
                      <a:lnTo>
                        <a:pt x="20" y="295"/>
                      </a:lnTo>
                      <a:lnTo>
                        <a:pt x="17" y="247"/>
                      </a:lnTo>
                      <a:lnTo>
                        <a:pt x="17" y="214"/>
                      </a:lnTo>
                      <a:lnTo>
                        <a:pt x="14" y="155"/>
                      </a:lnTo>
                      <a:lnTo>
                        <a:pt x="14" y="124"/>
                      </a:lnTo>
                      <a:lnTo>
                        <a:pt x="8" y="80"/>
                      </a:lnTo>
                      <a:lnTo>
                        <a:pt x="0" y="44"/>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1" name="Freeform 273"/>
                <p:cNvSpPr>
                  <a:spLocks/>
                </p:cNvSpPr>
                <p:nvPr/>
              </p:nvSpPr>
              <p:spPr bwMode="auto">
                <a:xfrm>
                  <a:off x="2507733" y="4227245"/>
                  <a:ext cx="338176" cy="396859"/>
                </a:xfrm>
                <a:custGeom>
                  <a:avLst/>
                  <a:gdLst>
                    <a:gd name="T0" fmla="*/ 0 w 328"/>
                    <a:gd name="T1" fmla="*/ 31 h 397"/>
                    <a:gd name="T2" fmla="*/ 31 w 328"/>
                    <a:gd name="T3" fmla="*/ 47 h 397"/>
                    <a:gd name="T4" fmla="*/ 61 w 328"/>
                    <a:gd name="T5" fmla="*/ 19 h 397"/>
                    <a:gd name="T6" fmla="*/ 109 w 328"/>
                    <a:gd name="T7" fmla="*/ 0 h 397"/>
                    <a:gd name="T8" fmla="*/ 109 w 328"/>
                    <a:gd name="T9" fmla="*/ 47 h 397"/>
                    <a:gd name="T10" fmla="*/ 125 w 328"/>
                    <a:gd name="T11" fmla="*/ 78 h 397"/>
                    <a:gd name="T12" fmla="*/ 234 w 328"/>
                    <a:gd name="T13" fmla="*/ 124 h 397"/>
                    <a:gd name="T14" fmla="*/ 250 w 328"/>
                    <a:gd name="T15" fmla="*/ 155 h 397"/>
                    <a:gd name="T16" fmla="*/ 250 w 328"/>
                    <a:gd name="T17" fmla="*/ 171 h 397"/>
                    <a:gd name="T18" fmla="*/ 250 w 328"/>
                    <a:gd name="T19" fmla="*/ 186 h 397"/>
                    <a:gd name="T20" fmla="*/ 297 w 328"/>
                    <a:gd name="T21" fmla="*/ 202 h 397"/>
                    <a:gd name="T22" fmla="*/ 297 w 328"/>
                    <a:gd name="T23" fmla="*/ 217 h 397"/>
                    <a:gd name="T24" fmla="*/ 328 w 328"/>
                    <a:gd name="T25" fmla="*/ 248 h 397"/>
                    <a:gd name="T26" fmla="*/ 319 w 328"/>
                    <a:gd name="T27" fmla="*/ 300 h 397"/>
                    <a:gd name="T28" fmla="*/ 295 w 328"/>
                    <a:gd name="T29" fmla="*/ 289 h 397"/>
                    <a:gd name="T30" fmla="*/ 254 w 328"/>
                    <a:gd name="T31" fmla="*/ 288 h 397"/>
                    <a:gd name="T32" fmla="*/ 223 w 328"/>
                    <a:gd name="T33" fmla="*/ 300 h 397"/>
                    <a:gd name="T34" fmla="*/ 203 w 328"/>
                    <a:gd name="T35" fmla="*/ 372 h 397"/>
                    <a:gd name="T36" fmla="*/ 172 w 328"/>
                    <a:gd name="T37" fmla="*/ 372 h 397"/>
                    <a:gd name="T38" fmla="*/ 169 w 328"/>
                    <a:gd name="T39" fmla="*/ 397 h 397"/>
                    <a:gd name="T40" fmla="*/ 164 w 328"/>
                    <a:gd name="T41" fmla="*/ 373 h 397"/>
                    <a:gd name="T42" fmla="*/ 139 w 328"/>
                    <a:gd name="T43" fmla="*/ 370 h 397"/>
                    <a:gd name="T44" fmla="*/ 125 w 328"/>
                    <a:gd name="T45" fmla="*/ 357 h 397"/>
                    <a:gd name="T46" fmla="*/ 94 w 328"/>
                    <a:gd name="T47" fmla="*/ 388 h 397"/>
                    <a:gd name="T48" fmla="*/ 78 w 328"/>
                    <a:gd name="T49" fmla="*/ 388 h 397"/>
                    <a:gd name="T50" fmla="*/ 47 w 328"/>
                    <a:gd name="T51" fmla="*/ 310 h 397"/>
                    <a:gd name="T52" fmla="*/ 47 w 328"/>
                    <a:gd name="T53" fmla="*/ 279 h 397"/>
                    <a:gd name="T54" fmla="*/ 16 w 328"/>
                    <a:gd name="T55" fmla="*/ 233 h 397"/>
                    <a:gd name="T56" fmla="*/ 31 w 328"/>
                    <a:gd name="T57" fmla="*/ 202 h 397"/>
                    <a:gd name="T58" fmla="*/ 16 w 328"/>
                    <a:gd name="T59" fmla="*/ 186 h 397"/>
                    <a:gd name="T60" fmla="*/ 16 w 328"/>
                    <a:gd name="T61" fmla="*/ 78 h 397"/>
                    <a:gd name="T62" fmla="*/ 0 w 328"/>
                    <a:gd name="T63" fmla="*/ 31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97">
                      <a:moveTo>
                        <a:pt x="0" y="31"/>
                      </a:moveTo>
                      <a:lnTo>
                        <a:pt x="31" y="47"/>
                      </a:lnTo>
                      <a:lnTo>
                        <a:pt x="61" y="19"/>
                      </a:lnTo>
                      <a:lnTo>
                        <a:pt x="109" y="0"/>
                      </a:lnTo>
                      <a:lnTo>
                        <a:pt x="109" y="47"/>
                      </a:lnTo>
                      <a:lnTo>
                        <a:pt x="125" y="78"/>
                      </a:lnTo>
                      <a:lnTo>
                        <a:pt x="234" y="124"/>
                      </a:lnTo>
                      <a:lnTo>
                        <a:pt x="250" y="155"/>
                      </a:lnTo>
                      <a:lnTo>
                        <a:pt x="250" y="171"/>
                      </a:lnTo>
                      <a:lnTo>
                        <a:pt x="250" y="186"/>
                      </a:lnTo>
                      <a:lnTo>
                        <a:pt x="297" y="202"/>
                      </a:lnTo>
                      <a:lnTo>
                        <a:pt x="297" y="217"/>
                      </a:lnTo>
                      <a:lnTo>
                        <a:pt x="328" y="248"/>
                      </a:lnTo>
                      <a:lnTo>
                        <a:pt x="319" y="300"/>
                      </a:lnTo>
                      <a:lnTo>
                        <a:pt x="295" y="289"/>
                      </a:lnTo>
                      <a:lnTo>
                        <a:pt x="254" y="288"/>
                      </a:lnTo>
                      <a:lnTo>
                        <a:pt x="223" y="300"/>
                      </a:lnTo>
                      <a:lnTo>
                        <a:pt x="203" y="372"/>
                      </a:lnTo>
                      <a:lnTo>
                        <a:pt x="172" y="372"/>
                      </a:lnTo>
                      <a:lnTo>
                        <a:pt x="169" y="397"/>
                      </a:lnTo>
                      <a:lnTo>
                        <a:pt x="164" y="373"/>
                      </a:lnTo>
                      <a:lnTo>
                        <a:pt x="139" y="370"/>
                      </a:lnTo>
                      <a:lnTo>
                        <a:pt x="125" y="357"/>
                      </a:lnTo>
                      <a:lnTo>
                        <a:pt x="94" y="388"/>
                      </a:lnTo>
                      <a:lnTo>
                        <a:pt x="78" y="388"/>
                      </a:lnTo>
                      <a:lnTo>
                        <a:pt x="47" y="310"/>
                      </a:lnTo>
                      <a:lnTo>
                        <a:pt x="47" y="279"/>
                      </a:lnTo>
                      <a:lnTo>
                        <a:pt x="16" y="233"/>
                      </a:lnTo>
                      <a:lnTo>
                        <a:pt x="31" y="202"/>
                      </a:lnTo>
                      <a:lnTo>
                        <a:pt x="16" y="186"/>
                      </a:lnTo>
                      <a:lnTo>
                        <a:pt x="16" y="78"/>
                      </a:lnTo>
                      <a:lnTo>
                        <a:pt x="0" y="3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2" name="Freeform 274"/>
                <p:cNvSpPr>
                  <a:spLocks/>
                </p:cNvSpPr>
                <p:nvPr/>
              </p:nvSpPr>
              <p:spPr bwMode="auto">
                <a:xfrm>
                  <a:off x="2717154" y="4515458"/>
                  <a:ext cx="224934" cy="238417"/>
                </a:xfrm>
                <a:custGeom>
                  <a:avLst/>
                  <a:gdLst>
                    <a:gd name="T0" fmla="*/ 218 w 218"/>
                    <a:gd name="T1" fmla="*/ 177 h 239"/>
                    <a:gd name="T2" fmla="*/ 218 w 218"/>
                    <a:gd name="T3" fmla="*/ 131 h 239"/>
                    <a:gd name="T4" fmla="*/ 187 w 218"/>
                    <a:gd name="T5" fmla="*/ 131 h 239"/>
                    <a:gd name="T6" fmla="*/ 187 w 218"/>
                    <a:gd name="T7" fmla="*/ 84 h 239"/>
                    <a:gd name="T8" fmla="*/ 171 w 218"/>
                    <a:gd name="T9" fmla="*/ 84 h 239"/>
                    <a:gd name="T10" fmla="*/ 147 w 218"/>
                    <a:gd name="T11" fmla="*/ 84 h 239"/>
                    <a:gd name="T12" fmla="*/ 125 w 218"/>
                    <a:gd name="T13" fmla="*/ 69 h 239"/>
                    <a:gd name="T14" fmla="*/ 109 w 218"/>
                    <a:gd name="T15" fmla="*/ 22 h 239"/>
                    <a:gd name="T16" fmla="*/ 116 w 218"/>
                    <a:gd name="T17" fmla="*/ 9 h 239"/>
                    <a:gd name="T18" fmla="*/ 93 w 218"/>
                    <a:gd name="T19" fmla="*/ 1 h 239"/>
                    <a:gd name="T20" fmla="*/ 53 w 218"/>
                    <a:gd name="T21" fmla="*/ 0 h 239"/>
                    <a:gd name="T22" fmla="*/ 21 w 218"/>
                    <a:gd name="T23" fmla="*/ 12 h 239"/>
                    <a:gd name="T24" fmla="*/ 0 w 218"/>
                    <a:gd name="T25" fmla="*/ 84 h 239"/>
                    <a:gd name="T26" fmla="*/ 62 w 218"/>
                    <a:gd name="T27" fmla="*/ 131 h 239"/>
                    <a:gd name="T28" fmla="*/ 93 w 218"/>
                    <a:gd name="T29" fmla="*/ 146 h 239"/>
                    <a:gd name="T30" fmla="*/ 140 w 218"/>
                    <a:gd name="T31" fmla="*/ 162 h 239"/>
                    <a:gd name="T32" fmla="*/ 140 w 218"/>
                    <a:gd name="T33" fmla="*/ 193 h 239"/>
                    <a:gd name="T34" fmla="*/ 125 w 218"/>
                    <a:gd name="T35" fmla="*/ 224 h 239"/>
                    <a:gd name="T36" fmla="*/ 187 w 218"/>
                    <a:gd name="T37" fmla="*/ 239 h 239"/>
                    <a:gd name="T38" fmla="*/ 202 w 218"/>
                    <a:gd name="T39" fmla="*/ 239 h 239"/>
                    <a:gd name="T40" fmla="*/ 218 w 218"/>
                    <a:gd name="T41" fmla="*/ 208 h 239"/>
                    <a:gd name="T42" fmla="*/ 218 w 218"/>
                    <a:gd name="T43" fmla="*/ 17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239">
                      <a:moveTo>
                        <a:pt x="218" y="177"/>
                      </a:moveTo>
                      <a:lnTo>
                        <a:pt x="218" y="131"/>
                      </a:lnTo>
                      <a:lnTo>
                        <a:pt x="187" y="131"/>
                      </a:lnTo>
                      <a:lnTo>
                        <a:pt x="187" y="84"/>
                      </a:lnTo>
                      <a:lnTo>
                        <a:pt x="171" y="84"/>
                      </a:lnTo>
                      <a:lnTo>
                        <a:pt x="147" y="84"/>
                      </a:lnTo>
                      <a:lnTo>
                        <a:pt x="125" y="69"/>
                      </a:lnTo>
                      <a:lnTo>
                        <a:pt x="109" y="22"/>
                      </a:lnTo>
                      <a:lnTo>
                        <a:pt x="116" y="9"/>
                      </a:lnTo>
                      <a:lnTo>
                        <a:pt x="93" y="1"/>
                      </a:lnTo>
                      <a:lnTo>
                        <a:pt x="53" y="0"/>
                      </a:lnTo>
                      <a:lnTo>
                        <a:pt x="21" y="12"/>
                      </a:lnTo>
                      <a:lnTo>
                        <a:pt x="0" y="84"/>
                      </a:lnTo>
                      <a:lnTo>
                        <a:pt x="62" y="131"/>
                      </a:lnTo>
                      <a:lnTo>
                        <a:pt x="93" y="146"/>
                      </a:lnTo>
                      <a:lnTo>
                        <a:pt x="140" y="162"/>
                      </a:lnTo>
                      <a:lnTo>
                        <a:pt x="140" y="193"/>
                      </a:lnTo>
                      <a:lnTo>
                        <a:pt x="125" y="224"/>
                      </a:lnTo>
                      <a:lnTo>
                        <a:pt x="187" y="239"/>
                      </a:lnTo>
                      <a:lnTo>
                        <a:pt x="202" y="239"/>
                      </a:lnTo>
                      <a:lnTo>
                        <a:pt x="218" y="208"/>
                      </a:lnTo>
                      <a:lnTo>
                        <a:pt x="218" y="17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3" name="Freeform 275"/>
                <p:cNvSpPr>
                  <a:spLocks/>
                </p:cNvSpPr>
                <p:nvPr/>
              </p:nvSpPr>
              <p:spPr bwMode="auto">
                <a:xfrm>
                  <a:off x="2566681" y="4584870"/>
                  <a:ext cx="406432" cy="893310"/>
                </a:xfrm>
                <a:custGeom>
                  <a:avLst/>
                  <a:gdLst>
                    <a:gd name="T0" fmla="*/ 318 w 396"/>
                    <a:gd name="T1" fmla="*/ 356 h 894"/>
                    <a:gd name="T2" fmla="*/ 365 w 396"/>
                    <a:gd name="T3" fmla="*/ 403 h 894"/>
                    <a:gd name="T4" fmla="*/ 380 w 396"/>
                    <a:gd name="T5" fmla="*/ 434 h 894"/>
                    <a:gd name="T6" fmla="*/ 371 w 396"/>
                    <a:gd name="T7" fmla="*/ 480 h 894"/>
                    <a:gd name="T8" fmla="*/ 302 w 396"/>
                    <a:gd name="T9" fmla="*/ 511 h 894"/>
                    <a:gd name="T10" fmla="*/ 256 w 396"/>
                    <a:gd name="T11" fmla="*/ 496 h 894"/>
                    <a:gd name="T12" fmla="*/ 272 w 396"/>
                    <a:gd name="T13" fmla="*/ 558 h 894"/>
                    <a:gd name="T14" fmla="*/ 209 w 396"/>
                    <a:gd name="T15" fmla="*/ 558 h 894"/>
                    <a:gd name="T16" fmla="*/ 240 w 396"/>
                    <a:gd name="T17" fmla="*/ 604 h 894"/>
                    <a:gd name="T18" fmla="*/ 263 w 396"/>
                    <a:gd name="T19" fmla="*/ 603 h 894"/>
                    <a:gd name="T20" fmla="*/ 243 w 396"/>
                    <a:gd name="T21" fmla="*/ 616 h 894"/>
                    <a:gd name="T22" fmla="*/ 245 w 396"/>
                    <a:gd name="T23" fmla="*/ 628 h 894"/>
                    <a:gd name="T24" fmla="*/ 240 w 396"/>
                    <a:gd name="T25" fmla="*/ 666 h 894"/>
                    <a:gd name="T26" fmla="*/ 218 w 396"/>
                    <a:gd name="T27" fmla="*/ 685 h 894"/>
                    <a:gd name="T28" fmla="*/ 209 w 396"/>
                    <a:gd name="T29" fmla="*/ 728 h 894"/>
                    <a:gd name="T30" fmla="*/ 256 w 396"/>
                    <a:gd name="T31" fmla="*/ 744 h 894"/>
                    <a:gd name="T32" fmla="*/ 266 w 396"/>
                    <a:gd name="T33" fmla="*/ 777 h 894"/>
                    <a:gd name="T34" fmla="*/ 242 w 396"/>
                    <a:gd name="T35" fmla="*/ 828 h 894"/>
                    <a:gd name="T36" fmla="*/ 225 w 396"/>
                    <a:gd name="T37" fmla="*/ 852 h 894"/>
                    <a:gd name="T38" fmla="*/ 257 w 396"/>
                    <a:gd name="T39" fmla="*/ 894 h 894"/>
                    <a:gd name="T40" fmla="*/ 178 w 396"/>
                    <a:gd name="T41" fmla="*/ 883 h 894"/>
                    <a:gd name="T42" fmla="*/ 134 w 396"/>
                    <a:gd name="T43" fmla="*/ 850 h 894"/>
                    <a:gd name="T44" fmla="*/ 116 w 396"/>
                    <a:gd name="T45" fmla="*/ 728 h 894"/>
                    <a:gd name="T46" fmla="*/ 100 w 396"/>
                    <a:gd name="T47" fmla="*/ 682 h 894"/>
                    <a:gd name="T48" fmla="*/ 69 w 396"/>
                    <a:gd name="T49" fmla="*/ 620 h 894"/>
                    <a:gd name="T50" fmla="*/ 54 w 396"/>
                    <a:gd name="T51" fmla="*/ 573 h 894"/>
                    <a:gd name="T52" fmla="*/ 54 w 396"/>
                    <a:gd name="T53" fmla="*/ 496 h 894"/>
                    <a:gd name="T54" fmla="*/ 38 w 396"/>
                    <a:gd name="T55" fmla="*/ 418 h 894"/>
                    <a:gd name="T56" fmla="*/ 38 w 396"/>
                    <a:gd name="T57" fmla="*/ 356 h 894"/>
                    <a:gd name="T58" fmla="*/ 7 w 396"/>
                    <a:gd name="T59" fmla="*/ 186 h 894"/>
                    <a:gd name="T60" fmla="*/ 7 w 396"/>
                    <a:gd name="T61" fmla="*/ 77 h 894"/>
                    <a:gd name="T62" fmla="*/ 38 w 396"/>
                    <a:gd name="T63" fmla="*/ 31 h 894"/>
                    <a:gd name="T64" fmla="*/ 87 w 396"/>
                    <a:gd name="T65" fmla="*/ 12 h 894"/>
                    <a:gd name="T66" fmla="*/ 111 w 396"/>
                    <a:gd name="T67" fmla="*/ 36 h 894"/>
                    <a:gd name="T68" fmla="*/ 147 w 396"/>
                    <a:gd name="T69" fmla="*/ 15 h 894"/>
                    <a:gd name="T70" fmla="*/ 240 w 396"/>
                    <a:gd name="T71" fmla="*/ 77 h 894"/>
                    <a:gd name="T72" fmla="*/ 287 w 396"/>
                    <a:gd name="T73" fmla="*/ 124 h 894"/>
                    <a:gd name="T74" fmla="*/ 334 w 396"/>
                    <a:gd name="T75" fmla="*/ 170 h 894"/>
                    <a:gd name="T76" fmla="*/ 365 w 396"/>
                    <a:gd name="T77" fmla="*/ 139 h 894"/>
                    <a:gd name="T78" fmla="*/ 380 w 396"/>
                    <a:gd name="T79" fmla="*/ 108 h 894"/>
                    <a:gd name="T80" fmla="*/ 380 w 396"/>
                    <a:gd name="T81" fmla="*/ 170 h 894"/>
                    <a:gd name="T82" fmla="*/ 318 w 396"/>
                    <a:gd name="T83" fmla="*/ 24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6" h="894">
                      <a:moveTo>
                        <a:pt x="318" y="248"/>
                      </a:moveTo>
                      <a:lnTo>
                        <a:pt x="318" y="356"/>
                      </a:lnTo>
                      <a:lnTo>
                        <a:pt x="318" y="372"/>
                      </a:lnTo>
                      <a:lnTo>
                        <a:pt x="365" y="403"/>
                      </a:lnTo>
                      <a:lnTo>
                        <a:pt x="349" y="418"/>
                      </a:lnTo>
                      <a:lnTo>
                        <a:pt x="380" y="434"/>
                      </a:lnTo>
                      <a:lnTo>
                        <a:pt x="380" y="449"/>
                      </a:lnTo>
                      <a:lnTo>
                        <a:pt x="371" y="480"/>
                      </a:lnTo>
                      <a:lnTo>
                        <a:pt x="354" y="495"/>
                      </a:lnTo>
                      <a:lnTo>
                        <a:pt x="302" y="511"/>
                      </a:lnTo>
                      <a:lnTo>
                        <a:pt x="272" y="511"/>
                      </a:lnTo>
                      <a:lnTo>
                        <a:pt x="256" y="496"/>
                      </a:lnTo>
                      <a:lnTo>
                        <a:pt x="272" y="527"/>
                      </a:lnTo>
                      <a:lnTo>
                        <a:pt x="272" y="558"/>
                      </a:lnTo>
                      <a:lnTo>
                        <a:pt x="240" y="573"/>
                      </a:lnTo>
                      <a:lnTo>
                        <a:pt x="209" y="558"/>
                      </a:lnTo>
                      <a:lnTo>
                        <a:pt x="224" y="598"/>
                      </a:lnTo>
                      <a:lnTo>
                        <a:pt x="240" y="604"/>
                      </a:lnTo>
                      <a:lnTo>
                        <a:pt x="240" y="604"/>
                      </a:lnTo>
                      <a:lnTo>
                        <a:pt x="263" y="603"/>
                      </a:lnTo>
                      <a:lnTo>
                        <a:pt x="258" y="622"/>
                      </a:lnTo>
                      <a:lnTo>
                        <a:pt x="243" y="616"/>
                      </a:lnTo>
                      <a:lnTo>
                        <a:pt x="233" y="618"/>
                      </a:lnTo>
                      <a:lnTo>
                        <a:pt x="245" y="628"/>
                      </a:lnTo>
                      <a:lnTo>
                        <a:pt x="233" y="648"/>
                      </a:lnTo>
                      <a:lnTo>
                        <a:pt x="240" y="666"/>
                      </a:lnTo>
                      <a:lnTo>
                        <a:pt x="240" y="682"/>
                      </a:lnTo>
                      <a:lnTo>
                        <a:pt x="218" y="685"/>
                      </a:lnTo>
                      <a:lnTo>
                        <a:pt x="209" y="713"/>
                      </a:lnTo>
                      <a:lnTo>
                        <a:pt x="209" y="728"/>
                      </a:lnTo>
                      <a:lnTo>
                        <a:pt x="240" y="744"/>
                      </a:lnTo>
                      <a:lnTo>
                        <a:pt x="256" y="744"/>
                      </a:lnTo>
                      <a:lnTo>
                        <a:pt x="264" y="760"/>
                      </a:lnTo>
                      <a:lnTo>
                        <a:pt x="266" y="777"/>
                      </a:lnTo>
                      <a:lnTo>
                        <a:pt x="242" y="802"/>
                      </a:lnTo>
                      <a:lnTo>
                        <a:pt x="242" y="828"/>
                      </a:lnTo>
                      <a:lnTo>
                        <a:pt x="225" y="837"/>
                      </a:lnTo>
                      <a:lnTo>
                        <a:pt x="225" y="852"/>
                      </a:lnTo>
                      <a:lnTo>
                        <a:pt x="240" y="867"/>
                      </a:lnTo>
                      <a:lnTo>
                        <a:pt x="257" y="894"/>
                      </a:lnTo>
                      <a:lnTo>
                        <a:pt x="240" y="883"/>
                      </a:lnTo>
                      <a:lnTo>
                        <a:pt x="178" y="883"/>
                      </a:lnTo>
                      <a:lnTo>
                        <a:pt x="155" y="853"/>
                      </a:lnTo>
                      <a:lnTo>
                        <a:pt x="134" y="850"/>
                      </a:lnTo>
                      <a:lnTo>
                        <a:pt x="116" y="821"/>
                      </a:lnTo>
                      <a:lnTo>
                        <a:pt x="116" y="728"/>
                      </a:lnTo>
                      <a:lnTo>
                        <a:pt x="100" y="666"/>
                      </a:lnTo>
                      <a:lnTo>
                        <a:pt x="100" y="682"/>
                      </a:lnTo>
                      <a:lnTo>
                        <a:pt x="85" y="666"/>
                      </a:lnTo>
                      <a:lnTo>
                        <a:pt x="69" y="620"/>
                      </a:lnTo>
                      <a:lnTo>
                        <a:pt x="69" y="589"/>
                      </a:lnTo>
                      <a:lnTo>
                        <a:pt x="54" y="573"/>
                      </a:lnTo>
                      <a:lnTo>
                        <a:pt x="39" y="519"/>
                      </a:lnTo>
                      <a:lnTo>
                        <a:pt x="54" y="496"/>
                      </a:lnTo>
                      <a:lnTo>
                        <a:pt x="23" y="449"/>
                      </a:lnTo>
                      <a:lnTo>
                        <a:pt x="38" y="418"/>
                      </a:lnTo>
                      <a:lnTo>
                        <a:pt x="23" y="403"/>
                      </a:lnTo>
                      <a:lnTo>
                        <a:pt x="38" y="356"/>
                      </a:lnTo>
                      <a:lnTo>
                        <a:pt x="0" y="295"/>
                      </a:lnTo>
                      <a:lnTo>
                        <a:pt x="7" y="186"/>
                      </a:lnTo>
                      <a:lnTo>
                        <a:pt x="23" y="139"/>
                      </a:lnTo>
                      <a:lnTo>
                        <a:pt x="7" y="77"/>
                      </a:lnTo>
                      <a:lnTo>
                        <a:pt x="38" y="62"/>
                      </a:lnTo>
                      <a:lnTo>
                        <a:pt x="38" y="31"/>
                      </a:lnTo>
                      <a:lnTo>
                        <a:pt x="69" y="0"/>
                      </a:lnTo>
                      <a:lnTo>
                        <a:pt x="87" y="12"/>
                      </a:lnTo>
                      <a:lnTo>
                        <a:pt x="107" y="18"/>
                      </a:lnTo>
                      <a:lnTo>
                        <a:pt x="111" y="36"/>
                      </a:lnTo>
                      <a:lnTo>
                        <a:pt x="116" y="15"/>
                      </a:lnTo>
                      <a:lnTo>
                        <a:pt x="147" y="15"/>
                      </a:lnTo>
                      <a:lnTo>
                        <a:pt x="209" y="62"/>
                      </a:lnTo>
                      <a:lnTo>
                        <a:pt x="240" y="77"/>
                      </a:lnTo>
                      <a:lnTo>
                        <a:pt x="287" y="93"/>
                      </a:lnTo>
                      <a:lnTo>
                        <a:pt x="287" y="124"/>
                      </a:lnTo>
                      <a:lnTo>
                        <a:pt x="272" y="155"/>
                      </a:lnTo>
                      <a:lnTo>
                        <a:pt x="334" y="170"/>
                      </a:lnTo>
                      <a:lnTo>
                        <a:pt x="349" y="170"/>
                      </a:lnTo>
                      <a:lnTo>
                        <a:pt x="365" y="139"/>
                      </a:lnTo>
                      <a:lnTo>
                        <a:pt x="365" y="108"/>
                      </a:lnTo>
                      <a:lnTo>
                        <a:pt x="380" y="108"/>
                      </a:lnTo>
                      <a:lnTo>
                        <a:pt x="396" y="155"/>
                      </a:lnTo>
                      <a:lnTo>
                        <a:pt x="380" y="170"/>
                      </a:lnTo>
                      <a:lnTo>
                        <a:pt x="350" y="195"/>
                      </a:lnTo>
                      <a:lnTo>
                        <a:pt x="318" y="24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4" name="Freeform 276"/>
                <p:cNvSpPr>
                  <a:spLocks/>
                </p:cNvSpPr>
                <p:nvPr/>
              </p:nvSpPr>
              <p:spPr bwMode="auto">
                <a:xfrm>
                  <a:off x="2717154" y="3700614"/>
                  <a:ext cx="128755" cy="202202"/>
                </a:xfrm>
                <a:custGeom>
                  <a:avLst/>
                  <a:gdLst>
                    <a:gd name="T0" fmla="*/ 47 w 125"/>
                    <a:gd name="T1" fmla="*/ 0 h 201"/>
                    <a:gd name="T2" fmla="*/ 16 w 125"/>
                    <a:gd name="T3" fmla="*/ 15 h 201"/>
                    <a:gd name="T4" fmla="*/ 16 w 125"/>
                    <a:gd name="T5" fmla="*/ 31 h 201"/>
                    <a:gd name="T6" fmla="*/ 31 w 125"/>
                    <a:gd name="T7" fmla="*/ 46 h 201"/>
                    <a:gd name="T8" fmla="*/ 16 w 125"/>
                    <a:gd name="T9" fmla="*/ 46 h 201"/>
                    <a:gd name="T10" fmla="*/ 0 w 125"/>
                    <a:gd name="T11" fmla="*/ 77 h 201"/>
                    <a:gd name="T12" fmla="*/ 16 w 125"/>
                    <a:gd name="T13" fmla="*/ 93 h 201"/>
                    <a:gd name="T14" fmla="*/ 31 w 125"/>
                    <a:gd name="T15" fmla="*/ 93 h 201"/>
                    <a:gd name="T16" fmla="*/ 47 w 125"/>
                    <a:gd name="T17" fmla="*/ 124 h 201"/>
                    <a:gd name="T18" fmla="*/ 31 w 125"/>
                    <a:gd name="T19" fmla="*/ 170 h 201"/>
                    <a:gd name="T20" fmla="*/ 47 w 125"/>
                    <a:gd name="T21" fmla="*/ 201 h 201"/>
                    <a:gd name="T22" fmla="*/ 63 w 125"/>
                    <a:gd name="T23" fmla="*/ 201 h 201"/>
                    <a:gd name="T24" fmla="*/ 109 w 125"/>
                    <a:gd name="T25" fmla="*/ 186 h 201"/>
                    <a:gd name="T26" fmla="*/ 125 w 125"/>
                    <a:gd name="T27" fmla="*/ 186 h 201"/>
                    <a:gd name="T28" fmla="*/ 94 w 125"/>
                    <a:gd name="T29" fmla="*/ 124 h 201"/>
                    <a:gd name="T30" fmla="*/ 93 w 125"/>
                    <a:gd name="T31" fmla="*/ 94 h 201"/>
                    <a:gd name="T32" fmla="*/ 111 w 125"/>
                    <a:gd name="T33" fmla="*/ 65 h 201"/>
                    <a:gd name="T34" fmla="*/ 87 w 125"/>
                    <a:gd name="T35" fmla="*/ 40 h 201"/>
                    <a:gd name="T36" fmla="*/ 71 w 125"/>
                    <a:gd name="T37" fmla="*/ 47 h 201"/>
                    <a:gd name="T38" fmla="*/ 78 w 125"/>
                    <a:gd name="T39" fmla="*/ 15 h 201"/>
                    <a:gd name="T40" fmla="*/ 47 w 125"/>
                    <a:gd name="T41"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201">
                      <a:moveTo>
                        <a:pt x="47" y="0"/>
                      </a:moveTo>
                      <a:lnTo>
                        <a:pt x="16" y="15"/>
                      </a:lnTo>
                      <a:lnTo>
                        <a:pt x="16" y="31"/>
                      </a:lnTo>
                      <a:lnTo>
                        <a:pt x="31" y="46"/>
                      </a:lnTo>
                      <a:lnTo>
                        <a:pt x="16" y="46"/>
                      </a:lnTo>
                      <a:lnTo>
                        <a:pt x="0" y="77"/>
                      </a:lnTo>
                      <a:lnTo>
                        <a:pt x="16" y="93"/>
                      </a:lnTo>
                      <a:lnTo>
                        <a:pt x="31" y="93"/>
                      </a:lnTo>
                      <a:lnTo>
                        <a:pt x="47" y="124"/>
                      </a:lnTo>
                      <a:lnTo>
                        <a:pt x="31" y="170"/>
                      </a:lnTo>
                      <a:lnTo>
                        <a:pt x="47" y="201"/>
                      </a:lnTo>
                      <a:lnTo>
                        <a:pt x="63" y="201"/>
                      </a:lnTo>
                      <a:lnTo>
                        <a:pt x="109" y="186"/>
                      </a:lnTo>
                      <a:lnTo>
                        <a:pt x="125" y="186"/>
                      </a:lnTo>
                      <a:lnTo>
                        <a:pt x="94" y="124"/>
                      </a:lnTo>
                      <a:lnTo>
                        <a:pt x="93" y="94"/>
                      </a:lnTo>
                      <a:lnTo>
                        <a:pt x="111" y="65"/>
                      </a:lnTo>
                      <a:lnTo>
                        <a:pt x="87" y="40"/>
                      </a:lnTo>
                      <a:lnTo>
                        <a:pt x="71" y="47"/>
                      </a:lnTo>
                      <a:lnTo>
                        <a:pt x="78" y="15"/>
                      </a:lnTo>
                      <a:lnTo>
                        <a:pt x="47"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5" name="Freeform 277"/>
                <p:cNvSpPr>
                  <a:spLocks/>
                </p:cNvSpPr>
                <p:nvPr/>
              </p:nvSpPr>
              <p:spPr bwMode="auto">
                <a:xfrm>
                  <a:off x="3036715" y="5452528"/>
                  <a:ext cx="32577" cy="27162"/>
                </a:xfrm>
                <a:custGeom>
                  <a:avLst/>
                  <a:gdLst>
                    <a:gd name="T0" fmla="*/ 0 w 32"/>
                    <a:gd name="T1" fmla="*/ 15 h 27"/>
                    <a:gd name="T2" fmla="*/ 1 w 32"/>
                    <a:gd name="T3" fmla="*/ 27 h 27"/>
                    <a:gd name="T4" fmla="*/ 13 w 32"/>
                    <a:gd name="T5" fmla="*/ 21 h 27"/>
                    <a:gd name="T6" fmla="*/ 32 w 32"/>
                    <a:gd name="T7" fmla="*/ 0 h 27"/>
                    <a:gd name="T8" fmla="*/ 16 w 32"/>
                    <a:gd name="T9" fmla="*/ 0 h 27"/>
                    <a:gd name="T10" fmla="*/ 1 w 32"/>
                    <a:gd name="T11" fmla="*/ 5 h 27"/>
                    <a:gd name="T12" fmla="*/ 0 w 32"/>
                    <a:gd name="T13" fmla="*/ 15 h 27"/>
                  </a:gdLst>
                  <a:ahLst/>
                  <a:cxnLst>
                    <a:cxn ang="0">
                      <a:pos x="T0" y="T1"/>
                    </a:cxn>
                    <a:cxn ang="0">
                      <a:pos x="T2" y="T3"/>
                    </a:cxn>
                    <a:cxn ang="0">
                      <a:pos x="T4" y="T5"/>
                    </a:cxn>
                    <a:cxn ang="0">
                      <a:pos x="T6" y="T7"/>
                    </a:cxn>
                    <a:cxn ang="0">
                      <a:pos x="T8" y="T9"/>
                    </a:cxn>
                    <a:cxn ang="0">
                      <a:pos x="T10" y="T11"/>
                    </a:cxn>
                    <a:cxn ang="0">
                      <a:pos x="T12" y="T13"/>
                    </a:cxn>
                  </a:cxnLst>
                  <a:rect l="0" t="0" r="r" b="b"/>
                  <a:pathLst>
                    <a:path w="32" h="27">
                      <a:moveTo>
                        <a:pt x="0" y="15"/>
                      </a:moveTo>
                      <a:lnTo>
                        <a:pt x="1" y="27"/>
                      </a:lnTo>
                      <a:lnTo>
                        <a:pt x="13" y="21"/>
                      </a:lnTo>
                      <a:lnTo>
                        <a:pt x="32" y="0"/>
                      </a:lnTo>
                      <a:lnTo>
                        <a:pt x="16" y="0"/>
                      </a:lnTo>
                      <a:lnTo>
                        <a:pt x="1" y="5"/>
                      </a:lnTo>
                      <a:lnTo>
                        <a:pt x="0" y="1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6" name="Line 278"/>
                <p:cNvSpPr>
                  <a:spLocks noChangeShapeType="1"/>
                </p:cNvSpPr>
                <p:nvPr/>
              </p:nvSpPr>
              <p:spPr bwMode="auto">
                <a:xfrm>
                  <a:off x="2734219" y="3530101"/>
                  <a:ext cx="15513" cy="1509"/>
                </a:xfrm>
                <a:prstGeom prst="line">
                  <a:avLst/>
                </a:pr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7" name="Line 279"/>
                <p:cNvSpPr>
                  <a:spLocks noChangeShapeType="1"/>
                </p:cNvSpPr>
                <p:nvPr/>
              </p:nvSpPr>
              <p:spPr bwMode="auto">
                <a:xfrm>
                  <a:off x="2734219" y="3480305"/>
                  <a:ext cx="1552" cy="16598"/>
                </a:xfrm>
                <a:prstGeom prst="line">
                  <a:avLst/>
                </a:pr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8" name="Freeform 280"/>
                <p:cNvSpPr>
                  <a:spLocks/>
                </p:cNvSpPr>
                <p:nvPr/>
              </p:nvSpPr>
              <p:spPr bwMode="auto">
                <a:xfrm>
                  <a:off x="2841256" y="5491760"/>
                  <a:ext cx="103935" cy="66394"/>
                </a:xfrm>
                <a:custGeom>
                  <a:avLst/>
                  <a:gdLst>
                    <a:gd name="T0" fmla="*/ 0 w 102"/>
                    <a:gd name="T1" fmla="*/ 0 h 66"/>
                    <a:gd name="T2" fmla="*/ 26 w 102"/>
                    <a:gd name="T3" fmla="*/ 63 h 66"/>
                    <a:gd name="T4" fmla="*/ 42 w 102"/>
                    <a:gd name="T5" fmla="*/ 60 h 66"/>
                    <a:gd name="T6" fmla="*/ 74 w 102"/>
                    <a:gd name="T7" fmla="*/ 66 h 66"/>
                    <a:gd name="T8" fmla="*/ 87 w 102"/>
                    <a:gd name="T9" fmla="*/ 60 h 66"/>
                    <a:gd name="T10" fmla="*/ 102 w 102"/>
                    <a:gd name="T11" fmla="*/ 57 h 66"/>
                    <a:gd name="T12" fmla="*/ 78 w 102"/>
                    <a:gd name="T13" fmla="*/ 50 h 66"/>
                    <a:gd name="T14" fmla="*/ 35 w 102"/>
                    <a:gd name="T15" fmla="*/ 30 h 66"/>
                    <a:gd name="T16" fmla="*/ 14 w 102"/>
                    <a:gd name="T17" fmla="*/ 12 h 66"/>
                    <a:gd name="T18" fmla="*/ 0 w 102"/>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6">
                      <a:moveTo>
                        <a:pt x="0" y="0"/>
                      </a:moveTo>
                      <a:lnTo>
                        <a:pt x="26" y="63"/>
                      </a:lnTo>
                      <a:lnTo>
                        <a:pt x="42" y="60"/>
                      </a:lnTo>
                      <a:lnTo>
                        <a:pt x="74" y="66"/>
                      </a:lnTo>
                      <a:lnTo>
                        <a:pt x="87" y="60"/>
                      </a:lnTo>
                      <a:lnTo>
                        <a:pt x="102" y="57"/>
                      </a:lnTo>
                      <a:lnTo>
                        <a:pt x="78" y="50"/>
                      </a:lnTo>
                      <a:lnTo>
                        <a:pt x="35" y="30"/>
                      </a:lnTo>
                      <a:lnTo>
                        <a:pt x="14" y="12"/>
                      </a:lnTo>
                      <a:lnTo>
                        <a:pt x="0"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69" name="Freeform 281"/>
                <p:cNvSpPr>
                  <a:spLocks/>
                </p:cNvSpPr>
                <p:nvPr/>
              </p:nvSpPr>
              <p:spPr bwMode="auto">
                <a:xfrm>
                  <a:off x="2779205" y="5490251"/>
                  <a:ext cx="89973" cy="69413"/>
                </a:xfrm>
                <a:custGeom>
                  <a:avLst/>
                  <a:gdLst>
                    <a:gd name="T0" fmla="*/ 87 w 87"/>
                    <a:gd name="T1" fmla="*/ 64 h 69"/>
                    <a:gd name="T2" fmla="*/ 60 w 87"/>
                    <a:gd name="T3" fmla="*/ 1 h 69"/>
                    <a:gd name="T4" fmla="*/ 48 w 87"/>
                    <a:gd name="T5" fmla="*/ 1 h 69"/>
                    <a:gd name="T6" fmla="*/ 35 w 87"/>
                    <a:gd name="T7" fmla="*/ 0 h 69"/>
                    <a:gd name="T8" fmla="*/ 24 w 87"/>
                    <a:gd name="T9" fmla="*/ 6 h 69"/>
                    <a:gd name="T10" fmla="*/ 26 w 87"/>
                    <a:gd name="T11" fmla="*/ 19 h 69"/>
                    <a:gd name="T12" fmla="*/ 39 w 87"/>
                    <a:gd name="T13" fmla="*/ 16 h 69"/>
                    <a:gd name="T14" fmla="*/ 48 w 87"/>
                    <a:gd name="T15" fmla="*/ 21 h 69"/>
                    <a:gd name="T16" fmla="*/ 38 w 87"/>
                    <a:gd name="T17" fmla="*/ 28 h 69"/>
                    <a:gd name="T18" fmla="*/ 41 w 87"/>
                    <a:gd name="T19" fmla="*/ 39 h 69"/>
                    <a:gd name="T20" fmla="*/ 60 w 87"/>
                    <a:gd name="T21" fmla="*/ 46 h 69"/>
                    <a:gd name="T22" fmla="*/ 44 w 87"/>
                    <a:gd name="T23" fmla="*/ 46 h 69"/>
                    <a:gd name="T24" fmla="*/ 26 w 87"/>
                    <a:gd name="T25" fmla="*/ 28 h 69"/>
                    <a:gd name="T26" fmla="*/ 14 w 87"/>
                    <a:gd name="T27" fmla="*/ 34 h 69"/>
                    <a:gd name="T28" fmla="*/ 0 w 87"/>
                    <a:gd name="T29" fmla="*/ 37 h 69"/>
                    <a:gd name="T30" fmla="*/ 6 w 87"/>
                    <a:gd name="T31" fmla="*/ 51 h 69"/>
                    <a:gd name="T32" fmla="*/ 32 w 87"/>
                    <a:gd name="T33" fmla="*/ 49 h 69"/>
                    <a:gd name="T34" fmla="*/ 39 w 87"/>
                    <a:gd name="T35" fmla="*/ 58 h 69"/>
                    <a:gd name="T36" fmla="*/ 60 w 87"/>
                    <a:gd name="T37" fmla="*/ 64 h 69"/>
                    <a:gd name="T38" fmla="*/ 75 w 87"/>
                    <a:gd name="T39" fmla="*/ 69 h 69"/>
                    <a:gd name="T40" fmla="*/ 87 w 87"/>
                    <a:gd name="T41" fmla="*/ 6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69">
                      <a:moveTo>
                        <a:pt x="87" y="64"/>
                      </a:moveTo>
                      <a:lnTo>
                        <a:pt x="60" y="1"/>
                      </a:lnTo>
                      <a:lnTo>
                        <a:pt x="48" y="1"/>
                      </a:lnTo>
                      <a:lnTo>
                        <a:pt x="35" y="0"/>
                      </a:lnTo>
                      <a:lnTo>
                        <a:pt x="24" y="6"/>
                      </a:lnTo>
                      <a:lnTo>
                        <a:pt x="26" y="19"/>
                      </a:lnTo>
                      <a:lnTo>
                        <a:pt x="39" y="16"/>
                      </a:lnTo>
                      <a:lnTo>
                        <a:pt x="48" y="21"/>
                      </a:lnTo>
                      <a:lnTo>
                        <a:pt x="38" y="28"/>
                      </a:lnTo>
                      <a:lnTo>
                        <a:pt x="41" y="39"/>
                      </a:lnTo>
                      <a:lnTo>
                        <a:pt x="60" y="46"/>
                      </a:lnTo>
                      <a:lnTo>
                        <a:pt x="44" y="46"/>
                      </a:lnTo>
                      <a:lnTo>
                        <a:pt x="26" y="28"/>
                      </a:lnTo>
                      <a:lnTo>
                        <a:pt x="14" y="34"/>
                      </a:lnTo>
                      <a:lnTo>
                        <a:pt x="0" y="37"/>
                      </a:lnTo>
                      <a:lnTo>
                        <a:pt x="6" y="51"/>
                      </a:lnTo>
                      <a:lnTo>
                        <a:pt x="32" y="49"/>
                      </a:lnTo>
                      <a:lnTo>
                        <a:pt x="39" y="58"/>
                      </a:lnTo>
                      <a:lnTo>
                        <a:pt x="60" y="64"/>
                      </a:lnTo>
                      <a:lnTo>
                        <a:pt x="75" y="69"/>
                      </a:lnTo>
                      <a:lnTo>
                        <a:pt x="87" y="64"/>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0" name="Freeform 282"/>
                <p:cNvSpPr>
                  <a:spLocks/>
                </p:cNvSpPr>
                <p:nvPr/>
              </p:nvSpPr>
              <p:spPr bwMode="auto">
                <a:xfrm>
                  <a:off x="2999485" y="5452528"/>
                  <a:ext cx="32577" cy="25653"/>
                </a:xfrm>
                <a:custGeom>
                  <a:avLst/>
                  <a:gdLst>
                    <a:gd name="T0" fmla="*/ 31 w 31"/>
                    <a:gd name="T1" fmla="*/ 2 h 26"/>
                    <a:gd name="T2" fmla="*/ 9 w 31"/>
                    <a:gd name="T3" fmla="*/ 0 h 26"/>
                    <a:gd name="T4" fmla="*/ 10 w 31"/>
                    <a:gd name="T5" fmla="*/ 18 h 26"/>
                    <a:gd name="T6" fmla="*/ 0 w 31"/>
                    <a:gd name="T7" fmla="*/ 14 h 26"/>
                    <a:gd name="T8" fmla="*/ 1 w 31"/>
                    <a:gd name="T9" fmla="*/ 24 h 26"/>
                    <a:gd name="T10" fmla="*/ 18 w 31"/>
                    <a:gd name="T11" fmla="*/ 26 h 26"/>
                    <a:gd name="T12" fmla="*/ 30 w 31"/>
                    <a:gd name="T13" fmla="*/ 14 h 26"/>
                    <a:gd name="T14" fmla="*/ 31 w 31"/>
                    <a:gd name="T15" fmla="*/ 2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6">
                      <a:moveTo>
                        <a:pt x="31" y="2"/>
                      </a:moveTo>
                      <a:lnTo>
                        <a:pt x="9" y="0"/>
                      </a:lnTo>
                      <a:lnTo>
                        <a:pt x="10" y="18"/>
                      </a:lnTo>
                      <a:lnTo>
                        <a:pt x="0" y="14"/>
                      </a:lnTo>
                      <a:lnTo>
                        <a:pt x="1" y="24"/>
                      </a:lnTo>
                      <a:lnTo>
                        <a:pt x="18" y="26"/>
                      </a:lnTo>
                      <a:lnTo>
                        <a:pt x="30" y="14"/>
                      </a:lnTo>
                      <a:lnTo>
                        <a:pt x="31" y="2"/>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1" name="Freeform 283"/>
                <p:cNvSpPr>
                  <a:spLocks/>
                </p:cNvSpPr>
                <p:nvPr/>
              </p:nvSpPr>
              <p:spPr bwMode="auto">
                <a:xfrm>
                  <a:off x="2149390" y="3656854"/>
                  <a:ext cx="152024" cy="70921"/>
                </a:xfrm>
                <a:custGeom>
                  <a:avLst/>
                  <a:gdLst>
                    <a:gd name="T0" fmla="*/ 147 w 147"/>
                    <a:gd name="T1" fmla="*/ 45 h 70"/>
                    <a:gd name="T2" fmla="*/ 135 w 147"/>
                    <a:gd name="T3" fmla="*/ 24 h 70"/>
                    <a:gd name="T4" fmla="*/ 117 w 147"/>
                    <a:gd name="T5" fmla="*/ 9 h 70"/>
                    <a:gd name="T6" fmla="*/ 95 w 147"/>
                    <a:gd name="T7" fmla="*/ 7 h 70"/>
                    <a:gd name="T8" fmla="*/ 83 w 147"/>
                    <a:gd name="T9" fmla="*/ 7 h 70"/>
                    <a:gd name="T10" fmla="*/ 41 w 147"/>
                    <a:gd name="T11" fmla="*/ 25 h 70"/>
                    <a:gd name="T12" fmla="*/ 15 w 147"/>
                    <a:gd name="T13" fmla="*/ 16 h 70"/>
                    <a:gd name="T14" fmla="*/ 9 w 147"/>
                    <a:gd name="T15" fmla="*/ 0 h 70"/>
                    <a:gd name="T16" fmla="*/ 0 w 147"/>
                    <a:gd name="T17" fmla="*/ 10 h 70"/>
                    <a:gd name="T18" fmla="*/ 0 w 147"/>
                    <a:gd name="T19" fmla="*/ 37 h 70"/>
                    <a:gd name="T20" fmla="*/ 29 w 147"/>
                    <a:gd name="T21" fmla="*/ 46 h 70"/>
                    <a:gd name="T22" fmla="*/ 32 w 147"/>
                    <a:gd name="T23" fmla="*/ 61 h 70"/>
                    <a:gd name="T24" fmla="*/ 45 w 147"/>
                    <a:gd name="T25" fmla="*/ 63 h 70"/>
                    <a:gd name="T26" fmla="*/ 66 w 147"/>
                    <a:gd name="T27" fmla="*/ 70 h 70"/>
                    <a:gd name="T28" fmla="*/ 66 w 147"/>
                    <a:gd name="T29" fmla="*/ 54 h 70"/>
                    <a:gd name="T30" fmla="*/ 63 w 147"/>
                    <a:gd name="T31" fmla="*/ 43 h 70"/>
                    <a:gd name="T32" fmla="*/ 86 w 147"/>
                    <a:gd name="T33" fmla="*/ 36 h 70"/>
                    <a:gd name="T34" fmla="*/ 86 w 147"/>
                    <a:gd name="T35" fmla="*/ 22 h 70"/>
                    <a:gd name="T36" fmla="*/ 102 w 147"/>
                    <a:gd name="T37" fmla="*/ 19 h 70"/>
                    <a:gd name="T38" fmla="*/ 116 w 147"/>
                    <a:gd name="T39" fmla="*/ 33 h 70"/>
                    <a:gd name="T40" fmla="*/ 119 w 147"/>
                    <a:gd name="T41" fmla="*/ 43 h 70"/>
                    <a:gd name="T42" fmla="*/ 126 w 147"/>
                    <a:gd name="T43" fmla="*/ 66 h 70"/>
                    <a:gd name="T44" fmla="*/ 147 w 147"/>
                    <a:gd name="T45"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70">
                      <a:moveTo>
                        <a:pt x="147" y="45"/>
                      </a:moveTo>
                      <a:lnTo>
                        <a:pt x="135" y="24"/>
                      </a:lnTo>
                      <a:lnTo>
                        <a:pt x="117" y="9"/>
                      </a:lnTo>
                      <a:lnTo>
                        <a:pt x="95" y="7"/>
                      </a:lnTo>
                      <a:lnTo>
                        <a:pt x="83" y="7"/>
                      </a:lnTo>
                      <a:lnTo>
                        <a:pt x="41" y="25"/>
                      </a:lnTo>
                      <a:lnTo>
                        <a:pt x="15" y="16"/>
                      </a:lnTo>
                      <a:lnTo>
                        <a:pt x="9" y="0"/>
                      </a:lnTo>
                      <a:lnTo>
                        <a:pt x="0" y="10"/>
                      </a:lnTo>
                      <a:lnTo>
                        <a:pt x="0" y="37"/>
                      </a:lnTo>
                      <a:lnTo>
                        <a:pt x="29" y="46"/>
                      </a:lnTo>
                      <a:lnTo>
                        <a:pt x="32" y="61"/>
                      </a:lnTo>
                      <a:lnTo>
                        <a:pt x="45" y="63"/>
                      </a:lnTo>
                      <a:lnTo>
                        <a:pt x="66" y="70"/>
                      </a:lnTo>
                      <a:lnTo>
                        <a:pt x="66" y="54"/>
                      </a:lnTo>
                      <a:lnTo>
                        <a:pt x="63" y="43"/>
                      </a:lnTo>
                      <a:lnTo>
                        <a:pt x="86" y="36"/>
                      </a:lnTo>
                      <a:lnTo>
                        <a:pt x="86" y="22"/>
                      </a:lnTo>
                      <a:lnTo>
                        <a:pt x="102" y="19"/>
                      </a:lnTo>
                      <a:lnTo>
                        <a:pt x="116" y="33"/>
                      </a:lnTo>
                      <a:lnTo>
                        <a:pt x="119" y="43"/>
                      </a:lnTo>
                      <a:lnTo>
                        <a:pt x="126" y="66"/>
                      </a:lnTo>
                      <a:lnTo>
                        <a:pt x="147" y="4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2" name="Freeform 284"/>
                <p:cNvSpPr>
                  <a:spLocks/>
                </p:cNvSpPr>
                <p:nvPr/>
              </p:nvSpPr>
              <p:spPr bwMode="auto">
                <a:xfrm>
                  <a:off x="2068725" y="3608567"/>
                  <a:ext cx="89973" cy="99592"/>
                </a:xfrm>
                <a:custGeom>
                  <a:avLst/>
                  <a:gdLst>
                    <a:gd name="T0" fmla="*/ 77 w 87"/>
                    <a:gd name="T1" fmla="*/ 87 h 99"/>
                    <a:gd name="T2" fmla="*/ 77 w 87"/>
                    <a:gd name="T3" fmla="*/ 57 h 99"/>
                    <a:gd name="T4" fmla="*/ 87 w 87"/>
                    <a:gd name="T5" fmla="*/ 48 h 99"/>
                    <a:gd name="T6" fmla="*/ 66 w 87"/>
                    <a:gd name="T7" fmla="*/ 25 h 99"/>
                    <a:gd name="T8" fmla="*/ 62 w 87"/>
                    <a:gd name="T9" fmla="*/ 16 h 99"/>
                    <a:gd name="T10" fmla="*/ 33 w 87"/>
                    <a:gd name="T11" fmla="*/ 7 h 99"/>
                    <a:gd name="T12" fmla="*/ 21 w 87"/>
                    <a:gd name="T13" fmla="*/ 10 h 99"/>
                    <a:gd name="T14" fmla="*/ 5 w 87"/>
                    <a:gd name="T15" fmla="*/ 0 h 99"/>
                    <a:gd name="T16" fmla="*/ 5 w 87"/>
                    <a:gd name="T17" fmla="*/ 12 h 99"/>
                    <a:gd name="T18" fmla="*/ 0 w 87"/>
                    <a:gd name="T19" fmla="*/ 30 h 99"/>
                    <a:gd name="T20" fmla="*/ 18 w 87"/>
                    <a:gd name="T21" fmla="*/ 49 h 99"/>
                    <a:gd name="T22" fmla="*/ 30 w 87"/>
                    <a:gd name="T23" fmla="*/ 40 h 99"/>
                    <a:gd name="T24" fmla="*/ 50 w 87"/>
                    <a:gd name="T25" fmla="*/ 60 h 99"/>
                    <a:gd name="T26" fmla="*/ 50 w 87"/>
                    <a:gd name="T27" fmla="*/ 70 h 99"/>
                    <a:gd name="T28" fmla="*/ 59 w 87"/>
                    <a:gd name="T29" fmla="*/ 85 h 99"/>
                    <a:gd name="T30" fmla="*/ 77 w 87"/>
                    <a:gd name="T31" fmla="*/ 99 h 99"/>
                    <a:gd name="T32" fmla="*/ 77 w 87"/>
                    <a:gd name="T33" fmla="*/ 8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99">
                      <a:moveTo>
                        <a:pt x="77" y="87"/>
                      </a:moveTo>
                      <a:lnTo>
                        <a:pt x="77" y="57"/>
                      </a:lnTo>
                      <a:lnTo>
                        <a:pt x="87" y="48"/>
                      </a:lnTo>
                      <a:lnTo>
                        <a:pt x="66" y="25"/>
                      </a:lnTo>
                      <a:lnTo>
                        <a:pt x="62" y="16"/>
                      </a:lnTo>
                      <a:lnTo>
                        <a:pt x="33" y="7"/>
                      </a:lnTo>
                      <a:lnTo>
                        <a:pt x="21" y="10"/>
                      </a:lnTo>
                      <a:lnTo>
                        <a:pt x="5" y="0"/>
                      </a:lnTo>
                      <a:lnTo>
                        <a:pt x="5" y="12"/>
                      </a:lnTo>
                      <a:lnTo>
                        <a:pt x="0" y="30"/>
                      </a:lnTo>
                      <a:lnTo>
                        <a:pt x="18" y="49"/>
                      </a:lnTo>
                      <a:lnTo>
                        <a:pt x="30" y="40"/>
                      </a:lnTo>
                      <a:lnTo>
                        <a:pt x="50" y="60"/>
                      </a:lnTo>
                      <a:lnTo>
                        <a:pt x="50" y="70"/>
                      </a:lnTo>
                      <a:lnTo>
                        <a:pt x="59" y="85"/>
                      </a:lnTo>
                      <a:lnTo>
                        <a:pt x="77" y="99"/>
                      </a:lnTo>
                      <a:lnTo>
                        <a:pt x="77" y="8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3" name="Freeform 285"/>
                <p:cNvSpPr>
                  <a:spLocks/>
                </p:cNvSpPr>
                <p:nvPr/>
              </p:nvSpPr>
              <p:spPr bwMode="auto">
                <a:xfrm>
                  <a:off x="2033046" y="3496903"/>
                  <a:ext cx="119448" cy="126753"/>
                </a:xfrm>
                <a:custGeom>
                  <a:avLst/>
                  <a:gdLst>
                    <a:gd name="T0" fmla="*/ 71 w 117"/>
                    <a:gd name="T1" fmla="*/ 120 h 128"/>
                    <a:gd name="T2" fmla="*/ 96 w 117"/>
                    <a:gd name="T3" fmla="*/ 128 h 128"/>
                    <a:gd name="T4" fmla="*/ 93 w 117"/>
                    <a:gd name="T5" fmla="*/ 113 h 128"/>
                    <a:gd name="T6" fmla="*/ 98 w 117"/>
                    <a:gd name="T7" fmla="*/ 102 h 128"/>
                    <a:gd name="T8" fmla="*/ 101 w 117"/>
                    <a:gd name="T9" fmla="*/ 81 h 128"/>
                    <a:gd name="T10" fmla="*/ 108 w 117"/>
                    <a:gd name="T11" fmla="*/ 42 h 128"/>
                    <a:gd name="T12" fmla="*/ 117 w 117"/>
                    <a:gd name="T13" fmla="*/ 26 h 128"/>
                    <a:gd name="T14" fmla="*/ 117 w 117"/>
                    <a:gd name="T15" fmla="*/ 0 h 128"/>
                    <a:gd name="T16" fmla="*/ 98 w 117"/>
                    <a:gd name="T17" fmla="*/ 12 h 128"/>
                    <a:gd name="T18" fmla="*/ 75 w 117"/>
                    <a:gd name="T19" fmla="*/ 9 h 128"/>
                    <a:gd name="T20" fmla="*/ 68 w 117"/>
                    <a:gd name="T21" fmla="*/ 23 h 128"/>
                    <a:gd name="T22" fmla="*/ 53 w 117"/>
                    <a:gd name="T23" fmla="*/ 39 h 128"/>
                    <a:gd name="T24" fmla="*/ 42 w 117"/>
                    <a:gd name="T25" fmla="*/ 32 h 128"/>
                    <a:gd name="T26" fmla="*/ 38 w 117"/>
                    <a:gd name="T27" fmla="*/ 41 h 128"/>
                    <a:gd name="T28" fmla="*/ 26 w 117"/>
                    <a:gd name="T29" fmla="*/ 41 h 128"/>
                    <a:gd name="T30" fmla="*/ 17 w 117"/>
                    <a:gd name="T31" fmla="*/ 56 h 128"/>
                    <a:gd name="T32" fmla="*/ 0 w 117"/>
                    <a:gd name="T33" fmla="*/ 66 h 128"/>
                    <a:gd name="T34" fmla="*/ 12 w 117"/>
                    <a:gd name="T35" fmla="*/ 81 h 128"/>
                    <a:gd name="T36" fmla="*/ 27 w 117"/>
                    <a:gd name="T37" fmla="*/ 99 h 128"/>
                    <a:gd name="T38" fmla="*/ 39 w 117"/>
                    <a:gd name="T39" fmla="*/ 111 h 128"/>
                    <a:gd name="T40" fmla="*/ 42 w 117"/>
                    <a:gd name="T41" fmla="*/ 98 h 128"/>
                    <a:gd name="T42" fmla="*/ 45 w 117"/>
                    <a:gd name="T43" fmla="*/ 87 h 128"/>
                    <a:gd name="T44" fmla="*/ 63 w 117"/>
                    <a:gd name="T45" fmla="*/ 104 h 128"/>
                    <a:gd name="T46" fmla="*/ 71 w 117"/>
                    <a:gd name="T4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28">
                      <a:moveTo>
                        <a:pt x="71" y="120"/>
                      </a:moveTo>
                      <a:lnTo>
                        <a:pt x="96" y="128"/>
                      </a:lnTo>
                      <a:lnTo>
                        <a:pt x="93" y="113"/>
                      </a:lnTo>
                      <a:lnTo>
                        <a:pt x="98" y="102"/>
                      </a:lnTo>
                      <a:lnTo>
                        <a:pt x="101" y="81"/>
                      </a:lnTo>
                      <a:lnTo>
                        <a:pt x="108" y="42"/>
                      </a:lnTo>
                      <a:lnTo>
                        <a:pt x="117" y="26"/>
                      </a:lnTo>
                      <a:lnTo>
                        <a:pt x="117" y="0"/>
                      </a:lnTo>
                      <a:lnTo>
                        <a:pt x="98" y="12"/>
                      </a:lnTo>
                      <a:lnTo>
                        <a:pt x="75" y="9"/>
                      </a:lnTo>
                      <a:lnTo>
                        <a:pt x="68" y="23"/>
                      </a:lnTo>
                      <a:lnTo>
                        <a:pt x="53" y="39"/>
                      </a:lnTo>
                      <a:lnTo>
                        <a:pt x="42" y="32"/>
                      </a:lnTo>
                      <a:lnTo>
                        <a:pt x="38" y="41"/>
                      </a:lnTo>
                      <a:lnTo>
                        <a:pt x="26" y="41"/>
                      </a:lnTo>
                      <a:lnTo>
                        <a:pt x="17" y="56"/>
                      </a:lnTo>
                      <a:lnTo>
                        <a:pt x="0" y="66"/>
                      </a:lnTo>
                      <a:lnTo>
                        <a:pt x="12" y="81"/>
                      </a:lnTo>
                      <a:lnTo>
                        <a:pt x="27" y="99"/>
                      </a:lnTo>
                      <a:lnTo>
                        <a:pt x="39" y="111"/>
                      </a:lnTo>
                      <a:lnTo>
                        <a:pt x="42" y="98"/>
                      </a:lnTo>
                      <a:lnTo>
                        <a:pt x="45" y="87"/>
                      </a:lnTo>
                      <a:lnTo>
                        <a:pt x="63" y="104"/>
                      </a:lnTo>
                      <a:lnTo>
                        <a:pt x="71" y="12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4" name="Freeform 286"/>
                <p:cNvSpPr>
                  <a:spLocks/>
                </p:cNvSpPr>
                <p:nvPr/>
              </p:nvSpPr>
              <p:spPr bwMode="auto">
                <a:xfrm>
                  <a:off x="1994264" y="3469742"/>
                  <a:ext cx="158229" cy="82993"/>
                </a:xfrm>
                <a:custGeom>
                  <a:avLst/>
                  <a:gdLst>
                    <a:gd name="T0" fmla="*/ 154 w 154"/>
                    <a:gd name="T1" fmla="*/ 26 h 84"/>
                    <a:gd name="T2" fmla="*/ 135 w 154"/>
                    <a:gd name="T3" fmla="*/ 38 h 84"/>
                    <a:gd name="T4" fmla="*/ 112 w 154"/>
                    <a:gd name="T5" fmla="*/ 35 h 84"/>
                    <a:gd name="T6" fmla="*/ 105 w 154"/>
                    <a:gd name="T7" fmla="*/ 48 h 84"/>
                    <a:gd name="T8" fmla="*/ 90 w 154"/>
                    <a:gd name="T9" fmla="*/ 65 h 84"/>
                    <a:gd name="T10" fmla="*/ 79 w 154"/>
                    <a:gd name="T11" fmla="*/ 57 h 84"/>
                    <a:gd name="T12" fmla="*/ 75 w 154"/>
                    <a:gd name="T13" fmla="*/ 66 h 84"/>
                    <a:gd name="T14" fmla="*/ 64 w 154"/>
                    <a:gd name="T15" fmla="*/ 66 h 84"/>
                    <a:gd name="T16" fmla="*/ 52 w 154"/>
                    <a:gd name="T17" fmla="*/ 84 h 84"/>
                    <a:gd name="T18" fmla="*/ 34 w 154"/>
                    <a:gd name="T19" fmla="*/ 74 h 84"/>
                    <a:gd name="T20" fmla="*/ 39 w 154"/>
                    <a:gd name="T21" fmla="*/ 65 h 84"/>
                    <a:gd name="T22" fmla="*/ 18 w 154"/>
                    <a:gd name="T23" fmla="*/ 62 h 84"/>
                    <a:gd name="T24" fmla="*/ 0 w 154"/>
                    <a:gd name="T25" fmla="*/ 48 h 84"/>
                    <a:gd name="T26" fmla="*/ 7 w 154"/>
                    <a:gd name="T27" fmla="*/ 32 h 84"/>
                    <a:gd name="T28" fmla="*/ 34 w 154"/>
                    <a:gd name="T29" fmla="*/ 8 h 84"/>
                    <a:gd name="T30" fmla="*/ 46 w 154"/>
                    <a:gd name="T31" fmla="*/ 3 h 84"/>
                    <a:gd name="T32" fmla="*/ 76 w 154"/>
                    <a:gd name="T33" fmla="*/ 8 h 84"/>
                    <a:gd name="T34" fmla="*/ 94 w 154"/>
                    <a:gd name="T35" fmla="*/ 0 h 84"/>
                    <a:gd name="T36" fmla="*/ 120 w 154"/>
                    <a:gd name="T37" fmla="*/ 0 h 84"/>
                    <a:gd name="T38" fmla="*/ 139 w 154"/>
                    <a:gd name="T39" fmla="*/ 12 h 84"/>
                    <a:gd name="T40" fmla="*/ 154 w 154"/>
                    <a:gd name="T41"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84">
                      <a:moveTo>
                        <a:pt x="154" y="26"/>
                      </a:moveTo>
                      <a:lnTo>
                        <a:pt x="135" y="38"/>
                      </a:lnTo>
                      <a:lnTo>
                        <a:pt x="112" y="35"/>
                      </a:lnTo>
                      <a:lnTo>
                        <a:pt x="105" y="48"/>
                      </a:lnTo>
                      <a:lnTo>
                        <a:pt x="90" y="65"/>
                      </a:lnTo>
                      <a:lnTo>
                        <a:pt x="79" y="57"/>
                      </a:lnTo>
                      <a:lnTo>
                        <a:pt x="75" y="66"/>
                      </a:lnTo>
                      <a:lnTo>
                        <a:pt x="64" y="66"/>
                      </a:lnTo>
                      <a:lnTo>
                        <a:pt x="52" y="84"/>
                      </a:lnTo>
                      <a:lnTo>
                        <a:pt x="34" y="74"/>
                      </a:lnTo>
                      <a:lnTo>
                        <a:pt x="39" y="65"/>
                      </a:lnTo>
                      <a:lnTo>
                        <a:pt x="18" y="62"/>
                      </a:lnTo>
                      <a:lnTo>
                        <a:pt x="0" y="48"/>
                      </a:lnTo>
                      <a:lnTo>
                        <a:pt x="7" y="32"/>
                      </a:lnTo>
                      <a:lnTo>
                        <a:pt x="34" y="8"/>
                      </a:lnTo>
                      <a:lnTo>
                        <a:pt x="46" y="3"/>
                      </a:lnTo>
                      <a:lnTo>
                        <a:pt x="76" y="8"/>
                      </a:lnTo>
                      <a:lnTo>
                        <a:pt x="94" y="0"/>
                      </a:lnTo>
                      <a:lnTo>
                        <a:pt x="120" y="0"/>
                      </a:lnTo>
                      <a:lnTo>
                        <a:pt x="139" y="12"/>
                      </a:lnTo>
                      <a:lnTo>
                        <a:pt x="154" y="2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5" name="Freeform 287"/>
                <p:cNvSpPr>
                  <a:spLocks/>
                </p:cNvSpPr>
                <p:nvPr/>
              </p:nvSpPr>
              <p:spPr bwMode="auto">
                <a:xfrm>
                  <a:off x="1969444" y="3516520"/>
                  <a:ext cx="65153" cy="36215"/>
                </a:xfrm>
                <a:custGeom>
                  <a:avLst/>
                  <a:gdLst>
                    <a:gd name="T0" fmla="*/ 58 w 63"/>
                    <a:gd name="T1" fmla="*/ 26 h 36"/>
                    <a:gd name="T2" fmla="*/ 63 w 63"/>
                    <a:gd name="T3" fmla="*/ 15 h 36"/>
                    <a:gd name="T4" fmla="*/ 42 w 63"/>
                    <a:gd name="T5" fmla="*/ 12 h 36"/>
                    <a:gd name="T6" fmla="*/ 24 w 63"/>
                    <a:gd name="T7" fmla="*/ 0 h 36"/>
                    <a:gd name="T8" fmla="*/ 0 w 63"/>
                    <a:gd name="T9" fmla="*/ 14 h 36"/>
                    <a:gd name="T10" fmla="*/ 10 w 63"/>
                    <a:gd name="T11" fmla="*/ 27 h 36"/>
                    <a:gd name="T12" fmla="*/ 28 w 63"/>
                    <a:gd name="T13" fmla="*/ 30 h 36"/>
                    <a:gd name="T14" fmla="*/ 49 w 63"/>
                    <a:gd name="T15" fmla="*/ 36 h 36"/>
                    <a:gd name="T16" fmla="*/ 58 w 63"/>
                    <a:gd name="T17"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6">
                      <a:moveTo>
                        <a:pt x="58" y="26"/>
                      </a:moveTo>
                      <a:lnTo>
                        <a:pt x="63" y="15"/>
                      </a:lnTo>
                      <a:lnTo>
                        <a:pt x="42" y="12"/>
                      </a:lnTo>
                      <a:lnTo>
                        <a:pt x="24" y="0"/>
                      </a:lnTo>
                      <a:lnTo>
                        <a:pt x="0" y="14"/>
                      </a:lnTo>
                      <a:lnTo>
                        <a:pt x="10" y="27"/>
                      </a:lnTo>
                      <a:lnTo>
                        <a:pt x="28" y="30"/>
                      </a:lnTo>
                      <a:lnTo>
                        <a:pt x="49" y="36"/>
                      </a:lnTo>
                      <a:lnTo>
                        <a:pt x="58" y="26"/>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6" name="Freeform 288"/>
                <p:cNvSpPr>
                  <a:spLocks/>
                </p:cNvSpPr>
                <p:nvPr/>
              </p:nvSpPr>
              <p:spPr bwMode="auto">
                <a:xfrm>
                  <a:off x="1915149" y="3415419"/>
                  <a:ext cx="111691" cy="116191"/>
                </a:xfrm>
                <a:custGeom>
                  <a:avLst/>
                  <a:gdLst>
                    <a:gd name="T0" fmla="*/ 0 w 108"/>
                    <a:gd name="T1" fmla="*/ 95 h 116"/>
                    <a:gd name="T2" fmla="*/ 12 w 108"/>
                    <a:gd name="T3" fmla="*/ 59 h 116"/>
                    <a:gd name="T4" fmla="*/ 30 w 108"/>
                    <a:gd name="T5" fmla="*/ 50 h 116"/>
                    <a:gd name="T6" fmla="*/ 48 w 108"/>
                    <a:gd name="T7" fmla="*/ 50 h 116"/>
                    <a:gd name="T8" fmla="*/ 44 w 108"/>
                    <a:gd name="T9" fmla="*/ 35 h 116"/>
                    <a:gd name="T10" fmla="*/ 36 w 108"/>
                    <a:gd name="T11" fmla="*/ 20 h 116"/>
                    <a:gd name="T12" fmla="*/ 48 w 108"/>
                    <a:gd name="T13" fmla="*/ 2 h 116"/>
                    <a:gd name="T14" fmla="*/ 95 w 108"/>
                    <a:gd name="T15" fmla="*/ 0 h 116"/>
                    <a:gd name="T16" fmla="*/ 89 w 108"/>
                    <a:gd name="T17" fmla="*/ 33 h 116"/>
                    <a:gd name="T18" fmla="*/ 84 w 108"/>
                    <a:gd name="T19" fmla="*/ 56 h 116"/>
                    <a:gd name="T20" fmla="*/ 102 w 108"/>
                    <a:gd name="T21" fmla="*/ 56 h 116"/>
                    <a:gd name="T22" fmla="*/ 108 w 108"/>
                    <a:gd name="T23" fmla="*/ 65 h 116"/>
                    <a:gd name="T24" fmla="*/ 84 w 108"/>
                    <a:gd name="T25" fmla="*/ 84 h 116"/>
                    <a:gd name="T26" fmla="*/ 77 w 108"/>
                    <a:gd name="T27" fmla="*/ 104 h 116"/>
                    <a:gd name="T28" fmla="*/ 54 w 108"/>
                    <a:gd name="T29" fmla="*/ 114 h 116"/>
                    <a:gd name="T30" fmla="*/ 29 w 108"/>
                    <a:gd name="T31" fmla="*/ 116 h 116"/>
                    <a:gd name="T32" fmla="*/ 9 w 108"/>
                    <a:gd name="T33" fmla="*/ 108 h 116"/>
                    <a:gd name="T34" fmla="*/ 0 w 108"/>
                    <a:gd name="T35" fmla="*/ 9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16">
                      <a:moveTo>
                        <a:pt x="0" y="95"/>
                      </a:moveTo>
                      <a:lnTo>
                        <a:pt x="12" y="59"/>
                      </a:lnTo>
                      <a:lnTo>
                        <a:pt x="30" y="50"/>
                      </a:lnTo>
                      <a:lnTo>
                        <a:pt x="48" y="50"/>
                      </a:lnTo>
                      <a:lnTo>
                        <a:pt x="44" y="35"/>
                      </a:lnTo>
                      <a:lnTo>
                        <a:pt x="36" y="20"/>
                      </a:lnTo>
                      <a:lnTo>
                        <a:pt x="48" y="2"/>
                      </a:lnTo>
                      <a:lnTo>
                        <a:pt x="95" y="0"/>
                      </a:lnTo>
                      <a:lnTo>
                        <a:pt x="89" y="33"/>
                      </a:lnTo>
                      <a:lnTo>
                        <a:pt x="84" y="56"/>
                      </a:lnTo>
                      <a:lnTo>
                        <a:pt x="102" y="56"/>
                      </a:lnTo>
                      <a:lnTo>
                        <a:pt x="108" y="65"/>
                      </a:lnTo>
                      <a:lnTo>
                        <a:pt x="84" y="84"/>
                      </a:lnTo>
                      <a:lnTo>
                        <a:pt x="77" y="104"/>
                      </a:lnTo>
                      <a:lnTo>
                        <a:pt x="54" y="114"/>
                      </a:lnTo>
                      <a:lnTo>
                        <a:pt x="29" y="116"/>
                      </a:lnTo>
                      <a:lnTo>
                        <a:pt x="9" y="108"/>
                      </a:lnTo>
                      <a:lnTo>
                        <a:pt x="0" y="9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7" name="Freeform 289"/>
                <p:cNvSpPr>
                  <a:spLocks/>
                </p:cNvSpPr>
                <p:nvPr/>
              </p:nvSpPr>
              <p:spPr bwMode="auto">
                <a:xfrm>
                  <a:off x="2000469" y="3389767"/>
                  <a:ext cx="44987" cy="81485"/>
                </a:xfrm>
                <a:custGeom>
                  <a:avLst/>
                  <a:gdLst>
                    <a:gd name="T0" fmla="*/ 10 w 43"/>
                    <a:gd name="T1" fmla="*/ 24 h 81"/>
                    <a:gd name="T2" fmla="*/ 4 w 43"/>
                    <a:gd name="T3" fmla="*/ 58 h 81"/>
                    <a:gd name="T4" fmla="*/ 0 w 43"/>
                    <a:gd name="T5" fmla="*/ 81 h 81"/>
                    <a:gd name="T6" fmla="*/ 12 w 43"/>
                    <a:gd name="T7" fmla="*/ 81 h 81"/>
                    <a:gd name="T8" fmla="*/ 16 w 43"/>
                    <a:gd name="T9" fmla="*/ 70 h 81"/>
                    <a:gd name="T10" fmla="*/ 28 w 43"/>
                    <a:gd name="T11" fmla="*/ 54 h 81"/>
                    <a:gd name="T12" fmla="*/ 37 w 43"/>
                    <a:gd name="T13" fmla="*/ 24 h 81"/>
                    <a:gd name="T14" fmla="*/ 43 w 43"/>
                    <a:gd name="T15" fmla="*/ 9 h 81"/>
                    <a:gd name="T16" fmla="*/ 39 w 43"/>
                    <a:gd name="T17" fmla="*/ 0 h 81"/>
                    <a:gd name="T18" fmla="*/ 10 w 43"/>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81">
                      <a:moveTo>
                        <a:pt x="10" y="24"/>
                      </a:moveTo>
                      <a:lnTo>
                        <a:pt x="4" y="58"/>
                      </a:lnTo>
                      <a:lnTo>
                        <a:pt x="0" y="81"/>
                      </a:lnTo>
                      <a:lnTo>
                        <a:pt x="12" y="81"/>
                      </a:lnTo>
                      <a:lnTo>
                        <a:pt x="16" y="70"/>
                      </a:lnTo>
                      <a:lnTo>
                        <a:pt x="28" y="54"/>
                      </a:lnTo>
                      <a:lnTo>
                        <a:pt x="37" y="24"/>
                      </a:lnTo>
                      <a:lnTo>
                        <a:pt x="43" y="9"/>
                      </a:lnTo>
                      <a:lnTo>
                        <a:pt x="39" y="0"/>
                      </a:lnTo>
                      <a:lnTo>
                        <a:pt x="10" y="24"/>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8" name="Freeform 290"/>
                <p:cNvSpPr>
                  <a:spLocks/>
                </p:cNvSpPr>
                <p:nvPr/>
              </p:nvSpPr>
              <p:spPr bwMode="auto">
                <a:xfrm>
                  <a:off x="2154045" y="3255469"/>
                  <a:ext cx="254407" cy="104119"/>
                </a:xfrm>
                <a:custGeom>
                  <a:avLst/>
                  <a:gdLst>
                    <a:gd name="T0" fmla="*/ 13 w 247"/>
                    <a:gd name="T1" fmla="*/ 36 h 105"/>
                    <a:gd name="T2" fmla="*/ 0 w 247"/>
                    <a:gd name="T3" fmla="*/ 34 h 105"/>
                    <a:gd name="T4" fmla="*/ 18 w 247"/>
                    <a:gd name="T5" fmla="*/ 19 h 105"/>
                    <a:gd name="T6" fmla="*/ 39 w 247"/>
                    <a:gd name="T7" fmla="*/ 12 h 105"/>
                    <a:gd name="T8" fmla="*/ 57 w 247"/>
                    <a:gd name="T9" fmla="*/ 4 h 105"/>
                    <a:gd name="T10" fmla="*/ 121 w 247"/>
                    <a:gd name="T11" fmla="*/ 15 h 105"/>
                    <a:gd name="T12" fmla="*/ 144 w 247"/>
                    <a:gd name="T13" fmla="*/ 28 h 105"/>
                    <a:gd name="T14" fmla="*/ 162 w 247"/>
                    <a:gd name="T15" fmla="*/ 40 h 105"/>
                    <a:gd name="T16" fmla="*/ 180 w 247"/>
                    <a:gd name="T17" fmla="*/ 46 h 105"/>
                    <a:gd name="T18" fmla="*/ 202 w 247"/>
                    <a:gd name="T19" fmla="*/ 57 h 105"/>
                    <a:gd name="T20" fmla="*/ 237 w 247"/>
                    <a:gd name="T21" fmla="*/ 82 h 105"/>
                    <a:gd name="T22" fmla="*/ 247 w 247"/>
                    <a:gd name="T23" fmla="*/ 90 h 105"/>
                    <a:gd name="T24" fmla="*/ 220 w 247"/>
                    <a:gd name="T25" fmla="*/ 97 h 105"/>
                    <a:gd name="T26" fmla="*/ 184 w 247"/>
                    <a:gd name="T27" fmla="*/ 105 h 105"/>
                    <a:gd name="T28" fmla="*/ 168 w 247"/>
                    <a:gd name="T29" fmla="*/ 96 h 105"/>
                    <a:gd name="T30" fmla="*/ 174 w 247"/>
                    <a:gd name="T31" fmla="*/ 81 h 105"/>
                    <a:gd name="T32" fmla="*/ 151 w 247"/>
                    <a:gd name="T33" fmla="*/ 75 h 105"/>
                    <a:gd name="T34" fmla="*/ 142 w 247"/>
                    <a:gd name="T35" fmla="*/ 64 h 105"/>
                    <a:gd name="T36" fmla="*/ 121 w 247"/>
                    <a:gd name="T37" fmla="*/ 52 h 105"/>
                    <a:gd name="T38" fmla="*/ 97 w 247"/>
                    <a:gd name="T39" fmla="*/ 42 h 105"/>
                    <a:gd name="T40" fmla="*/ 64 w 247"/>
                    <a:gd name="T41" fmla="*/ 33 h 105"/>
                    <a:gd name="T42" fmla="*/ 64 w 247"/>
                    <a:gd name="T43" fmla="*/ 25 h 105"/>
                    <a:gd name="T44" fmla="*/ 48 w 247"/>
                    <a:gd name="T45" fmla="*/ 21 h 105"/>
                    <a:gd name="T46" fmla="*/ 24 w 247"/>
                    <a:gd name="T47" fmla="*/ 31 h 105"/>
                    <a:gd name="T48" fmla="*/ 13 w 247"/>
                    <a:gd name="T49" fmla="*/ 3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05">
                      <a:moveTo>
                        <a:pt x="13" y="36"/>
                      </a:moveTo>
                      <a:cubicBezTo>
                        <a:pt x="5" y="37"/>
                        <a:pt x="4" y="41"/>
                        <a:pt x="0" y="34"/>
                      </a:cubicBezTo>
                      <a:cubicBezTo>
                        <a:pt x="1" y="24"/>
                        <a:pt x="8" y="21"/>
                        <a:pt x="18" y="19"/>
                      </a:cubicBezTo>
                      <a:cubicBezTo>
                        <a:pt x="24" y="12"/>
                        <a:pt x="30" y="13"/>
                        <a:pt x="39" y="12"/>
                      </a:cubicBezTo>
                      <a:cubicBezTo>
                        <a:pt x="45" y="9"/>
                        <a:pt x="51" y="6"/>
                        <a:pt x="57" y="4"/>
                      </a:cubicBezTo>
                      <a:cubicBezTo>
                        <a:pt x="92" y="6"/>
                        <a:pt x="101" y="0"/>
                        <a:pt x="121" y="15"/>
                      </a:cubicBezTo>
                      <a:cubicBezTo>
                        <a:pt x="125" y="23"/>
                        <a:pt x="136" y="26"/>
                        <a:pt x="144" y="28"/>
                      </a:cubicBezTo>
                      <a:cubicBezTo>
                        <a:pt x="148" y="35"/>
                        <a:pt x="153" y="39"/>
                        <a:pt x="162" y="40"/>
                      </a:cubicBezTo>
                      <a:cubicBezTo>
                        <a:pt x="169" y="44"/>
                        <a:pt x="172" y="45"/>
                        <a:pt x="180" y="46"/>
                      </a:cubicBezTo>
                      <a:cubicBezTo>
                        <a:pt x="188" y="50"/>
                        <a:pt x="195" y="52"/>
                        <a:pt x="202" y="57"/>
                      </a:cubicBezTo>
                      <a:cubicBezTo>
                        <a:pt x="207" y="67"/>
                        <a:pt x="226" y="80"/>
                        <a:pt x="237" y="82"/>
                      </a:cubicBezTo>
                      <a:cubicBezTo>
                        <a:pt x="243" y="85"/>
                        <a:pt x="246" y="83"/>
                        <a:pt x="247" y="90"/>
                      </a:cubicBezTo>
                      <a:cubicBezTo>
                        <a:pt x="240" y="95"/>
                        <a:pt x="229" y="95"/>
                        <a:pt x="220" y="97"/>
                      </a:cubicBezTo>
                      <a:cubicBezTo>
                        <a:pt x="211" y="104"/>
                        <a:pt x="195" y="104"/>
                        <a:pt x="184" y="105"/>
                      </a:cubicBezTo>
                      <a:cubicBezTo>
                        <a:pt x="179" y="104"/>
                        <a:pt x="153" y="105"/>
                        <a:pt x="168" y="96"/>
                      </a:cubicBezTo>
                      <a:cubicBezTo>
                        <a:pt x="171" y="91"/>
                        <a:pt x="171" y="86"/>
                        <a:pt x="174" y="81"/>
                      </a:cubicBezTo>
                      <a:cubicBezTo>
                        <a:pt x="167" y="78"/>
                        <a:pt x="159" y="77"/>
                        <a:pt x="151" y="75"/>
                      </a:cubicBezTo>
                      <a:cubicBezTo>
                        <a:pt x="146" y="72"/>
                        <a:pt x="144" y="70"/>
                        <a:pt x="142" y="64"/>
                      </a:cubicBezTo>
                      <a:cubicBezTo>
                        <a:pt x="140" y="48"/>
                        <a:pt x="137" y="51"/>
                        <a:pt x="121" y="52"/>
                      </a:cubicBezTo>
                      <a:cubicBezTo>
                        <a:pt x="112" y="50"/>
                        <a:pt x="106" y="44"/>
                        <a:pt x="97" y="42"/>
                      </a:cubicBezTo>
                      <a:cubicBezTo>
                        <a:pt x="87" y="37"/>
                        <a:pt x="75" y="35"/>
                        <a:pt x="64" y="33"/>
                      </a:cubicBezTo>
                      <a:cubicBezTo>
                        <a:pt x="56" y="29"/>
                        <a:pt x="50" y="28"/>
                        <a:pt x="64" y="25"/>
                      </a:cubicBezTo>
                      <a:cubicBezTo>
                        <a:pt x="69" y="15"/>
                        <a:pt x="53" y="20"/>
                        <a:pt x="48" y="21"/>
                      </a:cubicBezTo>
                      <a:cubicBezTo>
                        <a:pt x="39" y="27"/>
                        <a:pt x="36" y="30"/>
                        <a:pt x="24" y="31"/>
                      </a:cubicBezTo>
                      <a:cubicBezTo>
                        <a:pt x="19" y="33"/>
                        <a:pt x="18" y="38"/>
                        <a:pt x="13" y="36"/>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79" name="Freeform 291"/>
                <p:cNvSpPr>
                  <a:spLocks/>
                </p:cNvSpPr>
                <p:nvPr/>
              </p:nvSpPr>
              <p:spPr bwMode="auto">
                <a:xfrm>
                  <a:off x="2293659" y="3394293"/>
                  <a:ext cx="58948" cy="24143"/>
                </a:xfrm>
                <a:custGeom>
                  <a:avLst/>
                  <a:gdLst>
                    <a:gd name="T0" fmla="*/ 58 w 58"/>
                    <a:gd name="T1" fmla="*/ 11 h 24"/>
                    <a:gd name="T2" fmla="*/ 37 w 58"/>
                    <a:gd name="T3" fmla="*/ 5 h 24"/>
                    <a:gd name="T4" fmla="*/ 19 w 58"/>
                    <a:gd name="T5" fmla="*/ 0 h 24"/>
                    <a:gd name="T6" fmla="*/ 7 w 58"/>
                    <a:gd name="T7" fmla="*/ 2 h 24"/>
                    <a:gd name="T8" fmla="*/ 13 w 58"/>
                    <a:gd name="T9" fmla="*/ 15 h 24"/>
                    <a:gd name="T10" fmla="*/ 24 w 58"/>
                    <a:gd name="T11" fmla="*/ 24 h 24"/>
                    <a:gd name="T12" fmla="*/ 51 w 58"/>
                    <a:gd name="T13" fmla="*/ 20 h 24"/>
                    <a:gd name="T14" fmla="*/ 58 w 58"/>
                    <a:gd name="T15" fmla="*/ 1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4">
                      <a:moveTo>
                        <a:pt x="58" y="11"/>
                      </a:moveTo>
                      <a:cubicBezTo>
                        <a:pt x="52" y="8"/>
                        <a:pt x="44" y="6"/>
                        <a:pt x="37" y="5"/>
                      </a:cubicBezTo>
                      <a:cubicBezTo>
                        <a:pt x="31" y="2"/>
                        <a:pt x="25" y="2"/>
                        <a:pt x="19" y="0"/>
                      </a:cubicBezTo>
                      <a:cubicBezTo>
                        <a:pt x="15" y="1"/>
                        <a:pt x="10" y="0"/>
                        <a:pt x="7" y="2"/>
                      </a:cubicBezTo>
                      <a:cubicBezTo>
                        <a:pt x="0" y="6"/>
                        <a:pt x="9" y="14"/>
                        <a:pt x="13" y="15"/>
                      </a:cubicBezTo>
                      <a:cubicBezTo>
                        <a:pt x="20" y="19"/>
                        <a:pt x="16" y="22"/>
                        <a:pt x="24" y="24"/>
                      </a:cubicBezTo>
                      <a:cubicBezTo>
                        <a:pt x="34" y="23"/>
                        <a:pt x="41" y="21"/>
                        <a:pt x="51" y="20"/>
                      </a:cubicBezTo>
                      <a:cubicBezTo>
                        <a:pt x="53" y="12"/>
                        <a:pt x="56" y="17"/>
                        <a:pt x="58" y="11"/>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0" name="Freeform 292"/>
                <p:cNvSpPr>
                  <a:spLocks/>
                </p:cNvSpPr>
                <p:nvPr/>
              </p:nvSpPr>
              <p:spPr bwMode="auto">
                <a:xfrm>
                  <a:off x="2591502" y="3395803"/>
                  <a:ext cx="41885" cy="21126"/>
                </a:xfrm>
                <a:custGeom>
                  <a:avLst/>
                  <a:gdLst>
                    <a:gd name="T0" fmla="*/ 2 w 41"/>
                    <a:gd name="T1" fmla="*/ 16 h 21"/>
                    <a:gd name="T2" fmla="*/ 20 w 41"/>
                    <a:gd name="T3" fmla="*/ 17 h 21"/>
                    <a:gd name="T4" fmla="*/ 41 w 41"/>
                    <a:gd name="T5" fmla="*/ 13 h 21"/>
                    <a:gd name="T6" fmla="*/ 12 w 41"/>
                    <a:gd name="T7" fmla="*/ 1 h 21"/>
                    <a:gd name="T8" fmla="*/ 0 w 41"/>
                    <a:gd name="T9" fmla="*/ 7 h 21"/>
                    <a:gd name="T10" fmla="*/ 2 w 41"/>
                    <a:gd name="T11" fmla="*/ 16 h 21"/>
                  </a:gdLst>
                  <a:ahLst/>
                  <a:cxnLst>
                    <a:cxn ang="0">
                      <a:pos x="T0" y="T1"/>
                    </a:cxn>
                    <a:cxn ang="0">
                      <a:pos x="T2" y="T3"/>
                    </a:cxn>
                    <a:cxn ang="0">
                      <a:pos x="T4" y="T5"/>
                    </a:cxn>
                    <a:cxn ang="0">
                      <a:pos x="T6" y="T7"/>
                    </a:cxn>
                    <a:cxn ang="0">
                      <a:pos x="T8" y="T9"/>
                    </a:cxn>
                    <a:cxn ang="0">
                      <a:pos x="T10" y="T11"/>
                    </a:cxn>
                  </a:cxnLst>
                  <a:rect l="0" t="0" r="r" b="b"/>
                  <a:pathLst>
                    <a:path w="41" h="21">
                      <a:moveTo>
                        <a:pt x="2" y="16"/>
                      </a:moveTo>
                      <a:cubicBezTo>
                        <a:pt x="8" y="17"/>
                        <a:pt x="14" y="16"/>
                        <a:pt x="20" y="17"/>
                      </a:cubicBezTo>
                      <a:cubicBezTo>
                        <a:pt x="28" y="21"/>
                        <a:pt x="36" y="20"/>
                        <a:pt x="41" y="13"/>
                      </a:cubicBezTo>
                      <a:cubicBezTo>
                        <a:pt x="38" y="5"/>
                        <a:pt x="21" y="2"/>
                        <a:pt x="12" y="1"/>
                      </a:cubicBezTo>
                      <a:cubicBezTo>
                        <a:pt x="7" y="2"/>
                        <a:pt x="1" y="0"/>
                        <a:pt x="0" y="7"/>
                      </a:cubicBezTo>
                      <a:cubicBezTo>
                        <a:pt x="0" y="10"/>
                        <a:pt x="2" y="16"/>
                        <a:pt x="2" y="16"/>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1" name="Freeform 293"/>
                <p:cNvSpPr>
                  <a:spLocks/>
                </p:cNvSpPr>
                <p:nvPr/>
              </p:nvSpPr>
              <p:spPr bwMode="auto">
                <a:xfrm>
                  <a:off x="2399145" y="3352042"/>
                  <a:ext cx="77563" cy="60359"/>
                </a:xfrm>
                <a:custGeom>
                  <a:avLst/>
                  <a:gdLst>
                    <a:gd name="T0" fmla="*/ 68 w 75"/>
                    <a:gd name="T1" fmla="*/ 57 h 60"/>
                    <a:gd name="T2" fmla="*/ 75 w 75"/>
                    <a:gd name="T3" fmla="*/ 6 h 60"/>
                    <a:gd name="T4" fmla="*/ 59 w 75"/>
                    <a:gd name="T5" fmla="*/ 0 h 60"/>
                    <a:gd name="T6" fmla="*/ 44 w 75"/>
                    <a:gd name="T7" fmla="*/ 17 h 60"/>
                    <a:gd name="T8" fmla="*/ 41 w 75"/>
                    <a:gd name="T9" fmla="*/ 45 h 60"/>
                    <a:gd name="T10" fmla="*/ 20 w 75"/>
                    <a:gd name="T11" fmla="*/ 39 h 60"/>
                    <a:gd name="T12" fmla="*/ 0 w 75"/>
                    <a:gd name="T13" fmla="*/ 48 h 60"/>
                    <a:gd name="T14" fmla="*/ 14 w 75"/>
                    <a:gd name="T15" fmla="*/ 60 h 60"/>
                    <a:gd name="T16" fmla="*/ 36 w 75"/>
                    <a:gd name="T17" fmla="*/ 57 h 60"/>
                    <a:gd name="T18" fmla="*/ 54 w 75"/>
                    <a:gd name="T19" fmla="*/ 54 h 60"/>
                    <a:gd name="T20" fmla="*/ 68 w 75"/>
                    <a:gd name="T21" fmla="*/ 5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60">
                      <a:moveTo>
                        <a:pt x="68" y="57"/>
                      </a:moveTo>
                      <a:lnTo>
                        <a:pt x="75" y="6"/>
                      </a:lnTo>
                      <a:cubicBezTo>
                        <a:pt x="68" y="5"/>
                        <a:pt x="64" y="4"/>
                        <a:pt x="59" y="0"/>
                      </a:cubicBezTo>
                      <a:cubicBezTo>
                        <a:pt x="42" y="2"/>
                        <a:pt x="41" y="1"/>
                        <a:pt x="44" y="17"/>
                      </a:cubicBezTo>
                      <a:cubicBezTo>
                        <a:pt x="45" y="28"/>
                        <a:pt x="50" y="38"/>
                        <a:pt x="41" y="45"/>
                      </a:cubicBezTo>
                      <a:cubicBezTo>
                        <a:pt x="34" y="41"/>
                        <a:pt x="28" y="41"/>
                        <a:pt x="20" y="39"/>
                      </a:cubicBezTo>
                      <a:cubicBezTo>
                        <a:pt x="9" y="41"/>
                        <a:pt x="5" y="39"/>
                        <a:pt x="0" y="48"/>
                      </a:cubicBezTo>
                      <a:cubicBezTo>
                        <a:pt x="3" y="56"/>
                        <a:pt x="6" y="58"/>
                        <a:pt x="14" y="60"/>
                      </a:cubicBezTo>
                      <a:cubicBezTo>
                        <a:pt x="21" y="54"/>
                        <a:pt x="27" y="56"/>
                        <a:pt x="36" y="57"/>
                      </a:cubicBezTo>
                      <a:cubicBezTo>
                        <a:pt x="46" y="59"/>
                        <a:pt x="46" y="58"/>
                        <a:pt x="54" y="54"/>
                      </a:cubicBezTo>
                      <a:cubicBezTo>
                        <a:pt x="65" y="56"/>
                        <a:pt x="60" y="55"/>
                        <a:pt x="68" y="57"/>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2" name="Freeform 294"/>
                <p:cNvSpPr>
                  <a:spLocks/>
                </p:cNvSpPr>
                <p:nvPr/>
              </p:nvSpPr>
              <p:spPr bwMode="auto">
                <a:xfrm>
                  <a:off x="2470503" y="3353552"/>
                  <a:ext cx="93076" cy="61868"/>
                </a:xfrm>
                <a:custGeom>
                  <a:avLst/>
                  <a:gdLst>
                    <a:gd name="T0" fmla="*/ 0 w 90"/>
                    <a:gd name="T1" fmla="*/ 55 h 61"/>
                    <a:gd name="T2" fmla="*/ 6 w 90"/>
                    <a:gd name="T3" fmla="*/ 0 h 61"/>
                    <a:gd name="T4" fmla="*/ 50 w 90"/>
                    <a:gd name="T5" fmla="*/ 7 h 61"/>
                    <a:gd name="T6" fmla="*/ 62 w 90"/>
                    <a:gd name="T7" fmla="*/ 18 h 61"/>
                    <a:gd name="T8" fmla="*/ 63 w 90"/>
                    <a:gd name="T9" fmla="*/ 24 h 61"/>
                    <a:gd name="T10" fmla="*/ 90 w 90"/>
                    <a:gd name="T11" fmla="*/ 39 h 61"/>
                    <a:gd name="T12" fmla="*/ 80 w 90"/>
                    <a:gd name="T13" fmla="*/ 49 h 61"/>
                    <a:gd name="T14" fmla="*/ 51 w 90"/>
                    <a:gd name="T15" fmla="*/ 45 h 61"/>
                    <a:gd name="T16" fmla="*/ 35 w 90"/>
                    <a:gd name="T17" fmla="*/ 51 h 61"/>
                    <a:gd name="T18" fmla="*/ 12 w 90"/>
                    <a:gd name="T19" fmla="*/ 52 h 61"/>
                    <a:gd name="T20" fmla="*/ 3 w 90"/>
                    <a:gd name="T21" fmla="*/ 60 h 61"/>
                    <a:gd name="T22" fmla="*/ 0 w 90"/>
                    <a:gd name="T23"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61">
                      <a:moveTo>
                        <a:pt x="0" y="55"/>
                      </a:moveTo>
                      <a:lnTo>
                        <a:pt x="6" y="0"/>
                      </a:lnTo>
                      <a:cubicBezTo>
                        <a:pt x="21" y="1"/>
                        <a:pt x="35" y="5"/>
                        <a:pt x="50" y="7"/>
                      </a:cubicBezTo>
                      <a:cubicBezTo>
                        <a:pt x="55" y="11"/>
                        <a:pt x="59" y="12"/>
                        <a:pt x="62" y="18"/>
                      </a:cubicBezTo>
                      <a:cubicBezTo>
                        <a:pt x="62" y="20"/>
                        <a:pt x="62" y="22"/>
                        <a:pt x="63" y="24"/>
                      </a:cubicBezTo>
                      <a:cubicBezTo>
                        <a:pt x="64" y="25"/>
                        <a:pt x="87" y="37"/>
                        <a:pt x="90" y="39"/>
                      </a:cubicBezTo>
                      <a:cubicBezTo>
                        <a:pt x="89" y="48"/>
                        <a:pt x="86" y="44"/>
                        <a:pt x="80" y="49"/>
                      </a:cubicBezTo>
                      <a:cubicBezTo>
                        <a:pt x="67" y="48"/>
                        <a:pt x="62" y="47"/>
                        <a:pt x="51" y="45"/>
                      </a:cubicBezTo>
                      <a:cubicBezTo>
                        <a:pt x="45" y="46"/>
                        <a:pt x="41" y="49"/>
                        <a:pt x="35" y="51"/>
                      </a:cubicBezTo>
                      <a:cubicBezTo>
                        <a:pt x="28" y="49"/>
                        <a:pt x="12" y="52"/>
                        <a:pt x="12" y="52"/>
                      </a:cubicBezTo>
                      <a:cubicBezTo>
                        <a:pt x="10" y="60"/>
                        <a:pt x="11" y="61"/>
                        <a:pt x="3" y="60"/>
                      </a:cubicBezTo>
                      <a:cubicBezTo>
                        <a:pt x="2" y="54"/>
                        <a:pt x="4" y="55"/>
                        <a:pt x="0" y="55"/>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3" name="Freeform 295"/>
                <p:cNvSpPr>
                  <a:spLocks/>
                </p:cNvSpPr>
                <p:nvPr/>
              </p:nvSpPr>
              <p:spPr bwMode="auto">
                <a:xfrm>
                  <a:off x="2712501" y="3623657"/>
                  <a:ext cx="21718" cy="24143"/>
                </a:xfrm>
                <a:custGeom>
                  <a:avLst/>
                  <a:gdLst>
                    <a:gd name="T0" fmla="*/ 9 w 21"/>
                    <a:gd name="T1" fmla="*/ 24 h 24"/>
                    <a:gd name="T2" fmla="*/ 9 w 21"/>
                    <a:gd name="T3" fmla="*/ 7 h 24"/>
                    <a:gd name="T4" fmla="*/ 21 w 21"/>
                    <a:gd name="T5" fmla="*/ 9 h 24"/>
                    <a:gd name="T6" fmla="*/ 13 w 21"/>
                    <a:gd name="T7" fmla="*/ 22 h 24"/>
                    <a:gd name="T8" fmla="*/ 9 w 21"/>
                    <a:gd name="T9" fmla="*/ 24 h 24"/>
                  </a:gdLst>
                  <a:ahLst/>
                  <a:cxnLst>
                    <a:cxn ang="0">
                      <a:pos x="T0" y="T1"/>
                    </a:cxn>
                    <a:cxn ang="0">
                      <a:pos x="T2" y="T3"/>
                    </a:cxn>
                    <a:cxn ang="0">
                      <a:pos x="T4" y="T5"/>
                    </a:cxn>
                    <a:cxn ang="0">
                      <a:pos x="T6" y="T7"/>
                    </a:cxn>
                    <a:cxn ang="0">
                      <a:pos x="T8" y="T9"/>
                    </a:cxn>
                  </a:cxnLst>
                  <a:rect l="0" t="0" r="r" b="b"/>
                  <a:pathLst>
                    <a:path w="21" h="24">
                      <a:moveTo>
                        <a:pt x="9" y="24"/>
                      </a:moveTo>
                      <a:cubicBezTo>
                        <a:pt x="0" y="20"/>
                        <a:pt x="1" y="12"/>
                        <a:pt x="9" y="7"/>
                      </a:cubicBezTo>
                      <a:cubicBezTo>
                        <a:pt x="14" y="0"/>
                        <a:pt x="17" y="3"/>
                        <a:pt x="21" y="9"/>
                      </a:cubicBezTo>
                      <a:cubicBezTo>
                        <a:pt x="19" y="13"/>
                        <a:pt x="17" y="19"/>
                        <a:pt x="13" y="22"/>
                      </a:cubicBezTo>
                      <a:cubicBezTo>
                        <a:pt x="12" y="23"/>
                        <a:pt x="9" y="24"/>
                        <a:pt x="9" y="24"/>
                      </a:cubicBez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4" name="Freeform 296"/>
                <p:cNvSpPr>
                  <a:spLocks noChangeAspect="1"/>
                </p:cNvSpPr>
                <p:nvPr/>
              </p:nvSpPr>
              <p:spPr bwMode="auto">
                <a:xfrm>
                  <a:off x="2216095" y="4375124"/>
                  <a:ext cx="12410" cy="22634"/>
                </a:xfrm>
                <a:custGeom>
                  <a:avLst/>
                  <a:gdLst>
                    <a:gd name="T0" fmla="*/ 3 w 12"/>
                    <a:gd name="T1" fmla="*/ 0 h 22"/>
                    <a:gd name="T2" fmla="*/ 0 w 12"/>
                    <a:gd name="T3" fmla="*/ 4 h 22"/>
                    <a:gd name="T4" fmla="*/ 0 w 12"/>
                    <a:gd name="T5" fmla="*/ 14 h 22"/>
                    <a:gd name="T6" fmla="*/ 8 w 12"/>
                    <a:gd name="T7" fmla="*/ 21 h 22"/>
                    <a:gd name="T8" fmla="*/ 11 w 12"/>
                    <a:gd name="T9" fmla="*/ 11 h 22"/>
                    <a:gd name="T10" fmla="*/ 3 w 12"/>
                    <a:gd name="T11" fmla="*/ 0 h 22"/>
                    <a:gd name="T12" fmla="*/ 3 w 1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 h="22">
                      <a:moveTo>
                        <a:pt x="3" y="0"/>
                      </a:moveTo>
                      <a:lnTo>
                        <a:pt x="0" y="4"/>
                      </a:lnTo>
                      <a:lnTo>
                        <a:pt x="0" y="14"/>
                      </a:lnTo>
                      <a:lnTo>
                        <a:pt x="8" y="21"/>
                      </a:lnTo>
                      <a:lnTo>
                        <a:pt x="11" y="11"/>
                      </a:lnTo>
                      <a:lnTo>
                        <a:pt x="3" y="0"/>
                      </a:lnTo>
                      <a:lnTo>
                        <a:pt x="3" y="0"/>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5" name="Freeform 297"/>
                <p:cNvSpPr>
                  <a:spLocks noChangeAspect="1"/>
                </p:cNvSpPr>
                <p:nvPr/>
              </p:nvSpPr>
              <p:spPr bwMode="auto">
                <a:xfrm>
                  <a:off x="2147840" y="4418884"/>
                  <a:ext cx="18615" cy="18108"/>
                </a:xfrm>
                <a:custGeom>
                  <a:avLst/>
                  <a:gdLst>
                    <a:gd name="T0" fmla="*/ 1 w 17"/>
                    <a:gd name="T1" fmla="*/ 0 h 17"/>
                    <a:gd name="T2" fmla="*/ 0 w 17"/>
                    <a:gd name="T3" fmla="*/ 3 h 17"/>
                    <a:gd name="T4" fmla="*/ 1 w 17"/>
                    <a:gd name="T5" fmla="*/ 11 h 17"/>
                    <a:gd name="T6" fmla="*/ 10 w 17"/>
                    <a:gd name="T7" fmla="*/ 16 h 17"/>
                    <a:gd name="T8" fmla="*/ 16 w 17"/>
                    <a:gd name="T9" fmla="*/ 9 h 17"/>
                    <a:gd name="T10" fmla="*/ 1 w 17"/>
                    <a:gd name="T11" fmla="*/ 0 h 17"/>
                    <a:gd name="T12" fmla="*/ 1 w 1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1" y="0"/>
                      </a:moveTo>
                      <a:lnTo>
                        <a:pt x="0" y="3"/>
                      </a:lnTo>
                      <a:lnTo>
                        <a:pt x="1" y="11"/>
                      </a:lnTo>
                      <a:lnTo>
                        <a:pt x="10" y="16"/>
                      </a:lnTo>
                      <a:lnTo>
                        <a:pt x="16" y="9"/>
                      </a:lnTo>
                      <a:lnTo>
                        <a:pt x="1" y="0"/>
                      </a:lnTo>
                      <a:lnTo>
                        <a:pt x="1" y="0"/>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6" name="Freeform 298"/>
                <p:cNvSpPr>
                  <a:spLocks noChangeAspect="1"/>
                </p:cNvSpPr>
                <p:nvPr/>
              </p:nvSpPr>
              <p:spPr bwMode="auto">
                <a:xfrm>
                  <a:off x="2200583" y="4130671"/>
                  <a:ext cx="48090" cy="75449"/>
                </a:xfrm>
                <a:custGeom>
                  <a:avLst/>
                  <a:gdLst>
                    <a:gd name="T0" fmla="*/ 38 w 44"/>
                    <a:gd name="T1" fmla="*/ 0 h 70"/>
                    <a:gd name="T2" fmla="*/ 38 w 44"/>
                    <a:gd name="T3" fmla="*/ 12 h 70"/>
                    <a:gd name="T4" fmla="*/ 43 w 44"/>
                    <a:gd name="T5" fmla="*/ 22 h 70"/>
                    <a:gd name="T6" fmla="*/ 38 w 44"/>
                    <a:gd name="T7" fmla="*/ 35 h 70"/>
                    <a:gd name="T8" fmla="*/ 31 w 44"/>
                    <a:gd name="T9" fmla="*/ 45 h 70"/>
                    <a:gd name="T10" fmla="*/ 17 w 44"/>
                    <a:gd name="T11" fmla="*/ 56 h 70"/>
                    <a:gd name="T12" fmla="*/ 7 w 44"/>
                    <a:gd name="T13" fmla="*/ 69 h 70"/>
                    <a:gd name="T14" fmla="*/ 0 w 44"/>
                    <a:gd name="T15" fmla="*/ 56 h 70"/>
                    <a:gd name="T16" fmla="*/ 4 w 44"/>
                    <a:gd name="T17" fmla="*/ 51 h 70"/>
                    <a:gd name="T18" fmla="*/ 17 w 44"/>
                    <a:gd name="T19" fmla="*/ 38 h 70"/>
                    <a:gd name="T20" fmla="*/ 17 w 44"/>
                    <a:gd name="T21" fmla="*/ 30 h 70"/>
                    <a:gd name="T22" fmla="*/ 23 w 44"/>
                    <a:gd name="T23" fmla="*/ 19 h 70"/>
                    <a:gd name="T24" fmla="*/ 39 w 44"/>
                    <a:gd name="T25" fmla="*/ 6 h 70"/>
                    <a:gd name="T26" fmla="*/ 39 w 44"/>
                    <a:gd name="T27" fmla="*/ 10 h 70"/>
                    <a:gd name="T28" fmla="*/ 41 w 44"/>
                    <a:gd name="T29" fmla="*/ 17 h 70"/>
                    <a:gd name="T30" fmla="*/ 38 w 44"/>
                    <a:gd name="T31" fmla="*/ 0 h 70"/>
                    <a:gd name="T32" fmla="*/ 38 w 44"/>
                    <a:gd name="T3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70">
                      <a:moveTo>
                        <a:pt x="38" y="0"/>
                      </a:moveTo>
                      <a:lnTo>
                        <a:pt x="38" y="12"/>
                      </a:lnTo>
                      <a:lnTo>
                        <a:pt x="43" y="22"/>
                      </a:lnTo>
                      <a:lnTo>
                        <a:pt x="38" y="35"/>
                      </a:lnTo>
                      <a:lnTo>
                        <a:pt x="31" y="45"/>
                      </a:lnTo>
                      <a:lnTo>
                        <a:pt x="17" y="56"/>
                      </a:lnTo>
                      <a:lnTo>
                        <a:pt x="7" y="69"/>
                      </a:lnTo>
                      <a:lnTo>
                        <a:pt x="0" y="56"/>
                      </a:lnTo>
                      <a:lnTo>
                        <a:pt x="4" y="51"/>
                      </a:lnTo>
                      <a:lnTo>
                        <a:pt x="17" y="38"/>
                      </a:lnTo>
                      <a:lnTo>
                        <a:pt x="17" y="30"/>
                      </a:lnTo>
                      <a:lnTo>
                        <a:pt x="23" y="19"/>
                      </a:lnTo>
                      <a:lnTo>
                        <a:pt x="39" y="6"/>
                      </a:lnTo>
                      <a:lnTo>
                        <a:pt x="39" y="10"/>
                      </a:lnTo>
                      <a:lnTo>
                        <a:pt x="41" y="17"/>
                      </a:lnTo>
                      <a:lnTo>
                        <a:pt x="38" y="0"/>
                      </a:lnTo>
                      <a:lnTo>
                        <a:pt x="38" y="0"/>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7" name="Freeform 299"/>
                <p:cNvSpPr>
                  <a:spLocks noChangeAspect="1"/>
                </p:cNvSpPr>
                <p:nvPr/>
              </p:nvSpPr>
              <p:spPr bwMode="auto">
                <a:xfrm>
                  <a:off x="2296761" y="3471251"/>
                  <a:ext cx="24820" cy="31689"/>
                </a:xfrm>
                <a:custGeom>
                  <a:avLst/>
                  <a:gdLst>
                    <a:gd name="T0" fmla="*/ 21 w 22"/>
                    <a:gd name="T1" fmla="*/ 4 h 29"/>
                    <a:gd name="T2" fmla="*/ 20 w 22"/>
                    <a:gd name="T3" fmla="*/ 10 h 29"/>
                    <a:gd name="T4" fmla="*/ 21 w 22"/>
                    <a:gd name="T5" fmla="*/ 23 h 29"/>
                    <a:gd name="T6" fmla="*/ 7 w 22"/>
                    <a:gd name="T7" fmla="*/ 28 h 29"/>
                    <a:gd name="T8" fmla="*/ 0 w 22"/>
                    <a:gd name="T9" fmla="*/ 21 h 29"/>
                    <a:gd name="T10" fmla="*/ 0 w 22"/>
                    <a:gd name="T11" fmla="*/ 10 h 29"/>
                    <a:gd name="T12" fmla="*/ 4 w 22"/>
                    <a:gd name="T13" fmla="*/ 0 h 29"/>
                    <a:gd name="T14" fmla="*/ 21 w 22"/>
                    <a:gd name="T15" fmla="*/ 4 h 29"/>
                    <a:gd name="T16" fmla="*/ 21 w 22"/>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9">
                      <a:moveTo>
                        <a:pt x="21" y="4"/>
                      </a:moveTo>
                      <a:lnTo>
                        <a:pt x="20" y="10"/>
                      </a:lnTo>
                      <a:lnTo>
                        <a:pt x="21" y="23"/>
                      </a:lnTo>
                      <a:lnTo>
                        <a:pt x="7" y="28"/>
                      </a:lnTo>
                      <a:lnTo>
                        <a:pt x="0" y="21"/>
                      </a:lnTo>
                      <a:lnTo>
                        <a:pt x="0" y="10"/>
                      </a:lnTo>
                      <a:lnTo>
                        <a:pt x="4" y="0"/>
                      </a:lnTo>
                      <a:lnTo>
                        <a:pt x="21" y="4"/>
                      </a:lnTo>
                      <a:lnTo>
                        <a:pt x="21" y="4"/>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8" name="Freeform 300"/>
                <p:cNvSpPr>
                  <a:spLocks noChangeAspect="1"/>
                </p:cNvSpPr>
                <p:nvPr/>
              </p:nvSpPr>
              <p:spPr bwMode="auto">
                <a:xfrm>
                  <a:off x="2257979" y="3490867"/>
                  <a:ext cx="23269" cy="18108"/>
                </a:xfrm>
                <a:custGeom>
                  <a:avLst/>
                  <a:gdLst>
                    <a:gd name="T0" fmla="*/ 17 w 20"/>
                    <a:gd name="T1" fmla="*/ 0 h 16"/>
                    <a:gd name="T2" fmla="*/ 19 w 20"/>
                    <a:gd name="T3" fmla="*/ 11 h 16"/>
                    <a:gd name="T4" fmla="*/ 4 w 20"/>
                    <a:gd name="T5" fmla="*/ 15 h 16"/>
                    <a:gd name="T6" fmla="*/ 0 w 20"/>
                    <a:gd name="T7" fmla="*/ 4 h 16"/>
                    <a:gd name="T8" fmla="*/ 17 w 20"/>
                    <a:gd name="T9" fmla="*/ 0 h 16"/>
                    <a:gd name="T10" fmla="*/ 17 w 20"/>
                    <a:gd name="T11" fmla="*/ 0 h 16"/>
                  </a:gdLst>
                  <a:ahLst/>
                  <a:cxnLst>
                    <a:cxn ang="0">
                      <a:pos x="T0" y="T1"/>
                    </a:cxn>
                    <a:cxn ang="0">
                      <a:pos x="T2" y="T3"/>
                    </a:cxn>
                    <a:cxn ang="0">
                      <a:pos x="T4" y="T5"/>
                    </a:cxn>
                    <a:cxn ang="0">
                      <a:pos x="T6" y="T7"/>
                    </a:cxn>
                    <a:cxn ang="0">
                      <a:pos x="T8" y="T9"/>
                    </a:cxn>
                    <a:cxn ang="0">
                      <a:pos x="T10" y="T11"/>
                    </a:cxn>
                  </a:cxnLst>
                  <a:rect l="0" t="0" r="r" b="b"/>
                  <a:pathLst>
                    <a:path w="20" h="16">
                      <a:moveTo>
                        <a:pt x="17" y="0"/>
                      </a:moveTo>
                      <a:lnTo>
                        <a:pt x="19" y="11"/>
                      </a:lnTo>
                      <a:lnTo>
                        <a:pt x="4" y="15"/>
                      </a:lnTo>
                      <a:lnTo>
                        <a:pt x="0" y="4"/>
                      </a:lnTo>
                      <a:lnTo>
                        <a:pt x="17" y="0"/>
                      </a:lnTo>
                      <a:lnTo>
                        <a:pt x="17" y="0"/>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89" name="Freeform 301"/>
                <p:cNvSpPr>
                  <a:spLocks noChangeAspect="1"/>
                </p:cNvSpPr>
                <p:nvPr/>
              </p:nvSpPr>
              <p:spPr bwMode="auto">
                <a:xfrm>
                  <a:off x="2265736" y="3457670"/>
                  <a:ext cx="27923" cy="21126"/>
                </a:xfrm>
                <a:custGeom>
                  <a:avLst/>
                  <a:gdLst>
                    <a:gd name="T0" fmla="*/ 0 w 25"/>
                    <a:gd name="T1" fmla="*/ 13 h 20"/>
                    <a:gd name="T2" fmla="*/ 17 w 25"/>
                    <a:gd name="T3" fmla="*/ 19 h 20"/>
                    <a:gd name="T4" fmla="*/ 24 w 25"/>
                    <a:gd name="T5" fmla="*/ 4 h 20"/>
                    <a:gd name="T6" fmla="*/ 13 w 25"/>
                    <a:gd name="T7" fmla="*/ 0 h 20"/>
                    <a:gd name="T8" fmla="*/ 7 w 25"/>
                    <a:gd name="T9" fmla="*/ 4 h 20"/>
                    <a:gd name="T10" fmla="*/ 0 w 25"/>
                    <a:gd name="T11" fmla="*/ 8 h 20"/>
                    <a:gd name="T12" fmla="*/ 0 w 25"/>
                    <a:gd name="T13" fmla="*/ 13 h 20"/>
                    <a:gd name="T14" fmla="*/ 0 w 25"/>
                    <a:gd name="T15" fmla="*/ 1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0">
                      <a:moveTo>
                        <a:pt x="0" y="13"/>
                      </a:moveTo>
                      <a:lnTo>
                        <a:pt x="17" y="19"/>
                      </a:lnTo>
                      <a:lnTo>
                        <a:pt x="24" y="4"/>
                      </a:lnTo>
                      <a:lnTo>
                        <a:pt x="13" y="0"/>
                      </a:lnTo>
                      <a:lnTo>
                        <a:pt x="7" y="4"/>
                      </a:lnTo>
                      <a:lnTo>
                        <a:pt x="0" y="8"/>
                      </a:lnTo>
                      <a:lnTo>
                        <a:pt x="0" y="13"/>
                      </a:lnTo>
                      <a:lnTo>
                        <a:pt x="0" y="13"/>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0" name="Freeform 302"/>
                <p:cNvSpPr>
                  <a:spLocks noChangeAspect="1"/>
                </p:cNvSpPr>
                <p:nvPr/>
              </p:nvSpPr>
              <p:spPr bwMode="auto">
                <a:xfrm>
                  <a:off x="2296761" y="3439563"/>
                  <a:ext cx="20167" cy="12072"/>
                </a:xfrm>
                <a:custGeom>
                  <a:avLst/>
                  <a:gdLst>
                    <a:gd name="T0" fmla="*/ 0 w 18"/>
                    <a:gd name="T1" fmla="*/ 11 h 12"/>
                    <a:gd name="T2" fmla="*/ 13 w 18"/>
                    <a:gd name="T3" fmla="*/ 0 h 12"/>
                    <a:gd name="T4" fmla="*/ 17 w 18"/>
                    <a:gd name="T5" fmla="*/ 4 h 12"/>
                    <a:gd name="T6" fmla="*/ 0 w 18"/>
                    <a:gd name="T7" fmla="*/ 11 h 12"/>
                    <a:gd name="T8" fmla="*/ 0 w 18"/>
                    <a:gd name="T9" fmla="*/ 11 h 12"/>
                  </a:gdLst>
                  <a:ahLst/>
                  <a:cxnLst>
                    <a:cxn ang="0">
                      <a:pos x="T0" y="T1"/>
                    </a:cxn>
                    <a:cxn ang="0">
                      <a:pos x="T2" y="T3"/>
                    </a:cxn>
                    <a:cxn ang="0">
                      <a:pos x="T4" y="T5"/>
                    </a:cxn>
                    <a:cxn ang="0">
                      <a:pos x="T6" y="T7"/>
                    </a:cxn>
                    <a:cxn ang="0">
                      <a:pos x="T8" y="T9"/>
                    </a:cxn>
                  </a:cxnLst>
                  <a:rect l="0" t="0" r="r" b="b"/>
                  <a:pathLst>
                    <a:path w="18" h="12">
                      <a:moveTo>
                        <a:pt x="0" y="11"/>
                      </a:moveTo>
                      <a:lnTo>
                        <a:pt x="13" y="0"/>
                      </a:lnTo>
                      <a:lnTo>
                        <a:pt x="17" y="4"/>
                      </a:lnTo>
                      <a:lnTo>
                        <a:pt x="0" y="11"/>
                      </a:lnTo>
                      <a:lnTo>
                        <a:pt x="0" y="11"/>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1" name="Freeform 303"/>
                <p:cNvSpPr>
                  <a:spLocks noChangeAspect="1"/>
                </p:cNvSpPr>
                <p:nvPr/>
              </p:nvSpPr>
              <p:spPr bwMode="auto">
                <a:xfrm>
                  <a:off x="2226954" y="3498412"/>
                  <a:ext cx="15513" cy="13581"/>
                </a:xfrm>
                <a:custGeom>
                  <a:avLst/>
                  <a:gdLst>
                    <a:gd name="T0" fmla="*/ 11 w 14"/>
                    <a:gd name="T1" fmla="*/ 0 h 13"/>
                    <a:gd name="T2" fmla="*/ 13 w 14"/>
                    <a:gd name="T3" fmla="*/ 10 h 13"/>
                    <a:gd name="T4" fmla="*/ 0 w 14"/>
                    <a:gd name="T5" fmla="*/ 12 h 13"/>
                    <a:gd name="T6" fmla="*/ 11 w 14"/>
                    <a:gd name="T7" fmla="*/ 0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lnTo>
                        <a:pt x="13" y="10"/>
                      </a:lnTo>
                      <a:lnTo>
                        <a:pt x="0" y="12"/>
                      </a:lnTo>
                      <a:lnTo>
                        <a:pt x="11" y="0"/>
                      </a:lnTo>
                      <a:lnTo>
                        <a:pt x="11" y="0"/>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2" name="Freeform 304"/>
                <p:cNvSpPr>
                  <a:spLocks noChangeAspect="1"/>
                </p:cNvSpPr>
                <p:nvPr/>
              </p:nvSpPr>
              <p:spPr bwMode="auto">
                <a:xfrm>
                  <a:off x="2380529" y="3403348"/>
                  <a:ext cx="27923" cy="21126"/>
                </a:xfrm>
                <a:custGeom>
                  <a:avLst/>
                  <a:gdLst>
                    <a:gd name="T0" fmla="*/ 11 w 25"/>
                    <a:gd name="T1" fmla="*/ 0 h 20"/>
                    <a:gd name="T2" fmla="*/ 0 w 25"/>
                    <a:gd name="T3" fmla="*/ 8 h 20"/>
                    <a:gd name="T4" fmla="*/ 15 w 25"/>
                    <a:gd name="T5" fmla="*/ 19 h 20"/>
                    <a:gd name="T6" fmla="*/ 24 w 25"/>
                    <a:gd name="T7" fmla="*/ 8 h 20"/>
                    <a:gd name="T8" fmla="*/ 11 w 25"/>
                    <a:gd name="T9" fmla="*/ 0 h 20"/>
                    <a:gd name="T10" fmla="*/ 11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1" y="0"/>
                      </a:moveTo>
                      <a:lnTo>
                        <a:pt x="0" y="8"/>
                      </a:lnTo>
                      <a:lnTo>
                        <a:pt x="15" y="19"/>
                      </a:lnTo>
                      <a:lnTo>
                        <a:pt x="24" y="8"/>
                      </a:lnTo>
                      <a:lnTo>
                        <a:pt x="11" y="0"/>
                      </a:lnTo>
                      <a:lnTo>
                        <a:pt x="11" y="0"/>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3" name="Freeform 305"/>
                <p:cNvSpPr>
                  <a:spLocks noChangeAspect="1"/>
                </p:cNvSpPr>
                <p:nvPr/>
              </p:nvSpPr>
              <p:spPr bwMode="auto">
                <a:xfrm>
                  <a:off x="2405350" y="3383731"/>
                  <a:ext cx="26372" cy="22634"/>
                </a:xfrm>
                <a:custGeom>
                  <a:avLst/>
                  <a:gdLst>
                    <a:gd name="T0" fmla="*/ 0 w 24"/>
                    <a:gd name="T1" fmla="*/ 7 h 21"/>
                    <a:gd name="T2" fmla="*/ 10 w 24"/>
                    <a:gd name="T3" fmla="*/ 20 h 21"/>
                    <a:gd name="T4" fmla="*/ 23 w 24"/>
                    <a:gd name="T5" fmla="*/ 11 h 21"/>
                    <a:gd name="T6" fmla="*/ 12 w 24"/>
                    <a:gd name="T7" fmla="*/ 0 h 21"/>
                    <a:gd name="T8" fmla="*/ 0 w 24"/>
                    <a:gd name="T9" fmla="*/ 7 h 21"/>
                    <a:gd name="T10" fmla="*/ 0 w 24"/>
                    <a:gd name="T11" fmla="*/ 7 h 21"/>
                  </a:gdLst>
                  <a:ahLst/>
                  <a:cxnLst>
                    <a:cxn ang="0">
                      <a:pos x="T0" y="T1"/>
                    </a:cxn>
                    <a:cxn ang="0">
                      <a:pos x="T2" y="T3"/>
                    </a:cxn>
                    <a:cxn ang="0">
                      <a:pos x="T4" y="T5"/>
                    </a:cxn>
                    <a:cxn ang="0">
                      <a:pos x="T6" y="T7"/>
                    </a:cxn>
                    <a:cxn ang="0">
                      <a:pos x="T8" y="T9"/>
                    </a:cxn>
                    <a:cxn ang="0">
                      <a:pos x="T10" y="T11"/>
                    </a:cxn>
                  </a:cxnLst>
                  <a:rect l="0" t="0" r="r" b="b"/>
                  <a:pathLst>
                    <a:path w="24" h="21">
                      <a:moveTo>
                        <a:pt x="0" y="7"/>
                      </a:moveTo>
                      <a:lnTo>
                        <a:pt x="10" y="20"/>
                      </a:lnTo>
                      <a:lnTo>
                        <a:pt x="23" y="11"/>
                      </a:lnTo>
                      <a:lnTo>
                        <a:pt x="12" y="0"/>
                      </a:lnTo>
                      <a:lnTo>
                        <a:pt x="0" y="7"/>
                      </a:lnTo>
                      <a:lnTo>
                        <a:pt x="0" y="7"/>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4" name="Freeform 306"/>
                <p:cNvSpPr>
                  <a:spLocks noChangeAspect="1"/>
                </p:cNvSpPr>
                <p:nvPr/>
              </p:nvSpPr>
              <p:spPr bwMode="auto">
                <a:xfrm>
                  <a:off x="2472055" y="3346007"/>
                  <a:ext cx="40333" cy="27162"/>
                </a:xfrm>
                <a:custGeom>
                  <a:avLst/>
                  <a:gdLst>
                    <a:gd name="T0" fmla="*/ 15 w 35"/>
                    <a:gd name="T1" fmla="*/ 7 h 25"/>
                    <a:gd name="T2" fmla="*/ 22 w 35"/>
                    <a:gd name="T3" fmla="*/ 11 h 25"/>
                    <a:gd name="T4" fmla="*/ 34 w 35"/>
                    <a:gd name="T5" fmla="*/ 0 h 25"/>
                    <a:gd name="T6" fmla="*/ 28 w 35"/>
                    <a:gd name="T7" fmla="*/ 22 h 25"/>
                    <a:gd name="T8" fmla="*/ 15 w 35"/>
                    <a:gd name="T9" fmla="*/ 24 h 25"/>
                    <a:gd name="T10" fmla="*/ 0 w 35"/>
                    <a:gd name="T11" fmla="*/ 9 h 25"/>
                    <a:gd name="T12" fmla="*/ 15 w 35"/>
                    <a:gd name="T13" fmla="*/ 7 h 25"/>
                    <a:gd name="T14" fmla="*/ 15 w 35"/>
                    <a:gd name="T15" fmla="*/ 7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5">
                      <a:moveTo>
                        <a:pt x="15" y="7"/>
                      </a:moveTo>
                      <a:lnTo>
                        <a:pt x="22" y="11"/>
                      </a:lnTo>
                      <a:lnTo>
                        <a:pt x="34" y="0"/>
                      </a:lnTo>
                      <a:lnTo>
                        <a:pt x="28" y="22"/>
                      </a:lnTo>
                      <a:lnTo>
                        <a:pt x="15" y="24"/>
                      </a:lnTo>
                      <a:lnTo>
                        <a:pt x="0" y="9"/>
                      </a:lnTo>
                      <a:lnTo>
                        <a:pt x="15" y="7"/>
                      </a:lnTo>
                      <a:lnTo>
                        <a:pt x="15" y="7"/>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5" name="Freeform 307"/>
                <p:cNvSpPr>
                  <a:spLocks noChangeAspect="1"/>
                </p:cNvSpPr>
                <p:nvPr/>
              </p:nvSpPr>
              <p:spPr bwMode="auto">
                <a:xfrm>
                  <a:off x="2548066" y="3323372"/>
                  <a:ext cx="18615" cy="15090"/>
                </a:xfrm>
                <a:custGeom>
                  <a:avLst/>
                  <a:gdLst>
                    <a:gd name="T0" fmla="*/ 8 w 18"/>
                    <a:gd name="T1" fmla="*/ 0 h 13"/>
                    <a:gd name="T2" fmla="*/ 15 w 18"/>
                    <a:gd name="T3" fmla="*/ 4 h 13"/>
                    <a:gd name="T4" fmla="*/ 17 w 18"/>
                    <a:gd name="T5" fmla="*/ 12 h 13"/>
                    <a:gd name="T6" fmla="*/ 0 w 18"/>
                    <a:gd name="T7" fmla="*/ 12 h 13"/>
                    <a:gd name="T8" fmla="*/ 8 w 18"/>
                    <a:gd name="T9" fmla="*/ 0 h 13"/>
                    <a:gd name="T10" fmla="*/ 8 w 18"/>
                    <a:gd name="T11" fmla="*/ 0 h 13"/>
                  </a:gdLst>
                  <a:ahLst/>
                  <a:cxnLst>
                    <a:cxn ang="0">
                      <a:pos x="T0" y="T1"/>
                    </a:cxn>
                    <a:cxn ang="0">
                      <a:pos x="T2" y="T3"/>
                    </a:cxn>
                    <a:cxn ang="0">
                      <a:pos x="T4" y="T5"/>
                    </a:cxn>
                    <a:cxn ang="0">
                      <a:pos x="T6" y="T7"/>
                    </a:cxn>
                    <a:cxn ang="0">
                      <a:pos x="T8" y="T9"/>
                    </a:cxn>
                    <a:cxn ang="0">
                      <a:pos x="T10" y="T11"/>
                    </a:cxn>
                  </a:cxnLst>
                  <a:rect l="0" t="0" r="r" b="b"/>
                  <a:pathLst>
                    <a:path w="18" h="13">
                      <a:moveTo>
                        <a:pt x="8" y="0"/>
                      </a:moveTo>
                      <a:lnTo>
                        <a:pt x="15" y="4"/>
                      </a:lnTo>
                      <a:lnTo>
                        <a:pt x="17" y="12"/>
                      </a:lnTo>
                      <a:lnTo>
                        <a:pt x="0" y="12"/>
                      </a:lnTo>
                      <a:lnTo>
                        <a:pt x="8" y="0"/>
                      </a:lnTo>
                      <a:lnTo>
                        <a:pt x="8" y="0"/>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6" name="Freeform 308"/>
                <p:cNvSpPr>
                  <a:spLocks noChangeAspect="1"/>
                </p:cNvSpPr>
                <p:nvPr/>
              </p:nvSpPr>
              <p:spPr bwMode="auto">
                <a:xfrm>
                  <a:off x="2054764" y="3789644"/>
                  <a:ext cx="29475" cy="15090"/>
                </a:xfrm>
                <a:custGeom>
                  <a:avLst/>
                  <a:gdLst>
                    <a:gd name="T0" fmla="*/ 25 w 26"/>
                    <a:gd name="T1" fmla="*/ 8 h 16"/>
                    <a:gd name="T2" fmla="*/ 6 w 26"/>
                    <a:gd name="T3" fmla="*/ 0 h 16"/>
                    <a:gd name="T4" fmla="*/ 0 w 26"/>
                    <a:gd name="T5" fmla="*/ 6 h 16"/>
                    <a:gd name="T6" fmla="*/ 2 w 26"/>
                    <a:gd name="T7" fmla="*/ 15 h 16"/>
                    <a:gd name="T8" fmla="*/ 25 w 26"/>
                    <a:gd name="T9" fmla="*/ 8 h 16"/>
                    <a:gd name="T10" fmla="*/ 25 w 26"/>
                    <a:gd name="T11" fmla="*/ 8 h 16"/>
                  </a:gdLst>
                  <a:ahLst/>
                  <a:cxnLst>
                    <a:cxn ang="0">
                      <a:pos x="T0" y="T1"/>
                    </a:cxn>
                    <a:cxn ang="0">
                      <a:pos x="T2" y="T3"/>
                    </a:cxn>
                    <a:cxn ang="0">
                      <a:pos x="T4" y="T5"/>
                    </a:cxn>
                    <a:cxn ang="0">
                      <a:pos x="T6" y="T7"/>
                    </a:cxn>
                    <a:cxn ang="0">
                      <a:pos x="T8" y="T9"/>
                    </a:cxn>
                    <a:cxn ang="0">
                      <a:pos x="T10" y="T11"/>
                    </a:cxn>
                  </a:cxnLst>
                  <a:rect l="0" t="0" r="r" b="b"/>
                  <a:pathLst>
                    <a:path w="26" h="16">
                      <a:moveTo>
                        <a:pt x="25" y="8"/>
                      </a:moveTo>
                      <a:lnTo>
                        <a:pt x="6" y="0"/>
                      </a:lnTo>
                      <a:lnTo>
                        <a:pt x="0" y="6"/>
                      </a:lnTo>
                      <a:lnTo>
                        <a:pt x="2" y="15"/>
                      </a:lnTo>
                      <a:lnTo>
                        <a:pt x="25" y="8"/>
                      </a:lnTo>
                      <a:lnTo>
                        <a:pt x="25" y="8"/>
                      </a:lnTo>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7" name="Freeform 309"/>
                <p:cNvSpPr>
                  <a:spLocks/>
                </p:cNvSpPr>
                <p:nvPr/>
              </p:nvSpPr>
              <p:spPr bwMode="auto">
                <a:xfrm>
                  <a:off x="6205954" y="2368195"/>
                  <a:ext cx="1372871" cy="974794"/>
                </a:xfrm>
                <a:custGeom>
                  <a:avLst/>
                  <a:gdLst>
                    <a:gd name="T0" fmla="*/ 270 w 1334"/>
                    <a:gd name="T1" fmla="*/ 164 h 975"/>
                    <a:gd name="T2" fmla="*/ 341 w 1334"/>
                    <a:gd name="T3" fmla="*/ 200 h 975"/>
                    <a:gd name="T4" fmla="*/ 414 w 1334"/>
                    <a:gd name="T5" fmla="*/ 248 h 975"/>
                    <a:gd name="T6" fmla="*/ 545 w 1334"/>
                    <a:gd name="T7" fmla="*/ 314 h 975"/>
                    <a:gd name="T8" fmla="*/ 647 w 1334"/>
                    <a:gd name="T9" fmla="*/ 329 h 975"/>
                    <a:gd name="T10" fmla="*/ 744 w 1334"/>
                    <a:gd name="T11" fmla="*/ 330 h 975"/>
                    <a:gd name="T12" fmla="*/ 840 w 1334"/>
                    <a:gd name="T13" fmla="*/ 300 h 975"/>
                    <a:gd name="T14" fmla="*/ 842 w 1334"/>
                    <a:gd name="T15" fmla="*/ 255 h 975"/>
                    <a:gd name="T16" fmla="*/ 914 w 1334"/>
                    <a:gd name="T17" fmla="*/ 236 h 975"/>
                    <a:gd name="T18" fmla="*/ 983 w 1334"/>
                    <a:gd name="T19" fmla="*/ 200 h 975"/>
                    <a:gd name="T20" fmla="*/ 932 w 1334"/>
                    <a:gd name="T21" fmla="*/ 168 h 975"/>
                    <a:gd name="T22" fmla="*/ 900 w 1334"/>
                    <a:gd name="T23" fmla="*/ 111 h 975"/>
                    <a:gd name="T24" fmla="*/ 903 w 1334"/>
                    <a:gd name="T25" fmla="*/ 23 h 975"/>
                    <a:gd name="T26" fmla="*/ 1065 w 1334"/>
                    <a:gd name="T27" fmla="*/ 42 h 975"/>
                    <a:gd name="T28" fmla="*/ 1208 w 1334"/>
                    <a:gd name="T29" fmla="*/ 132 h 975"/>
                    <a:gd name="T30" fmla="*/ 1328 w 1334"/>
                    <a:gd name="T31" fmla="*/ 164 h 975"/>
                    <a:gd name="T32" fmla="*/ 1290 w 1334"/>
                    <a:gd name="T33" fmla="*/ 245 h 975"/>
                    <a:gd name="T34" fmla="*/ 1305 w 1334"/>
                    <a:gd name="T35" fmla="*/ 302 h 975"/>
                    <a:gd name="T36" fmla="*/ 1274 w 1334"/>
                    <a:gd name="T37" fmla="*/ 330 h 975"/>
                    <a:gd name="T38" fmla="*/ 1241 w 1334"/>
                    <a:gd name="T39" fmla="*/ 351 h 975"/>
                    <a:gd name="T40" fmla="*/ 1191 w 1334"/>
                    <a:gd name="T41" fmla="*/ 398 h 975"/>
                    <a:gd name="T42" fmla="*/ 1158 w 1334"/>
                    <a:gd name="T43" fmla="*/ 413 h 975"/>
                    <a:gd name="T44" fmla="*/ 1122 w 1334"/>
                    <a:gd name="T45" fmla="*/ 368 h 975"/>
                    <a:gd name="T46" fmla="*/ 1064 w 1334"/>
                    <a:gd name="T47" fmla="*/ 417 h 975"/>
                    <a:gd name="T48" fmla="*/ 1148 w 1334"/>
                    <a:gd name="T49" fmla="*/ 468 h 975"/>
                    <a:gd name="T50" fmla="*/ 1182 w 1334"/>
                    <a:gd name="T51" fmla="*/ 488 h 975"/>
                    <a:gd name="T52" fmla="*/ 1187 w 1334"/>
                    <a:gd name="T53" fmla="*/ 569 h 975"/>
                    <a:gd name="T54" fmla="*/ 1194 w 1334"/>
                    <a:gd name="T55" fmla="*/ 626 h 975"/>
                    <a:gd name="T56" fmla="*/ 1253 w 1334"/>
                    <a:gd name="T57" fmla="*/ 659 h 975"/>
                    <a:gd name="T58" fmla="*/ 1260 w 1334"/>
                    <a:gd name="T59" fmla="*/ 689 h 975"/>
                    <a:gd name="T60" fmla="*/ 1250 w 1334"/>
                    <a:gd name="T61" fmla="*/ 761 h 975"/>
                    <a:gd name="T62" fmla="*/ 1205 w 1334"/>
                    <a:gd name="T63" fmla="*/ 854 h 975"/>
                    <a:gd name="T64" fmla="*/ 1125 w 1334"/>
                    <a:gd name="T65" fmla="*/ 914 h 975"/>
                    <a:gd name="T66" fmla="*/ 1071 w 1334"/>
                    <a:gd name="T67" fmla="*/ 933 h 975"/>
                    <a:gd name="T68" fmla="*/ 1023 w 1334"/>
                    <a:gd name="T69" fmla="*/ 974 h 975"/>
                    <a:gd name="T70" fmla="*/ 998 w 1334"/>
                    <a:gd name="T71" fmla="*/ 941 h 975"/>
                    <a:gd name="T72" fmla="*/ 929 w 1334"/>
                    <a:gd name="T73" fmla="*/ 899 h 975"/>
                    <a:gd name="T74" fmla="*/ 861 w 1334"/>
                    <a:gd name="T75" fmla="*/ 905 h 975"/>
                    <a:gd name="T76" fmla="*/ 794 w 1334"/>
                    <a:gd name="T77" fmla="*/ 915 h 975"/>
                    <a:gd name="T78" fmla="*/ 771 w 1334"/>
                    <a:gd name="T79" fmla="*/ 941 h 975"/>
                    <a:gd name="T80" fmla="*/ 731 w 1334"/>
                    <a:gd name="T81" fmla="*/ 888 h 975"/>
                    <a:gd name="T82" fmla="*/ 692 w 1334"/>
                    <a:gd name="T83" fmla="*/ 828 h 975"/>
                    <a:gd name="T84" fmla="*/ 689 w 1334"/>
                    <a:gd name="T85" fmla="*/ 758 h 975"/>
                    <a:gd name="T86" fmla="*/ 647 w 1334"/>
                    <a:gd name="T87" fmla="*/ 735 h 975"/>
                    <a:gd name="T88" fmla="*/ 603 w 1334"/>
                    <a:gd name="T89" fmla="*/ 717 h 975"/>
                    <a:gd name="T90" fmla="*/ 519 w 1334"/>
                    <a:gd name="T91" fmla="*/ 755 h 975"/>
                    <a:gd name="T92" fmla="*/ 471 w 1334"/>
                    <a:gd name="T93" fmla="*/ 738 h 975"/>
                    <a:gd name="T94" fmla="*/ 411 w 1334"/>
                    <a:gd name="T95" fmla="*/ 750 h 975"/>
                    <a:gd name="T96" fmla="*/ 305 w 1334"/>
                    <a:gd name="T97" fmla="*/ 710 h 975"/>
                    <a:gd name="T98" fmla="*/ 248 w 1334"/>
                    <a:gd name="T99" fmla="*/ 684 h 975"/>
                    <a:gd name="T100" fmla="*/ 174 w 1334"/>
                    <a:gd name="T101" fmla="*/ 627 h 975"/>
                    <a:gd name="T102" fmla="*/ 195 w 1334"/>
                    <a:gd name="T103" fmla="*/ 600 h 975"/>
                    <a:gd name="T104" fmla="*/ 134 w 1334"/>
                    <a:gd name="T105" fmla="*/ 522 h 975"/>
                    <a:gd name="T106" fmla="*/ 39 w 1334"/>
                    <a:gd name="T107" fmla="*/ 479 h 975"/>
                    <a:gd name="T108" fmla="*/ 15 w 1334"/>
                    <a:gd name="T109" fmla="*/ 432 h 975"/>
                    <a:gd name="T110" fmla="*/ 36 w 1334"/>
                    <a:gd name="T111" fmla="*/ 377 h 975"/>
                    <a:gd name="T112" fmla="*/ 92 w 1334"/>
                    <a:gd name="T113" fmla="*/ 363 h 975"/>
                    <a:gd name="T114" fmla="*/ 129 w 1334"/>
                    <a:gd name="T115" fmla="*/ 305 h 975"/>
                    <a:gd name="T116" fmla="*/ 101 w 1334"/>
                    <a:gd name="T117" fmla="*/ 254 h 975"/>
                    <a:gd name="T118" fmla="*/ 147 w 1334"/>
                    <a:gd name="T119" fmla="*/ 230 h 975"/>
                    <a:gd name="T120" fmla="*/ 194 w 1334"/>
                    <a:gd name="T121" fmla="*/ 194 h 975"/>
                    <a:gd name="T122" fmla="*/ 213 w 1334"/>
                    <a:gd name="T123" fmla="*/ 147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4" h="975">
                      <a:moveTo>
                        <a:pt x="219" y="125"/>
                      </a:moveTo>
                      <a:lnTo>
                        <a:pt x="234" y="126"/>
                      </a:lnTo>
                      <a:lnTo>
                        <a:pt x="260" y="149"/>
                      </a:lnTo>
                      <a:lnTo>
                        <a:pt x="270" y="164"/>
                      </a:lnTo>
                      <a:lnTo>
                        <a:pt x="284" y="156"/>
                      </a:lnTo>
                      <a:lnTo>
                        <a:pt x="308" y="165"/>
                      </a:lnTo>
                      <a:lnTo>
                        <a:pt x="324" y="185"/>
                      </a:lnTo>
                      <a:lnTo>
                        <a:pt x="341" y="200"/>
                      </a:lnTo>
                      <a:lnTo>
                        <a:pt x="342" y="222"/>
                      </a:lnTo>
                      <a:lnTo>
                        <a:pt x="345" y="236"/>
                      </a:lnTo>
                      <a:lnTo>
                        <a:pt x="375" y="246"/>
                      </a:lnTo>
                      <a:lnTo>
                        <a:pt x="414" y="248"/>
                      </a:lnTo>
                      <a:lnTo>
                        <a:pt x="447" y="266"/>
                      </a:lnTo>
                      <a:lnTo>
                        <a:pt x="473" y="270"/>
                      </a:lnTo>
                      <a:lnTo>
                        <a:pt x="506" y="312"/>
                      </a:lnTo>
                      <a:lnTo>
                        <a:pt x="545" y="314"/>
                      </a:lnTo>
                      <a:lnTo>
                        <a:pt x="578" y="320"/>
                      </a:lnTo>
                      <a:lnTo>
                        <a:pt x="593" y="318"/>
                      </a:lnTo>
                      <a:lnTo>
                        <a:pt x="635" y="317"/>
                      </a:lnTo>
                      <a:lnTo>
                        <a:pt x="647" y="329"/>
                      </a:lnTo>
                      <a:lnTo>
                        <a:pt x="693" y="342"/>
                      </a:lnTo>
                      <a:lnTo>
                        <a:pt x="710" y="336"/>
                      </a:lnTo>
                      <a:lnTo>
                        <a:pt x="722" y="348"/>
                      </a:lnTo>
                      <a:lnTo>
                        <a:pt x="744" y="330"/>
                      </a:lnTo>
                      <a:lnTo>
                        <a:pt x="782" y="321"/>
                      </a:lnTo>
                      <a:lnTo>
                        <a:pt x="809" y="321"/>
                      </a:lnTo>
                      <a:lnTo>
                        <a:pt x="837" y="318"/>
                      </a:lnTo>
                      <a:lnTo>
                        <a:pt x="840" y="300"/>
                      </a:lnTo>
                      <a:lnTo>
                        <a:pt x="855" y="293"/>
                      </a:lnTo>
                      <a:lnTo>
                        <a:pt x="867" y="282"/>
                      </a:lnTo>
                      <a:lnTo>
                        <a:pt x="848" y="269"/>
                      </a:lnTo>
                      <a:lnTo>
                        <a:pt x="842" y="255"/>
                      </a:lnTo>
                      <a:lnTo>
                        <a:pt x="849" y="242"/>
                      </a:lnTo>
                      <a:lnTo>
                        <a:pt x="887" y="257"/>
                      </a:lnTo>
                      <a:lnTo>
                        <a:pt x="899" y="236"/>
                      </a:lnTo>
                      <a:lnTo>
                        <a:pt x="914" y="236"/>
                      </a:lnTo>
                      <a:lnTo>
                        <a:pt x="933" y="230"/>
                      </a:lnTo>
                      <a:lnTo>
                        <a:pt x="938" y="210"/>
                      </a:lnTo>
                      <a:lnTo>
                        <a:pt x="962" y="198"/>
                      </a:lnTo>
                      <a:lnTo>
                        <a:pt x="983" y="200"/>
                      </a:lnTo>
                      <a:lnTo>
                        <a:pt x="1007" y="198"/>
                      </a:lnTo>
                      <a:lnTo>
                        <a:pt x="1004" y="183"/>
                      </a:lnTo>
                      <a:lnTo>
                        <a:pt x="944" y="156"/>
                      </a:lnTo>
                      <a:lnTo>
                        <a:pt x="932" y="168"/>
                      </a:lnTo>
                      <a:lnTo>
                        <a:pt x="924" y="161"/>
                      </a:lnTo>
                      <a:lnTo>
                        <a:pt x="887" y="164"/>
                      </a:lnTo>
                      <a:lnTo>
                        <a:pt x="879" y="102"/>
                      </a:lnTo>
                      <a:lnTo>
                        <a:pt x="900" y="111"/>
                      </a:lnTo>
                      <a:lnTo>
                        <a:pt x="926" y="104"/>
                      </a:lnTo>
                      <a:lnTo>
                        <a:pt x="924" y="60"/>
                      </a:lnTo>
                      <a:lnTo>
                        <a:pt x="933" y="42"/>
                      </a:lnTo>
                      <a:lnTo>
                        <a:pt x="903" y="23"/>
                      </a:lnTo>
                      <a:lnTo>
                        <a:pt x="906" y="8"/>
                      </a:lnTo>
                      <a:lnTo>
                        <a:pt x="951" y="0"/>
                      </a:lnTo>
                      <a:lnTo>
                        <a:pt x="1007" y="11"/>
                      </a:lnTo>
                      <a:lnTo>
                        <a:pt x="1065" y="42"/>
                      </a:lnTo>
                      <a:lnTo>
                        <a:pt x="1115" y="96"/>
                      </a:lnTo>
                      <a:lnTo>
                        <a:pt x="1128" y="113"/>
                      </a:lnTo>
                      <a:lnTo>
                        <a:pt x="1154" y="111"/>
                      </a:lnTo>
                      <a:lnTo>
                        <a:pt x="1208" y="132"/>
                      </a:lnTo>
                      <a:lnTo>
                        <a:pt x="1236" y="165"/>
                      </a:lnTo>
                      <a:lnTo>
                        <a:pt x="1269" y="165"/>
                      </a:lnTo>
                      <a:lnTo>
                        <a:pt x="1307" y="143"/>
                      </a:lnTo>
                      <a:lnTo>
                        <a:pt x="1328" y="164"/>
                      </a:lnTo>
                      <a:lnTo>
                        <a:pt x="1329" y="194"/>
                      </a:lnTo>
                      <a:lnTo>
                        <a:pt x="1334" y="245"/>
                      </a:lnTo>
                      <a:lnTo>
                        <a:pt x="1305" y="233"/>
                      </a:lnTo>
                      <a:lnTo>
                        <a:pt x="1290" y="245"/>
                      </a:lnTo>
                      <a:lnTo>
                        <a:pt x="1322" y="282"/>
                      </a:lnTo>
                      <a:lnTo>
                        <a:pt x="1325" y="294"/>
                      </a:lnTo>
                      <a:lnTo>
                        <a:pt x="1319" y="312"/>
                      </a:lnTo>
                      <a:lnTo>
                        <a:pt x="1305" y="302"/>
                      </a:lnTo>
                      <a:lnTo>
                        <a:pt x="1304" y="321"/>
                      </a:lnTo>
                      <a:lnTo>
                        <a:pt x="1292" y="320"/>
                      </a:lnTo>
                      <a:lnTo>
                        <a:pt x="1290" y="330"/>
                      </a:lnTo>
                      <a:lnTo>
                        <a:pt x="1274" y="330"/>
                      </a:lnTo>
                      <a:lnTo>
                        <a:pt x="1280" y="353"/>
                      </a:lnTo>
                      <a:lnTo>
                        <a:pt x="1263" y="350"/>
                      </a:lnTo>
                      <a:lnTo>
                        <a:pt x="1248" y="335"/>
                      </a:lnTo>
                      <a:lnTo>
                        <a:pt x="1241" y="351"/>
                      </a:lnTo>
                      <a:lnTo>
                        <a:pt x="1236" y="363"/>
                      </a:lnTo>
                      <a:lnTo>
                        <a:pt x="1214" y="384"/>
                      </a:lnTo>
                      <a:lnTo>
                        <a:pt x="1208" y="398"/>
                      </a:lnTo>
                      <a:lnTo>
                        <a:pt x="1191" y="398"/>
                      </a:lnTo>
                      <a:cubicBezTo>
                        <a:pt x="1176" y="405"/>
                        <a:pt x="1175" y="408"/>
                        <a:pt x="1164" y="417"/>
                      </a:cubicBezTo>
                      <a:cubicBezTo>
                        <a:pt x="1162" y="425"/>
                        <a:pt x="1160" y="428"/>
                        <a:pt x="1152" y="431"/>
                      </a:cubicBezTo>
                      <a:cubicBezTo>
                        <a:pt x="1151" y="429"/>
                        <a:pt x="1149" y="428"/>
                        <a:pt x="1149" y="426"/>
                      </a:cubicBezTo>
                      <a:cubicBezTo>
                        <a:pt x="1148" y="421"/>
                        <a:pt x="1158" y="413"/>
                        <a:pt x="1158" y="413"/>
                      </a:cubicBezTo>
                      <a:cubicBezTo>
                        <a:pt x="1152" y="410"/>
                        <a:pt x="1150" y="411"/>
                        <a:pt x="1146" y="405"/>
                      </a:cubicBezTo>
                      <a:cubicBezTo>
                        <a:pt x="1148" y="398"/>
                        <a:pt x="1150" y="394"/>
                        <a:pt x="1154" y="389"/>
                      </a:cubicBezTo>
                      <a:cubicBezTo>
                        <a:pt x="1156" y="377"/>
                        <a:pt x="1159" y="373"/>
                        <a:pt x="1145" y="371"/>
                      </a:cubicBezTo>
                      <a:cubicBezTo>
                        <a:pt x="1133" y="366"/>
                        <a:pt x="1139" y="366"/>
                        <a:pt x="1122" y="368"/>
                      </a:cubicBezTo>
                      <a:cubicBezTo>
                        <a:pt x="1121" y="374"/>
                        <a:pt x="1118" y="377"/>
                        <a:pt x="1116" y="383"/>
                      </a:cubicBezTo>
                      <a:cubicBezTo>
                        <a:pt x="1115" y="392"/>
                        <a:pt x="1112" y="392"/>
                        <a:pt x="1103" y="393"/>
                      </a:cubicBezTo>
                      <a:cubicBezTo>
                        <a:pt x="1094" y="398"/>
                        <a:pt x="1091" y="405"/>
                        <a:pt x="1098" y="414"/>
                      </a:cubicBezTo>
                      <a:cubicBezTo>
                        <a:pt x="1089" y="421"/>
                        <a:pt x="1075" y="416"/>
                        <a:pt x="1064" y="417"/>
                      </a:cubicBezTo>
                      <a:cubicBezTo>
                        <a:pt x="1066" y="434"/>
                        <a:pt x="1074" y="445"/>
                        <a:pt x="1089" y="452"/>
                      </a:cubicBezTo>
                      <a:cubicBezTo>
                        <a:pt x="1101" y="449"/>
                        <a:pt x="1110" y="449"/>
                        <a:pt x="1115" y="461"/>
                      </a:cubicBezTo>
                      <a:cubicBezTo>
                        <a:pt x="1116" y="474"/>
                        <a:pt x="1115" y="475"/>
                        <a:pt x="1127" y="477"/>
                      </a:cubicBezTo>
                      <a:cubicBezTo>
                        <a:pt x="1139" y="476"/>
                        <a:pt x="1143" y="478"/>
                        <a:pt x="1148" y="468"/>
                      </a:cubicBezTo>
                      <a:cubicBezTo>
                        <a:pt x="1149" y="461"/>
                        <a:pt x="1149" y="459"/>
                        <a:pt x="1155" y="456"/>
                      </a:cubicBezTo>
                      <a:cubicBezTo>
                        <a:pt x="1172" y="458"/>
                        <a:pt x="1184" y="467"/>
                        <a:pt x="1202" y="471"/>
                      </a:cubicBezTo>
                      <a:cubicBezTo>
                        <a:pt x="1207" y="474"/>
                        <a:pt x="1209" y="475"/>
                        <a:pt x="1205" y="483"/>
                      </a:cubicBezTo>
                      <a:cubicBezTo>
                        <a:pt x="1201" y="490"/>
                        <a:pt x="1182" y="488"/>
                        <a:pt x="1182" y="488"/>
                      </a:cubicBezTo>
                      <a:cubicBezTo>
                        <a:pt x="1176" y="492"/>
                        <a:pt x="1172" y="497"/>
                        <a:pt x="1166" y="501"/>
                      </a:cubicBezTo>
                      <a:cubicBezTo>
                        <a:pt x="1161" y="510"/>
                        <a:pt x="1155" y="520"/>
                        <a:pt x="1149" y="528"/>
                      </a:cubicBezTo>
                      <a:cubicBezTo>
                        <a:pt x="1150" y="534"/>
                        <a:pt x="1149" y="540"/>
                        <a:pt x="1151" y="546"/>
                      </a:cubicBezTo>
                      <a:cubicBezTo>
                        <a:pt x="1151" y="547"/>
                        <a:pt x="1184" y="568"/>
                        <a:pt x="1187" y="569"/>
                      </a:cubicBezTo>
                      <a:cubicBezTo>
                        <a:pt x="1190" y="573"/>
                        <a:pt x="1193" y="578"/>
                        <a:pt x="1196" y="582"/>
                      </a:cubicBezTo>
                      <a:cubicBezTo>
                        <a:pt x="1201" y="609"/>
                        <a:pt x="1232" y="617"/>
                        <a:pt x="1250" y="635"/>
                      </a:cubicBezTo>
                      <a:cubicBezTo>
                        <a:pt x="1245" y="650"/>
                        <a:pt x="1234" y="634"/>
                        <a:pt x="1224" y="632"/>
                      </a:cubicBezTo>
                      <a:cubicBezTo>
                        <a:pt x="1214" y="624"/>
                        <a:pt x="1209" y="627"/>
                        <a:pt x="1194" y="626"/>
                      </a:cubicBezTo>
                      <a:cubicBezTo>
                        <a:pt x="1194" y="626"/>
                        <a:pt x="1185" y="622"/>
                        <a:pt x="1187" y="620"/>
                      </a:cubicBezTo>
                      <a:cubicBezTo>
                        <a:pt x="1189" y="618"/>
                        <a:pt x="1193" y="623"/>
                        <a:pt x="1196" y="624"/>
                      </a:cubicBezTo>
                      <a:cubicBezTo>
                        <a:pt x="1202" y="631"/>
                        <a:pt x="1217" y="638"/>
                        <a:pt x="1226" y="641"/>
                      </a:cubicBezTo>
                      <a:cubicBezTo>
                        <a:pt x="1234" y="647"/>
                        <a:pt x="1244" y="654"/>
                        <a:pt x="1253" y="659"/>
                      </a:cubicBezTo>
                      <a:cubicBezTo>
                        <a:pt x="1250" y="665"/>
                        <a:pt x="1248" y="665"/>
                        <a:pt x="1242" y="666"/>
                      </a:cubicBezTo>
                      <a:cubicBezTo>
                        <a:pt x="1237" y="669"/>
                        <a:pt x="1233" y="672"/>
                        <a:pt x="1227" y="674"/>
                      </a:cubicBezTo>
                      <a:cubicBezTo>
                        <a:pt x="1218" y="681"/>
                        <a:pt x="1220" y="682"/>
                        <a:pt x="1229" y="687"/>
                      </a:cubicBezTo>
                      <a:cubicBezTo>
                        <a:pt x="1239" y="686"/>
                        <a:pt x="1250" y="684"/>
                        <a:pt x="1260" y="689"/>
                      </a:cubicBezTo>
                      <a:cubicBezTo>
                        <a:pt x="1263" y="693"/>
                        <a:pt x="1266" y="697"/>
                        <a:pt x="1268" y="702"/>
                      </a:cubicBezTo>
                      <a:cubicBezTo>
                        <a:pt x="1269" y="712"/>
                        <a:pt x="1270" y="722"/>
                        <a:pt x="1266" y="732"/>
                      </a:cubicBezTo>
                      <a:cubicBezTo>
                        <a:pt x="1264" y="737"/>
                        <a:pt x="1254" y="744"/>
                        <a:pt x="1254" y="744"/>
                      </a:cubicBezTo>
                      <a:cubicBezTo>
                        <a:pt x="1249" y="752"/>
                        <a:pt x="1248" y="751"/>
                        <a:pt x="1250" y="761"/>
                      </a:cubicBezTo>
                      <a:cubicBezTo>
                        <a:pt x="1245" y="777"/>
                        <a:pt x="1231" y="789"/>
                        <a:pt x="1229" y="806"/>
                      </a:cubicBezTo>
                      <a:cubicBezTo>
                        <a:pt x="1228" y="817"/>
                        <a:pt x="1230" y="827"/>
                        <a:pt x="1221" y="833"/>
                      </a:cubicBezTo>
                      <a:cubicBezTo>
                        <a:pt x="1213" y="844"/>
                        <a:pt x="1217" y="840"/>
                        <a:pt x="1209" y="845"/>
                      </a:cubicBezTo>
                      <a:cubicBezTo>
                        <a:pt x="1206" y="853"/>
                        <a:pt x="1207" y="850"/>
                        <a:pt x="1205" y="854"/>
                      </a:cubicBezTo>
                      <a:lnTo>
                        <a:pt x="1199" y="867"/>
                      </a:lnTo>
                      <a:lnTo>
                        <a:pt x="1191" y="873"/>
                      </a:lnTo>
                      <a:lnTo>
                        <a:pt x="1175" y="894"/>
                      </a:lnTo>
                      <a:lnTo>
                        <a:pt x="1125" y="914"/>
                      </a:lnTo>
                      <a:lnTo>
                        <a:pt x="1106" y="887"/>
                      </a:lnTo>
                      <a:lnTo>
                        <a:pt x="1097" y="894"/>
                      </a:lnTo>
                      <a:lnTo>
                        <a:pt x="1103" y="921"/>
                      </a:lnTo>
                      <a:lnTo>
                        <a:pt x="1071" y="933"/>
                      </a:lnTo>
                      <a:lnTo>
                        <a:pt x="1034" y="944"/>
                      </a:lnTo>
                      <a:lnTo>
                        <a:pt x="1026" y="959"/>
                      </a:lnTo>
                      <a:lnTo>
                        <a:pt x="1035" y="975"/>
                      </a:lnTo>
                      <a:lnTo>
                        <a:pt x="1023" y="974"/>
                      </a:lnTo>
                      <a:lnTo>
                        <a:pt x="1016" y="957"/>
                      </a:lnTo>
                      <a:lnTo>
                        <a:pt x="1016" y="942"/>
                      </a:lnTo>
                      <a:lnTo>
                        <a:pt x="1008" y="936"/>
                      </a:lnTo>
                      <a:lnTo>
                        <a:pt x="998" y="941"/>
                      </a:lnTo>
                      <a:lnTo>
                        <a:pt x="983" y="933"/>
                      </a:lnTo>
                      <a:lnTo>
                        <a:pt x="965" y="942"/>
                      </a:lnTo>
                      <a:lnTo>
                        <a:pt x="929" y="918"/>
                      </a:lnTo>
                      <a:lnTo>
                        <a:pt x="929" y="899"/>
                      </a:lnTo>
                      <a:lnTo>
                        <a:pt x="909" y="899"/>
                      </a:lnTo>
                      <a:lnTo>
                        <a:pt x="890" y="885"/>
                      </a:lnTo>
                      <a:lnTo>
                        <a:pt x="879" y="899"/>
                      </a:lnTo>
                      <a:lnTo>
                        <a:pt x="861" y="905"/>
                      </a:lnTo>
                      <a:lnTo>
                        <a:pt x="840" y="908"/>
                      </a:lnTo>
                      <a:lnTo>
                        <a:pt x="827" y="900"/>
                      </a:lnTo>
                      <a:lnTo>
                        <a:pt x="809" y="911"/>
                      </a:lnTo>
                      <a:lnTo>
                        <a:pt x="794" y="915"/>
                      </a:lnTo>
                      <a:lnTo>
                        <a:pt x="806" y="945"/>
                      </a:lnTo>
                      <a:lnTo>
                        <a:pt x="797" y="945"/>
                      </a:lnTo>
                      <a:lnTo>
                        <a:pt x="786" y="930"/>
                      </a:lnTo>
                      <a:lnTo>
                        <a:pt x="771" y="941"/>
                      </a:lnTo>
                      <a:lnTo>
                        <a:pt x="759" y="923"/>
                      </a:lnTo>
                      <a:lnTo>
                        <a:pt x="740" y="923"/>
                      </a:lnTo>
                      <a:lnTo>
                        <a:pt x="744" y="894"/>
                      </a:lnTo>
                      <a:lnTo>
                        <a:pt x="731" y="888"/>
                      </a:lnTo>
                      <a:lnTo>
                        <a:pt x="717" y="864"/>
                      </a:lnTo>
                      <a:lnTo>
                        <a:pt x="692" y="866"/>
                      </a:lnTo>
                      <a:lnTo>
                        <a:pt x="686" y="848"/>
                      </a:lnTo>
                      <a:lnTo>
                        <a:pt x="692" y="828"/>
                      </a:lnTo>
                      <a:lnTo>
                        <a:pt x="710" y="812"/>
                      </a:lnTo>
                      <a:lnTo>
                        <a:pt x="707" y="774"/>
                      </a:lnTo>
                      <a:lnTo>
                        <a:pt x="699" y="758"/>
                      </a:lnTo>
                      <a:lnTo>
                        <a:pt x="689" y="758"/>
                      </a:lnTo>
                      <a:lnTo>
                        <a:pt x="680" y="737"/>
                      </a:lnTo>
                      <a:lnTo>
                        <a:pt x="666" y="729"/>
                      </a:lnTo>
                      <a:lnTo>
                        <a:pt x="660" y="740"/>
                      </a:lnTo>
                      <a:lnTo>
                        <a:pt x="647" y="735"/>
                      </a:lnTo>
                      <a:lnTo>
                        <a:pt x="635" y="735"/>
                      </a:lnTo>
                      <a:lnTo>
                        <a:pt x="636" y="722"/>
                      </a:lnTo>
                      <a:lnTo>
                        <a:pt x="621" y="702"/>
                      </a:lnTo>
                      <a:lnTo>
                        <a:pt x="603" y="717"/>
                      </a:lnTo>
                      <a:lnTo>
                        <a:pt x="585" y="708"/>
                      </a:lnTo>
                      <a:lnTo>
                        <a:pt x="563" y="729"/>
                      </a:lnTo>
                      <a:lnTo>
                        <a:pt x="542" y="752"/>
                      </a:lnTo>
                      <a:lnTo>
                        <a:pt x="519" y="755"/>
                      </a:lnTo>
                      <a:lnTo>
                        <a:pt x="515" y="741"/>
                      </a:lnTo>
                      <a:lnTo>
                        <a:pt x="497" y="746"/>
                      </a:lnTo>
                      <a:lnTo>
                        <a:pt x="483" y="738"/>
                      </a:lnTo>
                      <a:lnTo>
                        <a:pt x="471" y="738"/>
                      </a:lnTo>
                      <a:lnTo>
                        <a:pt x="458" y="762"/>
                      </a:lnTo>
                      <a:lnTo>
                        <a:pt x="452" y="744"/>
                      </a:lnTo>
                      <a:lnTo>
                        <a:pt x="432" y="750"/>
                      </a:lnTo>
                      <a:lnTo>
                        <a:pt x="411" y="750"/>
                      </a:lnTo>
                      <a:lnTo>
                        <a:pt x="377" y="744"/>
                      </a:lnTo>
                      <a:lnTo>
                        <a:pt x="336" y="726"/>
                      </a:lnTo>
                      <a:lnTo>
                        <a:pt x="323" y="708"/>
                      </a:lnTo>
                      <a:lnTo>
                        <a:pt x="305" y="710"/>
                      </a:lnTo>
                      <a:lnTo>
                        <a:pt x="297" y="698"/>
                      </a:lnTo>
                      <a:lnTo>
                        <a:pt x="273" y="687"/>
                      </a:lnTo>
                      <a:lnTo>
                        <a:pt x="252" y="672"/>
                      </a:lnTo>
                      <a:lnTo>
                        <a:pt x="248" y="684"/>
                      </a:lnTo>
                      <a:lnTo>
                        <a:pt x="228" y="671"/>
                      </a:lnTo>
                      <a:lnTo>
                        <a:pt x="194" y="650"/>
                      </a:lnTo>
                      <a:lnTo>
                        <a:pt x="180" y="650"/>
                      </a:lnTo>
                      <a:lnTo>
                        <a:pt x="174" y="627"/>
                      </a:lnTo>
                      <a:lnTo>
                        <a:pt x="159" y="618"/>
                      </a:lnTo>
                      <a:lnTo>
                        <a:pt x="170" y="608"/>
                      </a:lnTo>
                      <a:lnTo>
                        <a:pt x="185" y="614"/>
                      </a:lnTo>
                      <a:lnTo>
                        <a:pt x="195" y="600"/>
                      </a:lnTo>
                      <a:lnTo>
                        <a:pt x="170" y="588"/>
                      </a:lnTo>
                      <a:lnTo>
                        <a:pt x="165" y="566"/>
                      </a:lnTo>
                      <a:lnTo>
                        <a:pt x="147" y="543"/>
                      </a:lnTo>
                      <a:lnTo>
                        <a:pt x="134" y="522"/>
                      </a:lnTo>
                      <a:lnTo>
                        <a:pt x="107" y="522"/>
                      </a:lnTo>
                      <a:lnTo>
                        <a:pt x="78" y="510"/>
                      </a:lnTo>
                      <a:lnTo>
                        <a:pt x="75" y="489"/>
                      </a:lnTo>
                      <a:lnTo>
                        <a:pt x="39" y="479"/>
                      </a:lnTo>
                      <a:lnTo>
                        <a:pt x="50" y="471"/>
                      </a:lnTo>
                      <a:lnTo>
                        <a:pt x="41" y="459"/>
                      </a:lnTo>
                      <a:lnTo>
                        <a:pt x="42" y="440"/>
                      </a:lnTo>
                      <a:lnTo>
                        <a:pt x="15" y="432"/>
                      </a:lnTo>
                      <a:lnTo>
                        <a:pt x="0" y="417"/>
                      </a:lnTo>
                      <a:lnTo>
                        <a:pt x="2" y="396"/>
                      </a:lnTo>
                      <a:lnTo>
                        <a:pt x="17" y="383"/>
                      </a:lnTo>
                      <a:lnTo>
                        <a:pt x="36" y="377"/>
                      </a:lnTo>
                      <a:lnTo>
                        <a:pt x="45" y="384"/>
                      </a:lnTo>
                      <a:lnTo>
                        <a:pt x="60" y="381"/>
                      </a:lnTo>
                      <a:lnTo>
                        <a:pt x="68" y="363"/>
                      </a:lnTo>
                      <a:lnTo>
                        <a:pt x="92" y="363"/>
                      </a:lnTo>
                      <a:lnTo>
                        <a:pt x="98" y="350"/>
                      </a:lnTo>
                      <a:lnTo>
                        <a:pt x="135" y="332"/>
                      </a:lnTo>
                      <a:lnTo>
                        <a:pt x="131" y="320"/>
                      </a:lnTo>
                      <a:lnTo>
                        <a:pt x="129" y="305"/>
                      </a:lnTo>
                      <a:lnTo>
                        <a:pt x="138" y="297"/>
                      </a:lnTo>
                      <a:lnTo>
                        <a:pt x="120" y="275"/>
                      </a:lnTo>
                      <a:lnTo>
                        <a:pt x="116" y="254"/>
                      </a:lnTo>
                      <a:lnTo>
                        <a:pt x="101" y="254"/>
                      </a:lnTo>
                      <a:lnTo>
                        <a:pt x="135" y="236"/>
                      </a:lnTo>
                      <a:lnTo>
                        <a:pt x="156" y="245"/>
                      </a:lnTo>
                      <a:lnTo>
                        <a:pt x="156" y="234"/>
                      </a:lnTo>
                      <a:lnTo>
                        <a:pt x="147" y="230"/>
                      </a:lnTo>
                      <a:lnTo>
                        <a:pt x="146" y="180"/>
                      </a:lnTo>
                      <a:lnTo>
                        <a:pt x="164" y="188"/>
                      </a:lnTo>
                      <a:lnTo>
                        <a:pt x="183" y="183"/>
                      </a:lnTo>
                      <a:lnTo>
                        <a:pt x="194" y="194"/>
                      </a:lnTo>
                      <a:lnTo>
                        <a:pt x="209" y="180"/>
                      </a:lnTo>
                      <a:lnTo>
                        <a:pt x="198" y="161"/>
                      </a:lnTo>
                      <a:lnTo>
                        <a:pt x="195" y="147"/>
                      </a:lnTo>
                      <a:lnTo>
                        <a:pt x="213" y="147"/>
                      </a:lnTo>
                      <a:lnTo>
                        <a:pt x="218" y="138"/>
                      </a:lnTo>
                      <a:lnTo>
                        <a:pt x="209" y="129"/>
                      </a:lnTo>
                      <a:lnTo>
                        <a:pt x="219" y="125"/>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8" name="Freeform 310"/>
                <p:cNvSpPr>
                  <a:spLocks/>
                </p:cNvSpPr>
                <p:nvPr/>
              </p:nvSpPr>
              <p:spPr bwMode="auto">
                <a:xfrm>
                  <a:off x="6150108" y="2888789"/>
                  <a:ext cx="743057" cy="816352"/>
                </a:xfrm>
                <a:custGeom>
                  <a:avLst/>
                  <a:gdLst>
                    <a:gd name="T0" fmla="*/ 57 w 723"/>
                    <a:gd name="T1" fmla="*/ 339 h 816"/>
                    <a:gd name="T2" fmla="*/ 22 w 723"/>
                    <a:gd name="T3" fmla="*/ 258 h 816"/>
                    <a:gd name="T4" fmla="*/ 52 w 723"/>
                    <a:gd name="T5" fmla="*/ 237 h 816"/>
                    <a:gd name="T6" fmla="*/ 100 w 723"/>
                    <a:gd name="T7" fmla="*/ 198 h 816"/>
                    <a:gd name="T8" fmla="*/ 147 w 723"/>
                    <a:gd name="T9" fmla="*/ 103 h 816"/>
                    <a:gd name="T10" fmla="*/ 96 w 723"/>
                    <a:gd name="T11" fmla="*/ 25 h 816"/>
                    <a:gd name="T12" fmla="*/ 186 w 723"/>
                    <a:gd name="T13" fmla="*/ 0 h 816"/>
                    <a:gd name="T14" fmla="*/ 222 w 723"/>
                    <a:gd name="T15" fmla="*/ 67 h 816"/>
                    <a:gd name="T16" fmla="*/ 223 w 723"/>
                    <a:gd name="T17" fmla="*/ 87 h 816"/>
                    <a:gd name="T18" fmla="*/ 237 w 723"/>
                    <a:gd name="T19" fmla="*/ 130 h 816"/>
                    <a:gd name="T20" fmla="*/ 286 w 723"/>
                    <a:gd name="T21" fmla="*/ 175 h 816"/>
                    <a:gd name="T22" fmla="*/ 369 w 723"/>
                    <a:gd name="T23" fmla="*/ 241 h 816"/>
                    <a:gd name="T24" fmla="*/ 433 w 723"/>
                    <a:gd name="T25" fmla="*/ 261 h 816"/>
                    <a:gd name="T26" fmla="*/ 496 w 723"/>
                    <a:gd name="T27" fmla="*/ 256 h 816"/>
                    <a:gd name="T28" fmla="*/ 507 w 723"/>
                    <a:gd name="T29" fmla="*/ 223 h 816"/>
                    <a:gd name="T30" fmla="*/ 520 w 723"/>
                    <a:gd name="T31" fmla="*/ 262 h 816"/>
                    <a:gd name="T32" fmla="*/ 592 w 723"/>
                    <a:gd name="T33" fmla="*/ 256 h 816"/>
                    <a:gd name="T34" fmla="*/ 574 w 723"/>
                    <a:gd name="T35" fmla="*/ 232 h 816"/>
                    <a:gd name="T36" fmla="*/ 658 w 723"/>
                    <a:gd name="T37" fmla="*/ 195 h 816"/>
                    <a:gd name="T38" fmla="*/ 690 w 723"/>
                    <a:gd name="T39" fmla="*/ 214 h 816"/>
                    <a:gd name="T40" fmla="*/ 723 w 723"/>
                    <a:gd name="T41" fmla="*/ 228 h 816"/>
                    <a:gd name="T42" fmla="*/ 696 w 723"/>
                    <a:gd name="T43" fmla="*/ 246 h 816"/>
                    <a:gd name="T44" fmla="*/ 673 w 723"/>
                    <a:gd name="T45" fmla="*/ 288 h 816"/>
                    <a:gd name="T46" fmla="*/ 655 w 723"/>
                    <a:gd name="T47" fmla="*/ 348 h 816"/>
                    <a:gd name="T48" fmla="*/ 639 w 723"/>
                    <a:gd name="T49" fmla="*/ 381 h 816"/>
                    <a:gd name="T50" fmla="*/ 621 w 723"/>
                    <a:gd name="T51" fmla="*/ 384 h 816"/>
                    <a:gd name="T52" fmla="*/ 603 w 723"/>
                    <a:gd name="T53" fmla="*/ 355 h 816"/>
                    <a:gd name="T54" fmla="*/ 588 w 723"/>
                    <a:gd name="T55" fmla="*/ 343 h 816"/>
                    <a:gd name="T56" fmla="*/ 607 w 723"/>
                    <a:gd name="T57" fmla="*/ 310 h 816"/>
                    <a:gd name="T58" fmla="*/ 543 w 723"/>
                    <a:gd name="T59" fmla="*/ 306 h 816"/>
                    <a:gd name="T60" fmla="*/ 508 w 723"/>
                    <a:gd name="T61" fmla="*/ 271 h 816"/>
                    <a:gd name="T62" fmla="*/ 519 w 723"/>
                    <a:gd name="T63" fmla="*/ 301 h 816"/>
                    <a:gd name="T64" fmla="*/ 508 w 723"/>
                    <a:gd name="T65" fmla="*/ 333 h 816"/>
                    <a:gd name="T66" fmla="*/ 532 w 723"/>
                    <a:gd name="T67" fmla="*/ 382 h 816"/>
                    <a:gd name="T68" fmla="*/ 513 w 723"/>
                    <a:gd name="T69" fmla="*/ 412 h 816"/>
                    <a:gd name="T70" fmla="*/ 492 w 723"/>
                    <a:gd name="T71" fmla="*/ 420 h 816"/>
                    <a:gd name="T72" fmla="*/ 451 w 723"/>
                    <a:gd name="T73" fmla="*/ 477 h 816"/>
                    <a:gd name="T74" fmla="*/ 384 w 723"/>
                    <a:gd name="T75" fmla="*/ 547 h 816"/>
                    <a:gd name="T76" fmla="*/ 349 w 723"/>
                    <a:gd name="T77" fmla="*/ 588 h 816"/>
                    <a:gd name="T78" fmla="*/ 334 w 723"/>
                    <a:gd name="T79" fmla="*/ 660 h 816"/>
                    <a:gd name="T80" fmla="*/ 331 w 723"/>
                    <a:gd name="T81" fmla="*/ 747 h 816"/>
                    <a:gd name="T82" fmla="*/ 291 w 723"/>
                    <a:gd name="T83" fmla="*/ 789 h 816"/>
                    <a:gd name="T84" fmla="*/ 256 w 723"/>
                    <a:gd name="T85" fmla="*/ 805 h 816"/>
                    <a:gd name="T86" fmla="*/ 220 w 723"/>
                    <a:gd name="T87" fmla="*/ 708 h 816"/>
                    <a:gd name="T88" fmla="*/ 171 w 723"/>
                    <a:gd name="T89" fmla="*/ 603 h 816"/>
                    <a:gd name="T90" fmla="*/ 138 w 723"/>
                    <a:gd name="T91" fmla="*/ 514 h 816"/>
                    <a:gd name="T92" fmla="*/ 129 w 723"/>
                    <a:gd name="T93" fmla="*/ 436 h 816"/>
                    <a:gd name="T94" fmla="*/ 118 w 723"/>
                    <a:gd name="T95" fmla="*/ 412 h 816"/>
                    <a:gd name="T96" fmla="*/ 109 w 723"/>
                    <a:gd name="T97" fmla="*/ 420 h 816"/>
                    <a:gd name="T98" fmla="*/ 33 w 723"/>
                    <a:gd name="T99" fmla="*/ 406 h 816"/>
                    <a:gd name="T100" fmla="*/ 55 w 723"/>
                    <a:gd name="T101" fmla="*/ 382 h 816"/>
                    <a:gd name="T102" fmla="*/ 21 w 723"/>
                    <a:gd name="T103" fmla="*/ 37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816">
                      <a:moveTo>
                        <a:pt x="0" y="360"/>
                      </a:moveTo>
                      <a:lnTo>
                        <a:pt x="15" y="340"/>
                      </a:lnTo>
                      <a:lnTo>
                        <a:pt x="57" y="339"/>
                      </a:lnTo>
                      <a:lnTo>
                        <a:pt x="72" y="331"/>
                      </a:lnTo>
                      <a:lnTo>
                        <a:pt x="39" y="271"/>
                      </a:lnTo>
                      <a:lnTo>
                        <a:pt x="22" y="258"/>
                      </a:lnTo>
                      <a:lnTo>
                        <a:pt x="30" y="235"/>
                      </a:lnTo>
                      <a:lnTo>
                        <a:pt x="45" y="222"/>
                      </a:lnTo>
                      <a:lnTo>
                        <a:pt x="52" y="237"/>
                      </a:lnTo>
                      <a:lnTo>
                        <a:pt x="73" y="232"/>
                      </a:lnTo>
                      <a:lnTo>
                        <a:pt x="84" y="211"/>
                      </a:lnTo>
                      <a:lnTo>
                        <a:pt x="100" y="198"/>
                      </a:lnTo>
                      <a:lnTo>
                        <a:pt x="126" y="148"/>
                      </a:lnTo>
                      <a:lnTo>
                        <a:pt x="126" y="112"/>
                      </a:lnTo>
                      <a:lnTo>
                        <a:pt x="147" y="103"/>
                      </a:lnTo>
                      <a:lnTo>
                        <a:pt x="111" y="82"/>
                      </a:lnTo>
                      <a:lnTo>
                        <a:pt x="91" y="43"/>
                      </a:lnTo>
                      <a:lnTo>
                        <a:pt x="96" y="25"/>
                      </a:lnTo>
                      <a:lnTo>
                        <a:pt x="136" y="34"/>
                      </a:lnTo>
                      <a:lnTo>
                        <a:pt x="162" y="25"/>
                      </a:lnTo>
                      <a:lnTo>
                        <a:pt x="186" y="0"/>
                      </a:lnTo>
                      <a:lnTo>
                        <a:pt x="207" y="28"/>
                      </a:lnTo>
                      <a:lnTo>
                        <a:pt x="222" y="45"/>
                      </a:lnTo>
                      <a:lnTo>
                        <a:pt x="222" y="67"/>
                      </a:lnTo>
                      <a:lnTo>
                        <a:pt x="250" y="78"/>
                      </a:lnTo>
                      <a:lnTo>
                        <a:pt x="238" y="94"/>
                      </a:lnTo>
                      <a:lnTo>
                        <a:pt x="223" y="87"/>
                      </a:lnTo>
                      <a:lnTo>
                        <a:pt x="213" y="97"/>
                      </a:lnTo>
                      <a:lnTo>
                        <a:pt x="228" y="106"/>
                      </a:lnTo>
                      <a:lnTo>
                        <a:pt x="237" y="130"/>
                      </a:lnTo>
                      <a:lnTo>
                        <a:pt x="250" y="127"/>
                      </a:lnTo>
                      <a:lnTo>
                        <a:pt x="295" y="157"/>
                      </a:lnTo>
                      <a:lnTo>
                        <a:pt x="286" y="175"/>
                      </a:lnTo>
                      <a:lnTo>
                        <a:pt x="283" y="201"/>
                      </a:lnTo>
                      <a:lnTo>
                        <a:pt x="325" y="225"/>
                      </a:lnTo>
                      <a:lnTo>
                        <a:pt x="369" y="241"/>
                      </a:lnTo>
                      <a:lnTo>
                        <a:pt x="390" y="241"/>
                      </a:lnTo>
                      <a:lnTo>
                        <a:pt x="414" y="250"/>
                      </a:lnTo>
                      <a:lnTo>
                        <a:pt x="433" y="261"/>
                      </a:lnTo>
                      <a:lnTo>
                        <a:pt x="442" y="271"/>
                      </a:lnTo>
                      <a:lnTo>
                        <a:pt x="496" y="273"/>
                      </a:lnTo>
                      <a:lnTo>
                        <a:pt x="496" y="256"/>
                      </a:lnTo>
                      <a:lnTo>
                        <a:pt x="487" y="252"/>
                      </a:lnTo>
                      <a:lnTo>
                        <a:pt x="489" y="228"/>
                      </a:lnTo>
                      <a:lnTo>
                        <a:pt x="507" y="223"/>
                      </a:lnTo>
                      <a:lnTo>
                        <a:pt x="513" y="238"/>
                      </a:lnTo>
                      <a:lnTo>
                        <a:pt x="507" y="253"/>
                      </a:lnTo>
                      <a:lnTo>
                        <a:pt x="520" y="262"/>
                      </a:lnTo>
                      <a:lnTo>
                        <a:pt x="550" y="265"/>
                      </a:lnTo>
                      <a:lnTo>
                        <a:pt x="576" y="265"/>
                      </a:lnTo>
                      <a:lnTo>
                        <a:pt x="592" y="256"/>
                      </a:lnTo>
                      <a:lnTo>
                        <a:pt x="589" y="244"/>
                      </a:lnTo>
                      <a:lnTo>
                        <a:pt x="579" y="241"/>
                      </a:lnTo>
                      <a:lnTo>
                        <a:pt x="574" y="232"/>
                      </a:lnTo>
                      <a:lnTo>
                        <a:pt x="595" y="232"/>
                      </a:lnTo>
                      <a:lnTo>
                        <a:pt x="639" y="187"/>
                      </a:lnTo>
                      <a:lnTo>
                        <a:pt x="658" y="195"/>
                      </a:lnTo>
                      <a:lnTo>
                        <a:pt x="676" y="181"/>
                      </a:lnTo>
                      <a:lnTo>
                        <a:pt x="691" y="199"/>
                      </a:lnTo>
                      <a:lnTo>
                        <a:pt x="690" y="214"/>
                      </a:lnTo>
                      <a:lnTo>
                        <a:pt x="702" y="214"/>
                      </a:lnTo>
                      <a:lnTo>
                        <a:pt x="714" y="219"/>
                      </a:lnTo>
                      <a:lnTo>
                        <a:pt x="723" y="228"/>
                      </a:lnTo>
                      <a:lnTo>
                        <a:pt x="712" y="237"/>
                      </a:lnTo>
                      <a:lnTo>
                        <a:pt x="718" y="252"/>
                      </a:lnTo>
                      <a:lnTo>
                        <a:pt x="696" y="246"/>
                      </a:lnTo>
                      <a:lnTo>
                        <a:pt x="681" y="261"/>
                      </a:lnTo>
                      <a:lnTo>
                        <a:pt x="670" y="271"/>
                      </a:lnTo>
                      <a:lnTo>
                        <a:pt x="673" y="288"/>
                      </a:lnTo>
                      <a:lnTo>
                        <a:pt x="667" y="303"/>
                      </a:lnTo>
                      <a:lnTo>
                        <a:pt x="666" y="324"/>
                      </a:lnTo>
                      <a:lnTo>
                        <a:pt x="655" y="348"/>
                      </a:lnTo>
                      <a:lnTo>
                        <a:pt x="642" y="343"/>
                      </a:lnTo>
                      <a:lnTo>
                        <a:pt x="643" y="358"/>
                      </a:lnTo>
                      <a:lnTo>
                        <a:pt x="639" y="381"/>
                      </a:lnTo>
                      <a:lnTo>
                        <a:pt x="640" y="403"/>
                      </a:lnTo>
                      <a:lnTo>
                        <a:pt x="625" y="403"/>
                      </a:lnTo>
                      <a:lnTo>
                        <a:pt x="621" y="384"/>
                      </a:lnTo>
                      <a:lnTo>
                        <a:pt x="621" y="372"/>
                      </a:lnTo>
                      <a:lnTo>
                        <a:pt x="613" y="354"/>
                      </a:lnTo>
                      <a:lnTo>
                        <a:pt x="603" y="355"/>
                      </a:lnTo>
                      <a:lnTo>
                        <a:pt x="601" y="375"/>
                      </a:lnTo>
                      <a:lnTo>
                        <a:pt x="588" y="361"/>
                      </a:lnTo>
                      <a:lnTo>
                        <a:pt x="588" y="343"/>
                      </a:lnTo>
                      <a:lnTo>
                        <a:pt x="604" y="331"/>
                      </a:lnTo>
                      <a:lnTo>
                        <a:pt x="612" y="321"/>
                      </a:lnTo>
                      <a:lnTo>
                        <a:pt x="607" y="310"/>
                      </a:lnTo>
                      <a:lnTo>
                        <a:pt x="583" y="312"/>
                      </a:lnTo>
                      <a:lnTo>
                        <a:pt x="553" y="309"/>
                      </a:lnTo>
                      <a:lnTo>
                        <a:pt x="543" y="306"/>
                      </a:lnTo>
                      <a:lnTo>
                        <a:pt x="543" y="282"/>
                      </a:lnTo>
                      <a:lnTo>
                        <a:pt x="528" y="285"/>
                      </a:lnTo>
                      <a:lnTo>
                        <a:pt x="508" y="271"/>
                      </a:lnTo>
                      <a:lnTo>
                        <a:pt x="496" y="282"/>
                      </a:lnTo>
                      <a:lnTo>
                        <a:pt x="499" y="294"/>
                      </a:lnTo>
                      <a:lnTo>
                        <a:pt x="519" y="301"/>
                      </a:lnTo>
                      <a:lnTo>
                        <a:pt x="525" y="312"/>
                      </a:lnTo>
                      <a:lnTo>
                        <a:pt x="507" y="316"/>
                      </a:lnTo>
                      <a:lnTo>
                        <a:pt x="508" y="333"/>
                      </a:lnTo>
                      <a:lnTo>
                        <a:pt x="520" y="336"/>
                      </a:lnTo>
                      <a:lnTo>
                        <a:pt x="520" y="354"/>
                      </a:lnTo>
                      <a:lnTo>
                        <a:pt x="532" y="382"/>
                      </a:lnTo>
                      <a:lnTo>
                        <a:pt x="540" y="409"/>
                      </a:lnTo>
                      <a:lnTo>
                        <a:pt x="523" y="418"/>
                      </a:lnTo>
                      <a:lnTo>
                        <a:pt x="513" y="412"/>
                      </a:lnTo>
                      <a:lnTo>
                        <a:pt x="511" y="396"/>
                      </a:lnTo>
                      <a:lnTo>
                        <a:pt x="504" y="414"/>
                      </a:lnTo>
                      <a:lnTo>
                        <a:pt x="492" y="420"/>
                      </a:lnTo>
                      <a:lnTo>
                        <a:pt x="484" y="435"/>
                      </a:lnTo>
                      <a:lnTo>
                        <a:pt x="480" y="462"/>
                      </a:lnTo>
                      <a:lnTo>
                        <a:pt x="451" y="477"/>
                      </a:lnTo>
                      <a:lnTo>
                        <a:pt x="424" y="511"/>
                      </a:lnTo>
                      <a:lnTo>
                        <a:pt x="400" y="538"/>
                      </a:lnTo>
                      <a:lnTo>
                        <a:pt x="384" y="547"/>
                      </a:lnTo>
                      <a:lnTo>
                        <a:pt x="381" y="564"/>
                      </a:lnTo>
                      <a:lnTo>
                        <a:pt x="358" y="571"/>
                      </a:lnTo>
                      <a:lnTo>
                        <a:pt x="349" y="588"/>
                      </a:lnTo>
                      <a:lnTo>
                        <a:pt x="336" y="583"/>
                      </a:lnTo>
                      <a:lnTo>
                        <a:pt x="327" y="606"/>
                      </a:lnTo>
                      <a:lnTo>
                        <a:pt x="334" y="660"/>
                      </a:lnTo>
                      <a:lnTo>
                        <a:pt x="336" y="694"/>
                      </a:lnTo>
                      <a:lnTo>
                        <a:pt x="327" y="715"/>
                      </a:lnTo>
                      <a:lnTo>
                        <a:pt x="331" y="747"/>
                      </a:lnTo>
                      <a:lnTo>
                        <a:pt x="319" y="753"/>
                      </a:lnTo>
                      <a:lnTo>
                        <a:pt x="310" y="778"/>
                      </a:lnTo>
                      <a:lnTo>
                        <a:pt x="291" y="789"/>
                      </a:lnTo>
                      <a:lnTo>
                        <a:pt x="291" y="807"/>
                      </a:lnTo>
                      <a:lnTo>
                        <a:pt x="273" y="816"/>
                      </a:lnTo>
                      <a:lnTo>
                        <a:pt x="256" y="805"/>
                      </a:lnTo>
                      <a:lnTo>
                        <a:pt x="246" y="783"/>
                      </a:lnTo>
                      <a:lnTo>
                        <a:pt x="235" y="747"/>
                      </a:lnTo>
                      <a:lnTo>
                        <a:pt x="220" y="708"/>
                      </a:lnTo>
                      <a:lnTo>
                        <a:pt x="198" y="682"/>
                      </a:lnTo>
                      <a:lnTo>
                        <a:pt x="192" y="639"/>
                      </a:lnTo>
                      <a:lnTo>
                        <a:pt x="171" y="603"/>
                      </a:lnTo>
                      <a:lnTo>
                        <a:pt x="151" y="571"/>
                      </a:lnTo>
                      <a:lnTo>
                        <a:pt x="147" y="541"/>
                      </a:lnTo>
                      <a:lnTo>
                        <a:pt x="138" y="514"/>
                      </a:lnTo>
                      <a:lnTo>
                        <a:pt x="132" y="481"/>
                      </a:lnTo>
                      <a:lnTo>
                        <a:pt x="124" y="468"/>
                      </a:lnTo>
                      <a:lnTo>
                        <a:pt x="129" y="436"/>
                      </a:lnTo>
                      <a:lnTo>
                        <a:pt x="120" y="420"/>
                      </a:lnTo>
                      <a:lnTo>
                        <a:pt x="132" y="409"/>
                      </a:lnTo>
                      <a:lnTo>
                        <a:pt x="118" y="412"/>
                      </a:lnTo>
                      <a:lnTo>
                        <a:pt x="118" y="394"/>
                      </a:lnTo>
                      <a:lnTo>
                        <a:pt x="100" y="408"/>
                      </a:lnTo>
                      <a:lnTo>
                        <a:pt x="109" y="420"/>
                      </a:lnTo>
                      <a:lnTo>
                        <a:pt x="79" y="441"/>
                      </a:lnTo>
                      <a:lnTo>
                        <a:pt x="54" y="427"/>
                      </a:lnTo>
                      <a:lnTo>
                        <a:pt x="33" y="406"/>
                      </a:lnTo>
                      <a:lnTo>
                        <a:pt x="22" y="391"/>
                      </a:lnTo>
                      <a:lnTo>
                        <a:pt x="39" y="391"/>
                      </a:lnTo>
                      <a:lnTo>
                        <a:pt x="55" y="382"/>
                      </a:lnTo>
                      <a:lnTo>
                        <a:pt x="64" y="370"/>
                      </a:lnTo>
                      <a:lnTo>
                        <a:pt x="37" y="381"/>
                      </a:lnTo>
                      <a:lnTo>
                        <a:pt x="21" y="376"/>
                      </a:lnTo>
                      <a:lnTo>
                        <a:pt x="0" y="36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899" name="Freeform 311"/>
                <p:cNvSpPr>
                  <a:spLocks/>
                </p:cNvSpPr>
                <p:nvPr/>
              </p:nvSpPr>
              <p:spPr bwMode="auto">
                <a:xfrm>
                  <a:off x="4802058" y="4598451"/>
                  <a:ext cx="417291" cy="372715"/>
                </a:xfrm>
                <a:custGeom>
                  <a:avLst/>
                  <a:gdLst>
                    <a:gd name="T0" fmla="*/ 328 w 406"/>
                    <a:gd name="T1" fmla="*/ 0 h 373"/>
                    <a:gd name="T2" fmla="*/ 359 w 406"/>
                    <a:gd name="T3" fmla="*/ 0 h 373"/>
                    <a:gd name="T4" fmla="*/ 375 w 406"/>
                    <a:gd name="T5" fmla="*/ 16 h 373"/>
                    <a:gd name="T6" fmla="*/ 390 w 406"/>
                    <a:gd name="T7" fmla="*/ 109 h 373"/>
                    <a:gd name="T8" fmla="*/ 375 w 406"/>
                    <a:gd name="T9" fmla="*/ 109 h 373"/>
                    <a:gd name="T10" fmla="*/ 360 w 406"/>
                    <a:gd name="T11" fmla="*/ 121 h 373"/>
                    <a:gd name="T12" fmla="*/ 359 w 406"/>
                    <a:gd name="T13" fmla="*/ 140 h 373"/>
                    <a:gd name="T14" fmla="*/ 382 w 406"/>
                    <a:gd name="T15" fmla="*/ 151 h 373"/>
                    <a:gd name="T16" fmla="*/ 390 w 406"/>
                    <a:gd name="T17" fmla="*/ 124 h 373"/>
                    <a:gd name="T18" fmla="*/ 406 w 406"/>
                    <a:gd name="T19" fmla="*/ 124 h 373"/>
                    <a:gd name="T20" fmla="*/ 406 w 406"/>
                    <a:gd name="T21" fmla="*/ 140 h 373"/>
                    <a:gd name="T22" fmla="*/ 390 w 406"/>
                    <a:gd name="T23" fmla="*/ 187 h 373"/>
                    <a:gd name="T24" fmla="*/ 375 w 406"/>
                    <a:gd name="T25" fmla="*/ 202 h 373"/>
                    <a:gd name="T26" fmla="*/ 344 w 406"/>
                    <a:gd name="T27" fmla="*/ 249 h 373"/>
                    <a:gd name="T28" fmla="*/ 298 w 406"/>
                    <a:gd name="T29" fmla="*/ 302 h 373"/>
                    <a:gd name="T30" fmla="*/ 250 w 406"/>
                    <a:gd name="T31" fmla="*/ 342 h 373"/>
                    <a:gd name="T32" fmla="*/ 220 w 406"/>
                    <a:gd name="T33" fmla="*/ 343 h 373"/>
                    <a:gd name="T34" fmla="*/ 201 w 406"/>
                    <a:gd name="T35" fmla="*/ 353 h 373"/>
                    <a:gd name="T36" fmla="*/ 141 w 406"/>
                    <a:gd name="T37" fmla="*/ 342 h 373"/>
                    <a:gd name="T38" fmla="*/ 78 w 406"/>
                    <a:gd name="T39" fmla="*/ 373 h 373"/>
                    <a:gd name="T40" fmla="*/ 62 w 406"/>
                    <a:gd name="T41" fmla="*/ 373 h 373"/>
                    <a:gd name="T42" fmla="*/ 47 w 406"/>
                    <a:gd name="T43" fmla="*/ 342 h 373"/>
                    <a:gd name="T44" fmla="*/ 47 w 406"/>
                    <a:gd name="T45" fmla="*/ 357 h 373"/>
                    <a:gd name="T46" fmla="*/ 31 w 406"/>
                    <a:gd name="T47" fmla="*/ 311 h 373"/>
                    <a:gd name="T48" fmla="*/ 47 w 406"/>
                    <a:gd name="T49" fmla="*/ 311 h 373"/>
                    <a:gd name="T50" fmla="*/ 31 w 406"/>
                    <a:gd name="T51" fmla="*/ 280 h 373"/>
                    <a:gd name="T52" fmla="*/ 0 w 406"/>
                    <a:gd name="T53" fmla="*/ 202 h 373"/>
                    <a:gd name="T54" fmla="*/ 0 w 406"/>
                    <a:gd name="T55" fmla="*/ 187 h 373"/>
                    <a:gd name="T56" fmla="*/ 0 w 406"/>
                    <a:gd name="T57" fmla="*/ 171 h 373"/>
                    <a:gd name="T58" fmla="*/ 16 w 406"/>
                    <a:gd name="T59" fmla="*/ 187 h 373"/>
                    <a:gd name="T60" fmla="*/ 31 w 406"/>
                    <a:gd name="T61" fmla="*/ 202 h 373"/>
                    <a:gd name="T62" fmla="*/ 62 w 406"/>
                    <a:gd name="T63" fmla="*/ 202 h 373"/>
                    <a:gd name="T64" fmla="*/ 78 w 406"/>
                    <a:gd name="T65" fmla="*/ 187 h 373"/>
                    <a:gd name="T66" fmla="*/ 78 w 406"/>
                    <a:gd name="T67" fmla="*/ 78 h 373"/>
                    <a:gd name="T68" fmla="*/ 109 w 406"/>
                    <a:gd name="T69" fmla="*/ 93 h 373"/>
                    <a:gd name="T70" fmla="*/ 94 w 406"/>
                    <a:gd name="T71" fmla="*/ 124 h 373"/>
                    <a:gd name="T72" fmla="*/ 109 w 406"/>
                    <a:gd name="T73" fmla="*/ 140 h 373"/>
                    <a:gd name="T74" fmla="*/ 141 w 406"/>
                    <a:gd name="T75" fmla="*/ 124 h 373"/>
                    <a:gd name="T76" fmla="*/ 172 w 406"/>
                    <a:gd name="T77" fmla="*/ 93 h 373"/>
                    <a:gd name="T78" fmla="*/ 207 w 406"/>
                    <a:gd name="T79" fmla="*/ 109 h 373"/>
                    <a:gd name="T80" fmla="*/ 231 w 406"/>
                    <a:gd name="T81" fmla="*/ 98 h 373"/>
                    <a:gd name="T82" fmla="*/ 237 w 406"/>
                    <a:gd name="T83" fmla="*/ 74 h 373"/>
                    <a:gd name="T84" fmla="*/ 281 w 406"/>
                    <a:gd name="T85" fmla="*/ 31 h 373"/>
                    <a:gd name="T86" fmla="*/ 328 w 406"/>
                    <a:gd name="T8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6" h="373">
                      <a:moveTo>
                        <a:pt x="328" y="0"/>
                      </a:moveTo>
                      <a:lnTo>
                        <a:pt x="359" y="0"/>
                      </a:lnTo>
                      <a:lnTo>
                        <a:pt x="375" y="16"/>
                      </a:lnTo>
                      <a:lnTo>
                        <a:pt x="390" y="109"/>
                      </a:lnTo>
                      <a:lnTo>
                        <a:pt x="375" y="109"/>
                      </a:lnTo>
                      <a:lnTo>
                        <a:pt x="360" y="121"/>
                      </a:lnTo>
                      <a:lnTo>
                        <a:pt x="359" y="140"/>
                      </a:lnTo>
                      <a:lnTo>
                        <a:pt x="382" y="151"/>
                      </a:lnTo>
                      <a:lnTo>
                        <a:pt x="390" y="124"/>
                      </a:lnTo>
                      <a:lnTo>
                        <a:pt x="406" y="124"/>
                      </a:lnTo>
                      <a:lnTo>
                        <a:pt x="406" y="140"/>
                      </a:lnTo>
                      <a:lnTo>
                        <a:pt x="390" y="187"/>
                      </a:lnTo>
                      <a:lnTo>
                        <a:pt x="375" y="202"/>
                      </a:lnTo>
                      <a:lnTo>
                        <a:pt x="344" y="249"/>
                      </a:lnTo>
                      <a:lnTo>
                        <a:pt x="298" y="302"/>
                      </a:lnTo>
                      <a:lnTo>
                        <a:pt x="250" y="342"/>
                      </a:lnTo>
                      <a:lnTo>
                        <a:pt x="220" y="343"/>
                      </a:lnTo>
                      <a:lnTo>
                        <a:pt x="201" y="353"/>
                      </a:lnTo>
                      <a:lnTo>
                        <a:pt x="141" y="342"/>
                      </a:lnTo>
                      <a:lnTo>
                        <a:pt x="78" y="373"/>
                      </a:lnTo>
                      <a:lnTo>
                        <a:pt x="62" y="373"/>
                      </a:lnTo>
                      <a:lnTo>
                        <a:pt x="47" y="342"/>
                      </a:lnTo>
                      <a:lnTo>
                        <a:pt x="47" y="357"/>
                      </a:lnTo>
                      <a:lnTo>
                        <a:pt x="31" y="311"/>
                      </a:lnTo>
                      <a:lnTo>
                        <a:pt x="47" y="311"/>
                      </a:lnTo>
                      <a:lnTo>
                        <a:pt x="31" y="280"/>
                      </a:lnTo>
                      <a:lnTo>
                        <a:pt x="0" y="202"/>
                      </a:lnTo>
                      <a:lnTo>
                        <a:pt x="0" y="187"/>
                      </a:lnTo>
                      <a:lnTo>
                        <a:pt x="0" y="171"/>
                      </a:lnTo>
                      <a:lnTo>
                        <a:pt x="16" y="187"/>
                      </a:lnTo>
                      <a:lnTo>
                        <a:pt x="31" y="202"/>
                      </a:lnTo>
                      <a:lnTo>
                        <a:pt x="62" y="202"/>
                      </a:lnTo>
                      <a:lnTo>
                        <a:pt x="78" y="187"/>
                      </a:lnTo>
                      <a:lnTo>
                        <a:pt x="78" y="78"/>
                      </a:lnTo>
                      <a:lnTo>
                        <a:pt x="109" y="93"/>
                      </a:lnTo>
                      <a:lnTo>
                        <a:pt x="94" y="124"/>
                      </a:lnTo>
                      <a:lnTo>
                        <a:pt x="109" y="140"/>
                      </a:lnTo>
                      <a:lnTo>
                        <a:pt x="141" y="124"/>
                      </a:lnTo>
                      <a:lnTo>
                        <a:pt x="172" y="93"/>
                      </a:lnTo>
                      <a:lnTo>
                        <a:pt x="207" y="109"/>
                      </a:lnTo>
                      <a:lnTo>
                        <a:pt x="231" y="98"/>
                      </a:lnTo>
                      <a:lnTo>
                        <a:pt x="237" y="74"/>
                      </a:lnTo>
                      <a:lnTo>
                        <a:pt x="281" y="31"/>
                      </a:lnTo>
                      <a:lnTo>
                        <a:pt x="328" y="0"/>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0" name="Freeform 312"/>
                <p:cNvSpPr>
                  <a:spLocks/>
                </p:cNvSpPr>
                <p:nvPr/>
              </p:nvSpPr>
              <p:spPr bwMode="auto">
                <a:xfrm>
                  <a:off x="5075080" y="4784054"/>
                  <a:ext cx="48090" cy="61868"/>
                </a:xfrm>
                <a:custGeom>
                  <a:avLst/>
                  <a:gdLst>
                    <a:gd name="T0" fmla="*/ 24 w 24"/>
                    <a:gd name="T1" fmla="*/ 8 h 32"/>
                    <a:gd name="T2" fmla="*/ 24 w 24"/>
                    <a:gd name="T3" fmla="*/ 16 h 32"/>
                    <a:gd name="T4" fmla="*/ 8 w 24"/>
                    <a:gd name="T5" fmla="*/ 32 h 32"/>
                    <a:gd name="T6" fmla="*/ 0 w 24"/>
                    <a:gd name="T7" fmla="*/ 16 h 32"/>
                    <a:gd name="T8" fmla="*/ 16 w 24"/>
                    <a:gd name="T9" fmla="*/ 0 h 32"/>
                    <a:gd name="T10" fmla="*/ 24 w 24"/>
                    <a:gd name="T11" fmla="*/ 0 h 32"/>
                    <a:gd name="T12" fmla="*/ 24 w 24"/>
                    <a:gd name="T13" fmla="*/ 8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24" y="8"/>
                      </a:moveTo>
                      <a:lnTo>
                        <a:pt x="24" y="16"/>
                      </a:lnTo>
                      <a:lnTo>
                        <a:pt x="8" y="32"/>
                      </a:lnTo>
                      <a:lnTo>
                        <a:pt x="0" y="16"/>
                      </a:lnTo>
                      <a:lnTo>
                        <a:pt x="16" y="0"/>
                      </a:lnTo>
                      <a:lnTo>
                        <a:pt x="24" y="0"/>
                      </a:lnTo>
                      <a:lnTo>
                        <a:pt x="24" y="8"/>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sp>
              <p:nvSpPr>
                <p:cNvPr id="901" name="Freeform 313"/>
                <p:cNvSpPr>
                  <a:spLocks/>
                </p:cNvSpPr>
                <p:nvPr/>
              </p:nvSpPr>
              <p:spPr bwMode="auto">
                <a:xfrm>
                  <a:off x="4833083" y="2654899"/>
                  <a:ext cx="37230" cy="43760"/>
                </a:xfrm>
                <a:custGeom>
                  <a:avLst/>
                  <a:gdLst>
                    <a:gd name="T0" fmla="*/ 24 w 24"/>
                    <a:gd name="T1" fmla="*/ 21 h 29"/>
                    <a:gd name="T2" fmla="*/ 11 w 24"/>
                    <a:gd name="T3" fmla="*/ 29 h 29"/>
                    <a:gd name="T4" fmla="*/ 0 w 24"/>
                    <a:gd name="T5" fmla="*/ 20 h 29"/>
                    <a:gd name="T6" fmla="*/ 2 w 24"/>
                    <a:gd name="T7" fmla="*/ 7 h 29"/>
                    <a:gd name="T8" fmla="*/ 16 w 24"/>
                    <a:gd name="T9" fmla="*/ 0 h 29"/>
                    <a:gd name="T10" fmla="*/ 24 w 24"/>
                    <a:gd name="T11" fmla="*/ 21 h 29"/>
                  </a:gdLst>
                  <a:ahLst/>
                  <a:cxnLst>
                    <a:cxn ang="0">
                      <a:pos x="T0" y="T1"/>
                    </a:cxn>
                    <a:cxn ang="0">
                      <a:pos x="T2" y="T3"/>
                    </a:cxn>
                    <a:cxn ang="0">
                      <a:pos x="T4" y="T5"/>
                    </a:cxn>
                    <a:cxn ang="0">
                      <a:pos x="T6" y="T7"/>
                    </a:cxn>
                    <a:cxn ang="0">
                      <a:pos x="T8" y="T9"/>
                    </a:cxn>
                    <a:cxn ang="0">
                      <a:pos x="T10" y="T11"/>
                    </a:cxn>
                  </a:cxnLst>
                  <a:rect l="0" t="0" r="r" b="b"/>
                  <a:pathLst>
                    <a:path w="24" h="29">
                      <a:moveTo>
                        <a:pt x="24" y="21"/>
                      </a:moveTo>
                      <a:lnTo>
                        <a:pt x="11" y="29"/>
                      </a:lnTo>
                      <a:lnTo>
                        <a:pt x="0" y="20"/>
                      </a:lnTo>
                      <a:lnTo>
                        <a:pt x="2" y="7"/>
                      </a:lnTo>
                      <a:lnTo>
                        <a:pt x="16" y="0"/>
                      </a:lnTo>
                      <a:lnTo>
                        <a:pt x="24" y="21"/>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Franklin Gothic Book" pitchFamily="-107" charset="0"/>
                    <a:ea typeface="ＭＳ Ｐゴシック" pitchFamily="-107" charset="-128"/>
                  </a:endParaRPr>
                </a:p>
              </p:txBody>
            </p:sp>
          </p:grpSp>
          <p:sp>
            <p:nvSpPr>
              <p:cNvPr id="607" name="Text Box 15">
                <a:extLst>
                  <a:ext uri="{FF2B5EF4-FFF2-40B4-BE49-F238E27FC236}">
                    <a16:creationId xmlns:a16="http://schemas.microsoft.com/office/drawing/2014/main" id="{F9CBF142-CE1E-4E72-B65C-C1C56F15F1F6}"/>
                  </a:ext>
                </a:extLst>
              </p:cNvPr>
              <p:cNvSpPr txBox="1">
                <a:spLocks noChangeArrowheads="1"/>
              </p:cNvSpPr>
              <p:nvPr/>
            </p:nvSpPr>
            <p:spPr bwMode="auto">
              <a:xfrm>
                <a:off x="7367092" y="4220528"/>
                <a:ext cx="802194"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en-US" sz="650" b="0" i="0" u="none" strike="noStrike" kern="1200" cap="none" spc="0" normalizeH="0" baseline="0" noProof="0">
                    <a:ln>
                      <a:noFill/>
                    </a:ln>
                    <a:solidFill>
                      <a:srgbClr val="000000"/>
                    </a:solidFill>
                    <a:effectLst/>
                    <a:uLnTx/>
                    <a:uFillTx/>
                    <a:latin typeface="Arial"/>
                    <a:ea typeface="ＭＳ Ｐゴシック" pitchFamily="34" charset="-128"/>
                    <a:cs typeface="+mn-cs"/>
                  </a:rPr>
                  <a:t>Johannesburg</a:t>
                </a:r>
              </a:p>
            </p:txBody>
          </p:sp>
          <p:sp>
            <p:nvSpPr>
              <p:cNvPr id="608" name="Ellipse 50">
                <a:extLst>
                  <a:ext uri="{FF2B5EF4-FFF2-40B4-BE49-F238E27FC236}">
                    <a16:creationId xmlns:a16="http://schemas.microsoft.com/office/drawing/2014/main" id="{FBBA932E-5421-41FB-8D06-763E798D8FC0}"/>
                  </a:ext>
                </a:extLst>
              </p:cNvPr>
              <p:cNvSpPr>
                <a:spLocks/>
              </p:cNvSpPr>
              <p:nvPr/>
            </p:nvSpPr>
            <p:spPr bwMode="auto">
              <a:xfrm>
                <a:off x="7289605" y="4249272"/>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09" name="Ellipse 32">
                <a:extLst>
                  <a:ext uri="{FF2B5EF4-FFF2-40B4-BE49-F238E27FC236}">
                    <a16:creationId xmlns:a16="http://schemas.microsoft.com/office/drawing/2014/main" id="{E69E098C-CC2D-48CB-BBB9-6B226B60B25F}"/>
                  </a:ext>
                </a:extLst>
              </p:cNvPr>
              <p:cNvSpPr>
                <a:spLocks/>
              </p:cNvSpPr>
              <p:nvPr/>
            </p:nvSpPr>
            <p:spPr bwMode="auto">
              <a:xfrm>
                <a:off x="7557695" y="3500750"/>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10" name="Text Box 15">
                <a:extLst>
                  <a:ext uri="{FF2B5EF4-FFF2-40B4-BE49-F238E27FC236}">
                    <a16:creationId xmlns:a16="http://schemas.microsoft.com/office/drawing/2014/main" id="{D1D8D63C-2C25-407D-A870-89DF810B7FB3}"/>
                  </a:ext>
                </a:extLst>
              </p:cNvPr>
              <p:cNvSpPr txBox="1">
                <a:spLocks noChangeArrowheads="1"/>
              </p:cNvSpPr>
              <p:nvPr/>
            </p:nvSpPr>
            <p:spPr bwMode="auto">
              <a:xfrm>
                <a:off x="7651974" y="3461413"/>
                <a:ext cx="425357"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en-US" sz="650" b="0" i="0" u="none" strike="noStrike" kern="1200" cap="none" spc="0" normalizeH="0" baseline="0" noProof="0" dirty="0">
                    <a:ln>
                      <a:noFill/>
                    </a:ln>
                    <a:solidFill>
                      <a:srgbClr val="000000"/>
                    </a:solidFill>
                    <a:effectLst/>
                    <a:uLnTx/>
                    <a:uFillTx/>
                    <a:latin typeface="Arial"/>
                    <a:ea typeface="ＭＳ Ｐゴシック" pitchFamily="34" charset="-128"/>
                    <a:cs typeface="+mn-cs"/>
                  </a:rPr>
                  <a:t>Nairobi</a:t>
                </a:r>
              </a:p>
            </p:txBody>
          </p:sp>
          <p:sp>
            <p:nvSpPr>
              <p:cNvPr id="614" name="Text Box 15">
                <a:extLst>
                  <a:ext uri="{FF2B5EF4-FFF2-40B4-BE49-F238E27FC236}">
                    <a16:creationId xmlns:a16="http://schemas.microsoft.com/office/drawing/2014/main" id="{8A4BD3DF-6188-44B2-BAE0-7F2C42FDB466}"/>
                  </a:ext>
                </a:extLst>
              </p:cNvPr>
              <p:cNvSpPr txBox="1">
                <a:spLocks noChangeArrowheads="1"/>
              </p:cNvSpPr>
              <p:nvPr/>
            </p:nvSpPr>
            <p:spPr bwMode="auto">
              <a:xfrm>
                <a:off x="6767816" y="3246889"/>
                <a:ext cx="802194"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en-US" sz="650" b="0" i="0" u="none" strike="noStrike" kern="1200" cap="none" spc="0" normalizeH="0" baseline="0" noProof="0">
                    <a:ln>
                      <a:noFill/>
                    </a:ln>
                    <a:solidFill>
                      <a:srgbClr val="000000"/>
                    </a:solidFill>
                    <a:effectLst/>
                    <a:uLnTx/>
                    <a:uFillTx/>
                    <a:latin typeface="Arial"/>
                    <a:ea typeface="ＭＳ Ｐゴシック" pitchFamily="34" charset="-128"/>
                    <a:cs typeface="+mn-cs"/>
                  </a:rPr>
                  <a:t>Lagos</a:t>
                </a:r>
              </a:p>
            </p:txBody>
          </p:sp>
          <p:sp>
            <p:nvSpPr>
              <p:cNvPr id="615" name="Text Box 15">
                <a:extLst>
                  <a:ext uri="{FF2B5EF4-FFF2-40B4-BE49-F238E27FC236}">
                    <a16:creationId xmlns:a16="http://schemas.microsoft.com/office/drawing/2014/main" id="{4E9512B4-867A-4BE5-B651-EA9110AFF1CA}"/>
                  </a:ext>
                </a:extLst>
              </p:cNvPr>
              <p:cNvSpPr txBox="1">
                <a:spLocks noChangeArrowheads="1"/>
              </p:cNvSpPr>
              <p:nvPr/>
            </p:nvSpPr>
            <p:spPr bwMode="auto">
              <a:xfrm>
                <a:off x="6067413" y="3215354"/>
                <a:ext cx="802194"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en-US" sz="650" b="0" i="0" u="none" strike="noStrike" kern="1200" cap="none" spc="0" normalizeH="0" baseline="0" noProof="0" dirty="0">
                    <a:ln>
                      <a:noFill/>
                    </a:ln>
                    <a:solidFill>
                      <a:srgbClr val="000000"/>
                    </a:solidFill>
                    <a:effectLst/>
                    <a:uLnTx/>
                    <a:uFillTx/>
                    <a:latin typeface="Arial"/>
                    <a:ea typeface="ＭＳ Ｐゴシック" pitchFamily="34" charset="-128"/>
                    <a:cs typeface="+mn-cs"/>
                  </a:rPr>
                  <a:t>Abidjan</a:t>
                </a:r>
              </a:p>
            </p:txBody>
          </p:sp>
          <p:sp>
            <p:nvSpPr>
              <p:cNvPr id="616" name="Ellipse 34">
                <a:extLst>
                  <a:ext uri="{FF2B5EF4-FFF2-40B4-BE49-F238E27FC236}">
                    <a16:creationId xmlns:a16="http://schemas.microsoft.com/office/drawing/2014/main" id="{7BBCEFD8-447C-4F51-8112-FDFCC9D07DA6}"/>
                  </a:ext>
                </a:extLst>
              </p:cNvPr>
              <p:cNvSpPr>
                <a:spLocks/>
              </p:cNvSpPr>
              <p:nvPr/>
            </p:nvSpPr>
            <p:spPr bwMode="auto">
              <a:xfrm flipH="1" flipV="1">
                <a:off x="6437336" y="3262826"/>
                <a:ext cx="54000" cy="54000"/>
              </a:xfrm>
              <a:prstGeom prst="ellipse">
                <a:avLst/>
              </a:prstGeom>
              <a:solidFill>
                <a:srgbClr val="A4B419"/>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55A0C6"/>
                  </a:solidFill>
                  <a:effectLst/>
                  <a:uLnTx/>
                  <a:uFillTx/>
                  <a:latin typeface="Arial"/>
                  <a:ea typeface="ＭＳ Ｐゴシック" charset="0"/>
                  <a:cs typeface="ＭＳ Ｐゴシック" charset="0"/>
                </a:endParaRPr>
              </a:p>
            </p:txBody>
          </p:sp>
          <p:sp>
            <p:nvSpPr>
              <p:cNvPr id="617" name="Oval 21">
                <a:extLst>
                  <a:ext uri="{FF2B5EF4-FFF2-40B4-BE49-F238E27FC236}">
                    <a16:creationId xmlns:a16="http://schemas.microsoft.com/office/drawing/2014/main" id="{96E1E113-6BA7-4DBD-A759-58C912ACEE61}"/>
                  </a:ext>
                </a:extLst>
              </p:cNvPr>
              <p:cNvSpPr/>
              <p:nvPr/>
            </p:nvSpPr>
            <p:spPr>
              <a:xfrm>
                <a:off x="6903643" y="2744634"/>
                <a:ext cx="612000" cy="612000"/>
              </a:xfrm>
              <a:prstGeom prst="ellipse">
                <a:avLst/>
              </a:prstGeom>
              <a:solidFill>
                <a:srgbClr val="005A8C">
                  <a:alpha val="40000"/>
                </a:srgbClr>
              </a:solidFill>
              <a:ln w="12700" cap="flat" cmpd="sng" algn="ctr">
                <a:noFill/>
                <a:prstDash val="solid"/>
                <a:miter lim="800000"/>
              </a:ln>
              <a:effectLst/>
            </p:spPr>
            <p:txBody>
              <a:bodyPr rot="0" spcFirstLastPara="0" vertOverflow="overflow" horzOverflow="overflow" vert="horz" wrap="square" lIns="87754" tIns="87754" rIns="87754" bIns="87754" numCol="1" spcCol="0" rtlCol="0" fromWordArt="0" anchor="ctr" anchorCtr="0" forceAA="0" compatLnSpc="1">
                <a:prstTxWarp prst="textNoShape">
                  <a:avLst/>
                </a:prstTxWarp>
                <a:noAutofit/>
              </a:bodyPr>
              <a:lstStyle/>
              <a:p>
                <a:pPr marL="0" marR="0" lvl="0" indent="0" defTabSz="653793"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FFFFFF"/>
                  </a:solidFill>
                  <a:effectLst/>
                  <a:uLnTx/>
                  <a:uFillTx/>
                  <a:latin typeface="Arial"/>
                  <a:ea typeface="+mn-ea"/>
                  <a:cs typeface="+mn-cs"/>
                </a:endParaRPr>
              </a:p>
            </p:txBody>
          </p:sp>
          <p:sp>
            <p:nvSpPr>
              <p:cNvPr id="618" name="Text Box 15">
                <a:extLst>
                  <a:ext uri="{FF2B5EF4-FFF2-40B4-BE49-F238E27FC236}">
                    <a16:creationId xmlns:a16="http://schemas.microsoft.com/office/drawing/2014/main" id="{7D2CBF05-C83B-4C19-8307-A92135D4ED35}"/>
                  </a:ext>
                </a:extLst>
              </p:cNvPr>
              <p:cNvSpPr txBox="1">
                <a:spLocks noChangeArrowheads="1"/>
              </p:cNvSpPr>
              <p:nvPr/>
            </p:nvSpPr>
            <p:spPr bwMode="auto">
              <a:xfrm>
                <a:off x="5775872" y="2878375"/>
                <a:ext cx="2714340" cy="247831"/>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fr-FR" sz="1293" b="1" i="0" u="none" strike="noStrike" kern="1200" cap="none" spc="0" normalizeH="0" baseline="0" dirty="0" err="1">
                    <a:ln>
                      <a:noFill/>
                    </a:ln>
                    <a:solidFill>
                      <a:srgbClr val="13556F"/>
                    </a:solidFill>
                    <a:effectLst/>
                    <a:uLnTx/>
                    <a:uFillTx/>
                    <a:latin typeface="Arial"/>
                    <a:ea typeface="ＭＳ Ｐゴシック" pitchFamily="34" charset="-128"/>
                    <a:cs typeface="+mn-cs"/>
                  </a:rPr>
                  <a:t>Africa</a:t>
                </a:r>
                <a:r>
                  <a:rPr kumimoji="0" lang="fr-FR" sz="1293" b="1" i="0" u="none" strike="noStrike" kern="1200" cap="none" spc="0" normalizeH="0" baseline="0" dirty="0">
                    <a:ln>
                      <a:noFill/>
                    </a:ln>
                    <a:solidFill>
                      <a:srgbClr val="13556F"/>
                    </a:solidFill>
                    <a:effectLst/>
                    <a:uLnTx/>
                    <a:uFillTx/>
                    <a:latin typeface="Arial"/>
                    <a:ea typeface="ＭＳ Ｐゴシック" pitchFamily="34" charset="-128"/>
                    <a:cs typeface="+mn-cs"/>
                  </a:rPr>
                  <a:t>/MENA: EUR </a:t>
                </a:r>
                <a:r>
                  <a:rPr kumimoji="0" lang="fr-FR" sz="1293" b="1" i="0" u="none" strike="noStrike" kern="1200" cap="none" spc="0" normalizeH="0" baseline="0" dirty="0">
                    <a:ln>
                      <a:noFill/>
                    </a:ln>
                    <a:solidFill>
                      <a:schemeClr val="bg2"/>
                    </a:solidFill>
                    <a:effectLst/>
                    <a:uLnTx/>
                    <a:uFillTx/>
                    <a:latin typeface="Arial"/>
                    <a:ea typeface="ＭＳ Ｐゴシック" pitchFamily="34" charset="-128"/>
                    <a:cs typeface="+mn-cs"/>
                  </a:rPr>
                  <a:t>2,7 billion</a:t>
                </a:r>
              </a:p>
            </p:txBody>
          </p:sp>
          <p:sp>
            <p:nvSpPr>
              <p:cNvPr id="619" name="Ellipse 50">
                <a:extLst>
                  <a:ext uri="{FF2B5EF4-FFF2-40B4-BE49-F238E27FC236}">
                    <a16:creationId xmlns:a16="http://schemas.microsoft.com/office/drawing/2014/main" id="{D197F7A8-3058-44AA-9ACA-509BB029D05B}"/>
                  </a:ext>
                </a:extLst>
              </p:cNvPr>
              <p:cNvSpPr>
                <a:spLocks/>
              </p:cNvSpPr>
              <p:nvPr/>
            </p:nvSpPr>
            <p:spPr bwMode="auto">
              <a:xfrm>
                <a:off x="9039882" y="4939479"/>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20" name="Ellipse 50">
                <a:extLst>
                  <a:ext uri="{FF2B5EF4-FFF2-40B4-BE49-F238E27FC236}">
                    <a16:creationId xmlns:a16="http://schemas.microsoft.com/office/drawing/2014/main" id="{7CAD5346-5703-4CA1-9612-EFC645315BF4}"/>
                  </a:ext>
                </a:extLst>
              </p:cNvPr>
              <p:cNvSpPr>
                <a:spLocks/>
              </p:cNvSpPr>
              <p:nvPr/>
            </p:nvSpPr>
            <p:spPr bwMode="auto">
              <a:xfrm>
                <a:off x="9042535" y="5063140"/>
                <a:ext cx="54000" cy="54000"/>
              </a:xfrm>
              <a:prstGeom prst="ellipse">
                <a:avLst/>
              </a:prstGeom>
              <a:solidFill>
                <a:srgbClr val="A4B419"/>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21" name="Text Box 15">
                <a:extLst>
                  <a:ext uri="{FF2B5EF4-FFF2-40B4-BE49-F238E27FC236}">
                    <a16:creationId xmlns:a16="http://schemas.microsoft.com/office/drawing/2014/main" id="{2ED9C684-8379-48E6-BE18-4B13AC43D2DB}"/>
                  </a:ext>
                </a:extLst>
              </p:cNvPr>
              <p:cNvSpPr txBox="1">
                <a:spLocks noChangeArrowheads="1"/>
              </p:cNvSpPr>
              <p:nvPr/>
            </p:nvSpPr>
            <p:spPr bwMode="auto">
              <a:xfrm>
                <a:off x="9158474" y="5047824"/>
                <a:ext cx="802194"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en-US" sz="650" b="0" i="0" u="none" strike="noStrike" kern="1200" cap="none" spc="0" normalizeH="0" baseline="0" noProof="0" dirty="0">
                    <a:ln>
                      <a:noFill/>
                    </a:ln>
                    <a:solidFill>
                      <a:srgbClr val="000000"/>
                    </a:solidFill>
                    <a:effectLst/>
                    <a:uLnTx/>
                    <a:uFillTx/>
                    <a:latin typeface="Arial"/>
                    <a:ea typeface="ＭＳ Ｐゴシック" pitchFamily="34" charset="-128"/>
                    <a:cs typeface="+mn-cs"/>
                  </a:rPr>
                  <a:t>Satellite</a:t>
                </a:r>
              </a:p>
            </p:txBody>
          </p:sp>
          <p:sp>
            <p:nvSpPr>
              <p:cNvPr id="622" name="Text Box 15">
                <a:extLst>
                  <a:ext uri="{FF2B5EF4-FFF2-40B4-BE49-F238E27FC236}">
                    <a16:creationId xmlns:a16="http://schemas.microsoft.com/office/drawing/2014/main" id="{41953DAC-AED5-42D0-BB90-FC2E0EA49747}"/>
                  </a:ext>
                </a:extLst>
              </p:cNvPr>
              <p:cNvSpPr txBox="1">
                <a:spLocks noChangeArrowheads="1"/>
              </p:cNvSpPr>
              <p:nvPr/>
            </p:nvSpPr>
            <p:spPr bwMode="auto">
              <a:xfrm>
                <a:off x="9163651" y="4924153"/>
                <a:ext cx="942179"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fr-FR" sz="650" b="0" i="0" u="none" strike="noStrike" kern="1200" cap="none" spc="0" normalizeH="0" dirty="0">
                    <a:ln>
                      <a:noFill/>
                    </a:ln>
                    <a:solidFill>
                      <a:srgbClr val="000000"/>
                    </a:solidFill>
                    <a:effectLst/>
                    <a:uLnTx/>
                    <a:uFillTx/>
                    <a:latin typeface="Arial"/>
                    <a:ea typeface="ＭＳ Ｐゴシック" pitchFamily="34" charset="-128"/>
                    <a:cs typeface="+mn-cs"/>
                  </a:rPr>
                  <a:t>Regional </a:t>
                </a:r>
                <a:r>
                  <a:rPr kumimoji="0" lang="fr-FR" sz="650" b="0" i="0" u="none" strike="noStrike" kern="1200" cap="none" spc="0" normalizeH="0" baseline="0" dirty="0">
                    <a:ln>
                      <a:noFill/>
                    </a:ln>
                    <a:solidFill>
                      <a:srgbClr val="000000"/>
                    </a:solidFill>
                    <a:effectLst/>
                    <a:uLnTx/>
                    <a:uFillTx/>
                    <a:latin typeface="Arial"/>
                    <a:ea typeface="ＭＳ Ｐゴシック" pitchFamily="34" charset="-128"/>
                    <a:cs typeface="+mn-cs"/>
                  </a:rPr>
                  <a:t>offices</a:t>
                </a:r>
              </a:p>
            </p:txBody>
          </p:sp>
          <p:sp>
            <p:nvSpPr>
              <p:cNvPr id="623" name="Ellipse 36">
                <a:extLst>
                  <a:ext uri="{FF2B5EF4-FFF2-40B4-BE49-F238E27FC236}">
                    <a16:creationId xmlns:a16="http://schemas.microsoft.com/office/drawing/2014/main" id="{B4704047-A984-4552-8124-E6D9C298648A}"/>
                  </a:ext>
                </a:extLst>
              </p:cNvPr>
              <p:cNvSpPr>
                <a:spLocks/>
              </p:cNvSpPr>
              <p:nvPr/>
            </p:nvSpPr>
            <p:spPr bwMode="auto">
              <a:xfrm>
                <a:off x="7452913" y="1647606"/>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24" name="Ellipse 34">
                <a:extLst>
                  <a:ext uri="{FF2B5EF4-FFF2-40B4-BE49-F238E27FC236}">
                    <a16:creationId xmlns:a16="http://schemas.microsoft.com/office/drawing/2014/main" id="{B163EAA6-83D7-4ED4-A699-42FD7B4C8B03}"/>
                  </a:ext>
                </a:extLst>
              </p:cNvPr>
              <p:cNvSpPr>
                <a:spLocks/>
              </p:cNvSpPr>
              <p:nvPr/>
            </p:nvSpPr>
            <p:spPr bwMode="auto">
              <a:xfrm>
                <a:off x="7280461" y="2183280"/>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25" name="Ellipse 47">
                <a:extLst>
                  <a:ext uri="{FF2B5EF4-FFF2-40B4-BE49-F238E27FC236}">
                    <a16:creationId xmlns:a16="http://schemas.microsoft.com/office/drawing/2014/main" id="{842C1DEF-A38C-4052-A544-E88D47C232F5}"/>
                  </a:ext>
                </a:extLst>
              </p:cNvPr>
              <p:cNvSpPr>
                <a:spLocks/>
              </p:cNvSpPr>
              <p:nvPr/>
            </p:nvSpPr>
            <p:spPr bwMode="auto">
              <a:xfrm>
                <a:off x="6781937" y="1882899"/>
                <a:ext cx="91565" cy="90000"/>
              </a:xfrm>
              <a:prstGeom prst="ellipse">
                <a:avLst/>
              </a:prstGeom>
              <a:solidFill>
                <a:srgbClr val="C00000"/>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0000"/>
                  </a:solidFill>
                  <a:effectLst/>
                  <a:uLnTx/>
                  <a:uFillTx/>
                  <a:latin typeface="Arial"/>
                  <a:ea typeface="ＭＳ Ｐゴシック" charset="0"/>
                  <a:cs typeface="ＭＳ Ｐゴシック" charset="0"/>
                </a:endParaRPr>
              </a:p>
            </p:txBody>
          </p:sp>
          <p:sp>
            <p:nvSpPr>
              <p:cNvPr id="626" name="Text Box 15">
                <a:extLst>
                  <a:ext uri="{FF2B5EF4-FFF2-40B4-BE49-F238E27FC236}">
                    <a16:creationId xmlns:a16="http://schemas.microsoft.com/office/drawing/2014/main" id="{EAA2F375-5D6B-4F83-9B15-E466B415F8CD}"/>
                  </a:ext>
                </a:extLst>
              </p:cNvPr>
              <p:cNvSpPr txBox="1">
                <a:spLocks noChangeArrowheads="1"/>
              </p:cNvSpPr>
              <p:nvPr/>
            </p:nvSpPr>
            <p:spPr bwMode="auto">
              <a:xfrm>
                <a:off x="6400391" y="1817599"/>
                <a:ext cx="583426"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en-US" sz="650" b="0" i="0" u="none" strike="noStrike" kern="1200" cap="none" spc="0" normalizeH="0" baseline="0" noProof="0" dirty="0">
                    <a:ln>
                      <a:noFill/>
                    </a:ln>
                    <a:solidFill>
                      <a:srgbClr val="000000"/>
                    </a:solidFill>
                    <a:effectLst/>
                    <a:uLnTx/>
                    <a:uFillTx/>
                    <a:latin typeface="Arial"/>
                    <a:ea typeface="ＭＳ Ｐゴシック" pitchFamily="34" charset="-128"/>
                    <a:cs typeface="+mn-cs"/>
                  </a:rPr>
                  <a:t>Cologne</a:t>
                </a:r>
              </a:p>
            </p:txBody>
          </p:sp>
          <p:grpSp>
            <p:nvGrpSpPr>
              <p:cNvPr id="627" name="Gruppierung 42">
                <a:extLst>
                  <a:ext uri="{FF2B5EF4-FFF2-40B4-BE49-F238E27FC236}">
                    <a16:creationId xmlns:a16="http://schemas.microsoft.com/office/drawing/2014/main" id="{8928BCF5-BD7B-4FFB-9975-91CB6743FF03}"/>
                  </a:ext>
                </a:extLst>
              </p:cNvPr>
              <p:cNvGrpSpPr/>
              <p:nvPr/>
            </p:nvGrpSpPr>
            <p:grpSpPr>
              <a:xfrm>
                <a:off x="8364845" y="2120050"/>
                <a:ext cx="2316580" cy="720000"/>
                <a:chOff x="3407052" y="2420189"/>
                <a:chExt cx="3356573" cy="956974"/>
              </a:xfrm>
            </p:grpSpPr>
            <p:sp>
              <p:nvSpPr>
                <p:cNvPr id="647" name="Oval 20">
                  <a:extLst>
                    <a:ext uri="{FF2B5EF4-FFF2-40B4-BE49-F238E27FC236}">
                      <a16:creationId xmlns:a16="http://schemas.microsoft.com/office/drawing/2014/main" id="{4B80AA29-A4F8-4A07-B9B8-CCD2AF17BF73}"/>
                    </a:ext>
                  </a:extLst>
                </p:cNvPr>
                <p:cNvSpPr/>
                <p:nvPr/>
              </p:nvSpPr>
              <p:spPr>
                <a:xfrm>
                  <a:off x="4104051" y="2420189"/>
                  <a:ext cx="1043233" cy="956974"/>
                </a:xfrm>
                <a:prstGeom prst="ellipse">
                  <a:avLst/>
                </a:prstGeom>
                <a:solidFill>
                  <a:srgbClr val="55A0C6">
                    <a:lumMod val="60000"/>
                    <a:lumOff val="40000"/>
                    <a:alpha val="40000"/>
                  </a:srgbClr>
                </a:solidFill>
                <a:ln w="12700" cap="flat" cmpd="sng" algn="ctr">
                  <a:noFill/>
                  <a:prstDash val="solid"/>
                  <a:miter lim="800000"/>
                </a:ln>
                <a:effectLst/>
              </p:spPr>
              <p:txBody>
                <a:bodyPr rot="0" spcFirstLastPara="0" vertOverflow="overflow" horzOverflow="overflow" vert="horz" wrap="square" lIns="87754" tIns="87754" rIns="87754" bIns="87754" numCol="1" spcCol="0" rtlCol="0" fromWordArt="0" anchor="ctr" anchorCtr="0" forceAA="0" compatLnSpc="1">
                  <a:prstTxWarp prst="textNoShape">
                    <a:avLst/>
                  </a:prstTxWarp>
                  <a:noAutofit/>
                </a:bodyPr>
                <a:lstStyle/>
                <a:p>
                  <a:pPr marL="0" marR="0" lvl="0" indent="0" defTabSz="653793" eaLnBrk="1" fontAlgn="auto" latinLnBrk="0" hangingPunct="1">
                    <a:lnSpc>
                      <a:spcPct val="100000"/>
                    </a:lnSpc>
                    <a:spcBef>
                      <a:spcPts val="0"/>
                    </a:spcBef>
                    <a:spcAft>
                      <a:spcPts val="0"/>
                    </a:spcAft>
                    <a:buClrTx/>
                    <a:buSzTx/>
                    <a:buFontTx/>
                    <a:buNone/>
                    <a:tabLst/>
                    <a:defRPr/>
                  </a:pPr>
                  <a:endParaRPr kumimoji="0" lang="en-US" sz="1293" b="0" i="0" u="none" strike="noStrike" kern="0" cap="none" spc="0" normalizeH="0" baseline="0" noProof="0">
                    <a:ln>
                      <a:noFill/>
                    </a:ln>
                    <a:solidFill>
                      <a:srgbClr val="55A0C6"/>
                    </a:solidFill>
                    <a:effectLst/>
                    <a:uLnTx/>
                    <a:uFillTx/>
                    <a:latin typeface="Arial"/>
                    <a:ea typeface="+mn-ea"/>
                    <a:cs typeface="+mn-cs"/>
                  </a:endParaRPr>
                </a:p>
              </p:txBody>
            </p:sp>
            <p:sp>
              <p:nvSpPr>
                <p:cNvPr id="648" name="Text Box 15">
                  <a:extLst>
                    <a:ext uri="{FF2B5EF4-FFF2-40B4-BE49-F238E27FC236}">
                      <a16:creationId xmlns:a16="http://schemas.microsoft.com/office/drawing/2014/main" id="{102B3146-D755-4B70-BFC1-98009C46B86D}"/>
                    </a:ext>
                  </a:extLst>
                </p:cNvPr>
                <p:cNvSpPr txBox="1">
                  <a:spLocks noChangeArrowheads="1"/>
                </p:cNvSpPr>
                <p:nvPr/>
              </p:nvSpPr>
              <p:spPr bwMode="auto">
                <a:xfrm>
                  <a:off x="3407052" y="2740883"/>
                  <a:ext cx="3356573" cy="235451"/>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fr-FR" sz="924" b="0" i="0" u="none" strike="noStrike" kern="1200" cap="none" spc="0" normalizeH="0" baseline="0" dirty="0">
                      <a:ln>
                        <a:noFill/>
                      </a:ln>
                      <a:solidFill>
                        <a:srgbClr val="13556F"/>
                      </a:solidFill>
                      <a:effectLst/>
                      <a:uLnTx/>
                      <a:uFillTx/>
                      <a:latin typeface="Arial"/>
                      <a:ea typeface="ＭＳ Ｐゴシック" pitchFamily="34" charset="-128"/>
                      <a:cs typeface="+mn-cs"/>
                    </a:rPr>
                    <a:t>Asia: EUR </a:t>
                  </a:r>
                  <a:r>
                    <a:rPr kumimoji="0" lang="fr-FR" sz="924" b="0" i="0" u="none" strike="noStrike" kern="1200" cap="none" spc="0" normalizeH="0" baseline="0" dirty="0">
                      <a:ln>
                        <a:noFill/>
                      </a:ln>
                      <a:solidFill>
                        <a:schemeClr val="bg2"/>
                      </a:solidFill>
                      <a:effectLst/>
                      <a:uLnTx/>
                      <a:uFillTx/>
                      <a:latin typeface="Arial"/>
                      <a:ea typeface="ＭＳ Ｐゴシック" pitchFamily="34" charset="-128"/>
                      <a:cs typeface="+mn-cs"/>
                    </a:rPr>
                    <a:t>3.1bn</a:t>
                  </a:r>
                </a:p>
              </p:txBody>
            </p:sp>
          </p:grpSp>
          <p:sp>
            <p:nvSpPr>
              <p:cNvPr id="628" name="Ellipse 40">
                <a:extLst>
                  <a:ext uri="{FF2B5EF4-FFF2-40B4-BE49-F238E27FC236}">
                    <a16:creationId xmlns:a16="http://schemas.microsoft.com/office/drawing/2014/main" id="{EAA361A7-FB8B-41BB-BA40-59C4B88EC618}"/>
                  </a:ext>
                </a:extLst>
              </p:cNvPr>
              <p:cNvSpPr>
                <a:spLocks/>
              </p:cNvSpPr>
              <p:nvPr/>
            </p:nvSpPr>
            <p:spPr bwMode="auto">
              <a:xfrm>
                <a:off x="9375407" y="2260622"/>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29" name="Ellipse 38">
                <a:extLst>
                  <a:ext uri="{FF2B5EF4-FFF2-40B4-BE49-F238E27FC236}">
                    <a16:creationId xmlns:a16="http://schemas.microsoft.com/office/drawing/2014/main" id="{DC453DBD-A2E7-4AC0-BBF1-BAB5F6D43269}"/>
                  </a:ext>
                </a:extLst>
              </p:cNvPr>
              <p:cNvSpPr>
                <a:spLocks/>
              </p:cNvSpPr>
              <p:nvPr/>
            </p:nvSpPr>
            <p:spPr bwMode="auto">
              <a:xfrm>
                <a:off x="8557474" y="2690556"/>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30" name="Ellipse 34">
                <a:extLst>
                  <a:ext uri="{FF2B5EF4-FFF2-40B4-BE49-F238E27FC236}">
                    <a16:creationId xmlns:a16="http://schemas.microsoft.com/office/drawing/2014/main" id="{F2F2A90C-58B3-406C-B790-6205A5A011C3}"/>
                  </a:ext>
                </a:extLst>
              </p:cNvPr>
              <p:cNvSpPr>
                <a:spLocks/>
              </p:cNvSpPr>
              <p:nvPr/>
            </p:nvSpPr>
            <p:spPr bwMode="auto">
              <a:xfrm>
                <a:off x="8908829" y="2769768"/>
                <a:ext cx="54000" cy="54000"/>
              </a:xfrm>
              <a:prstGeom prst="ellipse">
                <a:avLst/>
              </a:prstGeom>
              <a:solidFill>
                <a:srgbClr val="A4B419"/>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55A0C6"/>
                  </a:solidFill>
                  <a:effectLst/>
                  <a:uLnTx/>
                  <a:uFillTx/>
                  <a:latin typeface="Arial"/>
                  <a:ea typeface="ＭＳ Ｐゴシック" charset="0"/>
                  <a:cs typeface="ＭＳ Ｐゴシック" charset="0"/>
                </a:endParaRPr>
              </a:p>
            </p:txBody>
          </p:sp>
          <p:sp>
            <p:nvSpPr>
              <p:cNvPr id="631" name="Ellipse 34">
                <a:extLst>
                  <a:ext uri="{FF2B5EF4-FFF2-40B4-BE49-F238E27FC236}">
                    <a16:creationId xmlns:a16="http://schemas.microsoft.com/office/drawing/2014/main" id="{7DA961ED-8B67-4235-A35B-249EAD6076E2}"/>
                  </a:ext>
                </a:extLst>
              </p:cNvPr>
              <p:cNvSpPr>
                <a:spLocks/>
              </p:cNvSpPr>
              <p:nvPr/>
            </p:nvSpPr>
            <p:spPr bwMode="auto">
              <a:xfrm flipV="1">
                <a:off x="8626366" y="3243174"/>
                <a:ext cx="54000" cy="54000"/>
              </a:xfrm>
              <a:prstGeom prst="ellipse">
                <a:avLst/>
              </a:prstGeom>
              <a:solidFill>
                <a:srgbClr val="A4B419"/>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55A0C6"/>
                  </a:solidFill>
                  <a:effectLst/>
                  <a:uLnTx/>
                  <a:uFillTx/>
                  <a:latin typeface="Arial"/>
                  <a:ea typeface="ＭＳ Ｐゴシック" charset="0"/>
                  <a:cs typeface="ＭＳ Ｐゴシック" charset="0"/>
                </a:endParaRPr>
              </a:p>
            </p:txBody>
          </p:sp>
          <p:sp>
            <p:nvSpPr>
              <p:cNvPr id="632" name="Ellipse 34">
                <a:extLst>
                  <a:ext uri="{FF2B5EF4-FFF2-40B4-BE49-F238E27FC236}">
                    <a16:creationId xmlns:a16="http://schemas.microsoft.com/office/drawing/2014/main" id="{23EC25A1-35C9-47DA-B978-707E4B7CE319}"/>
                  </a:ext>
                </a:extLst>
              </p:cNvPr>
              <p:cNvSpPr>
                <a:spLocks/>
              </p:cNvSpPr>
              <p:nvPr/>
            </p:nvSpPr>
            <p:spPr bwMode="auto">
              <a:xfrm flipV="1">
                <a:off x="9277896" y="3150396"/>
                <a:ext cx="54000" cy="54000"/>
              </a:xfrm>
              <a:prstGeom prst="ellipse">
                <a:avLst/>
              </a:prstGeom>
              <a:solidFill>
                <a:srgbClr val="A4B419"/>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55A0C6"/>
                  </a:solidFill>
                  <a:effectLst/>
                  <a:uLnTx/>
                  <a:uFillTx/>
                  <a:latin typeface="Arial"/>
                  <a:ea typeface="ＭＳ Ｐゴシック" charset="0"/>
                  <a:cs typeface="ＭＳ Ｐゴシック" charset="0"/>
                </a:endParaRPr>
              </a:p>
            </p:txBody>
          </p:sp>
          <p:sp>
            <p:nvSpPr>
              <p:cNvPr id="633" name="Ellipse 42">
                <a:extLst>
                  <a:ext uri="{FF2B5EF4-FFF2-40B4-BE49-F238E27FC236}">
                    <a16:creationId xmlns:a16="http://schemas.microsoft.com/office/drawing/2014/main" id="{45C11351-39C2-4C3C-B02C-C5704FECBC8B}"/>
                  </a:ext>
                </a:extLst>
              </p:cNvPr>
              <p:cNvSpPr>
                <a:spLocks/>
              </p:cNvSpPr>
              <p:nvPr/>
            </p:nvSpPr>
            <p:spPr bwMode="auto">
              <a:xfrm>
                <a:off x="9174803" y="3050987"/>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34" name="Ellipse 46">
                <a:extLst>
                  <a:ext uri="{FF2B5EF4-FFF2-40B4-BE49-F238E27FC236}">
                    <a16:creationId xmlns:a16="http://schemas.microsoft.com/office/drawing/2014/main" id="{671B97FC-0614-47E0-8BC3-734DF94DBE7E}"/>
                  </a:ext>
                </a:extLst>
              </p:cNvPr>
              <p:cNvSpPr>
                <a:spLocks/>
              </p:cNvSpPr>
              <p:nvPr/>
            </p:nvSpPr>
            <p:spPr bwMode="auto">
              <a:xfrm>
                <a:off x="9286196" y="3448257"/>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35" name="Ellipse 50">
                <a:extLst>
                  <a:ext uri="{FF2B5EF4-FFF2-40B4-BE49-F238E27FC236}">
                    <a16:creationId xmlns:a16="http://schemas.microsoft.com/office/drawing/2014/main" id="{D8E1904B-EEA8-40A2-A15E-13BDFE858AED}"/>
                  </a:ext>
                </a:extLst>
              </p:cNvPr>
              <p:cNvSpPr>
                <a:spLocks/>
              </p:cNvSpPr>
              <p:nvPr/>
            </p:nvSpPr>
            <p:spPr bwMode="auto">
              <a:xfrm>
                <a:off x="9353290" y="3681020"/>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36" name="Ellipse 22">
                <a:extLst>
                  <a:ext uri="{FF2B5EF4-FFF2-40B4-BE49-F238E27FC236}">
                    <a16:creationId xmlns:a16="http://schemas.microsoft.com/office/drawing/2014/main" id="{6C345E0E-63F5-4C90-A651-7B73266BFF6D}"/>
                  </a:ext>
                </a:extLst>
              </p:cNvPr>
              <p:cNvSpPr>
                <a:spLocks/>
              </p:cNvSpPr>
              <p:nvPr/>
            </p:nvSpPr>
            <p:spPr bwMode="auto">
              <a:xfrm>
                <a:off x="4044762" y="2844256"/>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grpSp>
            <p:nvGrpSpPr>
              <p:cNvPr id="637" name="Gruppierung 48">
                <a:extLst>
                  <a:ext uri="{FF2B5EF4-FFF2-40B4-BE49-F238E27FC236}">
                    <a16:creationId xmlns:a16="http://schemas.microsoft.com/office/drawing/2014/main" id="{1CFC11FA-084A-4B9D-BAED-A2817266CE3E}"/>
                  </a:ext>
                </a:extLst>
              </p:cNvPr>
              <p:cNvGrpSpPr/>
              <p:nvPr/>
            </p:nvGrpSpPr>
            <p:grpSpPr>
              <a:xfrm>
                <a:off x="4198917" y="3813337"/>
                <a:ext cx="2316580" cy="684000"/>
                <a:chOff x="7135579" y="3129410"/>
                <a:chExt cx="3356573" cy="909126"/>
              </a:xfrm>
            </p:grpSpPr>
            <p:sp>
              <p:nvSpPr>
                <p:cNvPr id="645" name="Oval 23">
                  <a:extLst>
                    <a:ext uri="{FF2B5EF4-FFF2-40B4-BE49-F238E27FC236}">
                      <a16:creationId xmlns:a16="http://schemas.microsoft.com/office/drawing/2014/main" id="{7BB59597-F69C-46C6-87F0-9198359F8B5E}"/>
                    </a:ext>
                  </a:extLst>
                </p:cNvPr>
                <p:cNvSpPr/>
                <p:nvPr/>
              </p:nvSpPr>
              <p:spPr>
                <a:xfrm>
                  <a:off x="7850130" y="3129410"/>
                  <a:ext cx="991071" cy="909126"/>
                </a:xfrm>
                <a:prstGeom prst="ellipse">
                  <a:avLst/>
                </a:prstGeom>
                <a:solidFill>
                  <a:srgbClr val="55A0C6">
                    <a:lumMod val="60000"/>
                    <a:lumOff val="40000"/>
                    <a:alpha val="40000"/>
                  </a:srgbClr>
                </a:solidFill>
                <a:ln w="12700" cap="flat" cmpd="sng" algn="ctr">
                  <a:noFill/>
                  <a:prstDash val="solid"/>
                  <a:miter lim="800000"/>
                </a:ln>
                <a:effectLst/>
              </p:spPr>
              <p:txBody>
                <a:bodyPr rot="0" spcFirstLastPara="0" vertOverflow="overflow" horzOverflow="overflow" vert="horz" wrap="square" lIns="87754" tIns="87754" rIns="87754" bIns="87754" numCol="1" spcCol="0" rtlCol="0" fromWordArt="0" anchor="ctr" anchorCtr="0" forceAA="0" compatLnSpc="1">
                  <a:prstTxWarp prst="textNoShape">
                    <a:avLst/>
                  </a:prstTxWarp>
                  <a:noAutofit/>
                </a:bodyPr>
                <a:lstStyle/>
                <a:p>
                  <a:pPr marL="0" marR="0" lvl="0" indent="0" defTabSz="653793" eaLnBrk="1" fontAlgn="auto" latinLnBrk="0" hangingPunct="1">
                    <a:lnSpc>
                      <a:spcPct val="100000"/>
                    </a:lnSpc>
                    <a:spcBef>
                      <a:spcPts val="0"/>
                    </a:spcBef>
                    <a:spcAft>
                      <a:spcPts val="0"/>
                    </a:spcAft>
                    <a:buClrTx/>
                    <a:buSzTx/>
                    <a:buFontTx/>
                    <a:buNone/>
                    <a:tabLst/>
                    <a:defRPr/>
                  </a:pPr>
                  <a:endParaRPr kumimoji="0" lang="en-US" sz="1293" b="0" i="0" u="none" strike="noStrike" kern="0" cap="none" spc="0" normalizeH="0" baseline="0" noProof="0">
                    <a:ln>
                      <a:noFill/>
                    </a:ln>
                    <a:solidFill>
                      <a:srgbClr val="FFFFFF"/>
                    </a:solidFill>
                    <a:effectLst/>
                    <a:uLnTx/>
                    <a:uFillTx/>
                    <a:latin typeface="Arial"/>
                    <a:ea typeface="+mn-ea"/>
                    <a:cs typeface="+mn-cs"/>
                  </a:endParaRPr>
                </a:p>
              </p:txBody>
            </p:sp>
            <p:sp>
              <p:nvSpPr>
                <p:cNvPr id="646" name="Text Box 15">
                  <a:extLst>
                    <a:ext uri="{FF2B5EF4-FFF2-40B4-BE49-F238E27FC236}">
                      <a16:creationId xmlns:a16="http://schemas.microsoft.com/office/drawing/2014/main" id="{81F92017-3774-4F05-B7AD-49B5D2A09F9D}"/>
                    </a:ext>
                  </a:extLst>
                </p:cNvPr>
                <p:cNvSpPr txBox="1">
                  <a:spLocks noChangeArrowheads="1"/>
                </p:cNvSpPr>
                <p:nvPr/>
              </p:nvSpPr>
              <p:spPr bwMode="auto">
                <a:xfrm>
                  <a:off x="7135579" y="3757547"/>
                  <a:ext cx="3356573" cy="235451"/>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fr-FR" sz="924" b="0" i="0" u="none" strike="noStrike" kern="1200" cap="none" spc="0" normalizeH="0" baseline="0" dirty="0">
                      <a:ln>
                        <a:noFill/>
                      </a:ln>
                      <a:solidFill>
                        <a:srgbClr val="13556F"/>
                      </a:solidFill>
                      <a:effectLst/>
                      <a:uLnTx/>
                      <a:uFillTx/>
                      <a:latin typeface="Arial"/>
                      <a:ea typeface="ＭＳ Ｐゴシック" pitchFamily="34" charset="-128"/>
                      <a:cs typeface="+mn-cs"/>
                    </a:rPr>
                    <a:t>Latin America</a:t>
                  </a:r>
                  <a:r>
                    <a:rPr kumimoji="0" lang="en-US" sz="924" b="0" i="0" u="none" strike="noStrike" kern="1200" cap="none" spc="0" normalizeH="0" baseline="0" noProof="0" dirty="0">
                      <a:ln>
                        <a:noFill/>
                      </a:ln>
                      <a:solidFill>
                        <a:srgbClr val="13556F"/>
                      </a:solidFill>
                      <a:effectLst/>
                      <a:uLnTx/>
                      <a:uFillTx/>
                      <a:latin typeface="Arial"/>
                      <a:ea typeface="ＭＳ Ｐゴシック" pitchFamily="34" charset="-128"/>
                      <a:cs typeface="+mn-cs"/>
                    </a:rPr>
                    <a:t>: EUR 2.7bn</a:t>
                  </a:r>
                </a:p>
              </p:txBody>
            </p:sp>
          </p:grpSp>
          <p:sp>
            <p:nvSpPr>
              <p:cNvPr id="638" name="Ellipse 24">
                <a:extLst>
                  <a:ext uri="{FF2B5EF4-FFF2-40B4-BE49-F238E27FC236}">
                    <a16:creationId xmlns:a16="http://schemas.microsoft.com/office/drawing/2014/main" id="{4D05B7AD-8155-4574-BA36-312FC6EB7DBE}"/>
                  </a:ext>
                </a:extLst>
              </p:cNvPr>
              <p:cNvSpPr>
                <a:spLocks/>
              </p:cNvSpPr>
              <p:nvPr/>
            </p:nvSpPr>
            <p:spPr bwMode="auto">
              <a:xfrm>
                <a:off x="4644638" y="3897149"/>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39" name="Ellipse 26">
                <a:extLst>
                  <a:ext uri="{FF2B5EF4-FFF2-40B4-BE49-F238E27FC236}">
                    <a16:creationId xmlns:a16="http://schemas.microsoft.com/office/drawing/2014/main" id="{1D03BCF0-CA2D-484E-9A53-EE5BC48928DB}"/>
                  </a:ext>
                </a:extLst>
              </p:cNvPr>
              <p:cNvSpPr>
                <a:spLocks/>
              </p:cNvSpPr>
              <p:nvPr/>
            </p:nvSpPr>
            <p:spPr bwMode="auto">
              <a:xfrm>
                <a:off x="5395986" y="4187261"/>
                <a:ext cx="54000" cy="54000"/>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grpSp>
            <p:nvGrpSpPr>
              <p:cNvPr id="640" name="Gruppierung 36">
                <a:extLst>
                  <a:ext uri="{FF2B5EF4-FFF2-40B4-BE49-F238E27FC236}">
                    <a16:creationId xmlns:a16="http://schemas.microsoft.com/office/drawing/2014/main" id="{55247E40-1226-4730-982C-0337FD1847EA}"/>
                  </a:ext>
                </a:extLst>
              </p:cNvPr>
              <p:cNvGrpSpPr/>
              <p:nvPr/>
            </p:nvGrpSpPr>
            <p:grpSpPr>
              <a:xfrm>
                <a:off x="6053132" y="2023788"/>
                <a:ext cx="2316580" cy="279308"/>
                <a:chOff x="4312526" y="2007151"/>
                <a:chExt cx="3356573" cy="371237"/>
              </a:xfrm>
            </p:grpSpPr>
            <p:sp>
              <p:nvSpPr>
                <p:cNvPr id="643" name="Oval 22">
                  <a:extLst>
                    <a:ext uri="{FF2B5EF4-FFF2-40B4-BE49-F238E27FC236}">
                      <a16:creationId xmlns:a16="http://schemas.microsoft.com/office/drawing/2014/main" id="{0B659111-8193-4AB1-9AD7-203FAD33F481}"/>
                    </a:ext>
                  </a:extLst>
                </p:cNvPr>
                <p:cNvSpPr/>
                <p:nvPr/>
              </p:nvSpPr>
              <p:spPr>
                <a:xfrm>
                  <a:off x="5361776" y="2043448"/>
                  <a:ext cx="365132" cy="334940"/>
                </a:xfrm>
                <a:prstGeom prst="ellipse">
                  <a:avLst/>
                </a:prstGeom>
                <a:solidFill>
                  <a:srgbClr val="55A0C6">
                    <a:lumMod val="60000"/>
                    <a:lumOff val="40000"/>
                    <a:alpha val="40000"/>
                  </a:srgbClr>
                </a:solidFill>
                <a:ln w="12700" cap="flat" cmpd="sng" algn="ctr">
                  <a:noFill/>
                  <a:prstDash val="solid"/>
                  <a:miter lim="800000"/>
                </a:ln>
                <a:effectLst/>
              </p:spPr>
              <p:txBody>
                <a:bodyPr rot="0" spcFirstLastPara="0" vertOverflow="overflow" horzOverflow="overflow" vert="horz" wrap="square" lIns="87754" tIns="87754" rIns="87754" bIns="87754" numCol="1" spcCol="0" rtlCol="0" fromWordArt="0" anchor="ctr" anchorCtr="0" forceAA="0" compatLnSpc="1">
                  <a:prstTxWarp prst="textNoShape">
                    <a:avLst/>
                  </a:prstTxWarp>
                  <a:noAutofit/>
                </a:bodyPr>
                <a:lstStyle/>
                <a:p>
                  <a:pPr marL="0" marR="0" lvl="0" indent="0" defTabSz="653793" eaLnBrk="1" fontAlgn="auto" latinLnBrk="0" hangingPunct="1">
                    <a:lnSpc>
                      <a:spcPct val="100000"/>
                    </a:lnSpc>
                    <a:spcBef>
                      <a:spcPts val="0"/>
                    </a:spcBef>
                    <a:spcAft>
                      <a:spcPts val="0"/>
                    </a:spcAft>
                    <a:buClrTx/>
                    <a:buSzTx/>
                    <a:buFontTx/>
                    <a:buNone/>
                    <a:tabLst/>
                    <a:defRPr/>
                  </a:pPr>
                  <a:endParaRPr kumimoji="0" lang="en-US" sz="1293" b="0" i="0" u="none" strike="noStrike" kern="0" cap="none" spc="0" normalizeH="0" baseline="0" noProof="0">
                    <a:ln>
                      <a:noFill/>
                    </a:ln>
                    <a:solidFill>
                      <a:srgbClr val="FFFFFF"/>
                    </a:solidFill>
                    <a:effectLst/>
                    <a:uLnTx/>
                    <a:uFillTx/>
                    <a:latin typeface="Arial"/>
                    <a:ea typeface="+mn-ea"/>
                    <a:cs typeface="+mn-cs"/>
                  </a:endParaRPr>
                </a:p>
              </p:txBody>
            </p:sp>
            <p:sp>
              <p:nvSpPr>
                <p:cNvPr id="644" name="Text Box 15">
                  <a:extLst>
                    <a:ext uri="{FF2B5EF4-FFF2-40B4-BE49-F238E27FC236}">
                      <a16:creationId xmlns:a16="http://schemas.microsoft.com/office/drawing/2014/main" id="{2CBAEF7C-02F7-44D3-91DE-38BAA19CE916}"/>
                    </a:ext>
                  </a:extLst>
                </p:cNvPr>
                <p:cNvSpPr txBox="1">
                  <a:spLocks noChangeArrowheads="1"/>
                </p:cNvSpPr>
                <p:nvPr/>
              </p:nvSpPr>
              <p:spPr bwMode="auto">
                <a:xfrm>
                  <a:off x="4312526" y="2007151"/>
                  <a:ext cx="3356573" cy="235451"/>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en-US" sz="924" b="0" i="0" u="none" strike="noStrike" kern="1200" cap="none" spc="0" normalizeH="0" baseline="0" noProof="0" dirty="0">
                      <a:ln>
                        <a:noFill/>
                      </a:ln>
                      <a:solidFill>
                        <a:srgbClr val="13556F"/>
                      </a:solidFill>
                      <a:effectLst/>
                      <a:uLnTx/>
                      <a:uFillTx/>
                      <a:latin typeface="Arial"/>
                      <a:ea typeface="ＭＳ Ｐゴシック" pitchFamily="34" charset="-128"/>
                      <a:cs typeface="+mn-cs"/>
                    </a:rPr>
                    <a:t>Europe: EUR </a:t>
                  </a:r>
                  <a:r>
                    <a:rPr lang="en-US" sz="924" dirty="0">
                      <a:solidFill>
                        <a:srgbClr val="13556F"/>
                      </a:solidFill>
                      <a:latin typeface="Arial"/>
                    </a:rPr>
                    <a:t>1</a:t>
                  </a:r>
                  <a:r>
                    <a:rPr kumimoji="0" lang="en-US" sz="924" b="0" i="0" u="none" strike="noStrike" kern="1200" cap="none" spc="0" normalizeH="0" baseline="0" noProof="0" dirty="0">
                      <a:ln>
                        <a:noFill/>
                      </a:ln>
                      <a:solidFill>
                        <a:srgbClr val="13556F"/>
                      </a:solidFill>
                      <a:effectLst/>
                      <a:uLnTx/>
                      <a:uFillTx/>
                      <a:latin typeface="Arial"/>
                      <a:ea typeface="ＭＳ Ｐゴシック" pitchFamily="34" charset="-128"/>
                      <a:cs typeface="+mn-cs"/>
                    </a:rPr>
                    <a:t>.0bn</a:t>
                  </a:r>
                </a:p>
              </p:txBody>
            </p:sp>
          </p:grpSp>
          <p:sp>
            <p:nvSpPr>
              <p:cNvPr id="641" name="Ellipse 50">
                <a:extLst>
                  <a:ext uri="{FF2B5EF4-FFF2-40B4-BE49-F238E27FC236}">
                    <a16:creationId xmlns:a16="http://schemas.microsoft.com/office/drawing/2014/main" id="{7CAD5346-5703-4CA1-9612-EFC645315BF4}"/>
                  </a:ext>
                </a:extLst>
              </p:cNvPr>
              <p:cNvSpPr>
                <a:spLocks/>
              </p:cNvSpPr>
              <p:nvPr/>
            </p:nvSpPr>
            <p:spPr bwMode="auto">
              <a:xfrm>
                <a:off x="9043739" y="5186802"/>
                <a:ext cx="54000" cy="54000"/>
              </a:xfrm>
              <a:prstGeom prst="ellipse">
                <a:avLst/>
              </a:prstGeom>
              <a:solidFill>
                <a:srgbClr val="B3D0DE"/>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642" name="Text Box 15">
                <a:extLst>
                  <a:ext uri="{FF2B5EF4-FFF2-40B4-BE49-F238E27FC236}">
                    <a16:creationId xmlns:a16="http://schemas.microsoft.com/office/drawing/2014/main" id="{2ED9C684-8379-48E6-BE18-4B13AC43D2DB}"/>
                  </a:ext>
                </a:extLst>
              </p:cNvPr>
              <p:cNvSpPr txBox="1">
                <a:spLocks noChangeArrowheads="1"/>
              </p:cNvSpPr>
              <p:nvPr/>
            </p:nvSpPr>
            <p:spPr bwMode="auto">
              <a:xfrm>
                <a:off x="9152849" y="5171476"/>
                <a:ext cx="802194" cy="124594"/>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kumimoji="0" lang="fr-FR" sz="650" b="0" i="0" u="none" strike="noStrike" kern="1200" cap="none" spc="0" normalizeH="0" baseline="0" dirty="0">
                    <a:ln>
                      <a:noFill/>
                    </a:ln>
                    <a:solidFill>
                      <a:srgbClr val="000000"/>
                    </a:solidFill>
                    <a:effectLst/>
                    <a:uLnTx/>
                    <a:uFillTx/>
                    <a:latin typeface="Arial"/>
                    <a:ea typeface="ＭＳ Ｐゴシック" pitchFamily="34" charset="-128"/>
                    <a:cs typeface="+mn-cs"/>
                  </a:rPr>
                  <a:t>Portfolio</a:t>
                </a:r>
              </a:p>
            </p:txBody>
          </p:sp>
        </p:grpSp>
        <p:sp>
          <p:nvSpPr>
            <p:cNvPr id="554" name="Oval 24"/>
            <p:cNvSpPr/>
            <p:nvPr/>
          </p:nvSpPr>
          <p:spPr>
            <a:xfrm>
              <a:off x="5786460" y="5290971"/>
              <a:ext cx="132982" cy="132982"/>
            </a:xfrm>
            <a:prstGeom prst="ellipse">
              <a:avLst/>
            </a:prstGeom>
            <a:solidFill>
              <a:srgbClr val="55A0C6">
                <a:lumMod val="60000"/>
                <a:lumOff val="40000"/>
                <a:alpha val="40000"/>
              </a:srgbClr>
            </a:solidFill>
            <a:ln w="12700" cap="flat" cmpd="sng" algn="ctr">
              <a:noFill/>
              <a:prstDash val="solid"/>
              <a:miter lim="800000"/>
            </a:ln>
            <a:effectLst/>
          </p:spPr>
          <p:txBody>
            <a:bodyPr rot="0" spcFirstLastPara="0" vertOverflow="overflow" horzOverflow="overflow" vert="horz" wrap="square" lIns="99737" tIns="99737" rIns="99737" bIns="99737"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78" b="0" i="0" u="none" strike="noStrike" kern="0" cap="none" spc="0" normalizeH="0" baseline="0" noProof="0" dirty="0" err="1">
                <a:ln>
                  <a:noFill/>
                </a:ln>
                <a:solidFill>
                  <a:srgbClr val="FFFFFF"/>
                </a:solidFill>
                <a:effectLst/>
                <a:uLnTx/>
                <a:uFillTx/>
                <a:latin typeface="Arial"/>
                <a:ea typeface="+mn-ea"/>
                <a:cs typeface="+mn-cs"/>
              </a:endParaRPr>
            </a:p>
          </p:txBody>
        </p:sp>
        <p:sp>
          <p:nvSpPr>
            <p:cNvPr id="555" name="Text Box 15"/>
            <p:cNvSpPr txBox="1">
              <a:spLocks noChangeArrowheads="1"/>
            </p:cNvSpPr>
            <p:nvPr/>
          </p:nvSpPr>
          <p:spPr bwMode="auto">
            <a:xfrm>
              <a:off x="5976153" y="5279568"/>
              <a:ext cx="3099751" cy="142218"/>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fr-FR" sz="924" dirty="0">
                  <a:solidFill>
                    <a:srgbClr val="13556F"/>
                  </a:solidFill>
                  <a:latin typeface="Arial"/>
                </a:rPr>
                <a:t>Multi-country</a:t>
              </a:r>
              <a:r>
                <a:rPr kumimoji="0" lang="en-GB" sz="924" b="0" i="0" u="none" strike="noStrike" kern="1200" cap="none" spc="0" normalizeH="0" baseline="0" noProof="0" dirty="0">
                  <a:ln>
                    <a:noFill/>
                  </a:ln>
                  <a:solidFill>
                    <a:srgbClr val="13556F"/>
                  </a:solidFill>
                  <a:effectLst/>
                  <a:uLnTx/>
                  <a:uFillTx/>
                  <a:latin typeface="Arial"/>
                  <a:ea typeface="ＭＳ Ｐゴシック" pitchFamily="34" charset="-128"/>
                  <a:cs typeface="+mn-cs"/>
                </a:rPr>
                <a:t>: EUR 0.4bn</a:t>
              </a:r>
            </a:p>
          </p:txBody>
        </p:sp>
        <p:cxnSp>
          <p:nvCxnSpPr>
            <p:cNvPr id="571" name="Straight Connector 570"/>
            <p:cNvCxnSpPr/>
            <p:nvPr/>
          </p:nvCxnSpPr>
          <p:spPr>
            <a:xfrm>
              <a:off x="4198665" y="1607513"/>
              <a:ext cx="5538377" cy="20295"/>
            </a:xfrm>
            <a:prstGeom prst="line">
              <a:avLst/>
            </a:prstGeom>
            <a:noFill/>
            <a:ln w="19050" cap="flat" cmpd="sng" algn="ctr">
              <a:solidFill>
                <a:srgbClr val="005A8C"/>
              </a:solidFill>
              <a:prstDash val="lgDash"/>
              <a:miter lim="800000"/>
            </a:ln>
            <a:effectLst/>
          </p:spPr>
        </p:cxnSp>
        <p:cxnSp>
          <p:nvCxnSpPr>
            <p:cNvPr id="572" name="Straight Connector 571"/>
            <p:cNvCxnSpPr/>
            <p:nvPr/>
          </p:nvCxnSpPr>
          <p:spPr>
            <a:xfrm>
              <a:off x="4198665" y="5698336"/>
              <a:ext cx="5538377" cy="12013"/>
            </a:xfrm>
            <a:prstGeom prst="line">
              <a:avLst/>
            </a:prstGeom>
            <a:noFill/>
            <a:ln w="19050" cap="flat" cmpd="sng" algn="ctr">
              <a:solidFill>
                <a:srgbClr val="005A8C"/>
              </a:solidFill>
              <a:prstDash val="lgDash"/>
              <a:miter lim="800000"/>
            </a:ln>
            <a:effectLst/>
          </p:spPr>
        </p:cxnSp>
        <p:cxnSp>
          <p:nvCxnSpPr>
            <p:cNvPr id="573" name="Straight Connector 572"/>
            <p:cNvCxnSpPr/>
            <p:nvPr/>
          </p:nvCxnSpPr>
          <p:spPr>
            <a:xfrm flipV="1">
              <a:off x="9735152" y="1627808"/>
              <a:ext cx="0" cy="4082541"/>
            </a:xfrm>
            <a:prstGeom prst="line">
              <a:avLst/>
            </a:prstGeom>
            <a:noFill/>
            <a:ln w="19050" cap="flat" cmpd="sng" algn="ctr">
              <a:solidFill>
                <a:srgbClr val="005A8C"/>
              </a:solidFill>
              <a:prstDash val="lgDash"/>
              <a:miter lim="800000"/>
            </a:ln>
            <a:effectLst/>
          </p:spPr>
        </p:cxnSp>
        <p:sp>
          <p:nvSpPr>
            <p:cNvPr id="1029" name="Ellipse 36">
              <a:extLst>
                <a:ext uri="{FF2B5EF4-FFF2-40B4-BE49-F238E27FC236}">
                  <a16:creationId xmlns:a16="http://schemas.microsoft.com/office/drawing/2014/main" id="{B4704047-A984-4552-8124-E6D9C298648A}"/>
                </a:ext>
              </a:extLst>
            </p:cNvPr>
            <p:cNvSpPr>
              <a:spLocks/>
            </p:cNvSpPr>
            <p:nvPr/>
          </p:nvSpPr>
          <p:spPr bwMode="auto">
            <a:xfrm>
              <a:off x="6609184" y="3817695"/>
              <a:ext cx="45307" cy="43353"/>
            </a:xfrm>
            <a:prstGeom prst="ellipse">
              <a:avLst/>
            </a:prstGeom>
            <a:solidFill>
              <a:srgbClr val="005A8C"/>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ＭＳ Ｐゴシック" charset="0"/>
                <a:cs typeface="ＭＳ Ｐゴシック" charset="0"/>
              </a:endParaRPr>
            </a:p>
          </p:txBody>
        </p:sp>
        <p:sp>
          <p:nvSpPr>
            <p:cNvPr id="410" name="Ellipse 47">
              <a:extLst>
                <a:ext uri="{FF2B5EF4-FFF2-40B4-BE49-F238E27FC236}">
                  <a16:creationId xmlns:a16="http://schemas.microsoft.com/office/drawing/2014/main" id="{842C1DEF-A38C-4052-A544-E88D47C232F5}"/>
                </a:ext>
              </a:extLst>
            </p:cNvPr>
            <p:cNvSpPr>
              <a:spLocks/>
            </p:cNvSpPr>
            <p:nvPr/>
          </p:nvSpPr>
          <p:spPr bwMode="auto">
            <a:xfrm>
              <a:off x="8553400" y="5552990"/>
              <a:ext cx="76825" cy="72254"/>
            </a:xfrm>
            <a:prstGeom prst="ellipse">
              <a:avLst/>
            </a:prstGeom>
            <a:solidFill>
              <a:srgbClr val="C00000"/>
            </a:solidFill>
            <a:ln>
              <a:noFill/>
            </a:ln>
            <a:effectLst/>
          </p:spPr>
          <p:txBody>
            <a:bodyPr vert="horz" wrap="square" lIns="74299" tIns="37149" rIns="74299" bIns="37149" numCol="1" rtlCol="0" anchor="ctr" anchorCtr="0" compatLnSpc="1">
              <a:prstTxWarp prst="textNoShape">
                <a:avLst/>
              </a:prstTxWarp>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0000"/>
                </a:solidFill>
                <a:effectLst/>
                <a:uLnTx/>
                <a:uFillTx/>
                <a:latin typeface="Arial"/>
                <a:ea typeface="ＭＳ Ｐゴシック" charset="0"/>
                <a:cs typeface="ＭＳ Ｐゴシック" charset="0"/>
              </a:endParaRPr>
            </a:p>
          </p:txBody>
        </p:sp>
        <p:sp>
          <p:nvSpPr>
            <p:cNvPr id="411" name="Text Box 15">
              <a:extLst>
                <a:ext uri="{FF2B5EF4-FFF2-40B4-BE49-F238E27FC236}">
                  <a16:creationId xmlns:a16="http://schemas.microsoft.com/office/drawing/2014/main" id="{2ED9C684-8379-48E6-BE18-4B13AC43D2DB}"/>
                </a:ext>
              </a:extLst>
            </p:cNvPr>
            <p:cNvSpPr txBox="1">
              <a:spLocks noChangeArrowheads="1"/>
            </p:cNvSpPr>
            <p:nvPr/>
          </p:nvSpPr>
          <p:spPr bwMode="auto">
            <a:xfrm>
              <a:off x="8661412" y="5525217"/>
              <a:ext cx="673059" cy="100027"/>
            </a:xfrm>
            <a:prstGeom prst="rect">
              <a:avLst/>
            </a:prstGeom>
            <a:noFill/>
            <a:ln>
              <a:noFill/>
            </a:ln>
            <a:effectLst/>
          </p:spPr>
          <p:txBody>
            <a:bodyPr wrap="square" lIns="0" tIns="0" rIns="0" bIns="0" anchor="t" anchorCtr="0">
              <a:spAutoFit/>
            </a:bodyPr>
            <a:lstStyle>
              <a:defPPr>
                <a:defRPr lang="de-DE"/>
              </a:defPPr>
              <a:lvl1pPr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1pPr>
              <a:lvl2pPr marL="4572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2pPr>
              <a:lvl3pPr marL="9144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3pPr>
              <a:lvl4pPr marL="13716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4pPr>
              <a:lvl5pPr marL="1828800" algn="ctr" rtl="0" fontAlgn="base">
                <a:spcBef>
                  <a:spcPct val="0"/>
                </a:spcBef>
                <a:spcAft>
                  <a:spcPct val="0"/>
                </a:spcAft>
                <a:defRPr sz="1600" kern="1200">
                  <a:solidFill>
                    <a:schemeClr val="bg1"/>
                  </a:solidFill>
                  <a:latin typeface="Franklin Gothic Book" pitchFamily="34" charset="0"/>
                  <a:ea typeface="ＭＳ Ｐゴシック" pitchFamily="34" charset="-128"/>
                  <a:cs typeface="+mn-cs"/>
                </a:defRPr>
              </a:lvl5pPr>
              <a:lvl6pPr marL="2286000" algn="l" defTabSz="914400" rtl="0" eaLnBrk="1" latinLnBrk="0" hangingPunct="1">
                <a:defRPr sz="1600" kern="1200">
                  <a:solidFill>
                    <a:schemeClr val="bg1"/>
                  </a:solidFill>
                  <a:latin typeface="Franklin Gothic Book" pitchFamily="34" charset="0"/>
                  <a:ea typeface="ＭＳ Ｐゴシック" pitchFamily="34" charset="-128"/>
                  <a:cs typeface="+mn-cs"/>
                </a:defRPr>
              </a:lvl6pPr>
              <a:lvl7pPr marL="2743200" algn="l" defTabSz="914400" rtl="0" eaLnBrk="1" latinLnBrk="0" hangingPunct="1">
                <a:defRPr sz="1600" kern="1200">
                  <a:solidFill>
                    <a:schemeClr val="bg1"/>
                  </a:solidFill>
                  <a:latin typeface="Franklin Gothic Book" pitchFamily="34" charset="0"/>
                  <a:ea typeface="ＭＳ Ｐゴシック" pitchFamily="34" charset="-128"/>
                  <a:cs typeface="+mn-cs"/>
                </a:defRPr>
              </a:lvl7pPr>
              <a:lvl8pPr marL="3200400" algn="l" defTabSz="914400" rtl="0" eaLnBrk="1" latinLnBrk="0" hangingPunct="1">
                <a:defRPr sz="1600" kern="1200">
                  <a:solidFill>
                    <a:schemeClr val="bg1"/>
                  </a:solidFill>
                  <a:latin typeface="Franklin Gothic Book" pitchFamily="34" charset="0"/>
                  <a:ea typeface="ＭＳ Ｐゴシック" pitchFamily="34" charset="-128"/>
                  <a:cs typeface="+mn-cs"/>
                </a:defRPr>
              </a:lvl8pPr>
              <a:lvl9pPr marL="3657600" algn="l" defTabSz="914400" rtl="0" eaLnBrk="1" latinLnBrk="0" hangingPunct="1">
                <a:defRPr sz="1600" kern="1200">
                  <a:solidFill>
                    <a:schemeClr val="bg1"/>
                  </a:solidFill>
                  <a:latin typeface="Franklin Gothic Book" pitchFamily="34" charset="0"/>
                  <a:ea typeface="ＭＳ Ｐゴシック" pitchFamily="34" charset="-128"/>
                  <a:cs typeface="+mn-cs"/>
                </a:defRPr>
              </a:lvl9pPr>
            </a:lstStyle>
            <a:p>
              <a:pPr marL="0" marR="0" lvl="0" indent="0" algn="l" defTabSz="653793" rtl="0" eaLnBrk="1" fontAlgn="base" latinLnBrk="0" hangingPunct="1">
                <a:lnSpc>
                  <a:spcPct val="100000"/>
                </a:lnSpc>
                <a:spcBef>
                  <a:spcPts val="0"/>
                </a:spcBef>
                <a:spcAft>
                  <a:spcPct val="0"/>
                </a:spcAft>
                <a:buClrTx/>
                <a:buSzTx/>
                <a:buFontTx/>
                <a:buNone/>
                <a:tabLst/>
                <a:defRPr/>
              </a:pPr>
              <a:r>
                <a:rPr lang="en-US" sz="650" dirty="0">
                  <a:solidFill>
                    <a:srgbClr val="000000"/>
                  </a:solidFill>
                  <a:latin typeface="Arial"/>
                </a:rPr>
                <a:t>Headquarter</a:t>
              </a:r>
              <a:endParaRPr kumimoji="0" lang="en-US" sz="650" b="0" i="0" u="none" strike="noStrike" kern="1200" cap="none" spc="0" normalizeH="0" baseline="0" dirty="0">
                <a:ln>
                  <a:noFill/>
                </a:ln>
                <a:solidFill>
                  <a:srgbClr val="000000"/>
                </a:solidFill>
                <a:effectLst/>
                <a:uLnTx/>
                <a:uFillTx/>
                <a:latin typeface="Arial"/>
              </a:endParaRPr>
            </a:p>
          </p:txBody>
        </p:sp>
        <p:cxnSp>
          <p:nvCxnSpPr>
            <p:cNvPr id="417" name="Straight Connector 416"/>
            <p:cNvCxnSpPr/>
            <p:nvPr/>
          </p:nvCxnSpPr>
          <p:spPr>
            <a:xfrm flipV="1">
              <a:off x="3098958" y="1614557"/>
              <a:ext cx="1099707" cy="1757062"/>
            </a:xfrm>
            <a:prstGeom prst="line">
              <a:avLst/>
            </a:prstGeom>
            <a:noFill/>
            <a:ln w="19050" cap="flat" cmpd="sng" algn="ctr">
              <a:solidFill>
                <a:srgbClr val="005A8C"/>
              </a:solidFill>
              <a:prstDash val="lgDash"/>
              <a:miter lim="800000"/>
            </a:ln>
            <a:effectLst/>
          </p:spPr>
        </p:cxnSp>
        <p:cxnSp>
          <p:nvCxnSpPr>
            <p:cNvPr id="421" name="Straight Connector 420"/>
            <p:cNvCxnSpPr/>
            <p:nvPr/>
          </p:nvCxnSpPr>
          <p:spPr>
            <a:xfrm>
              <a:off x="3086080" y="3900238"/>
              <a:ext cx="1108500" cy="1791414"/>
            </a:xfrm>
            <a:prstGeom prst="line">
              <a:avLst/>
            </a:prstGeom>
            <a:noFill/>
            <a:ln w="19050" cap="flat" cmpd="sng" algn="ctr">
              <a:solidFill>
                <a:srgbClr val="005A8C"/>
              </a:solidFill>
              <a:prstDash val="lgDash"/>
              <a:miter lim="800000"/>
            </a:ln>
            <a:effectLst/>
          </p:spPr>
        </p:cxnSp>
      </p:grpSp>
      <p:sp>
        <p:nvSpPr>
          <p:cNvPr id="6" name="Slide Number Placeholder 5"/>
          <p:cNvSpPr>
            <a:spLocks noGrp="1"/>
          </p:cNvSpPr>
          <p:nvPr>
            <p:ph type="sldNum" sz="quarter" idx="12"/>
          </p:nvPr>
        </p:nvSpPr>
        <p:spPr/>
        <p:txBody>
          <a:bodyPr/>
          <a:lstStyle/>
          <a:p>
            <a:fld id="{5678FFC5-4430-43BC-9807-D0C6EB405569}" type="slidenum">
              <a:rPr lang="de-DE" smtClean="0"/>
              <a:t>4</a:t>
            </a:fld>
            <a:endParaRPr lang="de-DE" dirty="0"/>
          </a:p>
        </p:txBody>
      </p:sp>
      <p:sp>
        <p:nvSpPr>
          <p:cNvPr id="409" name="TextBox 408"/>
          <p:cNvSpPr txBox="1"/>
          <p:nvPr/>
        </p:nvSpPr>
        <p:spPr>
          <a:xfrm>
            <a:off x="1214776" y="5652465"/>
            <a:ext cx="8234829" cy="710552"/>
          </a:xfrm>
          <a:prstGeom prst="rect">
            <a:avLst/>
          </a:prstGeom>
          <a:noFill/>
        </p:spPr>
        <p:txBody>
          <a:bodyPr wrap="square" lIns="144000" tIns="108000" rIns="144000" bIns="108000" rtlCol="0">
            <a:spAutoFit/>
          </a:bodyPr>
          <a:lstStyle/>
          <a:p>
            <a:pPr>
              <a:buSzPct val="110000"/>
            </a:pPr>
            <a:r>
              <a:rPr lang="en-US" sz="1600" b="1" dirty="0">
                <a:solidFill>
                  <a:schemeClr val="accent1"/>
                </a:solidFill>
              </a:rPr>
              <a:t>Currently EUR 55.6m DEG exposure in Ukraine + EUR 5m Connect4Impact and EUR 2.5m financial support via </a:t>
            </a:r>
            <a:r>
              <a:rPr lang="en-US" sz="1600" b="1" dirty="0" err="1">
                <a:solidFill>
                  <a:schemeClr val="accent1"/>
                </a:solidFill>
              </a:rPr>
              <a:t>DEGImpulse</a:t>
            </a:r>
            <a:endParaRPr lang="en-GB" sz="1600" b="1" dirty="0">
              <a:solidFill>
                <a:schemeClr val="accent1"/>
              </a:solidFill>
            </a:endParaRPr>
          </a:p>
        </p:txBody>
      </p:sp>
      <p:pic>
        <p:nvPicPr>
          <p:cNvPr id="412" name="Picture 411"/>
          <p:cNvPicPr>
            <a:picLocks noChangeAspect="1"/>
          </p:cNvPicPr>
          <p:nvPr/>
        </p:nvPicPr>
        <p:blipFill>
          <a:blip r:embed="rId3"/>
          <a:stretch>
            <a:fillRect/>
          </a:stretch>
        </p:blipFill>
        <p:spPr>
          <a:xfrm>
            <a:off x="500401" y="5774378"/>
            <a:ext cx="714375" cy="466725"/>
          </a:xfrm>
          <a:prstGeom prst="rect">
            <a:avLst/>
          </a:prstGeom>
        </p:spPr>
      </p:pic>
    </p:spTree>
    <p:extLst>
      <p:ext uri="{BB962C8B-B14F-4D97-AF65-F5344CB8AC3E}">
        <p14:creationId xmlns:p14="http://schemas.microsoft.com/office/powerpoint/2010/main" val="20041833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4221705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8"/>
          </p:nvPr>
        </p:nvSpPr>
        <p:spPr/>
        <p:txBody>
          <a:bodyPr/>
          <a:lstStyle/>
          <a:p>
            <a:r>
              <a:rPr lang="de-DE" dirty="0" err="1"/>
              <a:t>We</a:t>
            </a:r>
            <a:r>
              <a:rPr lang="de-DE" dirty="0"/>
              <a:t> </a:t>
            </a:r>
            <a:r>
              <a:rPr lang="de-DE" dirty="0" err="1"/>
              <a:t>finance</a:t>
            </a:r>
            <a:r>
              <a:rPr lang="de-DE" dirty="0"/>
              <a:t> </a:t>
            </a:r>
            <a:r>
              <a:rPr lang="de-DE" dirty="0" err="1"/>
              <a:t>progress</a:t>
            </a:r>
            <a:endParaRPr lang="de-DE" dirty="0"/>
          </a:p>
        </p:txBody>
      </p:sp>
      <p:sp>
        <p:nvSpPr>
          <p:cNvPr id="7" name="Title 6"/>
          <p:cNvSpPr>
            <a:spLocks noGrp="1"/>
          </p:cNvSpPr>
          <p:nvPr>
            <p:ph type="title"/>
          </p:nvPr>
        </p:nvSpPr>
        <p:spPr/>
        <p:txBody>
          <a:bodyPr vert="horz"/>
          <a:lstStyle/>
          <a:p>
            <a:r>
              <a:rPr lang="de-DE" dirty="0"/>
              <a:t>Connect4Impact</a:t>
            </a:r>
          </a:p>
        </p:txBody>
      </p:sp>
      <p:sp>
        <p:nvSpPr>
          <p:cNvPr id="2" name="Slide Number Placeholder 1"/>
          <p:cNvSpPr>
            <a:spLocks noGrp="1"/>
          </p:cNvSpPr>
          <p:nvPr>
            <p:ph type="sldNum" sz="quarter" idx="21"/>
          </p:nvPr>
        </p:nvSpPr>
        <p:spPr/>
        <p:txBody>
          <a:bodyPr/>
          <a:lstStyle/>
          <a:p>
            <a:fld id="{5678FFC5-4430-43BC-9807-D0C6EB405569}" type="slidenum">
              <a:rPr lang="de-DE" smtClean="0"/>
              <a:pPr/>
              <a:t>5</a:t>
            </a:fld>
            <a:endParaRPr lang="de-DE" dirty="0"/>
          </a:p>
        </p:txBody>
      </p:sp>
    </p:spTree>
    <p:extLst>
      <p:ext uri="{BB962C8B-B14F-4D97-AF65-F5344CB8AC3E}">
        <p14:creationId xmlns:p14="http://schemas.microsoft.com/office/powerpoint/2010/main" val="3318206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644177627"/>
              </p:ext>
            </p:extLst>
          </p:nvPr>
        </p:nvGraphicFramePr>
        <p:xfrm>
          <a:off x="2580177" y="1100"/>
          <a:ext cx="1099" cy="1099"/>
        </p:xfrm>
        <a:graphic>
          <a:graphicData uri="http://schemas.openxmlformats.org/presentationml/2006/ole">
            <mc:AlternateContent xmlns:mc="http://schemas.openxmlformats.org/markup-compatibility/2006">
              <mc:Choice xmlns:v="urn:schemas-microsoft-com:vml" Requires="v">
                <p:oleObj name="think-cell Folie" r:id="rId4" imgW="286" imgH="286" progId="TCLayout.ActiveDocument.1">
                  <p:embed/>
                </p:oleObj>
              </mc:Choice>
              <mc:Fallback>
                <p:oleObj name="think-cell Folie" r:id="rId4" imgW="286" imgH="286" progId="TCLayout.ActiveDocument.1">
                  <p:embed/>
                  <p:pic>
                    <p:nvPicPr>
                      <p:cNvPr id="5" name="Objekt 4" hidden="1"/>
                      <p:cNvPicPr/>
                      <p:nvPr/>
                    </p:nvPicPr>
                    <p:blipFill>
                      <a:blip r:embed="rId5"/>
                      <a:stretch>
                        <a:fillRect/>
                      </a:stretch>
                    </p:blipFill>
                    <p:spPr>
                      <a:xfrm>
                        <a:off x="2580177" y="1100"/>
                        <a:ext cx="1099" cy="1099"/>
                      </a:xfrm>
                      <a:prstGeom prst="rect">
                        <a:avLst/>
                      </a:prstGeom>
                    </p:spPr>
                  </p:pic>
                </p:oleObj>
              </mc:Fallback>
            </mc:AlternateContent>
          </a:graphicData>
        </a:graphic>
      </p:graphicFrame>
      <p:sp>
        <p:nvSpPr>
          <p:cNvPr id="16" name="Text Placeholder 1"/>
          <p:cNvSpPr>
            <a:spLocks noGrp="1"/>
          </p:cNvSpPr>
          <p:nvPr>
            <p:ph type="body" sz="quarter" idx="13"/>
          </p:nvPr>
        </p:nvSpPr>
        <p:spPr>
          <a:xfrm>
            <a:off x="4953000" y="4078613"/>
            <a:ext cx="4442400" cy="2374723"/>
          </a:xfrm>
        </p:spPr>
        <p:txBody>
          <a:bodyPr/>
          <a:lstStyle/>
          <a:p>
            <a:pPr marL="0" indent="0" algn="just" defTabSz="557011">
              <a:buSzTx/>
              <a:buNone/>
            </a:pPr>
            <a:r>
              <a:rPr lang="en-GB" sz="1200" b="1" dirty="0">
                <a:solidFill>
                  <a:srgbClr val="005A8C"/>
                </a:solidFill>
              </a:rPr>
              <a:t>CONDITIONS</a:t>
            </a:r>
          </a:p>
          <a:p>
            <a:pPr marL="0" indent="0" algn="just" defTabSz="557011">
              <a:buSzTx/>
              <a:buNone/>
            </a:pPr>
            <a:endParaRPr lang="de-DE" sz="600" b="1" dirty="0">
              <a:solidFill>
                <a:srgbClr val="000000"/>
              </a:solidFill>
            </a:endParaRPr>
          </a:p>
          <a:p>
            <a:pPr marL="118695" indent="-118695" algn="just" defTabSz="557011">
              <a:buSzTx/>
              <a:buFont typeface="Arial" panose="020B0604020202020204" pitchFamily="34" charset="0"/>
              <a:buChar char="•"/>
            </a:pPr>
            <a:r>
              <a:rPr lang="en-GB" sz="1200" dirty="0">
                <a:solidFill>
                  <a:srgbClr val="000000"/>
                </a:solidFill>
              </a:rPr>
              <a:t>Loans in EUR, USD and many local currencies</a:t>
            </a:r>
          </a:p>
          <a:p>
            <a:pPr marL="118695" indent="-118695" algn="just" defTabSz="557011">
              <a:buSzTx/>
              <a:buFont typeface="Arial" panose="020B0604020202020204" pitchFamily="34" charset="0"/>
              <a:buChar char="•"/>
            </a:pPr>
            <a:r>
              <a:rPr lang="en-GB" sz="1200" dirty="0">
                <a:solidFill>
                  <a:srgbClr val="000000"/>
                </a:solidFill>
              </a:rPr>
              <a:t>Terms of 3 to 7 years</a:t>
            </a:r>
          </a:p>
          <a:p>
            <a:pPr marL="118695" indent="-118695" algn="just" defTabSz="557011">
              <a:buSzTx/>
              <a:buFont typeface="Arial" panose="020B0604020202020204" pitchFamily="34" charset="0"/>
              <a:buChar char="•"/>
            </a:pPr>
            <a:r>
              <a:rPr lang="en-GB" sz="1200" dirty="0">
                <a:solidFill>
                  <a:srgbClr val="000000"/>
                </a:solidFill>
              </a:rPr>
              <a:t>Loan amounts from EUR 750,000 to EUR 5 million</a:t>
            </a:r>
          </a:p>
          <a:p>
            <a:pPr marL="118695" indent="-118695" algn="just" defTabSz="557011">
              <a:buSzTx/>
              <a:buFont typeface="Arial" panose="020B0604020202020204" pitchFamily="34" charset="0"/>
              <a:buChar char="•"/>
            </a:pPr>
            <a:r>
              <a:rPr lang="en-GB" sz="1200" dirty="0">
                <a:solidFill>
                  <a:srgbClr val="000000"/>
                </a:solidFill>
              </a:rPr>
              <a:t>Usually unsecured</a:t>
            </a:r>
          </a:p>
          <a:p>
            <a:pPr marL="118695" indent="-118695" algn="just" defTabSz="557011">
              <a:buSzTx/>
              <a:buFont typeface="Arial" panose="020B0604020202020204" pitchFamily="34" charset="0"/>
              <a:buChar char="•"/>
            </a:pPr>
            <a:r>
              <a:rPr lang="en-GB" sz="1200" dirty="0">
                <a:solidFill>
                  <a:srgbClr val="000000"/>
                </a:solidFill>
              </a:rPr>
              <a:t>Attractive conditions, with interest rate reductions for projects that have a particularly strong impact</a:t>
            </a:r>
          </a:p>
          <a:p>
            <a:pPr marL="118695" indent="-118695" algn="just" defTabSz="557011">
              <a:buSzTx/>
              <a:buFont typeface="Arial" panose="020B0604020202020204" pitchFamily="34" charset="0"/>
              <a:buChar char="•"/>
            </a:pPr>
            <a:r>
              <a:rPr lang="en-GB" sz="1200" dirty="0">
                <a:solidFill>
                  <a:srgbClr val="000000"/>
                </a:solidFill>
              </a:rPr>
              <a:t>Support for implementing international environmental and social standards</a:t>
            </a:r>
          </a:p>
        </p:txBody>
      </p:sp>
      <p:sp>
        <p:nvSpPr>
          <p:cNvPr id="2" name="Text Placeholder 1"/>
          <p:cNvSpPr>
            <a:spLocks noGrp="1"/>
          </p:cNvSpPr>
          <p:nvPr>
            <p:ph type="body" sz="quarter" idx="13"/>
          </p:nvPr>
        </p:nvSpPr>
        <p:spPr>
          <a:xfrm>
            <a:off x="457200" y="1411200"/>
            <a:ext cx="4442819" cy="2181813"/>
          </a:xfrm>
        </p:spPr>
        <p:txBody>
          <a:bodyPr/>
          <a:lstStyle/>
          <a:p>
            <a:pPr marL="0" indent="0" algn="just">
              <a:buNone/>
            </a:pPr>
            <a:r>
              <a:rPr lang="en-GB" sz="1200" b="1" dirty="0"/>
              <a:t>THE PROGRAMME</a:t>
            </a:r>
          </a:p>
          <a:p>
            <a:pPr marL="0" indent="0" algn="just">
              <a:buNone/>
            </a:pPr>
            <a:endParaRPr lang="de-DE" sz="600" b="1" dirty="0"/>
          </a:p>
          <a:p>
            <a:pPr marL="171450" indent="-171450" algn="just">
              <a:buFont typeface="Arial" panose="020B0604020202020204" pitchFamily="34" charset="0"/>
              <a:buChar char="•"/>
            </a:pPr>
            <a:r>
              <a:rPr lang="en-GB" sz="1200" dirty="0">
                <a:solidFill>
                  <a:schemeClr val="tx1"/>
                </a:solidFill>
              </a:rPr>
              <a:t>Promotional programme launched in 2019</a:t>
            </a:r>
          </a:p>
          <a:p>
            <a:pPr marL="171450" indent="-171450" algn="just">
              <a:buFont typeface="Arial" panose="020B0604020202020204" pitchFamily="34" charset="0"/>
              <a:buChar char="•"/>
            </a:pPr>
            <a:r>
              <a:rPr lang="en-GB" sz="1200" dirty="0">
                <a:solidFill>
                  <a:schemeClr val="tx1"/>
                </a:solidFill>
              </a:rPr>
              <a:t>Funded by the German Federal Ministry for Economic Cooperation and Development (BMZ) and implemented by DEG</a:t>
            </a:r>
          </a:p>
          <a:p>
            <a:pPr marL="171450" indent="-171450" algn="just">
              <a:buFont typeface="Arial" panose="020B0604020202020204" pitchFamily="34" charset="0"/>
              <a:buChar char="•"/>
            </a:pPr>
            <a:r>
              <a:rPr lang="en-GB" sz="1200" dirty="0">
                <a:solidFill>
                  <a:schemeClr val="tx1"/>
                </a:solidFill>
              </a:rPr>
              <a:t>Connect4Impact provides:</a:t>
            </a:r>
          </a:p>
          <a:p>
            <a:pPr marL="595312" lvl="2" indent="-171450" algn="just">
              <a:lnSpc>
                <a:spcPct val="120000"/>
              </a:lnSpc>
              <a:buSzPct val="90000"/>
              <a:buFont typeface="Arial" panose="020B0604020202020204" pitchFamily="34" charset="0"/>
              <a:buChar char="›"/>
            </a:pPr>
            <a:r>
              <a:rPr lang="en-GB" sz="1200" dirty="0">
                <a:solidFill>
                  <a:schemeClr val="tx1"/>
                </a:solidFill>
              </a:rPr>
              <a:t>attractive loans to subsidiaries of EU companies in developing and emerging countries</a:t>
            </a:r>
          </a:p>
          <a:p>
            <a:pPr marL="595312" lvl="2" indent="-171450" algn="just">
              <a:lnSpc>
                <a:spcPct val="120000"/>
              </a:lnSpc>
              <a:buSzPct val="90000"/>
              <a:buFont typeface="Arial" panose="020B0604020202020204" pitchFamily="34" charset="0"/>
              <a:buChar char="›"/>
            </a:pPr>
            <a:r>
              <a:rPr lang="en-GB" sz="1200" dirty="0">
                <a:solidFill>
                  <a:schemeClr val="tx1"/>
                </a:solidFill>
              </a:rPr>
              <a:t>access to the DEG network and wide-ranging expertise in developing and emerging-market countries based on 60 years of experience</a:t>
            </a:r>
          </a:p>
        </p:txBody>
      </p:sp>
      <p:sp>
        <p:nvSpPr>
          <p:cNvPr id="3" name="Text Placeholder 2"/>
          <p:cNvSpPr>
            <a:spLocks noGrp="1"/>
          </p:cNvSpPr>
          <p:nvPr>
            <p:ph type="body" sz="quarter" idx="14"/>
          </p:nvPr>
        </p:nvSpPr>
        <p:spPr/>
        <p:txBody>
          <a:bodyPr/>
          <a:lstStyle/>
          <a:p>
            <a:r>
              <a:rPr lang="en-GB" dirty="0"/>
              <a:t>We finance progress</a:t>
            </a:r>
          </a:p>
        </p:txBody>
      </p:sp>
      <p:sp>
        <p:nvSpPr>
          <p:cNvPr id="4" name="Title 3"/>
          <p:cNvSpPr>
            <a:spLocks noGrp="1"/>
          </p:cNvSpPr>
          <p:nvPr>
            <p:ph type="title"/>
          </p:nvPr>
        </p:nvSpPr>
        <p:spPr/>
        <p:txBody>
          <a:bodyPr vert="horz"/>
          <a:lstStyle/>
          <a:p>
            <a:r>
              <a:rPr lang="en-GB" dirty="0"/>
              <a:t>Connect4Impact</a:t>
            </a:r>
          </a:p>
        </p:txBody>
      </p:sp>
      <p:grpSp>
        <p:nvGrpSpPr>
          <p:cNvPr id="20" name="Group 3">
            <a:extLst>
              <a:ext uri="{FF2B5EF4-FFF2-40B4-BE49-F238E27FC236}">
                <a16:creationId xmlns:a16="http://schemas.microsoft.com/office/drawing/2014/main" id="{DAC98750-7E83-F247-B9C5-863FEC0888F1}"/>
              </a:ext>
            </a:extLst>
          </p:cNvPr>
          <p:cNvGrpSpPr>
            <a:grpSpLocks noChangeAspect="1"/>
          </p:cNvGrpSpPr>
          <p:nvPr/>
        </p:nvGrpSpPr>
        <p:grpSpPr bwMode="auto">
          <a:xfrm>
            <a:off x="5053692" y="1414780"/>
            <a:ext cx="4341708" cy="2170864"/>
            <a:chOff x="462" y="1305"/>
            <a:chExt cx="5345" cy="2605"/>
          </a:xfrm>
          <a:solidFill>
            <a:schemeClr val="tx2"/>
          </a:solidFill>
        </p:grpSpPr>
        <p:sp>
          <p:nvSpPr>
            <p:cNvPr id="21" name="Freeform 4">
              <a:extLst>
                <a:ext uri="{FF2B5EF4-FFF2-40B4-BE49-F238E27FC236}">
                  <a16:creationId xmlns:a16="http://schemas.microsoft.com/office/drawing/2014/main" id="{F97F1CBC-A110-D647-BC5A-546E961D443E}"/>
                </a:ext>
              </a:extLst>
            </p:cNvPr>
            <p:cNvSpPr>
              <a:spLocks/>
            </p:cNvSpPr>
            <p:nvPr/>
          </p:nvSpPr>
          <p:spPr bwMode="auto">
            <a:xfrm>
              <a:off x="3339" y="2220"/>
              <a:ext cx="186" cy="197"/>
            </a:xfrm>
            <a:custGeom>
              <a:avLst/>
              <a:gdLst>
                <a:gd name="T0" fmla="*/ 233 w 280"/>
                <a:gd name="T1" fmla="*/ 16 h 296"/>
                <a:gd name="T2" fmla="*/ 202 w 280"/>
                <a:gd name="T3" fmla="*/ 16 h 296"/>
                <a:gd name="T4" fmla="*/ 187 w 280"/>
                <a:gd name="T5" fmla="*/ 16 h 296"/>
                <a:gd name="T6" fmla="*/ 171 w 280"/>
                <a:gd name="T7" fmla="*/ 16 h 296"/>
                <a:gd name="T8" fmla="*/ 171 w 280"/>
                <a:gd name="T9" fmla="*/ 0 h 296"/>
                <a:gd name="T10" fmla="*/ 156 w 280"/>
                <a:gd name="T11" fmla="*/ 0 h 296"/>
                <a:gd name="T12" fmla="*/ 132 w 280"/>
                <a:gd name="T13" fmla="*/ 6 h 296"/>
                <a:gd name="T14" fmla="*/ 112 w 280"/>
                <a:gd name="T15" fmla="*/ 21 h 296"/>
                <a:gd name="T16" fmla="*/ 79 w 280"/>
                <a:gd name="T17" fmla="*/ 15 h 296"/>
                <a:gd name="T18" fmla="*/ 47 w 280"/>
                <a:gd name="T19" fmla="*/ 0 h 296"/>
                <a:gd name="T20" fmla="*/ 0 w 280"/>
                <a:gd name="T21" fmla="*/ 0 h 296"/>
                <a:gd name="T22" fmla="*/ 0 w 280"/>
                <a:gd name="T23" fmla="*/ 47 h 296"/>
                <a:gd name="T24" fmla="*/ 6 w 280"/>
                <a:gd name="T25" fmla="*/ 99 h 296"/>
                <a:gd name="T26" fmla="*/ 16 w 280"/>
                <a:gd name="T27" fmla="*/ 279 h 296"/>
                <a:gd name="T28" fmla="*/ 130 w 280"/>
                <a:gd name="T29" fmla="*/ 285 h 296"/>
                <a:gd name="T30" fmla="*/ 218 w 280"/>
                <a:gd name="T31" fmla="*/ 279 h 296"/>
                <a:gd name="T32" fmla="*/ 235 w 280"/>
                <a:gd name="T33" fmla="*/ 296 h 296"/>
                <a:gd name="T34" fmla="*/ 249 w 280"/>
                <a:gd name="T35" fmla="*/ 279 h 296"/>
                <a:gd name="T36" fmla="*/ 280 w 280"/>
                <a:gd name="T37" fmla="*/ 248 h 296"/>
                <a:gd name="T38" fmla="*/ 280 w 280"/>
                <a:gd name="T39" fmla="*/ 217 h 296"/>
                <a:gd name="T40" fmla="*/ 264 w 280"/>
                <a:gd name="T41" fmla="*/ 209 h 296"/>
                <a:gd name="T42" fmla="*/ 241 w 280"/>
                <a:gd name="T43" fmla="*/ 158 h 296"/>
                <a:gd name="T44" fmla="*/ 223 w 280"/>
                <a:gd name="T45" fmla="*/ 116 h 296"/>
                <a:gd name="T46" fmla="*/ 202 w 280"/>
                <a:gd name="T47" fmla="*/ 78 h 296"/>
                <a:gd name="T48" fmla="*/ 187 w 280"/>
                <a:gd name="T49" fmla="*/ 47 h 296"/>
                <a:gd name="T50" fmla="*/ 208 w 280"/>
                <a:gd name="T51" fmla="*/ 71 h 296"/>
                <a:gd name="T52" fmla="*/ 218 w 280"/>
                <a:gd name="T53" fmla="*/ 93 h 296"/>
                <a:gd name="T54" fmla="*/ 233 w 280"/>
                <a:gd name="T55" fmla="*/ 109 h 296"/>
                <a:gd name="T56" fmla="*/ 241 w 280"/>
                <a:gd name="T57" fmla="*/ 98 h 296"/>
                <a:gd name="T58" fmla="*/ 249 w 280"/>
                <a:gd name="T59" fmla="*/ 62 h 296"/>
                <a:gd name="T60" fmla="*/ 244 w 280"/>
                <a:gd name="T61" fmla="*/ 42 h 296"/>
                <a:gd name="T62" fmla="*/ 233 w 280"/>
                <a:gd name="T63" fmla="*/ 1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96">
                  <a:moveTo>
                    <a:pt x="233" y="16"/>
                  </a:moveTo>
                  <a:lnTo>
                    <a:pt x="202" y="16"/>
                  </a:lnTo>
                  <a:lnTo>
                    <a:pt x="187" y="16"/>
                  </a:lnTo>
                  <a:lnTo>
                    <a:pt x="171" y="16"/>
                  </a:lnTo>
                  <a:lnTo>
                    <a:pt x="171" y="0"/>
                  </a:lnTo>
                  <a:lnTo>
                    <a:pt x="156" y="0"/>
                  </a:lnTo>
                  <a:lnTo>
                    <a:pt x="132" y="6"/>
                  </a:lnTo>
                  <a:lnTo>
                    <a:pt x="112" y="21"/>
                  </a:lnTo>
                  <a:lnTo>
                    <a:pt x="79" y="15"/>
                  </a:lnTo>
                  <a:lnTo>
                    <a:pt x="47" y="0"/>
                  </a:lnTo>
                  <a:lnTo>
                    <a:pt x="0" y="0"/>
                  </a:lnTo>
                  <a:lnTo>
                    <a:pt x="0" y="47"/>
                  </a:lnTo>
                  <a:lnTo>
                    <a:pt x="6" y="99"/>
                  </a:lnTo>
                  <a:lnTo>
                    <a:pt x="16" y="279"/>
                  </a:lnTo>
                  <a:lnTo>
                    <a:pt x="130" y="285"/>
                  </a:lnTo>
                  <a:lnTo>
                    <a:pt x="218" y="279"/>
                  </a:lnTo>
                  <a:lnTo>
                    <a:pt x="235" y="296"/>
                  </a:lnTo>
                  <a:lnTo>
                    <a:pt x="249" y="279"/>
                  </a:lnTo>
                  <a:lnTo>
                    <a:pt x="280" y="248"/>
                  </a:lnTo>
                  <a:lnTo>
                    <a:pt x="280" y="217"/>
                  </a:lnTo>
                  <a:lnTo>
                    <a:pt x="264" y="209"/>
                  </a:lnTo>
                  <a:lnTo>
                    <a:pt x="241" y="158"/>
                  </a:lnTo>
                  <a:lnTo>
                    <a:pt x="223" y="116"/>
                  </a:lnTo>
                  <a:lnTo>
                    <a:pt x="202" y="78"/>
                  </a:lnTo>
                  <a:lnTo>
                    <a:pt x="187" y="47"/>
                  </a:lnTo>
                  <a:lnTo>
                    <a:pt x="208" y="71"/>
                  </a:lnTo>
                  <a:lnTo>
                    <a:pt x="218" y="93"/>
                  </a:lnTo>
                  <a:lnTo>
                    <a:pt x="233" y="109"/>
                  </a:lnTo>
                  <a:lnTo>
                    <a:pt x="241" y="98"/>
                  </a:lnTo>
                  <a:lnTo>
                    <a:pt x="249" y="62"/>
                  </a:lnTo>
                  <a:lnTo>
                    <a:pt x="244" y="42"/>
                  </a:lnTo>
                  <a:lnTo>
                    <a:pt x="233" y="1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22" name="Freeform 5">
              <a:extLst>
                <a:ext uri="{FF2B5EF4-FFF2-40B4-BE49-F238E27FC236}">
                  <a16:creationId xmlns:a16="http://schemas.microsoft.com/office/drawing/2014/main" id="{37384711-C21D-214C-A8D3-CB1281E991C3}"/>
                </a:ext>
              </a:extLst>
            </p:cNvPr>
            <p:cNvSpPr>
              <a:spLocks/>
            </p:cNvSpPr>
            <p:nvPr/>
          </p:nvSpPr>
          <p:spPr bwMode="auto">
            <a:xfrm>
              <a:off x="953" y="1876"/>
              <a:ext cx="946" cy="468"/>
            </a:xfrm>
            <a:custGeom>
              <a:avLst/>
              <a:gdLst>
                <a:gd name="T0" fmla="*/ 589 w 1427"/>
                <a:gd name="T1" fmla="*/ 581 h 707"/>
                <a:gd name="T2" fmla="*/ 620 w 1427"/>
                <a:gd name="T3" fmla="*/ 581 h 707"/>
                <a:gd name="T4" fmla="*/ 682 w 1427"/>
                <a:gd name="T5" fmla="*/ 566 h 707"/>
                <a:gd name="T6" fmla="*/ 729 w 1427"/>
                <a:gd name="T7" fmla="*/ 597 h 707"/>
                <a:gd name="T8" fmla="*/ 744 w 1427"/>
                <a:gd name="T9" fmla="*/ 566 h 707"/>
                <a:gd name="T10" fmla="*/ 729 w 1427"/>
                <a:gd name="T11" fmla="*/ 550 h 707"/>
                <a:gd name="T12" fmla="*/ 798 w 1427"/>
                <a:gd name="T13" fmla="*/ 556 h 707"/>
                <a:gd name="T14" fmla="*/ 837 w 1427"/>
                <a:gd name="T15" fmla="*/ 581 h 707"/>
                <a:gd name="T16" fmla="*/ 899 w 1427"/>
                <a:gd name="T17" fmla="*/ 597 h 707"/>
                <a:gd name="T18" fmla="*/ 906 w 1427"/>
                <a:gd name="T19" fmla="*/ 682 h 707"/>
                <a:gd name="T20" fmla="*/ 946 w 1427"/>
                <a:gd name="T21" fmla="*/ 691 h 707"/>
                <a:gd name="T22" fmla="*/ 946 w 1427"/>
                <a:gd name="T23" fmla="*/ 534 h 707"/>
                <a:gd name="T24" fmla="*/ 1055 w 1427"/>
                <a:gd name="T25" fmla="*/ 448 h 707"/>
                <a:gd name="T26" fmla="*/ 1098 w 1427"/>
                <a:gd name="T27" fmla="*/ 408 h 707"/>
                <a:gd name="T28" fmla="*/ 1101 w 1427"/>
                <a:gd name="T29" fmla="*/ 393 h 707"/>
                <a:gd name="T30" fmla="*/ 1131 w 1427"/>
                <a:gd name="T31" fmla="*/ 364 h 707"/>
                <a:gd name="T32" fmla="*/ 1116 w 1427"/>
                <a:gd name="T33" fmla="*/ 314 h 707"/>
                <a:gd name="T34" fmla="*/ 1151 w 1427"/>
                <a:gd name="T35" fmla="*/ 288 h 707"/>
                <a:gd name="T36" fmla="*/ 1155 w 1427"/>
                <a:gd name="T37" fmla="*/ 327 h 707"/>
                <a:gd name="T38" fmla="*/ 1178 w 1427"/>
                <a:gd name="T39" fmla="*/ 299 h 707"/>
                <a:gd name="T40" fmla="*/ 1248 w 1427"/>
                <a:gd name="T41" fmla="*/ 238 h 707"/>
                <a:gd name="T42" fmla="*/ 1304 w 1427"/>
                <a:gd name="T43" fmla="*/ 232 h 707"/>
                <a:gd name="T44" fmla="*/ 1310 w 1427"/>
                <a:gd name="T45" fmla="*/ 214 h 707"/>
                <a:gd name="T46" fmla="*/ 1380 w 1427"/>
                <a:gd name="T47" fmla="*/ 148 h 707"/>
                <a:gd name="T48" fmla="*/ 1426 w 1427"/>
                <a:gd name="T49" fmla="*/ 110 h 707"/>
                <a:gd name="T50" fmla="*/ 1404 w 1427"/>
                <a:gd name="T51" fmla="*/ 61 h 707"/>
                <a:gd name="T52" fmla="*/ 1240 w 1427"/>
                <a:gd name="T53" fmla="*/ 126 h 707"/>
                <a:gd name="T54" fmla="*/ 1116 w 1427"/>
                <a:gd name="T55" fmla="*/ 173 h 707"/>
                <a:gd name="T56" fmla="*/ 1008 w 1427"/>
                <a:gd name="T57" fmla="*/ 220 h 707"/>
                <a:gd name="T58" fmla="*/ 1023 w 1427"/>
                <a:gd name="T59" fmla="*/ 157 h 707"/>
                <a:gd name="T60" fmla="*/ 1023 w 1427"/>
                <a:gd name="T61" fmla="*/ 110 h 707"/>
                <a:gd name="T62" fmla="*/ 944 w 1427"/>
                <a:gd name="T63" fmla="*/ 207 h 707"/>
                <a:gd name="T64" fmla="*/ 899 w 1427"/>
                <a:gd name="T65" fmla="*/ 204 h 707"/>
                <a:gd name="T66" fmla="*/ 930 w 1427"/>
                <a:gd name="T67" fmla="*/ 141 h 707"/>
                <a:gd name="T68" fmla="*/ 1039 w 1427"/>
                <a:gd name="T69" fmla="*/ 79 h 707"/>
                <a:gd name="T70" fmla="*/ 977 w 1427"/>
                <a:gd name="T71" fmla="*/ 79 h 707"/>
                <a:gd name="T72" fmla="*/ 977 w 1427"/>
                <a:gd name="T73" fmla="*/ 47 h 707"/>
                <a:gd name="T74" fmla="*/ 868 w 1427"/>
                <a:gd name="T75" fmla="*/ 79 h 707"/>
                <a:gd name="T76" fmla="*/ 853 w 1427"/>
                <a:gd name="T77" fmla="*/ 16 h 707"/>
                <a:gd name="T78" fmla="*/ 201 w 1427"/>
                <a:gd name="T79" fmla="*/ 9 h 707"/>
                <a:gd name="T80" fmla="*/ 171 w 1427"/>
                <a:gd name="T81" fmla="*/ 63 h 707"/>
                <a:gd name="T82" fmla="*/ 155 w 1427"/>
                <a:gd name="T83" fmla="*/ 30 h 707"/>
                <a:gd name="T84" fmla="*/ 124 w 1427"/>
                <a:gd name="T85" fmla="*/ 94 h 707"/>
                <a:gd name="T86" fmla="*/ 47 w 1427"/>
                <a:gd name="T87" fmla="*/ 189 h 707"/>
                <a:gd name="T88" fmla="*/ 6 w 1427"/>
                <a:gd name="T89" fmla="*/ 279 h 707"/>
                <a:gd name="T90" fmla="*/ 3 w 1427"/>
                <a:gd name="T91" fmla="*/ 324 h 707"/>
                <a:gd name="T92" fmla="*/ 8 w 1427"/>
                <a:gd name="T93" fmla="*/ 360 h 707"/>
                <a:gd name="T94" fmla="*/ 11 w 1427"/>
                <a:gd name="T95" fmla="*/ 441 h 707"/>
                <a:gd name="T96" fmla="*/ 62 w 1427"/>
                <a:gd name="T97" fmla="*/ 456 h 707"/>
                <a:gd name="T98" fmla="*/ 123 w 1427"/>
                <a:gd name="T99" fmla="*/ 487 h 707"/>
                <a:gd name="T100" fmla="*/ 294 w 1427"/>
                <a:gd name="T101" fmla="*/ 513 h 707"/>
                <a:gd name="T102" fmla="*/ 357 w 1427"/>
                <a:gd name="T103" fmla="*/ 566 h 707"/>
                <a:gd name="T104" fmla="*/ 407 w 1427"/>
                <a:gd name="T105" fmla="*/ 570 h 707"/>
                <a:gd name="T106" fmla="*/ 455 w 1427"/>
                <a:gd name="T107" fmla="*/ 616 h 707"/>
                <a:gd name="T108" fmla="*/ 512 w 1427"/>
                <a:gd name="T109" fmla="*/ 691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7" h="707">
                  <a:moveTo>
                    <a:pt x="527" y="628"/>
                  </a:moveTo>
                  <a:lnTo>
                    <a:pt x="599" y="586"/>
                  </a:lnTo>
                  <a:lnTo>
                    <a:pt x="589" y="581"/>
                  </a:lnTo>
                  <a:lnTo>
                    <a:pt x="605" y="566"/>
                  </a:lnTo>
                  <a:lnTo>
                    <a:pt x="609" y="580"/>
                  </a:lnTo>
                  <a:lnTo>
                    <a:pt x="620" y="581"/>
                  </a:lnTo>
                  <a:lnTo>
                    <a:pt x="636" y="567"/>
                  </a:lnTo>
                  <a:lnTo>
                    <a:pt x="667" y="581"/>
                  </a:lnTo>
                  <a:lnTo>
                    <a:pt x="682" y="566"/>
                  </a:lnTo>
                  <a:lnTo>
                    <a:pt x="682" y="597"/>
                  </a:lnTo>
                  <a:lnTo>
                    <a:pt x="729" y="581"/>
                  </a:lnTo>
                  <a:lnTo>
                    <a:pt x="729" y="597"/>
                  </a:lnTo>
                  <a:lnTo>
                    <a:pt x="744" y="597"/>
                  </a:lnTo>
                  <a:lnTo>
                    <a:pt x="729" y="581"/>
                  </a:lnTo>
                  <a:lnTo>
                    <a:pt x="744" y="566"/>
                  </a:lnTo>
                  <a:lnTo>
                    <a:pt x="726" y="570"/>
                  </a:lnTo>
                  <a:lnTo>
                    <a:pt x="713" y="566"/>
                  </a:lnTo>
                  <a:lnTo>
                    <a:pt x="729" y="550"/>
                  </a:lnTo>
                  <a:lnTo>
                    <a:pt x="738" y="561"/>
                  </a:lnTo>
                  <a:lnTo>
                    <a:pt x="768" y="555"/>
                  </a:lnTo>
                  <a:lnTo>
                    <a:pt x="798" y="556"/>
                  </a:lnTo>
                  <a:lnTo>
                    <a:pt x="822" y="550"/>
                  </a:lnTo>
                  <a:lnTo>
                    <a:pt x="837" y="566"/>
                  </a:lnTo>
                  <a:lnTo>
                    <a:pt x="837" y="581"/>
                  </a:lnTo>
                  <a:lnTo>
                    <a:pt x="866" y="567"/>
                  </a:lnTo>
                  <a:lnTo>
                    <a:pt x="884" y="566"/>
                  </a:lnTo>
                  <a:lnTo>
                    <a:pt x="899" y="597"/>
                  </a:lnTo>
                  <a:lnTo>
                    <a:pt x="891" y="631"/>
                  </a:lnTo>
                  <a:lnTo>
                    <a:pt x="900" y="658"/>
                  </a:lnTo>
                  <a:lnTo>
                    <a:pt x="906" y="682"/>
                  </a:lnTo>
                  <a:lnTo>
                    <a:pt x="917" y="702"/>
                  </a:lnTo>
                  <a:lnTo>
                    <a:pt x="930" y="707"/>
                  </a:lnTo>
                  <a:lnTo>
                    <a:pt x="946" y="691"/>
                  </a:lnTo>
                  <a:lnTo>
                    <a:pt x="951" y="658"/>
                  </a:lnTo>
                  <a:lnTo>
                    <a:pt x="945" y="613"/>
                  </a:lnTo>
                  <a:lnTo>
                    <a:pt x="946" y="534"/>
                  </a:lnTo>
                  <a:lnTo>
                    <a:pt x="978" y="495"/>
                  </a:lnTo>
                  <a:lnTo>
                    <a:pt x="1019" y="469"/>
                  </a:lnTo>
                  <a:lnTo>
                    <a:pt x="1055" y="448"/>
                  </a:lnTo>
                  <a:lnTo>
                    <a:pt x="1086" y="430"/>
                  </a:lnTo>
                  <a:lnTo>
                    <a:pt x="1098" y="423"/>
                  </a:lnTo>
                  <a:lnTo>
                    <a:pt x="1098" y="408"/>
                  </a:lnTo>
                  <a:lnTo>
                    <a:pt x="1115" y="409"/>
                  </a:lnTo>
                  <a:lnTo>
                    <a:pt x="1124" y="399"/>
                  </a:lnTo>
                  <a:lnTo>
                    <a:pt x="1101" y="393"/>
                  </a:lnTo>
                  <a:lnTo>
                    <a:pt x="1116" y="377"/>
                  </a:lnTo>
                  <a:lnTo>
                    <a:pt x="1131" y="382"/>
                  </a:lnTo>
                  <a:lnTo>
                    <a:pt x="1131" y="364"/>
                  </a:lnTo>
                  <a:lnTo>
                    <a:pt x="1116" y="361"/>
                  </a:lnTo>
                  <a:lnTo>
                    <a:pt x="1127" y="348"/>
                  </a:lnTo>
                  <a:lnTo>
                    <a:pt x="1116" y="314"/>
                  </a:lnTo>
                  <a:lnTo>
                    <a:pt x="1132" y="330"/>
                  </a:lnTo>
                  <a:lnTo>
                    <a:pt x="1132" y="314"/>
                  </a:lnTo>
                  <a:lnTo>
                    <a:pt x="1151" y="288"/>
                  </a:lnTo>
                  <a:lnTo>
                    <a:pt x="1147" y="314"/>
                  </a:lnTo>
                  <a:lnTo>
                    <a:pt x="1143" y="339"/>
                  </a:lnTo>
                  <a:lnTo>
                    <a:pt x="1155" y="327"/>
                  </a:lnTo>
                  <a:lnTo>
                    <a:pt x="1169" y="313"/>
                  </a:lnTo>
                  <a:lnTo>
                    <a:pt x="1166" y="295"/>
                  </a:lnTo>
                  <a:lnTo>
                    <a:pt x="1178" y="299"/>
                  </a:lnTo>
                  <a:lnTo>
                    <a:pt x="1194" y="283"/>
                  </a:lnTo>
                  <a:lnTo>
                    <a:pt x="1209" y="251"/>
                  </a:lnTo>
                  <a:lnTo>
                    <a:pt x="1248" y="238"/>
                  </a:lnTo>
                  <a:lnTo>
                    <a:pt x="1283" y="232"/>
                  </a:lnTo>
                  <a:lnTo>
                    <a:pt x="1287" y="220"/>
                  </a:lnTo>
                  <a:lnTo>
                    <a:pt x="1304" y="232"/>
                  </a:lnTo>
                  <a:lnTo>
                    <a:pt x="1318" y="220"/>
                  </a:lnTo>
                  <a:lnTo>
                    <a:pt x="1318" y="204"/>
                  </a:lnTo>
                  <a:lnTo>
                    <a:pt x="1310" y="214"/>
                  </a:lnTo>
                  <a:lnTo>
                    <a:pt x="1302" y="204"/>
                  </a:lnTo>
                  <a:lnTo>
                    <a:pt x="1337" y="162"/>
                  </a:lnTo>
                  <a:lnTo>
                    <a:pt x="1380" y="148"/>
                  </a:lnTo>
                  <a:lnTo>
                    <a:pt x="1411" y="141"/>
                  </a:lnTo>
                  <a:lnTo>
                    <a:pt x="1427" y="133"/>
                  </a:lnTo>
                  <a:lnTo>
                    <a:pt x="1426" y="110"/>
                  </a:lnTo>
                  <a:lnTo>
                    <a:pt x="1411" y="110"/>
                  </a:lnTo>
                  <a:lnTo>
                    <a:pt x="1426" y="63"/>
                  </a:lnTo>
                  <a:lnTo>
                    <a:pt x="1404" y="61"/>
                  </a:lnTo>
                  <a:lnTo>
                    <a:pt x="1349" y="110"/>
                  </a:lnTo>
                  <a:lnTo>
                    <a:pt x="1318" y="126"/>
                  </a:lnTo>
                  <a:lnTo>
                    <a:pt x="1240" y="126"/>
                  </a:lnTo>
                  <a:lnTo>
                    <a:pt x="1209" y="141"/>
                  </a:lnTo>
                  <a:lnTo>
                    <a:pt x="1194" y="173"/>
                  </a:lnTo>
                  <a:lnTo>
                    <a:pt x="1116" y="173"/>
                  </a:lnTo>
                  <a:lnTo>
                    <a:pt x="1132" y="189"/>
                  </a:lnTo>
                  <a:lnTo>
                    <a:pt x="1035" y="229"/>
                  </a:lnTo>
                  <a:lnTo>
                    <a:pt x="1008" y="220"/>
                  </a:lnTo>
                  <a:lnTo>
                    <a:pt x="1039" y="173"/>
                  </a:lnTo>
                  <a:lnTo>
                    <a:pt x="1039" y="157"/>
                  </a:lnTo>
                  <a:lnTo>
                    <a:pt x="1023" y="157"/>
                  </a:lnTo>
                  <a:lnTo>
                    <a:pt x="1039" y="141"/>
                  </a:lnTo>
                  <a:lnTo>
                    <a:pt x="1039" y="110"/>
                  </a:lnTo>
                  <a:lnTo>
                    <a:pt x="1023" y="110"/>
                  </a:lnTo>
                  <a:lnTo>
                    <a:pt x="977" y="126"/>
                  </a:lnTo>
                  <a:lnTo>
                    <a:pt x="961" y="157"/>
                  </a:lnTo>
                  <a:lnTo>
                    <a:pt x="944" y="207"/>
                  </a:lnTo>
                  <a:lnTo>
                    <a:pt x="915" y="220"/>
                  </a:lnTo>
                  <a:lnTo>
                    <a:pt x="899" y="220"/>
                  </a:lnTo>
                  <a:lnTo>
                    <a:pt x="899" y="204"/>
                  </a:lnTo>
                  <a:lnTo>
                    <a:pt x="915" y="173"/>
                  </a:lnTo>
                  <a:lnTo>
                    <a:pt x="961" y="126"/>
                  </a:lnTo>
                  <a:lnTo>
                    <a:pt x="930" y="141"/>
                  </a:lnTo>
                  <a:lnTo>
                    <a:pt x="977" y="94"/>
                  </a:lnTo>
                  <a:lnTo>
                    <a:pt x="1039" y="94"/>
                  </a:lnTo>
                  <a:lnTo>
                    <a:pt x="1039" y="79"/>
                  </a:lnTo>
                  <a:lnTo>
                    <a:pt x="1023" y="79"/>
                  </a:lnTo>
                  <a:lnTo>
                    <a:pt x="1039" y="79"/>
                  </a:lnTo>
                  <a:lnTo>
                    <a:pt x="977" y="79"/>
                  </a:lnTo>
                  <a:lnTo>
                    <a:pt x="977" y="63"/>
                  </a:lnTo>
                  <a:lnTo>
                    <a:pt x="946" y="79"/>
                  </a:lnTo>
                  <a:lnTo>
                    <a:pt x="977" y="47"/>
                  </a:lnTo>
                  <a:lnTo>
                    <a:pt x="899" y="79"/>
                  </a:lnTo>
                  <a:lnTo>
                    <a:pt x="899" y="63"/>
                  </a:lnTo>
                  <a:lnTo>
                    <a:pt x="868" y="79"/>
                  </a:lnTo>
                  <a:lnTo>
                    <a:pt x="930" y="31"/>
                  </a:lnTo>
                  <a:lnTo>
                    <a:pt x="946" y="31"/>
                  </a:lnTo>
                  <a:lnTo>
                    <a:pt x="853" y="16"/>
                  </a:lnTo>
                  <a:lnTo>
                    <a:pt x="837" y="0"/>
                  </a:lnTo>
                  <a:lnTo>
                    <a:pt x="827" y="12"/>
                  </a:lnTo>
                  <a:lnTo>
                    <a:pt x="201" y="9"/>
                  </a:lnTo>
                  <a:lnTo>
                    <a:pt x="198" y="33"/>
                  </a:lnTo>
                  <a:lnTo>
                    <a:pt x="186" y="47"/>
                  </a:lnTo>
                  <a:lnTo>
                    <a:pt x="171" y="63"/>
                  </a:lnTo>
                  <a:lnTo>
                    <a:pt x="171" y="47"/>
                  </a:lnTo>
                  <a:lnTo>
                    <a:pt x="186" y="31"/>
                  </a:lnTo>
                  <a:lnTo>
                    <a:pt x="155" y="30"/>
                  </a:lnTo>
                  <a:lnTo>
                    <a:pt x="140" y="31"/>
                  </a:lnTo>
                  <a:lnTo>
                    <a:pt x="137" y="60"/>
                  </a:lnTo>
                  <a:lnTo>
                    <a:pt x="124" y="94"/>
                  </a:lnTo>
                  <a:lnTo>
                    <a:pt x="104" y="117"/>
                  </a:lnTo>
                  <a:lnTo>
                    <a:pt x="84" y="148"/>
                  </a:lnTo>
                  <a:lnTo>
                    <a:pt x="47" y="189"/>
                  </a:lnTo>
                  <a:lnTo>
                    <a:pt x="31" y="220"/>
                  </a:lnTo>
                  <a:lnTo>
                    <a:pt x="8" y="259"/>
                  </a:lnTo>
                  <a:lnTo>
                    <a:pt x="6" y="279"/>
                  </a:lnTo>
                  <a:lnTo>
                    <a:pt x="0" y="299"/>
                  </a:lnTo>
                  <a:lnTo>
                    <a:pt x="3" y="312"/>
                  </a:lnTo>
                  <a:lnTo>
                    <a:pt x="3" y="324"/>
                  </a:lnTo>
                  <a:lnTo>
                    <a:pt x="21" y="331"/>
                  </a:lnTo>
                  <a:lnTo>
                    <a:pt x="2" y="345"/>
                  </a:lnTo>
                  <a:lnTo>
                    <a:pt x="8" y="360"/>
                  </a:lnTo>
                  <a:lnTo>
                    <a:pt x="3" y="384"/>
                  </a:lnTo>
                  <a:lnTo>
                    <a:pt x="14" y="405"/>
                  </a:lnTo>
                  <a:lnTo>
                    <a:pt x="11" y="441"/>
                  </a:lnTo>
                  <a:lnTo>
                    <a:pt x="32" y="438"/>
                  </a:lnTo>
                  <a:lnTo>
                    <a:pt x="47" y="447"/>
                  </a:lnTo>
                  <a:lnTo>
                    <a:pt x="62" y="456"/>
                  </a:lnTo>
                  <a:lnTo>
                    <a:pt x="78" y="471"/>
                  </a:lnTo>
                  <a:lnTo>
                    <a:pt x="78" y="487"/>
                  </a:lnTo>
                  <a:lnTo>
                    <a:pt x="123" y="487"/>
                  </a:lnTo>
                  <a:lnTo>
                    <a:pt x="219" y="529"/>
                  </a:lnTo>
                  <a:lnTo>
                    <a:pt x="284" y="526"/>
                  </a:lnTo>
                  <a:lnTo>
                    <a:pt x="294" y="513"/>
                  </a:lnTo>
                  <a:lnTo>
                    <a:pt x="341" y="518"/>
                  </a:lnTo>
                  <a:lnTo>
                    <a:pt x="357" y="550"/>
                  </a:lnTo>
                  <a:lnTo>
                    <a:pt x="357" y="566"/>
                  </a:lnTo>
                  <a:lnTo>
                    <a:pt x="372" y="597"/>
                  </a:lnTo>
                  <a:lnTo>
                    <a:pt x="388" y="597"/>
                  </a:lnTo>
                  <a:lnTo>
                    <a:pt x="407" y="570"/>
                  </a:lnTo>
                  <a:lnTo>
                    <a:pt x="437" y="573"/>
                  </a:lnTo>
                  <a:lnTo>
                    <a:pt x="447" y="583"/>
                  </a:lnTo>
                  <a:lnTo>
                    <a:pt x="455" y="616"/>
                  </a:lnTo>
                  <a:lnTo>
                    <a:pt x="468" y="639"/>
                  </a:lnTo>
                  <a:lnTo>
                    <a:pt x="470" y="673"/>
                  </a:lnTo>
                  <a:lnTo>
                    <a:pt x="512" y="691"/>
                  </a:lnTo>
                  <a:lnTo>
                    <a:pt x="512" y="646"/>
                  </a:lnTo>
                  <a:lnTo>
                    <a:pt x="527" y="628"/>
                  </a:lnTo>
                  <a:close/>
                </a:path>
              </a:pathLst>
            </a:custGeom>
            <a:solidFill>
              <a:schemeClr val="accent4">
                <a:lumMod val="40000"/>
                <a:lumOff val="60000"/>
              </a:schemeClr>
            </a:solidFill>
            <a:ln w="3175" cmpd="sng">
              <a:solidFill>
                <a:schemeClr val="bg1"/>
              </a:solidFill>
              <a:prstDash val="solid"/>
              <a:round/>
              <a:headEnd/>
              <a:tailEnd/>
            </a:ln>
          </p:spPr>
          <p:txBody>
            <a:bodyPr/>
            <a:lstStyle/>
            <a:p>
              <a:endParaRPr lang="de-DE" sz="1286"/>
            </a:p>
          </p:txBody>
        </p:sp>
        <p:sp>
          <p:nvSpPr>
            <p:cNvPr id="23" name="Freeform 6">
              <a:extLst>
                <a:ext uri="{FF2B5EF4-FFF2-40B4-BE49-F238E27FC236}">
                  <a16:creationId xmlns:a16="http://schemas.microsoft.com/office/drawing/2014/main" id="{5FFE5363-D549-5645-BDD4-1E82BCE7D8E5}"/>
                </a:ext>
              </a:extLst>
            </p:cNvPr>
            <p:cNvSpPr>
              <a:spLocks/>
            </p:cNvSpPr>
            <p:nvPr/>
          </p:nvSpPr>
          <p:spPr bwMode="auto">
            <a:xfrm>
              <a:off x="550" y="1486"/>
              <a:ext cx="659" cy="294"/>
            </a:xfrm>
            <a:custGeom>
              <a:avLst/>
              <a:gdLst>
                <a:gd name="T0" fmla="*/ 735 w 995"/>
                <a:gd name="T1" fmla="*/ 319 h 444"/>
                <a:gd name="T2" fmla="*/ 806 w 995"/>
                <a:gd name="T3" fmla="*/ 325 h 444"/>
                <a:gd name="T4" fmla="*/ 783 w 995"/>
                <a:gd name="T5" fmla="*/ 427 h 444"/>
                <a:gd name="T6" fmla="*/ 750 w 995"/>
                <a:gd name="T7" fmla="*/ 421 h 444"/>
                <a:gd name="T8" fmla="*/ 749 w 995"/>
                <a:gd name="T9" fmla="*/ 402 h 444"/>
                <a:gd name="T10" fmla="*/ 737 w 995"/>
                <a:gd name="T11" fmla="*/ 381 h 444"/>
                <a:gd name="T12" fmla="*/ 734 w 995"/>
                <a:gd name="T13" fmla="*/ 366 h 444"/>
                <a:gd name="T14" fmla="*/ 759 w 995"/>
                <a:gd name="T15" fmla="*/ 333 h 444"/>
                <a:gd name="T16" fmla="*/ 714 w 995"/>
                <a:gd name="T17" fmla="*/ 321 h 444"/>
                <a:gd name="T18" fmla="*/ 678 w 995"/>
                <a:gd name="T19" fmla="*/ 291 h 444"/>
                <a:gd name="T20" fmla="*/ 594 w 995"/>
                <a:gd name="T21" fmla="*/ 264 h 444"/>
                <a:gd name="T22" fmla="*/ 545 w 995"/>
                <a:gd name="T23" fmla="*/ 294 h 444"/>
                <a:gd name="T24" fmla="*/ 447 w 995"/>
                <a:gd name="T25" fmla="*/ 306 h 444"/>
                <a:gd name="T26" fmla="*/ 512 w 995"/>
                <a:gd name="T27" fmla="*/ 268 h 444"/>
                <a:gd name="T28" fmla="*/ 513 w 995"/>
                <a:gd name="T29" fmla="*/ 259 h 444"/>
                <a:gd name="T30" fmla="*/ 368 w 995"/>
                <a:gd name="T31" fmla="*/ 301 h 444"/>
                <a:gd name="T32" fmla="*/ 372 w 995"/>
                <a:gd name="T33" fmla="*/ 331 h 444"/>
                <a:gd name="T34" fmla="*/ 260 w 995"/>
                <a:gd name="T35" fmla="*/ 376 h 444"/>
                <a:gd name="T36" fmla="*/ 186 w 995"/>
                <a:gd name="T37" fmla="*/ 400 h 444"/>
                <a:gd name="T38" fmla="*/ 120 w 995"/>
                <a:gd name="T39" fmla="*/ 415 h 444"/>
                <a:gd name="T40" fmla="*/ 119 w 995"/>
                <a:gd name="T41" fmla="*/ 406 h 444"/>
                <a:gd name="T42" fmla="*/ 239 w 995"/>
                <a:gd name="T43" fmla="*/ 372 h 444"/>
                <a:gd name="T44" fmla="*/ 293 w 995"/>
                <a:gd name="T45" fmla="*/ 345 h 444"/>
                <a:gd name="T46" fmla="*/ 317 w 995"/>
                <a:gd name="T47" fmla="*/ 327 h 444"/>
                <a:gd name="T48" fmla="*/ 248 w 995"/>
                <a:gd name="T49" fmla="*/ 321 h 444"/>
                <a:gd name="T50" fmla="*/ 230 w 995"/>
                <a:gd name="T51" fmla="*/ 316 h 444"/>
                <a:gd name="T52" fmla="*/ 231 w 995"/>
                <a:gd name="T53" fmla="*/ 295 h 444"/>
                <a:gd name="T54" fmla="*/ 224 w 995"/>
                <a:gd name="T55" fmla="*/ 271 h 444"/>
                <a:gd name="T56" fmla="*/ 269 w 995"/>
                <a:gd name="T57" fmla="*/ 225 h 444"/>
                <a:gd name="T58" fmla="*/ 398 w 995"/>
                <a:gd name="T59" fmla="*/ 198 h 444"/>
                <a:gd name="T60" fmla="*/ 441 w 995"/>
                <a:gd name="T61" fmla="*/ 169 h 444"/>
                <a:gd name="T62" fmla="*/ 378 w 995"/>
                <a:gd name="T63" fmla="*/ 168 h 444"/>
                <a:gd name="T64" fmla="*/ 339 w 995"/>
                <a:gd name="T65" fmla="*/ 157 h 444"/>
                <a:gd name="T66" fmla="*/ 396 w 995"/>
                <a:gd name="T67" fmla="*/ 130 h 444"/>
                <a:gd name="T68" fmla="*/ 443 w 995"/>
                <a:gd name="T69" fmla="*/ 120 h 444"/>
                <a:gd name="T70" fmla="*/ 497 w 995"/>
                <a:gd name="T71" fmla="*/ 123 h 444"/>
                <a:gd name="T72" fmla="*/ 479 w 995"/>
                <a:gd name="T73" fmla="*/ 103 h 444"/>
                <a:gd name="T74" fmla="*/ 476 w 995"/>
                <a:gd name="T75" fmla="*/ 66 h 444"/>
                <a:gd name="T76" fmla="*/ 593 w 995"/>
                <a:gd name="T77" fmla="*/ 39 h 444"/>
                <a:gd name="T78" fmla="*/ 662 w 995"/>
                <a:gd name="T79" fmla="*/ 18 h 444"/>
                <a:gd name="T80" fmla="*/ 761 w 995"/>
                <a:gd name="T81" fmla="*/ 0 h 444"/>
                <a:gd name="T82" fmla="*/ 837 w 995"/>
                <a:gd name="T83" fmla="*/ 24 h 444"/>
                <a:gd name="T84" fmla="*/ 932 w 995"/>
                <a:gd name="T85" fmla="*/ 37 h 444"/>
                <a:gd name="T86" fmla="*/ 995 w 995"/>
                <a:gd name="T87" fmla="*/ 45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95" h="444">
                  <a:moveTo>
                    <a:pt x="729" y="285"/>
                  </a:moveTo>
                  <a:lnTo>
                    <a:pt x="738" y="300"/>
                  </a:lnTo>
                  <a:lnTo>
                    <a:pt x="735" y="319"/>
                  </a:lnTo>
                  <a:lnTo>
                    <a:pt x="774" y="303"/>
                  </a:lnTo>
                  <a:lnTo>
                    <a:pt x="807" y="297"/>
                  </a:lnTo>
                  <a:lnTo>
                    <a:pt x="806" y="325"/>
                  </a:lnTo>
                  <a:lnTo>
                    <a:pt x="798" y="381"/>
                  </a:lnTo>
                  <a:lnTo>
                    <a:pt x="809" y="403"/>
                  </a:lnTo>
                  <a:lnTo>
                    <a:pt x="783" y="427"/>
                  </a:lnTo>
                  <a:cubicBezTo>
                    <a:pt x="779" y="417"/>
                    <a:pt x="778" y="416"/>
                    <a:pt x="768" y="414"/>
                  </a:cubicBezTo>
                  <a:cubicBezTo>
                    <a:pt x="763" y="410"/>
                    <a:pt x="762" y="405"/>
                    <a:pt x="755" y="408"/>
                  </a:cubicBezTo>
                  <a:cubicBezTo>
                    <a:pt x="753" y="412"/>
                    <a:pt x="752" y="417"/>
                    <a:pt x="750" y="421"/>
                  </a:cubicBezTo>
                  <a:cubicBezTo>
                    <a:pt x="749" y="428"/>
                    <a:pt x="745" y="435"/>
                    <a:pt x="738" y="436"/>
                  </a:cubicBezTo>
                  <a:cubicBezTo>
                    <a:pt x="737" y="429"/>
                    <a:pt x="735" y="425"/>
                    <a:pt x="734" y="418"/>
                  </a:cubicBezTo>
                  <a:cubicBezTo>
                    <a:pt x="736" y="409"/>
                    <a:pt x="742" y="408"/>
                    <a:pt x="749" y="402"/>
                  </a:cubicBezTo>
                  <a:cubicBezTo>
                    <a:pt x="750" y="389"/>
                    <a:pt x="751" y="378"/>
                    <a:pt x="765" y="373"/>
                  </a:cubicBezTo>
                  <a:cubicBezTo>
                    <a:pt x="763" y="363"/>
                    <a:pt x="758" y="369"/>
                    <a:pt x="750" y="370"/>
                  </a:cubicBezTo>
                  <a:cubicBezTo>
                    <a:pt x="745" y="373"/>
                    <a:pt x="742" y="378"/>
                    <a:pt x="737" y="381"/>
                  </a:cubicBezTo>
                  <a:cubicBezTo>
                    <a:pt x="734" y="387"/>
                    <a:pt x="732" y="387"/>
                    <a:pt x="726" y="388"/>
                  </a:cubicBezTo>
                  <a:cubicBezTo>
                    <a:pt x="719" y="392"/>
                    <a:pt x="720" y="385"/>
                    <a:pt x="719" y="379"/>
                  </a:cubicBezTo>
                  <a:cubicBezTo>
                    <a:pt x="720" y="371"/>
                    <a:pt x="726" y="368"/>
                    <a:pt x="734" y="366"/>
                  </a:cubicBezTo>
                  <a:cubicBezTo>
                    <a:pt x="738" y="360"/>
                    <a:pt x="739" y="358"/>
                    <a:pt x="746" y="357"/>
                  </a:cubicBezTo>
                  <a:cubicBezTo>
                    <a:pt x="757" y="349"/>
                    <a:pt x="751" y="346"/>
                    <a:pt x="768" y="343"/>
                  </a:cubicBezTo>
                  <a:cubicBezTo>
                    <a:pt x="772" y="334"/>
                    <a:pt x="767" y="334"/>
                    <a:pt x="759" y="333"/>
                  </a:cubicBezTo>
                  <a:cubicBezTo>
                    <a:pt x="757" y="320"/>
                    <a:pt x="743" y="337"/>
                    <a:pt x="735" y="342"/>
                  </a:cubicBezTo>
                  <a:cubicBezTo>
                    <a:pt x="731" y="336"/>
                    <a:pt x="730" y="334"/>
                    <a:pt x="723" y="333"/>
                  </a:cubicBezTo>
                  <a:cubicBezTo>
                    <a:pt x="718" y="330"/>
                    <a:pt x="717" y="326"/>
                    <a:pt x="714" y="321"/>
                  </a:cubicBezTo>
                  <a:cubicBezTo>
                    <a:pt x="713" y="314"/>
                    <a:pt x="713" y="310"/>
                    <a:pt x="716" y="304"/>
                  </a:cubicBezTo>
                  <a:cubicBezTo>
                    <a:pt x="711" y="303"/>
                    <a:pt x="707" y="301"/>
                    <a:pt x="702" y="300"/>
                  </a:cubicBezTo>
                  <a:cubicBezTo>
                    <a:pt x="694" y="296"/>
                    <a:pt x="686" y="292"/>
                    <a:pt x="678" y="291"/>
                  </a:cubicBezTo>
                  <a:cubicBezTo>
                    <a:pt x="668" y="286"/>
                    <a:pt x="658" y="286"/>
                    <a:pt x="647" y="285"/>
                  </a:cubicBezTo>
                  <a:cubicBezTo>
                    <a:pt x="635" y="287"/>
                    <a:pt x="623" y="288"/>
                    <a:pt x="612" y="282"/>
                  </a:cubicBezTo>
                  <a:cubicBezTo>
                    <a:pt x="611" y="271"/>
                    <a:pt x="605" y="266"/>
                    <a:pt x="594" y="264"/>
                  </a:cubicBezTo>
                  <a:cubicBezTo>
                    <a:pt x="584" y="257"/>
                    <a:pt x="580" y="263"/>
                    <a:pt x="569" y="265"/>
                  </a:cubicBezTo>
                  <a:cubicBezTo>
                    <a:pt x="559" y="268"/>
                    <a:pt x="560" y="268"/>
                    <a:pt x="555" y="277"/>
                  </a:cubicBezTo>
                  <a:cubicBezTo>
                    <a:pt x="554" y="287"/>
                    <a:pt x="553" y="288"/>
                    <a:pt x="545" y="294"/>
                  </a:cubicBezTo>
                  <a:cubicBezTo>
                    <a:pt x="526" y="292"/>
                    <a:pt x="510" y="297"/>
                    <a:pt x="491" y="300"/>
                  </a:cubicBezTo>
                  <a:cubicBezTo>
                    <a:pt x="483" y="303"/>
                    <a:pt x="474" y="300"/>
                    <a:pt x="465" y="303"/>
                  </a:cubicBezTo>
                  <a:cubicBezTo>
                    <a:pt x="458" y="308"/>
                    <a:pt x="455" y="307"/>
                    <a:pt x="447" y="306"/>
                  </a:cubicBezTo>
                  <a:cubicBezTo>
                    <a:pt x="450" y="299"/>
                    <a:pt x="452" y="298"/>
                    <a:pt x="459" y="297"/>
                  </a:cubicBezTo>
                  <a:cubicBezTo>
                    <a:pt x="466" y="293"/>
                    <a:pt x="471" y="289"/>
                    <a:pt x="479" y="288"/>
                  </a:cubicBezTo>
                  <a:cubicBezTo>
                    <a:pt x="493" y="281"/>
                    <a:pt x="496" y="272"/>
                    <a:pt x="512" y="268"/>
                  </a:cubicBezTo>
                  <a:cubicBezTo>
                    <a:pt x="519" y="264"/>
                    <a:pt x="537" y="268"/>
                    <a:pt x="545" y="267"/>
                  </a:cubicBezTo>
                  <a:cubicBezTo>
                    <a:pt x="551" y="258"/>
                    <a:pt x="552" y="258"/>
                    <a:pt x="542" y="253"/>
                  </a:cubicBezTo>
                  <a:cubicBezTo>
                    <a:pt x="522" y="254"/>
                    <a:pt x="529" y="256"/>
                    <a:pt x="513" y="259"/>
                  </a:cubicBezTo>
                  <a:cubicBezTo>
                    <a:pt x="506" y="263"/>
                    <a:pt x="482" y="269"/>
                    <a:pt x="474" y="271"/>
                  </a:cubicBezTo>
                  <a:cubicBezTo>
                    <a:pt x="460" y="278"/>
                    <a:pt x="444" y="292"/>
                    <a:pt x="429" y="295"/>
                  </a:cubicBezTo>
                  <a:cubicBezTo>
                    <a:pt x="410" y="305"/>
                    <a:pt x="391" y="301"/>
                    <a:pt x="368" y="301"/>
                  </a:cubicBezTo>
                  <a:cubicBezTo>
                    <a:pt x="365" y="309"/>
                    <a:pt x="370" y="309"/>
                    <a:pt x="377" y="310"/>
                  </a:cubicBezTo>
                  <a:cubicBezTo>
                    <a:pt x="382" y="312"/>
                    <a:pt x="387" y="313"/>
                    <a:pt x="392" y="315"/>
                  </a:cubicBezTo>
                  <a:cubicBezTo>
                    <a:pt x="388" y="326"/>
                    <a:pt x="383" y="329"/>
                    <a:pt x="372" y="331"/>
                  </a:cubicBezTo>
                  <a:cubicBezTo>
                    <a:pt x="350" y="342"/>
                    <a:pt x="327" y="351"/>
                    <a:pt x="302" y="355"/>
                  </a:cubicBezTo>
                  <a:cubicBezTo>
                    <a:pt x="295" y="357"/>
                    <a:pt x="289" y="360"/>
                    <a:pt x="282" y="361"/>
                  </a:cubicBezTo>
                  <a:cubicBezTo>
                    <a:pt x="274" y="365"/>
                    <a:pt x="268" y="375"/>
                    <a:pt x="260" y="376"/>
                  </a:cubicBezTo>
                  <a:cubicBezTo>
                    <a:pt x="254" y="379"/>
                    <a:pt x="243" y="380"/>
                    <a:pt x="237" y="381"/>
                  </a:cubicBezTo>
                  <a:cubicBezTo>
                    <a:pt x="232" y="385"/>
                    <a:pt x="221" y="387"/>
                    <a:pt x="215" y="388"/>
                  </a:cubicBezTo>
                  <a:cubicBezTo>
                    <a:pt x="209" y="391"/>
                    <a:pt x="192" y="396"/>
                    <a:pt x="186" y="400"/>
                  </a:cubicBezTo>
                  <a:cubicBezTo>
                    <a:pt x="176" y="404"/>
                    <a:pt x="161" y="408"/>
                    <a:pt x="153" y="411"/>
                  </a:cubicBezTo>
                  <a:cubicBezTo>
                    <a:pt x="145" y="414"/>
                    <a:pt x="145" y="417"/>
                    <a:pt x="140" y="418"/>
                  </a:cubicBezTo>
                  <a:cubicBezTo>
                    <a:pt x="135" y="419"/>
                    <a:pt x="142" y="411"/>
                    <a:pt x="120" y="415"/>
                  </a:cubicBezTo>
                  <a:cubicBezTo>
                    <a:pt x="98" y="419"/>
                    <a:pt x="16" y="442"/>
                    <a:pt x="6" y="444"/>
                  </a:cubicBezTo>
                  <a:cubicBezTo>
                    <a:pt x="0" y="444"/>
                    <a:pt x="24" y="437"/>
                    <a:pt x="59" y="426"/>
                  </a:cubicBezTo>
                  <a:cubicBezTo>
                    <a:pt x="78" y="420"/>
                    <a:pt x="103" y="410"/>
                    <a:pt x="119" y="406"/>
                  </a:cubicBezTo>
                  <a:cubicBezTo>
                    <a:pt x="135" y="402"/>
                    <a:pt x="139" y="407"/>
                    <a:pt x="155" y="402"/>
                  </a:cubicBezTo>
                  <a:cubicBezTo>
                    <a:pt x="171" y="397"/>
                    <a:pt x="202" y="383"/>
                    <a:pt x="216" y="378"/>
                  </a:cubicBezTo>
                  <a:cubicBezTo>
                    <a:pt x="223" y="375"/>
                    <a:pt x="231" y="374"/>
                    <a:pt x="239" y="372"/>
                  </a:cubicBezTo>
                  <a:cubicBezTo>
                    <a:pt x="245" y="369"/>
                    <a:pt x="251" y="367"/>
                    <a:pt x="257" y="366"/>
                  </a:cubicBezTo>
                  <a:cubicBezTo>
                    <a:pt x="267" y="359"/>
                    <a:pt x="271" y="350"/>
                    <a:pt x="284" y="348"/>
                  </a:cubicBezTo>
                  <a:cubicBezTo>
                    <a:pt x="287" y="347"/>
                    <a:pt x="291" y="347"/>
                    <a:pt x="293" y="345"/>
                  </a:cubicBezTo>
                  <a:cubicBezTo>
                    <a:pt x="294" y="344"/>
                    <a:pt x="293" y="341"/>
                    <a:pt x="294" y="340"/>
                  </a:cubicBezTo>
                  <a:cubicBezTo>
                    <a:pt x="297" y="336"/>
                    <a:pt x="304" y="334"/>
                    <a:pt x="308" y="333"/>
                  </a:cubicBezTo>
                  <a:cubicBezTo>
                    <a:pt x="310" y="332"/>
                    <a:pt x="317" y="329"/>
                    <a:pt x="317" y="327"/>
                  </a:cubicBezTo>
                  <a:cubicBezTo>
                    <a:pt x="317" y="324"/>
                    <a:pt x="292" y="316"/>
                    <a:pt x="288" y="315"/>
                  </a:cubicBezTo>
                  <a:cubicBezTo>
                    <a:pt x="278" y="316"/>
                    <a:pt x="276" y="319"/>
                    <a:pt x="269" y="325"/>
                  </a:cubicBezTo>
                  <a:cubicBezTo>
                    <a:pt x="266" y="334"/>
                    <a:pt x="258" y="323"/>
                    <a:pt x="248" y="321"/>
                  </a:cubicBezTo>
                  <a:cubicBezTo>
                    <a:pt x="238" y="317"/>
                    <a:pt x="237" y="320"/>
                    <a:pt x="228" y="322"/>
                  </a:cubicBezTo>
                  <a:cubicBezTo>
                    <a:pt x="223" y="326"/>
                    <a:pt x="221" y="330"/>
                    <a:pt x="216" y="324"/>
                  </a:cubicBezTo>
                  <a:cubicBezTo>
                    <a:pt x="221" y="321"/>
                    <a:pt x="225" y="319"/>
                    <a:pt x="230" y="316"/>
                  </a:cubicBezTo>
                  <a:cubicBezTo>
                    <a:pt x="234" y="311"/>
                    <a:pt x="237" y="309"/>
                    <a:pt x="242" y="306"/>
                  </a:cubicBezTo>
                  <a:cubicBezTo>
                    <a:pt x="246" y="300"/>
                    <a:pt x="251" y="295"/>
                    <a:pt x="257" y="291"/>
                  </a:cubicBezTo>
                  <a:cubicBezTo>
                    <a:pt x="247" y="285"/>
                    <a:pt x="241" y="293"/>
                    <a:pt x="231" y="295"/>
                  </a:cubicBezTo>
                  <a:cubicBezTo>
                    <a:pt x="227" y="297"/>
                    <a:pt x="222" y="298"/>
                    <a:pt x="218" y="300"/>
                  </a:cubicBezTo>
                  <a:cubicBezTo>
                    <a:pt x="208" y="297"/>
                    <a:pt x="209" y="297"/>
                    <a:pt x="204" y="288"/>
                  </a:cubicBezTo>
                  <a:cubicBezTo>
                    <a:pt x="207" y="272"/>
                    <a:pt x="210" y="274"/>
                    <a:pt x="224" y="271"/>
                  </a:cubicBezTo>
                  <a:cubicBezTo>
                    <a:pt x="225" y="260"/>
                    <a:pt x="222" y="251"/>
                    <a:pt x="233" y="249"/>
                  </a:cubicBezTo>
                  <a:cubicBezTo>
                    <a:pt x="240" y="245"/>
                    <a:pt x="246" y="241"/>
                    <a:pt x="254" y="240"/>
                  </a:cubicBezTo>
                  <a:cubicBezTo>
                    <a:pt x="258" y="234"/>
                    <a:pt x="263" y="229"/>
                    <a:pt x="269" y="225"/>
                  </a:cubicBezTo>
                  <a:cubicBezTo>
                    <a:pt x="274" y="216"/>
                    <a:pt x="283" y="215"/>
                    <a:pt x="293" y="213"/>
                  </a:cubicBezTo>
                  <a:cubicBezTo>
                    <a:pt x="316" y="201"/>
                    <a:pt x="339" y="205"/>
                    <a:pt x="365" y="204"/>
                  </a:cubicBezTo>
                  <a:cubicBezTo>
                    <a:pt x="379" y="197"/>
                    <a:pt x="375" y="199"/>
                    <a:pt x="398" y="198"/>
                  </a:cubicBezTo>
                  <a:cubicBezTo>
                    <a:pt x="403" y="194"/>
                    <a:pt x="410" y="190"/>
                    <a:pt x="416" y="189"/>
                  </a:cubicBezTo>
                  <a:cubicBezTo>
                    <a:pt x="420" y="183"/>
                    <a:pt x="422" y="175"/>
                    <a:pt x="428" y="174"/>
                  </a:cubicBezTo>
                  <a:cubicBezTo>
                    <a:pt x="432" y="172"/>
                    <a:pt x="437" y="171"/>
                    <a:pt x="441" y="169"/>
                  </a:cubicBezTo>
                  <a:cubicBezTo>
                    <a:pt x="446" y="159"/>
                    <a:pt x="432" y="163"/>
                    <a:pt x="426" y="163"/>
                  </a:cubicBezTo>
                  <a:cubicBezTo>
                    <a:pt x="417" y="167"/>
                    <a:pt x="406" y="170"/>
                    <a:pt x="396" y="172"/>
                  </a:cubicBezTo>
                  <a:cubicBezTo>
                    <a:pt x="389" y="171"/>
                    <a:pt x="385" y="169"/>
                    <a:pt x="378" y="168"/>
                  </a:cubicBezTo>
                  <a:cubicBezTo>
                    <a:pt x="364" y="169"/>
                    <a:pt x="364" y="168"/>
                    <a:pt x="354" y="174"/>
                  </a:cubicBezTo>
                  <a:cubicBezTo>
                    <a:pt x="347" y="173"/>
                    <a:pt x="341" y="172"/>
                    <a:pt x="335" y="169"/>
                  </a:cubicBezTo>
                  <a:cubicBezTo>
                    <a:pt x="330" y="163"/>
                    <a:pt x="334" y="161"/>
                    <a:pt x="339" y="157"/>
                  </a:cubicBezTo>
                  <a:cubicBezTo>
                    <a:pt x="344" y="146"/>
                    <a:pt x="339" y="161"/>
                    <a:pt x="336" y="150"/>
                  </a:cubicBezTo>
                  <a:cubicBezTo>
                    <a:pt x="332" y="137"/>
                    <a:pt x="355" y="136"/>
                    <a:pt x="362" y="135"/>
                  </a:cubicBezTo>
                  <a:cubicBezTo>
                    <a:pt x="373" y="130"/>
                    <a:pt x="384" y="131"/>
                    <a:pt x="396" y="130"/>
                  </a:cubicBezTo>
                  <a:cubicBezTo>
                    <a:pt x="404" y="125"/>
                    <a:pt x="405" y="124"/>
                    <a:pt x="414" y="123"/>
                  </a:cubicBezTo>
                  <a:cubicBezTo>
                    <a:pt x="420" y="121"/>
                    <a:pt x="426" y="121"/>
                    <a:pt x="432" y="118"/>
                  </a:cubicBezTo>
                  <a:cubicBezTo>
                    <a:pt x="436" y="119"/>
                    <a:pt x="440" y="118"/>
                    <a:pt x="443" y="120"/>
                  </a:cubicBezTo>
                  <a:cubicBezTo>
                    <a:pt x="444" y="121"/>
                    <a:pt x="440" y="122"/>
                    <a:pt x="440" y="124"/>
                  </a:cubicBezTo>
                  <a:cubicBezTo>
                    <a:pt x="440" y="127"/>
                    <a:pt x="453" y="131"/>
                    <a:pt x="455" y="132"/>
                  </a:cubicBezTo>
                  <a:cubicBezTo>
                    <a:pt x="505" y="129"/>
                    <a:pt x="477" y="135"/>
                    <a:pt x="497" y="123"/>
                  </a:cubicBezTo>
                  <a:cubicBezTo>
                    <a:pt x="499" y="120"/>
                    <a:pt x="504" y="117"/>
                    <a:pt x="503" y="114"/>
                  </a:cubicBezTo>
                  <a:cubicBezTo>
                    <a:pt x="502" y="110"/>
                    <a:pt x="486" y="106"/>
                    <a:pt x="483" y="105"/>
                  </a:cubicBezTo>
                  <a:cubicBezTo>
                    <a:pt x="482" y="104"/>
                    <a:pt x="480" y="103"/>
                    <a:pt x="479" y="103"/>
                  </a:cubicBezTo>
                  <a:cubicBezTo>
                    <a:pt x="470" y="100"/>
                    <a:pt x="476" y="97"/>
                    <a:pt x="482" y="96"/>
                  </a:cubicBezTo>
                  <a:cubicBezTo>
                    <a:pt x="484" y="87"/>
                    <a:pt x="478" y="85"/>
                    <a:pt x="471" y="81"/>
                  </a:cubicBezTo>
                  <a:cubicBezTo>
                    <a:pt x="470" y="75"/>
                    <a:pt x="469" y="69"/>
                    <a:pt x="476" y="66"/>
                  </a:cubicBezTo>
                  <a:cubicBezTo>
                    <a:pt x="481" y="64"/>
                    <a:pt x="491" y="63"/>
                    <a:pt x="491" y="63"/>
                  </a:cubicBezTo>
                  <a:cubicBezTo>
                    <a:pt x="507" y="55"/>
                    <a:pt x="536" y="59"/>
                    <a:pt x="554" y="58"/>
                  </a:cubicBezTo>
                  <a:cubicBezTo>
                    <a:pt x="570" y="46"/>
                    <a:pt x="568" y="40"/>
                    <a:pt x="593" y="39"/>
                  </a:cubicBezTo>
                  <a:cubicBezTo>
                    <a:pt x="601" y="35"/>
                    <a:pt x="611" y="26"/>
                    <a:pt x="620" y="24"/>
                  </a:cubicBezTo>
                  <a:cubicBezTo>
                    <a:pt x="628" y="20"/>
                    <a:pt x="630" y="26"/>
                    <a:pt x="638" y="24"/>
                  </a:cubicBezTo>
                  <a:cubicBezTo>
                    <a:pt x="645" y="20"/>
                    <a:pt x="654" y="19"/>
                    <a:pt x="662" y="18"/>
                  </a:cubicBezTo>
                  <a:cubicBezTo>
                    <a:pt x="679" y="9"/>
                    <a:pt x="711" y="11"/>
                    <a:pt x="728" y="10"/>
                  </a:cubicBezTo>
                  <a:cubicBezTo>
                    <a:pt x="735" y="9"/>
                    <a:pt x="740" y="7"/>
                    <a:pt x="747" y="6"/>
                  </a:cubicBezTo>
                  <a:cubicBezTo>
                    <a:pt x="752" y="4"/>
                    <a:pt x="755" y="1"/>
                    <a:pt x="761" y="0"/>
                  </a:cubicBezTo>
                  <a:cubicBezTo>
                    <a:pt x="772" y="1"/>
                    <a:pt x="778" y="2"/>
                    <a:pt x="788" y="4"/>
                  </a:cubicBezTo>
                  <a:cubicBezTo>
                    <a:pt x="795" y="16"/>
                    <a:pt x="808" y="15"/>
                    <a:pt x="821" y="16"/>
                  </a:cubicBezTo>
                  <a:cubicBezTo>
                    <a:pt x="826" y="22"/>
                    <a:pt x="829" y="22"/>
                    <a:pt x="837" y="24"/>
                  </a:cubicBezTo>
                  <a:cubicBezTo>
                    <a:pt x="851" y="22"/>
                    <a:pt x="864" y="22"/>
                    <a:pt x="878" y="25"/>
                  </a:cubicBezTo>
                  <a:cubicBezTo>
                    <a:pt x="890" y="31"/>
                    <a:pt x="904" y="30"/>
                    <a:pt x="918" y="31"/>
                  </a:cubicBezTo>
                  <a:cubicBezTo>
                    <a:pt x="923" y="33"/>
                    <a:pt x="926" y="36"/>
                    <a:pt x="932" y="37"/>
                  </a:cubicBezTo>
                  <a:cubicBezTo>
                    <a:pt x="948" y="36"/>
                    <a:pt x="948" y="37"/>
                    <a:pt x="959" y="31"/>
                  </a:cubicBezTo>
                  <a:cubicBezTo>
                    <a:pt x="971" y="33"/>
                    <a:pt x="976" y="35"/>
                    <a:pt x="986" y="37"/>
                  </a:cubicBezTo>
                  <a:cubicBezTo>
                    <a:pt x="988" y="41"/>
                    <a:pt x="990" y="45"/>
                    <a:pt x="995" y="45"/>
                  </a:cubicBezTo>
                  <a:lnTo>
                    <a:pt x="707" y="280"/>
                  </a:lnTo>
                  <a:lnTo>
                    <a:pt x="729" y="285"/>
                  </a:ln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4" name="Freeform 7">
              <a:extLst>
                <a:ext uri="{FF2B5EF4-FFF2-40B4-BE49-F238E27FC236}">
                  <a16:creationId xmlns:a16="http://schemas.microsoft.com/office/drawing/2014/main" id="{A634C971-C1B7-FE48-BEBB-E33B03B28BC1}"/>
                </a:ext>
              </a:extLst>
            </p:cNvPr>
            <p:cNvSpPr>
              <a:spLocks/>
            </p:cNvSpPr>
            <p:nvPr/>
          </p:nvSpPr>
          <p:spPr bwMode="auto">
            <a:xfrm>
              <a:off x="3327" y="1388"/>
              <a:ext cx="2103" cy="643"/>
            </a:xfrm>
            <a:custGeom>
              <a:avLst/>
              <a:gdLst>
                <a:gd name="T0" fmla="*/ 48 w 3173"/>
                <a:gd name="T1" fmla="*/ 339 h 970"/>
                <a:gd name="T2" fmla="*/ 0 w 3173"/>
                <a:gd name="T3" fmla="*/ 212 h 970"/>
                <a:gd name="T4" fmla="*/ 240 w 3173"/>
                <a:gd name="T5" fmla="*/ 231 h 970"/>
                <a:gd name="T6" fmla="*/ 132 w 3173"/>
                <a:gd name="T7" fmla="*/ 310 h 970"/>
                <a:gd name="T8" fmla="*/ 254 w 3173"/>
                <a:gd name="T9" fmla="*/ 325 h 970"/>
                <a:gd name="T10" fmla="*/ 302 w 3173"/>
                <a:gd name="T11" fmla="*/ 258 h 970"/>
                <a:gd name="T12" fmla="*/ 389 w 3173"/>
                <a:gd name="T13" fmla="*/ 246 h 970"/>
                <a:gd name="T14" fmla="*/ 564 w 3173"/>
                <a:gd name="T15" fmla="*/ 174 h 970"/>
                <a:gd name="T16" fmla="*/ 751 w 3173"/>
                <a:gd name="T17" fmla="*/ 198 h 970"/>
                <a:gd name="T18" fmla="*/ 775 w 3173"/>
                <a:gd name="T19" fmla="*/ 111 h 970"/>
                <a:gd name="T20" fmla="*/ 842 w 3173"/>
                <a:gd name="T21" fmla="*/ 274 h 970"/>
                <a:gd name="T22" fmla="*/ 943 w 3173"/>
                <a:gd name="T23" fmla="*/ 229 h 970"/>
                <a:gd name="T24" fmla="*/ 828 w 3173"/>
                <a:gd name="T25" fmla="*/ 114 h 970"/>
                <a:gd name="T26" fmla="*/ 984 w 3173"/>
                <a:gd name="T27" fmla="*/ 133 h 970"/>
                <a:gd name="T28" fmla="*/ 1092 w 3173"/>
                <a:gd name="T29" fmla="*/ 42 h 970"/>
                <a:gd name="T30" fmla="*/ 1262 w 3173"/>
                <a:gd name="T31" fmla="*/ 10 h 970"/>
                <a:gd name="T32" fmla="*/ 1382 w 3173"/>
                <a:gd name="T33" fmla="*/ 102 h 970"/>
                <a:gd name="T34" fmla="*/ 1769 w 3173"/>
                <a:gd name="T35" fmla="*/ 104 h 970"/>
                <a:gd name="T36" fmla="*/ 1932 w 3173"/>
                <a:gd name="T37" fmla="*/ 145 h 970"/>
                <a:gd name="T38" fmla="*/ 2210 w 3173"/>
                <a:gd name="T39" fmla="*/ 133 h 970"/>
                <a:gd name="T40" fmla="*/ 2645 w 3173"/>
                <a:gd name="T41" fmla="*/ 198 h 970"/>
                <a:gd name="T42" fmla="*/ 2839 w 3173"/>
                <a:gd name="T43" fmla="*/ 193 h 970"/>
                <a:gd name="T44" fmla="*/ 3042 w 3173"/>
                <a:gd name="T45" fmla="*/ 250 h 970"/>
                <a:gd name="T46" fmla="*/ 3091 w 3173"/>
                <a:gd name="T47" fmla="*/ 299 h 970"/>
                <a:gd name="T48" fmla="*/ 2946 w 3173"/>
                <a:gd name="T49" fmla="*/ 298 h 970"/>
                <a:gd name="T50" fmla="*/ 2998 w 3173"/>
                <a:gd name="T51" fmla="*/ 391 h 970"/>
                <a:gd name="T52" fmla="*/ 2872 w 3173"/>
                <a:gd name="T53" fmla="*/ 439 h 970"/>
                <a:gd name="T54" fmla="*/ 2905 w 3173"/>
                <a:gd name="T55" fmla="*/ 506 h 970"/>
                <a:gd name="T56" fmla="*/ 2935 w 3173"/>
                <a:gd name="T57" fmla="*/ 604 h 970"/>
                <a:gd name="T58" fmla="*/ 2782 w 3173"/>
                <a:gd name="T59" fmla="*/ 530 h 970"/>
                <a:gd name="T60" fmla="*/ 2808 w 3173"/>
                <a:gd name="T61" fmla="*/ 413 h 970"/>
                <a:gd name="T62" fmla="*/ 2729 w 3173"/>
                <a:gd name="T63" fmla="*/ 409 h 970"/>
                <a:gd name="T64" fmla="*/ 2609 w 3173"/>
                <a:gd name="T65" fmla="*/ 466 h 970"/>
                <a:gd name="T66" fmla="*/ 2443 w 3173"/>
                <a:gd name="T67" fmla="*/ 598 h 970"/>
                <a:gd name="T68" fmla="*/ 2573 w 3173"/>
                <a:gd name="T69" fmla="*/ 658 h 970"/>
                <a:gd name="T70" fmla="*/ 2729 w 3173"/>
                <a:gd name="T71" fmla="*/ 762 h 970"/>
                <a:gd name="T72" fmla="*/ 2714 w 3173"/>
                <a:gd name="T73" fmla="*/ 841 h 970"/>
                <a:gd name="T74" fmla="*/ 2582 w 3173"/>
                <a:gd name="T75" fmla="*/ 666 h 970"/>
                <a:gd name="T76" fmla="*/ 2496 w 3173"/>
                <a:gd name="T77" fmla="*/ 930 h 970"/>
                <a:gd name="T78" fmla="*/ 2510 w 3173"/>
                <a:gd name="T79" fmla="*/ 807 h 970"/>
                <a:gd name="T80" fmla="*/ 2309 w 3173"/>
                <a:gd name="T81" fmla="*/ 726 h 970"/>
                <a:gd name="T82" fmla="*/ 2105 w 3173"/>
                <a:gd name="T83" fmla="*/ 673 h 970"/>
                <a:gd name="T84" fmla="*/ 1973 w 3173"/>
                <a:gd name="T85" fmla="*/ 730 h 970"/>
                <a:gd name="T86" fmla="*/ 1704 w 3173"/>
                <a:gd name="T87" fmla="*/ 670 h 970"/>
                <a:gd name="T88" fmla="*/ 1495 w 3173"/>
                <a:gd name="T89" fmla="*/ 694 h 970"/>
                <a:gd name="T90" fmla="*/ 1260 w 3173"/>
                <a:gd name="T91" fmla="*/ 694 h 970"/>
                <a:gd name="T92" fmla="*/ 1044 w 3173"/>
                <a:gd name="T93" fmla="*/ 618 h 970"/>
                <a:gd name="T94" fmla="*/ 835 w 3173"/>
                <a:gd name="T95" fmla="*/ 594 h 970"/>
                <a:gd name="T96" fmla="*/ 792 w 3173"/>
                <a:gd name="T97" fmla="*/ 697 h 970"/>
                <a:gd name="T98" fmla="*/ 552 w 3173"/>
                <a:gd name="T99" fmla="*/ 666 h 970"/>
                <a:gd name="T100" fmla="*/ 509 w 3173"/>
                <a:gd name="T101" fmla="*/ 783 h 970"/>
                <a:gd name="T102" fmla="*/ 561 w 3173"/>
                <a:gd name="T103" fmla="*/ 954 h 970"/>
                <a:gd name="T104" fmla="*/ 269 w 3173"/>
                <a:gd name="T105" fmla="*/ 855 h 970"/>
                <a:gd name="T106" fmla="*/ 319 w 3173"/>
                <a:gd name="T107" fmla="*/ 787 h 970"/>
                <a:gd name="T108" fmla="*/ 217 w 3173"/>
                <a:gd name="T109" fmla="*/ 688 h 970"/>
                <a:gd name="T110" fmla="*/ 120 w 3173"/>
                <a:gd name="T111" fmla="*/ 625 h 970"/>
                <a:gd name="T112" fmla="*/ 72 w 3173"/>
                <a:gd name="T113" fmla="*/ 556 h 970"/>
                <a:gd name="T114" fmla="*/ 21 w 3173"/>
                <a:gd name="T115" fmla="*/ 452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3" h="970">
                  <a:moveTo>
                    <a:pt x="21" y="452"/>
                  </a:moveTo>
                  <a:lnTo>
                    <a:pt x="67" y="438"/>
                  </a:lnTo>
                  <a:lnTo>
                    <a:pt x="41" y="428"/>
                  </a:lnTo>
                  <a:lnTo>
                    <a:pt x="26" y="416"/>
                  </a:lnTo>
                  <a:lnTo>
                    <a:pt x="65" y="380"/>
                  </a:lnTo>
                  <a:lnTo>
                    <a:pt x="79" y="356"/>
                  </a:lnTo>
                  <a:lnTo>
                    <a:pt x="48" y="339"/>
                  </a:lnTo>
                  <a:lnTo>
                    <a:pt x="60" y="325"/>
                  </a:lnTo>
                  <a:lnTo>
                    <a:pt x="36" y="306"/>
                  </a:lnTo>
                  <a:lnTo>
                    <a:pt x="36" y="289"/>
                  </a:lnTo>
                  <a:lnTo>
                    <a:pt x="19" y="255"/>
                  </a:lnTo>
                  <a:lnTo>
                    <a:pt x="31" y="234"/>
                  </a:lnTo>
                  <a:lnTo>
                    <a:pt x="12" y="224"/>
                  </a:lnTo>
                  <a:lnTo>
                    <a:pt x="0" y="212"/>
                  </a:lnTo>
                  <a:lnTo>
                    <a:pt x="17" y="190"/>
                  </a:lnTo>
                  <a:lnTo>
                    <a:pt x="38" y="186"/>
                  </a:lnTo>
                  <a:lnTo>
                    <a:pt x="62" y="181"/>
                  </a:lnTo>
                  <a:lnTo>
                    <a:pt x="98" y="190"/>
                  </a:lnTo>
                  <a:lnTo>
                    <a:pt x="153" y="200"/>
                  </a:lnTo>
                  <a:lnTo>
                    <a:pt x="201" y="217"/>
                  </a:lnTo>
                  <a:lnTo>
                    <a:pt x="240" y="231"/>
                  </a:lnTo>
                  <a:cubicBezTo>
                    <a:pt x="261" y="246"/>
                    <a:pt x="249" y="262"/>
                    <a:pt x="230" y="270"/>
                  </a:cubicBezTo>
                  <a:cubicBezTo>
                    <a:pt x="190" y="268"/>
                    <a:pt x="154" y="264"/>
                    <a:pt x="115" y="260"/>
                  </a:cubicBezTo>
                  <a:cubicBezTo>
                    <a:pt x="102" y="256"/>
                    <a:pt x="90" y="251"/>
                    <a:pt x="77" y="248"/>
                  </a:cubicBezTo>
                  <a:cubicBezTo>
                    <a:pt x="81" y="251"/>
                    <a:pt x="87" y="251"/>
                    <a:pt x="91" y="255"/>
                  </a:cubicBezTo>
                  <a:cubicBezTo>
                    <a:pt x="98" y="262"/>
                    <a:pt x="93" y="269"/>
                    <a:pt x="105" y="272"/>
                  </a:cubicBezTo>
                  <a:cubicBezTo>
                    <a:pt x="113" y="277"/>
                    <a:pt x="118" y="282"/>
                    <a:pt x="127" y="284"/>
                  </a:cubicBezTo>
                  <a:cubicBezTo>
                    <a:pt x="135" y="296"/>
                    <a:pt x="123" y="297"/>
                    <a:pt x="132" y="310"/>
                  </a:cubicBezTo>
                  <a:cubicBezTo>
                    <a:pt x="136" y="317"/>
                    <a:pt x="154" y="320"/>
                    <a:pt x="161" y="322"/>
                  </a:cubicBezTo>
                  <a:cubicBezTo>
                    <a:pt x="173" y="331"/>
                    <a:pt x="165" y="326"/>
                    <a:pt x="185" y="334"/>
                  </a:cubicBezTo>
                  <a:cubicBezTo>
                    <a:pt x="187" y="335"/>
                    <a:pt x="192" y="337"/>
                    <a:pt x="192" y="337"/>
                  </a:cubicBezTo>
                  <a:cubicBezTo>
                    <a:pt x="197" y="336"/>
                    <a:pt x="203" y="338"/>
                    <a:pt x="206" y="334"/>
                  </a:cubicBezTo>
                  <a:cubicBezTo>
                    <a:pt x="208" y="332"/>
                    <a:pt x="203" y="329"/>
                    <a:pt x="201" y="327"/>
                  </a:cubicBezTo>
                  <a:cubicBezTo>
                    <a:pt x="191" y="320"/>
                    <a:pt x="182" y="320"/>
                    <a:pt x="173" y="310"/>
                  </a:cubicBezTo>
                  <a:cubicBezTo>
                    <a:pt x="191" y="292"/>
                    <a:pt x="233" y="316"/>
                    <a:pt x="254" y="325"/>
                  </a:cubicBezTo>
                  <a:cubicBezTo>
                    <a:pt x="255" y="323"/>
                    <a:pt x="258" y="320"/>
                    <a:pt x="257" y="318"/>
                  </a:cubicBezTo>
                  <a:cubicBezTo>
                    <a:pt x="256" y="315"/>
                    <a:pt x="251" y="315"/>
                    <a:pt x="249" y="313"/>
                  </a:cubicBezTo>
                  <a:cubicBezTo>
                    <a:pt x="243" y="306"/>
                    <a:pt x="240" y="298"/>
                    <a:pt x="235" y="291"/>
                  </a:cubicBezTo>
                  <a:cubicBezTo>
                    <a:pt x="244" y="278"/>
                    <a:pt x="261" y="274"/>
                    <a:pt x="276" y="270"/>
                  </a:cubicBezTo>
                  <a:cubicBezTo>
                    <a:pt x="294" y="272"/>
                    <a:pt x="297" y="271"/>
                    <a:pt x="307" y="284"/>
                  </a:cubicBezTo>
                  <a:cubicBezTo>
                    <a:pt x="314" y="282"/>
                    <a:pt x="325" y="274"/>
                    <a:pt x="317" y="265"/>
                  </a:cubicBezTo>
                  <a:cubicBezTo>
                    <a:pt x="313" y="261"/>
                    <a:pt x="307" y="261"/>
                    <a:pt x="302" y="258"/>
                  </a:cubicBezTo>
                  <a:cubicBezTo>
                    <a:pt x="299" y="246"/>
                    <a:pt x="301" y="234"/>
                    <a:pt x="297" y="222"/>
                  </a:cubicBezTo>
                  <a:cubicBezTo>
                    <a:pt x="296" y="219"/>
                    <a:pt x="287" y="217"/>
                    <a:pt x="290" y="217"/>
                  </a:cubicBezTo>
                  <a:cubicBezTo>
                    <a:pt x="303" y="216"/>
                    <a:pt x="316" y="218"/>
                    <a:pt x="329" y="219"/>
                  </a:cubicBezTo>
                  <a:cubicBezTo>
                    <a:pt x="339" y="223"/>
                    <a:pt x="342" y="223"/>
                    <a:pt x="345" y="234"/>
                  </a:cubicBezTo>
                  <a:cubicBezTo>
                    <a:pt x="334" y="237"/>
                    <a:pt x="330" y="236"/>
                    <a:pt x="324" y="246"/>
                  </a:cubicBezTo>
                  <a:cubicBezTo>
                    <a:pt x="336" y="253"/>
                    <a:pt x="346" y="258"/>
                    <a:pt x="360" y="262"/>
                  </a:cubicBezTo>
                  <a:cubicBezTo>
                    <a:pt x="371" y="259"/>
                    <a:pt x="379" y="251"/>
                    <a:pt x="389" y="246"/>
                  </a:cubicBezTo>
                  <a:cubicBezTo>
                    <a:pt x="398" y="236"/>
                    <a:pt x="412" y="227"/>
                    <a:pt x="425" y="224"/>
                  </a:cubicBezTo>
                  <a:cubicBezTo>
                    <a:pt x="436" y="216"/>
                    <a:pt x="450" y="212"/>
                    <a:pt x="463" y="210"/>
                  </a:cubicBezTo>
                  <a:cubicBezTo>
                    <a:pt x="474" y="205"/>
                    <a:pt x="478" y="207"/>
                    <a:pt x="475" y="219"/>
                  </a:cubicBezTo>
                  <a:cubicBezTo>
                    <a:pt x="492" y="231"/>
                    <a:pt x="551" y="205"/>
                    <a:pt x="573" y="200"/>
                  </a:cubicBezTo>
                  <a:cubicBezTo>
                    <a:pt x="579" y="213"/>
                    <a:pt x="578" y="215"/>
                    <a:pt x="593" y="219"/>
                  </a:cubicBezTo>
                  <a:cubicBezTo>
                    <a:pt x="620" y="214"/>
                    <a:pt x="605" y="201"/>
                    <a:pt x="590" y="195"/>
                  </a:cubicBezTo>
                  <a:cubicBezTo>
                    <a:pt x="581" y="186"/>
                    <a:pt x="575" y="181"/>
                    <a:pt x="564" y="174"/>
                  </a:cubicBezTo>
                  <a:cubicBezTo>
                    <a:pt x="562" y="171"/>
                    <a:pt x="556" y="168"/>
                    <a:pt x="559" y="166"/>
                  </a:cubicBezTo>
                  <a:cubicBezTo>
                    <a:pt x="565" y="162"/>
                    <a:pt x="574" y="172"/>
                    <a:pt x="578" y="174"/>
                  </a:cubicBezTo>
                  <a:cubicBezTo>
                    <a:pt x="597" y="182"/>
                    <a:pt x="624" y="187"/>
                    <a:pt x="645" y="190"/>
                  </a:cubicBezTo>
                  <a:cubicBezTo>
                    <a:pt x="669" y="197"/>
                    <a:pt x="695" y="203"/>
                    <a:pt x="720" y="207"/>
                  </a:cubicBezTo>
                  <a:cubicBezTo>
                    <a:pt x="731" y="212"/>
                    <a:pt x="744" y="216"/>
                    <a:pt x="756" y="219"/>
                  </a:cubicBezTo>
                  <a:cubicBezTo>
                    <a:pt x="763" y="218"/>
                    <a:pt x="779" y="214"/>
                    <a:pt x="768" y="202"/>
                  </a:cubicBezTo>
                  <a:cubicBezTo>
                    <a:pt x="764" y="198"/>
                    <a:pt x="757" y="199"/>
                    <a:pt x="751" y="198"/>
                  </a:cubicBezTo>
                  <a:cubicBezTo>
                    <a:pt x="744" y="193"/>
                    <a:pt x="738" y="190"/>
                    <a:pt x="729" y="188"/>
                  </a:cubicBezTo>
                  <a:cubicBezTo>
                    <a:pt x="721" y="182"/>
                    <a:pt x="721" y="177"/>
                    <a:pt x="715" y="169"/>
                  </a:cubicBezTo>
                  <a:cubicBezTo>
                    <a:pt x="712" y="158"/>
                    <a:pt x="700" y="155"/>
                    <a:pt x="693" y="145"/>
                  </a:cubicBezTo>
                  <a:cubicBezTo>
                    <a:pt x="696" y="143"/>
                    <a:pt x="698" y="139"/>
                    <a:pt x="701" y="140"/>
                  </a:cubicBezTo>
                  <a:cubicBezTo>
                    <a:pt x="709" y="144"/>
                    <a:pt x="696" y="161"/>
                    <a:pt x="708" y="142"/>
                  </a:cubicBezTo>
                  <a:cubicBezTo>
                    <a:pt x="711" y="129"/>
                    <a:pt x="713" y="113"/>
                    <a:pt x="727" y="109"/>
                  </a:cubicBezTo>
                  <a:cubicBezTo>
                    <a:pt x="743" y="110"/>
                    <a:pt x="759" y="110"/>
                    <a:pt x="775" y="111"/>
                  </a:cubicBezTo>
                  <a:cubicBezTo>
                    <a:pt x="782" y="112"/>
                    <a:pt x="789" y="128"/>
                    <a:pt x="789" y="128"/>
                  </a:cubicBezTo>
                  <a:cubicBezTo>
                    <a:pt x="787" y="141"/>
                    <a:pt x="787" y="145"/>
                    <a:pt x="799" y="150"/>
                  </a:cubicBezTo>
                  <a:cubicBezTo>
                    <a:pt x="804" y="157"/>
                    <a:pt x="811" y="162"/>
                    <a:pt x="816" y="169"/>
                  </a:cubicBezTo>
                  <a:cubicBezTo>
                    <a:pt x="819" y="207"/>
                    <a:pt x="823" y="193"/>
                    <a:pt x="847" y="210"/>
                  </a:cubicBezTo>
                  <a:cubicBezTo>
                    <a:pt x="862" y="264"/>
                    <a:pt x="827" y="258"/>
                    <a:pt x="787" y="260"/>
                  </a:cubicBezTo>
                  <a:cubicBezTo>
                    <a:pt x="795" y="262"/>
                    <a:pt x="802" y="265"/>
                    <a:pt x="811" y="267"/>
                  </a:cubicBezTo>
                  <a:cubicBezTo>
                    <a:pt x="822" y="272"/>
                    <a:pt x="829" y="273"/>
                    <a:pt x="842" y="274"/>
                  </a:cubicBezTo>
                  <a:cubicBezTo>
                    <a:pt x="869" y="272"/>
                    <a:pt x="869" y="274"/>
                    <a:pt x="883" y="255"/>
                  </a:cubicBezTo>
                  <a:cubicBezTo>
                    <a:pt x="885" y="248"/>
                    <a:pt x="891" y="240"/>
                    <a:pt x="885" y="234"/>
                  </a:cubicBezTo>
                  <a:cubicBezTo>
                    <a:pt x="881" y="230"/>
                    <a:pt x="871" y="224"/>
                    <a:pt x="871" y="224"/>
                  </a:cubicBezTo>
                  <a:cubicBezTo>
                    <a:pt x="876" y="178"/>
                    <a:pt x="905" y="213"/>
                    <a:pt x="926" y="219"/>
                  </a:cubicBezTo>
                  <a:cubicBezTo>
                    <a:pt x="932" y="232"/>
                    <a:pt x="936" y="235"/>
                    <a:pt x="948" y="243"/>
                  </a:cubicBezTo>
                  <a:cubicBezTo>
                    <a:pt x="973" y="239"/>
                    <a:pt x="959" y="239"/>
                    <a:pt x="948" y="236"/>
                  </a:cubicBezTo>
                  <a:cubicBezTo>
                    <a:pt x="946" y="234"/>
                    <a:pt x="944" y="232"/>
                    <a:pt x="943" y="229"/>
                  </a:cubicBezTo>
                  <a:cubicBezTo>
                    <a:pt x="941" y="224"/>
                    <a:pt x="943" y="217"/>
                    <a:pt x="941" y="212"/>
                  </a:cubicBezTo>
                  <a:cubicBezTo>
                    <a:pt x="936" y="201"/>
                    <a:pt x="898" y="189"/>
                    <a:pt x="888" y="188"/>
                  </a:cubicBezTo>
                  <a:cubicBezTo>
                    <a:pt x="873" y="189"/>
                    <a:pt x="861" y="191"/>
                    <a:pt x="847" y="195"/>
                  </a:cubicBezTo>
                  <a:cubicBezTo>
                    <a:pt x="837" y="181"/>
                    <a:pt x="849" y="168"/>
                    <a:pt x="830" y="164"/>
                  </a:cubicBezTo>
                  <a:cubicBezTo>
                    <a:pt x="814" y="153"/>
                    <a:pt x="818" y="159"/>
                    <a:pt x="813" y="147"/>
                  </a:cubicBezTo>
                  <a:cubicBezTo>
                    <a:pt x="817" y="136"/>
                    <a:pt x="820" y="134"/>
                    <a:pt x="830" y="130"/>
                  </a:cubicBezTo>
                  <a:cubicBezTo>
                    <a:pt x="829" y="125"/>
                    <a:pt x="830" y="119"/>
                    <a:pt x="828" y="114"/>
                  </a:cubicBezTo>
                  <a:cubicBezTo>
                    <a:pt x="827" y="111"/>
                    <a:pt x="824" y="110"/>
                    <a:pt x="821" y="109"/>
                  </a:cubicBezTo>
                  <a:cubicBezTo>
                    <a:pt x="813" y="105"/>
                    <a:pt x="796" y="103"/>
                    <a:pt x="833" y="109"/>
                  </a:cubicBezTo>
                  <a:cubicBezTo>
                    <a:pt x="838" y="117"/>
                    <a:pt x="839" y="138"/>
                    <a:pt x="847" y="142"/>
                  </a:cubicBezTo>
                  <a:cubicBezTo>
                    <a:pt x="865" y="152"/>
                    <a:pt x="896" y="154"/>
                    <a:pt x="917" y="162"/>
                  </a:cubicBezTo>
                  <a:cubicBezTo>
                    <a:pt x="912" y="148"/>
                    <a:pt x="878" y="140"/>
                    <a:pt x="864" y="135"/>
                  </a:cubicBezTo>
                  <a:cubicBezTo>
                    <a:pt x="872" y="99"/>
                    <a:pt x="938" y="129"/>
                    <a:pt x="967" y="135"/>
                  </a:cubicBezTo>
                  <a:cubicBezTo>
                    <a:pt x="976" y="139"/>
                    <a:pt x="979" y="144"/>
                    <a:pt x="984" y="133"/>
                  </a:cubicBezTo>
                  <a:cubicBezTo>
                    <a:pt x="967" y="121"/>
                    <a:pt x="940" y="115"/>
                    <a:pt x="919" y="109"/>
                  </a:cubicBezTo>
                  <a:cubicBezTo>
                    <a:pt x="921" y="95"/>
                    <a:pt x="924" y="92"/>
                    <a:pt x="936" y="87"/>
                  </a:cubicBezTo>
                  <a:cubicBezTo>
                    <a:pt x="960" y="88"/>
                    <a:pt x="988" y="100"/>
                    <a:pt x="1008" y="87"/>
                  </a:cubicBezTo>
                  <a:cubicBezTo>
                    <a:pt x="1009" y="86"/>
                    <a:pt x="1001" y="71"/>
                    <a:pt x="1001" y="70"/>
                  </a:cubicBezTo>
                  <a:cubicBezTo>
                    <a:pt x="1009" y="62"/>
                    <a:pt x="1015" y="61"/>
                    <a:pt x="1025" y="58"/>
                  </a:cubicBezTo>
                  <a:cubicBezTo>
                    <a:pt x="1030" y="57"/>
                    <a:pt x="1039" y="54"/>
                    <a:pt x="1039" y="54"/>
                  </a:cubicBezTo>
                  <a:cubicBezTo>
                    <a:pt x="1055" y="43"/>
                    <a:pt x="1073" y="44"/>
                    <a:pt x="1092" y="42"/>
                  </a:cubicBezTo>
                  <a:cubicBezTo>
                    <a:pt x="1092" y="42"/>
                    <a:pt x="1105" y="36"/>
                    <a:pt x="1106" y="37"/>
                  </a:cubicBezTo>
                  <a:cubicBezTo>
                    <a:pt x="1108" y="39"/>
                    <a:pt x="1102" y="44"/>
                    <a:pt x="1104" y="44"/>
                  </a:cubicBezTo>
                  <a:cubicBezTo>
                    <a:pt x="1123" y="44"/>
                    <a:pt x="1142" y="42"/>
                    <a:pt x="1161" y="37"/>
                  </a:cubicBezTo>
                  <a:cubicBezTo>
                    <a:pt x="1176" y="33"/>
                    <a:pt x="1192" y="28"/>
                    <a:pt x="1207" y="25"/>
                  </a:cubicBezTo>
                  <a:cubicBezTo>
                    <a:pt x="1197" y="10"/>
                    <a:pt x="1201" y="10"/>
                    <a:pt x="1214" y="1"/>
                  </a:cubicBezTo>
                  <a:cubicBezTo>
                    <a:pt x="1231" y="2"/>
                    <a:pt x="1248" y="0"/>
                    <a:pt x="1265" y="3"/>
                  </a:cubicBezTo>
                  <a:cubicBezTo>
                    <a:pt x="1267" y="3"/>
                    <a:pt x="1262" y="7"/>
                    <a:pt x="1262" y="10"/>
                  </a:cubicBezTo>
                  <a:cubicBezTo>
                    <a:pt x="1262" y="13"/>
                    <a:pt x="1264" y="15"/>
                    <a:pt x="1265" y="18"/>
                  </a:cubicBezTo>
                  <a:cubicBezTo>
                    <a:pt x="1291" y="13"/>
                    <a:pt x="1293" y="25"/>
                    <a:pt x="1296" y="25"/>
                  </a:cubicBezTo>
                  <a:cubicBezTo>
                    <a:pt x="1327" y="28"/>
                    <a:pt x="1358" y="26"/>
                    <a:pt x="1389" y="27"/>
                  </a:cubicBezTo>
                  <a:cubicBezTo>
                    <a:pt x="1407" y="30"/>
                    <a:pt x="1423" y="36"/>
                    <a:pt x="1440" y="39"/>
                  </a:cubicBezTo>
                  <a:cubicBezTo>
                    <a:pt x="1454" y="59"/>
                    <a:pt x="1442" y="70"/>
                    <a:pt x="1423" y="78"/>
                  </a:cubicBezTo>
                  <a:cubicBezTo>
                    <a:pt x="1417" y="86"/>
                    <a:pt x="1413" y="86"/>
                    <a:pt x="1404" y="90"/>
                  </a:cubicBezTo>
                  <a:cubicBezTo>
                    <a:pt x="1396" y="98"/>
                    <a:pt x="1392" y="98"/>
                    <a:pt x="1382" y="102"/>
                  </a:cubicBezTo>
                  <a:cubicBezTo>
                    <a:pt x="1384" y="104"/>
                    <a:pt x="1384" y="108"/>
                    <a:pt x="1387" y="109"/>
                  </a:cubicBezTo>
                  <a:cubicBezTo>
                    <a:pt x="1394" y="111"/>
                    <a:pt x="1445" y="93"/>
                    <a:pt x="1454" y="90"/>
                  </a:cubicBezTo>
                  <a:cubicBezTo>
                    <a:pt x="1504" y="91"/>
                    <a:pt x="1561" y="73"/>
                    <a:pt x="1605" y="97"/>
                  </a:cubicBezTo>
                  <a:cubicBezTo>
                    <a:pt x="1619" y="104"/>
                    <a:pt x="1607" y="100"/>
                    <a:pt x="1620" y="104"/>
                  </a:cubicBezTo>
                  <a:cubicBezTo>
                    <a:pt x="1630" y="111"/>
                    <a:pt x="1641" y="113"/>
                    <a:pt x="1653" y="116"/>
                  </a:cubicBezTo>
                  <a:cubicBezTo>
                    <a:pt x="1677" y="113"/>
                    <a:pt x="1679" y="101"/>
                    <a:pt x="1699" y="90"/>
                  </a:cubicBezTo>
                  <a:cubicBezTo>
                    <a:pt x="1723" y="93"/>
                    <a:pt x="1745" y="102"/>
                    <a:pt x="1769" y="104"/>
                  </a:cubicBezTo>
                  <a:cubicBezTo>
                    <a:pt x="1777" y="106"/>
                    <a:pt x="1782" y="107"/>
                    <a:pt x="1790" y="109"/>
                  </a:cubicBezTo>
                  <a:cubicBezTo>
                    <a:pt x="1796" y="111"/>
                    <a:pt x="1807" y="114"/>
                    <a:pt x="1807" y="114"/>
                  </a:cubicBezTo>
                  <a:cubicBezTo>
                    <a:pt x="1827" y="134"/>
                    <a:pt x="1845" y="153"/>
                    <a:pt x="1874" y="159"/>
                  </a:cubicBezTo>
                  <a:cubicBezTo>
                    <a:pt x="1882" y="158"/>
                    <a:pt x="1890" y="159"/>
                    <a:pt x="1898" y="157"/>
                  </a:cubicBezTo>
                  <a:cubicBezTo>
                    <a:pt x="1914" y="152"/>
                    <a:pt x="1897" y="148"/>
                    <a:pt x="1896" y="147"/>
                  </a:cubicBezTo>
                  <a:cubicBezTo>
                    <a:pt x="1893" y="143"/>
                    <a:pt x="1885" y="136"/>
                    <a:pt x="1898" y="135"/>
                  </a:cubicBezTo>
                  <a:cubicBezTo>
                    <a:pt x="1909" y="134"/>
                    <a:pt x="1921" y="144"/>
                    <a:pt x="1932" y="145"/>
                  </a:cubicBezTo>
                  <a:cubicBezTo>
                    <a:pt x="1950" y="146"/>
                    <a:pt x="1969" y="146"/>
                    <a:pt x="1987" y="147"/>
                  </a:cubicBezTo>
                  <a:cubicBezTo>
                    <a:pt x="2011" y="150"/>
                    <a:pt x="2014" y="154"/>
                    <a:pt x="2033" y="142"/>
                  </a:cubicBezTo>
                  <a:cubicBezTo>
                    <a:pt x="2025" y="140"/>
                    <a:pt x="2019" y="135"/>
                    <a:pt x="2011" y="133"/>
                  </a:cubicBezTo>
                  <a:cubicBezTo>
                    <a:pt x="2015" y="112"/>
                    <a:pt x="2023" y="113"/>
                    <a:pt x="2040" y="106"/>
                  </a:cubicBezTo>
                  <a:cubicBezTo>
                    <a:pt x="2069" y="108"/>
                    <a:pt x="2093" y="114"/>
                    <a:pt x="2121" y="118"/>
                  </a:cubicBezTo>
                  <a:cubicBezTo>
                    <a:pt x="2148" y="127"/>
                    <a:pt x="2174" y="128"/>
                    <a:pt x="2203" y="130"/>
                  </a:cubicBezTo>
                  <a:cubicBezTo>
                    <a:pt x="2205" y="131"/>
                    <a:pt x="2210" y="133"/>
                    <a:pt x="2210" y="133"/>
                  </a:cubicBezTo>
                  <a:cubicBezTo>
                    <a:pt x="2231" y="148"/>
                    <a:pt x="2257" y="149"/>
                    <a:pt x="2282" y="157"/>
                  </a:cubicBezTo>
                  <a:cubicBezTo>
                    <a:pt x="2302" y="155"/>
                    <a:pt x="2319" y="155"/>
                    <a:pt x="2337" y="147"/>
                  </a:cubicBezTo>
                  <a:cubicBezTo>
                    <a:pt x="2360" y="148"/>
                    <a:pt x="2382" y="148"/>
                    <a:pt x="2405" y="150"/>
                  </a:cubicBezTo>
                  <a:cubicBezTo>
                    <a:pt x="2413" y="151"/>
                    <a:pt x="2429" y="157"/>
                    <a:pt x="2429" y="157"/>
                  </a:cubicBezTo>
                  <a:cubicBezTo>
                    <a:pt x="2468" y="185"/>
                    <a:pt x="2454" y="185"/>
                    <a:pt x="2515" y="188"/>
                  </a:cubicBezTo>
                  <a:cubicBezTo>
                    <a:pt x="2547" y="187"/>
                    <a:pt x="2579" y="181"/>
                    <a:pt x="2611" y="183"/>
                  </a:cubicBezTo>
                  <a:cubicBezTo>
                    <a:pt x="2626" y="184"/>
                    <a:pt x="2632" y="193"/>
                    <a:pt x="2645" y="198"/>
                  </a:cubicBezTo>
                  <a:cubicBezTo>
                    <a:pt x="2660" y="204"/>
                    <a:pt x="2677" y="208"/>
                    <a:pt x="2693" y="210"/>
                  </a:cubicBezTo>
                  <a:cubicBezTo>
                    <a:pt x="2696" y="208"/>
                    <a:pt x="2701" y="208"/>
                    <a:pt x="2702" y="205"/>
                  </a:cubicBezTo>
                  <a:cubicBezTo>
                    <a:pt x="2703" y="203"/>
                    <a:pt x="2697" y="203"/>
                    <a:pt x="2695" y="202"/>
                  </a:cubicBezTo>
                  <a:cubicBezTo>
                    <a:pt x="2683" y="196"/>
                    <a:pt x="2672" y="192"/>
                    <a:pt x="2659" y="188"/>
                  </a:cubicBezTo>
                  <a:cubicBezTo>
                    <a:pt x="2655" y="175"/>
                    <a:pt x="2674" y="173"/>
                    <a:pt x="2685" y="171"/>
                  </a:cubicBezTo>
                  <a:cubicBezTo>
                    <a:pt x="2707" y="174"/>
                    <a:pt x="2727" y="183"/>
                    <a:pt x="2748" y="186"/>
                  </a:cubicBezTo>
                  <a:cubicBezTo>
                    <a:pt x="2777" y="191"/>
                    <a:pt x="2811" y="191"/>
                    <a:pt x="2839" y="193"/>
                  </a:cubicBezTo>
                  <a:cubicBezTo>
                    <a:pt x="2867" y="201"/>
                    <a:pt x="2903" y="208"/>
                    <a:pt x="2920" y="220"/>
                  </a:cubicBezTo>
                  <a:cubicBezTo>
                    <a:pt x="2941" y="226"/>
                    <a:pt x="2951" y="224"/>
                    <a:pt x="2964" y="227"/>
                  </a:cubicBezTo>
                  <a:cubicBezTo>
                    <a:pt x="2977" y="230"/>
                    <a:pt x="2986" y="233"/>
                    <a:pt x="2998" y="238"/>
                  </a:cubicBezTo>
                  <a:cubicBezTo>
                    <a:pt x="3010" y="243"/>
                    <a:pt x="3028" y="251"/>
                    <a:pt x="3037" y="256"/>
                  </a:cubicBezTo>
                  <a:cubicBezTo>
                    <a:pt x="3046" y="261"/>
                    <a:pt x="3047" y="266"/>
                    <a:pt x="3055" y="268"/>
                  </a:cubicBezTo>
                  <a:cubicBezTo>
                    <a:pt x="3063" y="270"/>
                    <a:pt x="3087" y="274"/>
                    <a:pt x="3085" y="271"/>
                  </a:cubicBezTo>
                  <a:cubicBezTo>
                    <a:pt x="3083" y="268"/>
                    <a:pt x="3032" y="250"/>
                    <a:pt x="3042" y="250"/>
                  </a:cubicBezTo>
                  <a:cubicBezTo>
                    <a:pt x="3052" y="250"/>
                    <a:pt x="3124" y="261"/>
                    <a:pt x="3145" y="268"/>
                  </a:cubicBezTo>
                  <a:cubicBezTo>
                    <a:pt x="3166" y="275"/>
                    <a:pt x="3171" y="290"/>
                    <a:pt x="3172" y="293"/>
                  </a:cubicBezTo>
                  <a:cubicBezTo>
                    <a:pt x="3173" y="296"/>
                    <a:pt x="3158" y="287"/>
                    <a:pt x="3151" y="286"/>
                  </a:cubicBezTo>
                  <a:cubicBezTo>
                    <a:pt x="3144" y="285"/>
                    <a:pt x="3129" y="281"/>
                    <a:pt x="3132" y="287"/>
                  </a:cubicBezTo>
                  <a:cubicBezTo>
                    <a:pt x="3135" y="293"/>
                    <a:pt x="3173" y="316"/>
                    <a:pt x="3172" y="320"/>
                  </a:cubicBezTo>
                  <a:cubicBezTo>
                    <a:pt x="3171" y="324"/>
                    <a:pt x="3136" y="316"/>
                    <a:pt x="3123" y="313"/>
                  </a:cubicBezTo>
                  <a:cubicBezTo>
                    <a:pt x="3110" y="310"/>
                    <a:pt x="3102" y="303"/>
                    <a:pt x="3091" y="299"/>
                  </a:cubicBezTo>
                  <a:cubicBezTo>
                    <a:pt x="3080" y="295"/>
                    <a:pt x="3068" y="290"/>
                    <a:pt x="3058" y="289"/>
                  </a:cubicBezTo>
                  <a:cubicBezTo>
                    <a:pt x="3048" y="288"/>
                    <a:pt x="3040" y="295"/>
                    <a:pt x="3031" y="292"/>
                  </a:cubicBezTo>
                  <a:cubicBezTo>
                    <a:pt x="3022" y="289"/>
                    <a:pt x="3014" y="275"/>
                    <a:pt x="3004" y="271"/>
                  </a:cubicBezTo>
                  <a:cubicBezTo>
                    <a:pt x="2994" y="267"/>
                    <a:pt x="2971" y="262"/>
                    <a:pt x="2971" y="265"/>
                  </a:cubicBezTo>
                  <a:cubicBezTo>
                    <a:pt x="2971" y="268"/>
                    <a:pt x="2996" y="281"/>
                    <a:pt x="3001" y="289"/>
                  </a:cubicBezTo>
                  <a:cubicBezTo>
                    <a:pt x="3006" y="297"/>
                    <a:pt x="3013" y="313"/>
                    <a:pt x="3004" y="314"/>
                  </a:cubicBezTo>
                  <a:cubicBezTo>
                    <a:pt x="2995" y="315"/>
                    <a:pt x="2957" y="298"/>
                    <a:pt x="2946" y="298"/>
                  </a:cubicBezTo>
                  <a:cubicBezTo>
                    <a:pt x="2935" y="298"/>
                    <a:pt x="2934" y="311"/>
                    <a:pt x="2938" y="314"/>
                  </a:cubicBezTo>
                  <a:cubicBezTo>
                    <a:pt x="2942" y="317"/>
                    <a:pt x="2960" y="312"/>
                    <a:pt x="2970" y="314"/>
                  </a:cubicBezTo>
                  <a:cubicBezTo>
                    <a:pt x="2980" y="316"/>
                    <a:pt x="2982" y="319"/>
                    <a:pt x="2998" y="326"/>
                  </a:cubicBezTo>
                  <a:cubicBezTo>
                    <a:pt x="3014" y="333"/>
                    <a:pt x="3049" y="350"/>
                    <a:pt x="3064" y="358"/>
                  </a:cubicBezTo>
                  <a:cubicBezTo>
                    <a:pt x="3079" y="366"/>
                    <a:pt x="3094" y="372"/>
                    <a:pt x="3088" y="373"/>
                  </a:cubicBezTo>
                  <a:cubicBezTo>
                    <a:pt x="3082" y="374"/>
                    <a:pt x="3045" y="362"/>
                    <a:pt x="3030" y="365"/>
                  </a:cubicBezTo>
                  <a:cubicBezTo>
                    <a:pt x="3015" y="368"/>
                    <a:pt x="3007" y="382"/>
                    <a:pt x="2998" y="391"/>
                  </a:cubicBezTo>
                  <a:cubicBezTo>
                    <a:pt x="2989" y="400"/>
                    <a:pt x="2981" y="408"/>
                    <a:pt x="2977" y="416"/>
                  </a:cubicBezTo>
                  <a:cubicBezTo>
                    <a:pt x="2973" y="424"/>
                    <a:pt x="2977" y="437"/>
                    <a:pt x="2974" y="437"/>
                  </a:cubicBezTo>
                  <a:cubicBezTo>
                    <a:pt x="2971" y="437"/>
                    <a:pt x="2973" y="421"/>
                    <a:pt x="2961" y="418"/>
                  </a:cubicBezTo>
                  <a:cubicBezTo>
                    <a:pt x="2949" y="415"/>
                    <a:pt x="2911" y="415"/>
                    <a:pt x="2902" y="419"/>
                  </a:cubicBezTo>
                  <a:cubicBezTo>
                    <a:pt x="2893" y="423"/>
                    <a:pt x="2909" y="439"/>
                    <a:pt x="2904" y="440"/>
                  </a:cubicBezTo>
                  <a:cubicBezTo>
                    <a:pt x="2899" y="441"/>
                    <a:pt x="2879" y="424"/>
                    <a:pt x="2874" y="424"/>
                  </a:cubicBezTo>
                  <a:cubicBezTo>
                    <a:pt x="2869" y="424"/>
                    <a:pt x="2875" y="437"/>
                    <a:pt x="2872" y="439"/>
                  </a:cubicBezTo>
                  <a:cubicBezTo>
                    <a:pt x="2869" y="441"/>
                    <a:pt x="2859" y="432"/>
                    <a:pt x="2854" y="433"/>
                  </a:cubicBezTo>
                  <a:cubicBezTo>
                    <a:pt x="2849" y="434"/>
                    <a:pt x="2843" y="439"/>
                    <a:pt x="2844" y="443"/>
                  </a:cubicBezTo>
                  <a:cubicBezTo>
                    <a:pt x="2845" y="447"/>
                    <a:pt x="2855" y="448"/>
                    <a:pt x="2857" y="455"/>
                  </a:cubicBezTo>
                  <a:cubicBezTo>
                    <a:pt x="2859" y="462"/>
                    <a:pt x="2853" y="477"/>
                    <a:pt x="2856" y="485"/>
                  </a:cubicBezTo>
                  <a:cubicBezTo>
                    <a:pt x="2859" y="493"/>
                    <a:pt x="2871" y="504"/>
                    <a:pt x="2878" y="506"/>
                  </a:cubicBezTo>
                  <a:cubicBezTo>
                    <a:pt x="2885" y="508"/>
                    <a:pt x="2892" y="500"/>
                    <a:pt x="2896" y="500"/>
                  </a:cubicBezTo>
                  <a:cubicBezTo>
                    <a:pt x="2900" y="500"/>
                    <a:pt x="2900" y="502"/>
                    <a:pt x="2905" y="506"/>
                  </a:cubicBezTo>
                  <a:cubicBezTo>
                    <a:pt x="2910" y="510"/>
                    <a:pt x="2925" y="521"/>
                    <a:pt x="2928" y="527"/>
                  </a:cubicBezTo>
                  <a:cubicBezTo>
                    <a:pt x="2931" y="533"/>
                    <a:pt x="2923" y="539"/>
                    <a:pt x="2923" y="544"/>
                  </a:cubicBezTo>
                  <a:cubicBezTo>
                    <a:pt x="2923" y="549"/>
                    <a:pt x="2922" y="556"/>
                    <a:pt x="2925" y="560"/>
                  </a:cubicBezTo>
                  <a:cubicBezTo>
                    <a:pt x="2928" y="564"/>
                    <a:pt x="2934" y="566"/>
                    <a:pt x="2940" y="571"/>
                  </a:cubicBezTo>
                  <a:cubicBezTo>
                    <a:pt x="2946" y="576"/>
                    <a:pt x="2964" y="586"/>
                    <a:pt x="2964" y="589"/>
                  </a:cubicBezTo>
                  <a:cubicBezTo>
                    <a:pt x="2964" y="592"/>
                    <a:pt x="2945" y="587"/>
                    <a:pt x="2940" y="589"/>
                  </a:cubicBezTo>
                  <a:cubicBezTo>
                    <a:pt x="2935" y="591"/>
                    <a:pt x="2932" y="599"/>
                    <a:pt x="2935" y="604"/>
                  </a:cubicBezTo>
                  <a:cubicBezTo>
                    <a:pt x="2938" y="609"/>
                    <a:pt x="2956" y="618"/>
                    <a:pt x="2956" y="622"/>
                  </a:cubicBezTo>
                  <a:cubicBezTo>
                    <a:pt x="2956" y="626"/>
                    <a:pt x="2935" y="626"/>
                    <a:pt x="2934" y="631"/>
                  </a:cubicBezTo>
                  <a:cubicBezTo>
                    <a:pt x="2933" y="636"/>
                    <a:pt x="2947" y="644"/>
                    <a:pt x="2949" y="653"/>
                  </a:cubicBezTo>
                  <a:cubicBezTo>
                    <a:pt x="2951" y="662"/>
                    <a:pt x="2956" y="691"/>
                    <a:pt x="2944" y="686"/>
                  </a:cubicBezTo>
                  <a:cubicBezTo>
                    <a:pt x="2932" y="681"/>
                    <a:pt x="2898" y="643"/>
                    <a:pt x="2874" y="622"/>
                  </a:cubicBezTo>
                  <a:cubicBezTo>
                    <a:pt x="2850" y="601"/>
                    <a:pt x="2814" y="574"/>
                    <a:pt x="2799" y="559"/>
                  </a:cubicBezTo>
                  <a:cubicBezTo>
                    <a:pt x="2784" y="544"/>
                    <a:pt x="2785" y="539"/>
                    <a:pt x="2782" y="530"/>
                  </a:cubicBezTo>
                  <a:cubicBezTo>
                    <a:pt x="2779" y="521"/>
                    <a:pt x="2785" y="513"/>
                    <a:pt x="2781" y="506"/>
                  </a:cubicBezTo>
                  <a:cubicBezTo>
                    <a:pt x="2777" y="499"/>
                    <a:pt x="2757" y="492"/>
                    <a:pt x="2757" y="490"/>
                  </a:cubicBezTo>
                  <a:cubicBezTo>
                    <a:pt x="2757" y="488"/>
                    <a:pt x="2776" y="493"/>
                    <a:pt x="2782" y="494"/>
                  </a:cubicBezTo>
                  <a:cubicBezTo>
                    <a:pt x="2788" y="495"/>
                    <a:pt x="2792" y="500"/>
                    <a:pt x="2794" y="496"/>
                  </a:cubicBezTo>
                  <a:cubicBezTo>
                    <a:pt x="2796" y="492"/>
                    <a:pt x="2793" y="481"/>
                    <a:pt x="2794" y="470"/>
                  </a:cubicBezTo>
                  <a:cubicBezTo>
                    <a:pt x="2795" y="459"/>
                    <a:pt x="2798" y="440"/>
                    <a:pt x="2800" y="431"/>
                  </a:cubicBezTo>
                  <a:cubicBezTo>
                    <a:pt x="2802" y="422"/>
                    <a:pt x="2804" y="416"/>
                    <a:pt x="2808" y="413"/>
                  </a:cubicBezTo>
                  <a:cubicBezTo>
                    <a:pt x="2812" y="410"/>
                    <a:pt x="2829" y="416"/>
                    <a:pt x="2826" y="410"/>
                  </a:cubicBezTo>
                  <a:cubicBezTo>
                    <a:pt x="2823" y="404"/>
                    <a:pt x="2790" y="385"/>
                    <a:pt x="2787" y="379"/>
                  </a:cubicBezTo>
                  <a:cubicBezTo>
                    <a:pt x="2784" y="373"/>
                    <a:pt x="2810" y="375"/>
                    <a:pt x="2808" y="373"/>
                  </a:cubicBezTo>
                  <a:cubicBezTo>
                    <a:pt x="2806" y="371"/>
                    <a:pt x="2777" y="366"/>
                    <a:pt x="2772" y="368"/>
                  </a:cubicBezTo>
                  <a:cubicBezTo>
                    <a:pt x="2743" y="353"/>
                    <a:pt x="2756" y="382"/>
                    <a:pt x="2777" y="387"/>
                  </a:cubicBezTo>
                  <a:cubicBezTo>
                    <a:pt x="2787" y="404"/>
                    <a:pt x="2773" y="415"/>
                    <a:pt x="2757" y="418"/>
                  </a:cubicBezTo>
                  <a:cubicBezTo>
                    <a:pt x="2747" y="415"/>
                    <a:pt x="2739" y="412"/>
                    <a:pt x="2729" y="409"/>
                  </a:cubicBezTo>
                  <a:cubicBezTo>
                    <a:pt x="2725" y="400"/>
                    <a:pt x="2721" y="398"/>
                    <a:pt x="2712" y="394"/>
                  </a:cubicBezTo>
                  <a:cubicBezTo>
                    <a:pt x="2705" y="397"/>
                    <a:pt x="2697" y="399"/>
                    <a:pt x="2690" y="402"/>
                  </a:cubicBezTo>
                  <a:cubicBezTo>
                    <a:pt x="2679" y="400"/>
                    <a:pt x="2672" y="396"/>
                    <a:pt x="2661" y="399"/>
                  </a:cubicBezTo>
                  <a:cubicBezTo>
                    <a:pt x="2658" y="409"/>
                    <a:pt x="2653" y="418"/>
                    <a:pt x="2649" y="428"/>
                  </a:cubicBezTo>
                  <a:cubicBezTo>
                    <a:pt x="2656" y="445"/>
                    <a:pt x="2673" y="447"/>
                    <a:pt x="2690" y="452"/>
                  </a:cubicBezTo>
                  <a:cubicBezTo>
                    <a:pt x="2687" y="467"/>
                    <a:pt x="2679" y="464"/>
                    <a:pt x="2666" y="469"/>
                  </a:cubicBezTo>
                  <a:cubicBezTo>
                    <a:pt x="2647" y="468"/>
                    <a:pt x="2628" y="469"/>
                    <a:pt x="2609" y="466"/>
                  </a:cubicBezTo>
                  <a:cubicBezTo>
                    <a:pt x="2598" y="464"/>
                    <a:pt x="2614" y="454"/>
                    <a:pt x="2604" y="452"/>
                  </a:cubicBezTo>
                  <a:cubicBezTo>
                    <a:pt x="2593" y="449"/>
                    <a:pt x="2581" y="451"/>
                    <a:pt x="2570" y="450"/>
                  </a:cubicBezTo>
                  <a:cubicBezTo>
                    <a:pt x="2521" y="452"/>
                    <a:pt x="2473" y="458"/>
                    <a:pt x="2424" y="464"/>
                  </a:cubicBezTo>
                  <a:cubicBezTo>
                    <a:pt x="2419" y="471"/>
                    <a:pt x="2417" y="478"/>
                    <a:pt x="2414" y="486"/>
                  </a:cubicBezTo>
                  <a:cubicBezTo>
                    <a:pt x="2411" y="507"/>
                    <a:pt x="2404" y="531"/>
                    <a:pt x="2395" y="550"/>
                  </a:cubicBezTo>
                  <a:cubicBezTo>
                    <a:pt x="2390" y="560"/>
                    <a:pt x="2383" y="568"/>
                    <a:pt x="2378" y="579"/>
                  </a:cubicBezTo>
                  <a:cubicBezTo>
                    <a:pt x="2399" y="588"/>
                    <a:pt x="2422" y="589"/>
                    <a:pt x="2443" y="598"/>
                  </a:cubicBezTo>
                  <a:cubicBezTo>
                    <a:pt x="2458" y="604"/>
                    <a:pt x="2442" y="597"/>
                    <a:pt x="2457" y="606"/>
                  </a:cubicBezTo>
                  <a:cubicBezTo>
                    <a:pt x="2460" y="608"/>
                    <a:pt x="2465" y="610"/>
                    <a:pt x="2465" y="610"/>
                  </a:cubicBezTo>
                  <a:cubicBezTo>
                    <a:pt x="2460" y="599"/>
                    <a:pt x="2464" y="597"/>
                    <a:pt x="2472" y="589"/>
                  </a:cubicBezTo>
                  <a:cubicBezTo>
                    <a:pt x="2485" y="590"/>
                    <a:pt x="2497" y="590"/>
                    <a:pt x="2510" y="591"/>
                  </a:cubicBezTo>
                  <a:cubicBezTo>
                    <a:pt x="2520" y="592"/>
                    <a:pt x="2530" y="612"/>
                    <a:pt x="2539" y="618"/>
                  </a:cubicBezTo>
                  <a:cubicBezTo>
                    <a:pt x="2542" y="630"/>
                    <a:pt x="2547" y="637"/>
                    <a:pt x="2558" y="642"/>
                  </a:cubicBezTo>
                  <a:cubicBezTo>
                    <a:pt x="2562" y="652"/>
                    <a:pt x="2562" y="655"/>
                    <a:pt x="2573" y="658"/>
                  </a:cubicBezTo>
                  <a:cubicBezTo>
                    <a:pt x="2566" y="648"/>
                    <a:pt x="2558" y="641"/>
                    <a:pt x="2553" y="630"/>
                  </a:cubicBezTo>
                  <a:cubicBezTo>
                    <a:pt x="2556" y="606"/>
                    <a:pt x="2557" y="601"/>
                    <a:pt x="2577" y="615"/>
                  </a:cubicBezTo>
                  <a:cubicBezTo>
                    <a:pt x="2580" y="622"/>
                    <a:pt x="2594" y="632"/>
                    <a:pt x="2594" y="632"/>
                  </a:cubicBezTo>
                  <a:cubicBezTo>
                    <a:pt x="2599" y="644"/>
                    <a:pt x="2622" y="671"/>
                    <a:pt x="2633" y="678"/>
                  </a:cubicBezTo>
                  <a:cubicBezTo>
                    <a:pt x="2637" y="685"/>
                    <a:pt x="2652" y="694"/>
                    <a:pt x="2652" y="694"/>
                  </a:cubicBezTo>
                  <a:cubicBezTo>
                    <a:pt x="2661" y="708"/>
                    <a:pt x="2679" y="717"/>
                    <a:pt x="2693" y="726"/>
                  </a:cubicBezTo>
                  <a:cubicBezTo>
                    <a:pt x="2700" y="738"/>
                    <a:pt x="2718" y="745"/>
                    <a:pt x="2729" y="762"/>
                  </a:cubicBezTo>
                  <a:cubicBezTo>
                    <a:pt x="2714" y="769"/>
                    <a:pt x="2704" y="749"/>
                    <a:pt x="2688" y="742"/>
                  </a:cubicBezTo>
                  <a:cubicBezTo>
                    <a:pt x="2685" y="743"/>
                    <a:pt x="2680" y="742"/>
                    <a:pt x="2678" y="745"/>
                  </a:cubicBezTo>
                  <a:cubicBezTo>
                    <a:pt x="2674" y="752"/>
                    <a:pt x="2693" y="776"/>
                    <a:pt x="2700" y="781"/>
                  </a:cubicBezTo>
                  <a:cubicBezTo>
                    <a:pt x="2703" y="790"/>
                    <a:pt x="2715" y="797"/>
                    <a:pt x="2724" y="802"/>
                  </a:cubicBezTo>
                  <a:cubicBezTo>
                    <a:pt x="2729" y="811"/>
                    <a:pt x="2736" y="813"/>
                    <a:pt x="2741" y="822"/>
                  </a:cubicBezTo>
                  <a:cubicBezTo>
                    <a:pt x="2746" y="840"/>
                    <a:pt x="2723" y="821"/>
                    <a:pt x="2717" y="817"/>
                  </a:cubicBezTo>
                  <a:cubicBezTo>
                    <a:pt x="2713" y="827"/>
                    <a:pt x="2717" y="830"/>
                    <a:pt x="2714" y="841"/>
                  </a:cubicBezTo>
                  <a:cubicBezTo>
                    <a:pt x="2700" y="836"/>
                    <a:pt x="2707" y="841"/>
                    <a:pt x="2695" y="824"/>
                  </a:cubicBezTo>
                  <a:cubicBezTo>
                    <a:pt x="2693" y="822"/>
                    <a:pt x="2690" y="817"/>
                    <a:pt x="2690" y="817"/>
                  </a:cubicBezTo>
                  <a:cubicBezTo>
                    <a:pt x="2685" y="792"/>
                    <a:pt x="2669" y="769"/>
                    <a:pt x="2652" y="752"/>
                  </a:cubicBezTo>
                  <a:cubicBezTo>
                    <a:pt x="2648" y="743"/>
                    <a:pt x="2647" y="740"/>
                    <a:pt x="2640" y="730"/>
                  </a:cubicBezTo>
                  <a:cubicBezTo>
                    <a:pt x="2637" y="725"/>
                    <a:pt x="2633" y="721"/>
                    <a:pt x="2630" y="716"/>
                  </a:cubicBezTo>
                  <a:cubicBezTo>
                    <a:pt x="2628" y="714"/>
                    <a:pt x="2625" y="709"/>
                    <a:pt x="2625" y="709"/>
                  </a:cubicBezTo>
                  <a:cubicBezTo>
                    <a:pt x="2618" y="684"/>
                    <a:pt x="2605" y="673"/>
                    <a:pt x="2582" y="666"/>
                  </a:cubicBezTo>
                  <a:cubicBezTo>
                    <a:pt x="2555" y="681"/>
                    <a:pt x="2586" y="712"/>
                    <a:pt x="2601" y="723"/>
                  </a:cubicBezTo>
                  <a:cubicBezTo>
                    <a:pt x="2609" y="742"/>
                    <a:pt x="2613" y="754"/>
                    <a:pt x="2616" y="776"/>
                  </a:cubicBezTo>
                  <a:cubicBezTo>
                    <a:pt x="2613" y="815"/>
                    <a:pt x="2603" y="848"/>
                    <a:pt x="2594" y="886"/>
                  </a:cubicBezTo>
                  <a:cubicBezTo>
                    <a:pt x="2591" y="898"/>
                    <a:pt x="2590" y="917"/>
                    <a:pt x="2577" y="920"/>
                  </a:cubicBezTo>
                  <a:cubicBezTo>
                    <a:pt x="2561" y="932"/>
                    <a:pt x="2545" y="921"/>
                    <a:pt x="2529" y="915"/>
                  </a:cubicBezTo>
                  <a:cubicBezTo>
                    <a:pt x="2515" y="920"/>
                    <a:pt x="2517" y="930"/>
                    <a:pt x="2505" y="937"/>
                  </a:cubicBezTo>
                  <a:cubicBezTo>
                    <a:pt x="2495" y="934"/>
                    <a:pt x="2496" y="937"/>
                    <a:pt x="2496" y="930"/>
                  </a:cubicBezTo>
                  <a:cubicBezTo>
                    <a:pt x="2498" y="928"/>
                    <a:pt x="2499" y="927"/>
                    <a:pt x="2501" y="925"/>
                  </a:cubicBezTo>
                  <a:cubicBezTo>
                    <a:pt x="2502" y="920"/>
                    <a:pt x="2505" y="910"/>
                    <a:pt x="2505" y="910"/>
                  </a:cubicBezTo>
                  <a:cubicBezTo>
                    <a:pt x="2504" y="905"/>
                    <a:pt x="2501" y="896"/>
                    <a:pt x="2501" y="896"/>
                  </a:cubicBezTo>
                  <a:lnTo>
                    <a:pt x="2472" y="860"/>
                  </a:lnTo>
                  <a:lnTo>
                    <a:pt x="2484" y="848"/>
                  </a:lnTo>
                  <a:lnTo>
                    <a:pt x="2515" y="858"/>
                  </a:lnTo>
                  <a:lnTo>
                    <a:pt x="2510" y="807"/>
                  </a:lnTo>
                  <a:lnTo>
                    <a:pt x="2508" y="778"/>
                  </a:lnTo>
                  <a:lnTo>
                    <a:pt x="2489" y="757"/>
                  </a:lnTo>
                  <a:lnTo>
                    <a:pt x="2450" y="781"/>
                  </a:lnTo>
                  <a:lnTo>
                    <a:pt x="2417" y="778"/>
                  </a:lnTo>
                  <a:lnTo>
                    <a:pt x="2388" y="747"/>
                  </a:lnTo>
                  <a:lnTo>
                    <a:pt x="2333" y="726"/>
                  </a:lnTo>
                  <a:lnTo>
                    <a:pt x="2309" y="726"/>
                  </a:lnTo>
                  <a:lnTo>
                    <a:pt x="2246" y="658"/>
                  </a:lnTo>
                  <a:lnTo>
                    <a:pt x="2189" y="627"/>
                  </a:lnTo>
                  <a:lnTo>
                    <a:pt x="2133" y="615"/>
                  </a:lnTo>
                  <a:lnTo>
                    <a:pt x="2088" y="622"/>
                  </a:lnTo>
                  <a:lnTo>
                    <a:pt x="2083" y="639"/>
                  </a:lnTo>
                  <a:lnTo>
                    <a:pt x="2114" y="656"/>
                  </a:lnTo>
                  <a:lnTo>
                    <a:pt x="2105" y="673"/>
                  </a:lnTo>
                  <a:lnTo>
                    <a:pt x="2105" y="718"/>
                  </a:lnTo>
                  <a:lnTo>
                    <a:pt x="2081" y="726"/>
                  </a:lnTo>
                  <a:lnTo>
                    <a:pt x="2057" y="716"/>
                  </a:lnTo>
                  <a:lnTo>
                    <a:pt x="2030" y="718"/>
                  </a:lnTo>
                  <a:lnTo>
                    <a:pt x="2009" y="706"/>
                  </a:lnTo>
                  <a:lnTo>
                    <a:pt x="1985" y="714"/>
                  </a:lnTo>
                  <a:lnTo>
                    <a:pt x="1973" y="730"/>
                  </a:lnTo>
                  <a:lnTo>
                    <a:pt x="1929" y="738"/>
                  </a:lnTo>
                  <a:lnTo>
                    <a:pt x="1869" y="735"/>
                  </a:lnTo>
                  <a:lnTo>
                    <a:pt x="1857" y="711"/>
                  </a:lnTo>
                  <a:lnTo>
                    <a:pt x="1790" y="704"/>
                  </a:lnTo>
                  <a:lnTo>
                    <a:pt x="1757" y="714"/>
                  </a:lnTo>
                  <a:lnTo>
                    <a:pt x="1718" y="699"/>
                  </a:lnTo>
                  <a:lnTo>
                    <a:pt x="1704" y="670"/>
                  </a:lnTo>
                  <a:lnTo>
                    <a:pt x="1620" y="651"/>
                  </a:lnTo>
                  <a:lnTo>
                    <a:pt x="1610" y="678"/>
                  </a:lnTo>
                  <a:lnTo>
                    <a:pt x="1639" y="706"/>
                  </a:lnTo>
                  <a:lnTo>
                    <a:pt x="1622" y="721"/>
                  </a:lnTo>
                  <a:lnTo>
                    <a:pt x="1579" y="716"/>
                  </a:lnTo>
                  <a:lnTo>
                    <a:pt x="1543" y="697"/>
                  </a:lnTo>
                  <a:lnTo>
                    <a:pt x="1495" y="694"/>
                  </a:lnTo>
                  <a:lnTo>
                    <a:pt x="1416" y="742"/>
                  </a:lnTo>
                  <a:lnTo>
                    <a:pt x="1399" y="738"/>
                  </a:lnTo>
                  <a:lnTo>
                    <a:pt x="1375" y="721"/>
                  </a:lnTo>
                  <a:lnTo>
                    <a:pt x="1356" y="728"/>
                  </a:lnTo>
                  <a:lnTo>
                    <a:pt x="1310" y="704"/>
                  </a:lnTo>
                  <a:lnTo>
                    <a:pt x="1293" y="685"/>
                  </a:lnTo>
                  <a:lnTo>
                    <a:pt x="1260" y="694"/>
                  </a:lnTo>
                  <a:cubicBezTo>
                    <a:pt x="1235" y="674"/>
                    <a:pt x="1246" y="675"/>
                    <a:pt x="1233" y="675"/>
                  </a:cubicBezTo>
                  <a:lnTo>
                    <a:pt x="1219" y="697"/>
                  </a:lnTo>
                  <a:lnTo>
                    <a:pt x="1173" y="644"/>
                  </a:lnTo>
                  <a:lnTo>
                    <a:pt x="1137" y="620"/>
                  </a:lnTo>
                  <a:lnTo>
                    <a:pt x="1101" y="603"/>
                  </a:lnTo>
                  <a:lnTo>
                    <a:pt x="1109" y="579"/>
                  </a:lnTo>
                  <a:lnTo>
                    <a:pt x="1044" y="618"/>
                  </a:lnTo>
                  <a:lnTo>
                    <a:pt x="1029" y="598"/>
                  </a:lnTo>
                  <a:lnTo>
                    <a:pt x="981" y="598"/>
                  </a:lnTo>
                  <a:lnTo>
                    <a:pt x="977" y="577"/>
                  </a:lnTo>
                  <a:lnTo>
                    <a:pt x="950" y="565"/>
                  </a:lnTo>
                  <a:lnTo>
                    <a:pt x="919" y="562"/>
                  </a:lnTo>
                  <a:lnTo>
                    <a:pt x="897" y="582"/>
                  </a:lnTo>
                  <a:lnTo>
                    <a:pt x="835" y="594"/>
                  </a:lnTo>
                  <a:lnTo>
                    <a:pt x="765" y="603"/>
                  </a:lnTo>
                  <a:lnTo>
                    <a:pt x="775" y="622"/>
                  </a:lnTo>
                  <a:lnTo>
                    <a:pt x="801" y="632"/>
                  </a:lnTo>
                  <a:lnTo>
                    <a:pt x="770" y="632"/>
                  </a:lnTo>
                  <a:lnTo>
                    <a:pt x="763" y="663"/>
                  </a:lnTo>
                  <a:lnTo>
                    <a:pt x="804" y="678"/>
                  </a:lnTo>
                  <a:lnTo>
                    <a:pt x="792" y="697"/>
                  </a:lnTo>
                  <a:lnTo>
                    <a:pt x="756" y="697"/>
                  </a:lnTo>
                  <a:lnTo>
                    <a:pt x="732" y="682"/>
                  </a:lnTo>
                  <a:lnTo>
                    <a:pt x="681" y="692"/>
                  </a:lnTo>
                  <a:lnTo>
                    <a:pt x="669" y="699"/>
                  </a:lnTo>
                  <a:lnTo>
                    <a:pt x="629" y="682"/>
                  </a:lnTo>
                  <a:lnTo>
                    <a:pt x="588" y="668"/>
                  </a:lnTo>
                  <a:lnTo>
                    <a:pt x="552" y="666"/>
                  </a:lnTo>
                  <a:lnTo>
                    <a:pt x="511" y="697"/>
                  </a:lnTo>
                  <a:lnTo>
                    <a:pt x="525" y="721"/>
                  </a:lnTo>
                  <a:lnTo>
                    <a:pt x="509" y="721"/>
                  </a:lnTo>
                  <a:lnTo>
                    <a:pt x="492" y="704"/>
                  </a:lnTo>
                  <a:lnTo>
                    <a:pt x="480" y="721"/>
                  </a:lnTo>
                  <a:lnTo>
                    <a:pt x="482" y="762"/>
                  </a:lnTo>
                  <a:lnTo>
                    <a:pt x="509" y="783"/>
                  </a:lnTo>
                  <a:lnTo>
                    <a:pt x="523" y="778"/>
                  </a:lnTo>
                  <a:lnTo>
                    <a:pt x="552" y="824"/>
                  </a:lnTo>
                  <a:lnTo>
                    <a:pt x="511" y="841"/>
                  </a:lnTo>
                  <a:lnTo>
                    <a:pt x="506" y="874"/>
                  </a:lnTo>
                  <a:lnTo>
                    <a:pt x="528" y="896"/>
                  </a:lnTo>
                  <a:lnTo>
                    <a:pt x="528" y="920"/>
                  </a:lnTo>
                  <a:lnTo>
                    <a:pt x="561" y="954"/>
                  </a:lnTo>
                  <a:lnTo>
                    <a:pt x="540" y="970"/>
                  </a:lnTo>
                  <a:lnTo>
                    <a:pt x="509" y="946"/>
                  </a:lnTo>
                  <a:lnTo>
                    <a:pt x="465" y="922"/>
                  </a:lnTo>
                  <a:lnTo>
                    <a:pt x="446" y="930"/>
                  </a:lnTo>
                  <a:lnTo>
                    <a:pt x="415" y="910"/>
                  </a:lnTo>
                  <a:lnTo>
                    <a:pt x="348" y="906"/>
                  </a:lnTo>
                  <a:lnTo>
                    <a:pt x="269" y="855"/>
                  </a:lnTo>
                  <a:lnTo>
                    <a:pt x="290" y="846"/>
                  </a:lnTo>
                  <a:lnTo>
                    <a:pt x="305" y="824"/>
                  </a:lnTo>
                  <a:lnTo>
                    <a:pt x="288" y="814"/>
                  </a:lnTo>
                  <a:lnTo>
                    <a:pt x="324" y="800"/>
                  </a:lnTo>
                  <a:lnTo>
                    <a:pt x="300" y="795"/>
                  </a:lnTo>
                  <a:lnTo>
                    <a:pt x="304" y="785"/>
                  </a:lnTo>
                  <a:lnTo>
                    <a:pt x="319" y="787"/>
                  </a:lnTo>
                  <a:lnTo>
                    <a:pt x="336" y="778"/>
                  </a:lnTo>
                  <a:lnTo>
                    <a:pt x="328" y="763"/>
                  </a:lnTo>
                  <a:lnTo>
                    <a:pt x="331" y="728"/>
                  </a:lnTo>
                  <a:lnTo>
                    <a:pt x="295" y="722"/>
                  </a:lnTo>
                  <a:lnTo>
                    <a:pt x="264" y="707"/>
                  </a:lnTo>
                  <a:lnTo>
                    <a:pt x="222" y="706"/>
                  </a:lnTo>
                  <a:lnTo>
                    <a:pt x="217" y="688"/>
                  </a:lnTo>
                  <a:lnTo>
                    <a:pt x="189" y="674"/>
                  </a:lnTo>
                  <a:lnTo>
                    <a:pt x="195" y="662"/>
                  </a:lnTo>
                  <a:lnTo>
                    <a:pt x="178" y="650"/>
                  </a:lnTo>
                  <a:lnTo>
                    <a:pt x="145" y="650"/>
                  </a:lnTo>
                  <a:lnTo>
                    <a:pt x="135" y="659"/>
                  </a:lnTo>
                  <a:lnTo>
                    <a:pt x="127" y="655"/>
                  </a:lnTo>
                  <a:lnTo>
                    <a:pt x="120" y="625"/>
                  </a:lnTo>
                  <a:lnTo>
                    <a:pt x="133" y="628"/>
                  </a:lnTo>
                  <a:lnTo>
                    <a:pt x="148" y="616"/>
                  </a:lnTo>
                  <a:lnTo>
                    <a:pt x="127" y="605"/>
                  </a:lnTo>
                  <a:lnTo>
                    <a:pt x="100" y="584"/>
                  </a:lnTo>
                  <a:lnTo>
                    <a:pt x="106" y="565"/>
                  </a:lnTo>
                  <a:lnTo>
                    <a:pt x="87" y="553"/>
                  </a:lnTo>
                  <a:lnTo>
                    <a:pt x="72" y="556"/>
                  </a:lnTo>
                  <a:lnTo>
                    <a:pt x="64" y="544"/>
                  </a:lnTo>
                  <a:lnTo>
                    <a:pt x="52" y="548"/>
                  </a:lnTo>
                  <a:lnTo>
                    <a:pt x="37" y="544"/>
                  </a:lnTo>
                  <a:lnTo>
                    <a:pt x="22" y="503"/>
                  </a:lnTo>
                  <a:lnTo>
                    <a:pt x="27" y="491"/>
                  </a:lnTo>
                  <a:lnTo>
                    <a:pt x="13" y="475"/>
                  </a:lnTo>
                  <a:lnTo>
                    <a:pt x="21" y="452"/>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 name="Freeform 8">
              <a:extLst>
                <a:ext uri="{FF2B5EF4-FFF2-40B4-BE49-F238E27FC236}">
                  <a16:creationId xmlns:a16="http://schemas.microsoft.com/office/drawing/2014/main" id="{DA96A28F-7E47-EA45-9F7B-8ABB12A28C9C}"/>
                </a:ext>
              </a:extLst>
            </p:cNvPr>
            <p:cNvSpPr>
              <a:spLocks/>
            </p:cNvSpPr>
            <p:nvPr/>
          </p:nvSpPr>
          <p:spPr bwMode="auto">
            <a:xfrm>
              <a:off x="4966" y="2083"/>
              <a:ext cx="71" cy="82"/>
            </a:xfrm>
            <a:custGeom>
              <a:avLst/>
              <a:gdLst>
                <a:gd name="T0" fmla="*/ 39 w 107"/>
                <a:gd name="T1" fmla="*/ 0 h 123"/>
                <a:gd name="T2" fmla="*/ 27 w 107"/>
                <a:gd name="T3" fmla="*/ 8 h 123"/>
                <a:gd name="T4" fmla="*/ 10 w 107"/>
                <a:gd name="T5" fmla="*/ 6 h 123"/>
                <a:gd name="T6" fmla="*/ 4 w 107"/>
                <a:gd name="T7" fmla="*/ 21 h 123"/>
                <a:gd name="T8" fmla="*/ 22 w 107"/>
                <a:gd name="T9" fmla="*/ 44 h 123"/>
                <a:gd name="T10" fmla="*/ 15 w 107"/>
                <a:gd name="T11" fmla="*/ 48 h 123"/>
                <a:gd name="T12" fmla="*/ 18 w 107"/>
                <a:gd name="T13" fmla="*/ 62 h 123"/>
                <a:gd name="T14" fmla="*/ 30 w 107"/>
                <a:gd name="T15" fmla="*/ 78 h 123"/>
                <a:gd name="T16" fmla="*/ 33 w 107"/>
                <a:gd name="T17" fmla="*/ 111 h 123"/>
                <a:gd name="T18" fmla="*/ 42 w 107"/>
                <a:gd name="T19" fmla="*/ 123 h 123"/>
                <a:gd name="T20" fmla="*/ 70 w 107"/>
                <a:gd name="T21" fmla="*/ 108 h 123"/>
                <a:gd name="T22" fmla="*/ 99 w 107"/>
                <a:gd name="T23" fmla="*/ 105 h 123"/>
                <a:gd name="T24" fmla="*/ 100 w 107"/>
                <a:gd name="T25" fmla="*/ 86 h 123"/>
                <a:gd name="T26" fmla="*/ 91 w 107"/>
                <a:gd name="T27" fmla="*/ 66 h 123"/>
                <a:gd name="T28" fmla="*/ 79 w 107"/>
                <a:gd name="T29" fmla="*/ 42 h 123"/>
                <a:gd name="T30" fmla="*/ 67 w 107"/>
                <a:gd name="T31" fmla="*/ 32 h 123"/>
                <a:gd name="T32" fmla="*/ 39 w 107"/>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23">
                  <a:moveTo>
                    <a:pt x="39" y="0"/>
                  </a:moveTo>
                  <a:lnTo>
                    <a:pt x="27" y="8"/>
                  </a:lnTo>
                  <a:lnTo>
                    <a:pt x="10" y="6"/>
                  </a:lnTo>
                  <a:lnTo>
                    <a:pt x="4" y="21"/>
                  </a:lnTo>
                  <a:cubicBezTo>
                    <a:pt x="10" y="28"/>
                    <a:pt x="14" y="38"/>
                    <a:pt x="22" y="44"/>
                  </a:cubicBezTo>
                  <a:cubicBezTo>
                    <a:pt x="26" y="51"/>
                    <a:pt x="20" y="50"/>
                    <a:pt x="15" y="48"/>
                  </a:cubicBezTo>
                  <a:cubicBezTo>
                    <a:pt x="0" y="52"/>
                    <a:pt x="10" y="57"/>
                    <a:pt x="18" y="62"/>
                  </a:cubicBezTo>
                  <a:cubicBezTo>
                    <a:pt x="22" y="68"/>
                    <a:pt x="26" y="72"/>
                    <a:pt x="30" y="78"/>
                  </a:cubicBezTo>
                  <a:cubicBezTo>
                    <a:pt x="29" y="90"/>
                    <a:pt x="25" y="101"/>
                    <a:pt x="33" y="111"/>
                  </a:cubicBezTo>
                  <a:cubicBezTo>
                    <a:pt x="34" y="118"/>
                    <a:pt x="36" y="119"/>
                    <a:pt x="42" y="123"/>
                  </a:cubicBezTo>
                  <a:cubicBezTo>
                    <a:pt x="53" y="121"/>
                    <a:pt x="60" y="112"/>
                    <a:pt x="70" y="108"/>
                  </a:cubicBezTo>
                  <a:cubicBezTo>
                    <a:pt x="79" y="104"/>
                    <a:pt x="89" y="106"/>
                    <a:pt x="99" y="105"/>
                  </a:cubicBezTo>
                  <a:cubicBezTo>
                    <a:pt x="107" y="99"/>
                    <a:pt x="106" y="94"/>
                    <a:pt x="100" y="86"/>
                  </a:cubicBezTo>
                  <a:cubicBezTo>
                    <a:pt x="99" y="79"/>
                    <a:pt x="94" y="72"/>
                    <a:pt x="91" y="66"/>
                  </a:cubicBezTo>
                  <a:cubicBezTo>
                    <a:pt x="90" y="56"/>
                    <a:pt x="88" y="48"/>
                    <a:pt x="79" y="42"/>
                  </a:cubicBezTo>
                  <a:cubicBezTo>
                    <a:pt x="75" y="37"/>
                    <a:pt x="72" y="35"/>
                    <a:pt x="67" y="32"/>
                  </a:cubicBezTo>
                  <a:cubicBezTo>
                    <a:pt x="60" y="20"/>
                    <a:pt x="45" y="13"/>
                    <a:pt x="39"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6" name="Freeform 9">
              <a:extLst>
                <a:ext uri="{FF2B5EF4-FFF2-40B4-BE49-F238E27FC236}">
                  <a16:creationId xmlns:a16="http://schemas.microsoft.com/office/drawing/2014/main" id="{6D08C814-3EAE-A440-9542-C53A9480E50B}"/>
                </a:ext>
              </a:extLst>
            </p:cNvPr>
            <p:cNvSpPr>
              <a:spLocks/>
            </p:cNvSpPr>
            <p:nvPr/>
          </p:nvSpPr>
          <p:spPr bwMode="auto">
            <a:xfrm>
              <a:off x="3505" y="2210"/>
              <a:ext cx="360" cy="309"/>
            </a:xfrm>
            <a:custGeom>
              <a:avLst/>
              <a:gdLst>
                <a:gd name="T0" fmla="*/ 0 w 543"/>
                <a:gd name="T1" fmla="*/ 81 h 466"/>
                <a:gd name="T2" fmla="*/ 2 w 543"/>
                <a:gd name="T3" fmla="*/ 103 h 466"/>
                <a:gd name="T4" fmla="*/ 0 w 543"/>
                <a:gd name="T5" fmla="*/ 118 h 466"/>
                <a:gd name="T6" fmla="*/ 11 w 543"/>
                <a:gd name="T7" fmla="*/ 121 h 466"/>
                <a:gd name="T8" fmla="*/ 63 w 543"/>
                <a:gd name="T9" fmla="*/ 196 h 466"/>
                <a:gd name="T10" fmla="*/ 69 w 543"/>
                <a:gd name="T11" fmla="*/ 211 h 466"/>
                <a:gd name="T12" fmla="*/ 78 w 543"/>
                <a:gd name="T13" fmla="*/ 237 h 466"/>
                <a:gd name="T14" fmla="*/ 93 w 543"/>
                <a:gd name="T15" fmla="*/ 238 h 466"/>
                <a:gd name="T16" fmla="*/ 119 w 543"/>
                <a:gd name="T17" fmla="*/ 277 h 466"/>
                <a:gd name="T18" fmla="*/ 117 w 543"/>
                <a:gd name="T19" fmla="*/ 304 h 466"/>
                <a:gd name="T20" fmla="*/ 123 w 543"/>
                <a:gd name="T21" fmla="*/ 315 h 466"/>
                <a:gd name="T22" fmla="*/ 119 w 543"/>
                <a:gd name="T23" fmla="*/ 327 h 466"/>
                <a:gd name="T24" fmla="*/ 140 w 543"/>
                <a:gd name="T25" fmla="*/ 349 h 466"/>
                <a:gd name="T26" fmla="*/ 153 w 543"/>
                <a:gd name="T27" fmla="*/ 354 h 466"/>
                <a:gd name="T28" fmla="*/ 179 w 543"/>
                <a:gd name="T29" fmla="*/ 391 h 466"/>
                <a:gd name="T30" fmla="*/ 186 w 543"/>
                <a:gd name="T31" fmla="*/ 414 h 466"/>
                <a:gd name="T32" fmla="*/ 210 w 543"/>
                <a:gd name="T33" fmla="*/ 439 h 466"/>
                <a:gd name="T34" fmla="*/ 222 w 543"/>
                <a:gd name="T35" fmla="*/ 466 h 466"/>
                <a:gd name="T36" fmla="*/ 233 w 543"/>
                <a:gd name="T37" fmla="*/ 456 h 466"/>
                <a:gd name="T38" fmla="*/ 231 w 543"/>
                <a:gd name="T39" fmla="*/ 436 h 466"/>
                <a:gd name="T40" fmla="*/ 239 w 543"/>
                <a:gd name="T41" fmla="*/ 429 h 466"/>
                <a:gd name="T42" fmla="*/ 248 w 543"/>
                <a:gd name="T43" fmla="*/ 436 h 466"/>
                <a:gd name="T44" fmla="*/ 276 w 543"/>
                <a:gd name="T45" fmla="*/ 429 h 466"/>
                <a:gd name="T46" fmla="*/ 300 w 543"/>
                <a:gd name="T47" fmla="*/ 441 h 466"/>
                <a:gd name="T48" fmla="*/ 323 w 543"/>
                <a:gd name="T49" fmla="*/ 435 h 466"/>
                <a:gd name="T50" fmla="*/ 333 w 543"/>
                <a:gd name="T51" fmla="*/ 447 h 466"/>
                <a:gd name="T52" fmla="*/ 342 w 543"/>
                <a:gd name="T53" fmla="*/ 435 h 466"/>
                <a:gd name="T54" fmla="*/ 357 w 543"/>
                <a:gd name="T55" fmla="*/ 411 h 466"/>
                <a:gd name="T56" fmla="*/ 384 w 543"/>
                <a:gd name="T57" fmla="*/ 394 h 466"/>
                <a:gd name="T58" fmla="*/ 432 w 543"/>
                <a:gd name="T59" fmla="*/ 391 h 466"/>
                <a:gd name="T60" fmla="*/ 455 w 543"/>
                <a:gd name="T61" fmla="*/ 385 h 466"/>
                <a:gd name="T62" fmla="*/ 528 w 543"/>
                <a:gd name="T63" fmla="*/ 358 h 466"/>
                <a:gd name="T64" fmla="*/ 543 w 543"/>
                <a:gd name="T65" fmla="*/ 295 h 466"/>
                <a:gd name="T66" fmla="*/ 527 w 543"/>
                <a:gd name="T67" fmla="*/ 276 h 466"/>
                <a:gd name="T68" fmla="*/ 461 w 543"/>
                <a:gd name="T69" fmla="*/ 273 h 466"/>
                <a:gd name="T70" fmla="*/ 426 w 543"/>
                <a:gd name="T71" fmla="*/ 223 h 466"/>
                <a:gd name="T72" fmla="*/ 414 w 543"/>
                <a:gd name="T73" fmla="*/ 223 h 466"/>
                <a:gd name="T74" fmla="*/ 398 w 543"/>
                <a:gd name="T75" fmla="*/ 192 h 466"/>
                <a:gd name="T76" fmla="*/ 389 w 543"/>
                <a:gd name="T77" fmla="*/ 187 h 466"/>
                <a:gd name="T78" fmla="*/ 396 w 543"/>
                <a:gd name="T79" fmla="*/ 166 h 466"/>
                <a:gd name="T80" fmla="*/ 371 w 543"/>
                <a:gd name="T81" fmla="*/ 141 h 466"/>
                <a:gd name="T82" fmla="*/ 354 w 543"/>
                <a:gd name="T83" fmla="*/ 132 h 466"/>
                <a:gd name="T84" fmla="*/ 342 w 543"/>
                <a:gd name="T85" fmla="*/ 106 h 466"/>
                <a:gd name="T86" fmla="*/ 321 w 543"/>
                <a:gd name="T87" fmla="*/ 105 h 466"/>
                <a:gd name="T88" fmla="*/ 317 w 543"/>
                <a:gd name="T89" fmla="*/ 91 h 466"/>
                <a:gd name="T90" fmla="*/ 296 w 543"/>
                <a:gd name="T91" fmla="*/ 88 h 466"/>
                <a:gd name="T92" fmla="*/ 246 w 543"/>
                <a:gd name="T93" fmla="*/ 84 h 466"/>
                <a:gd name="T94" fmla="*/ 176 w 543"/>
                <a:gd name="T95" fmla="*/ 25 h 466"/>
                <a:gd name="T96" fmla="*/ 149 w 543"/>
                <a:gd name="T97" fmla="*/ 18 h 466"/>
                <a:gd name="T98" fmla="*/ 137 w 543"/>
                <a:gd name="T99" fmla="*/ 3 h 466"/>
                <a:gd name="T100" fmla="*/ 102 w 543"/>
                <a:gd name="T101" fmla="*/ 0 h 466"/>
                <a:gd name="T102" fmla="*/ 68 w 543"/>
                <a:gd name="T103" fmla="*/ 16 h 466"/>
                <a:gd name="T104" fmla="*/ 53 w 543"/>
                <a:gd name="T105" fmla="*/ 12 h 466"/>
                <a:gd name="T106" fmla="*/ 54 w 543"/>
                <a:gd name="T107" fmla="*/ 28 h 466"/>
                <a:gd name="T108" fmla="*/ 77 w 543"/>
                <a:gd name="T109" fmla="*/ 45 h 466"/>
                <a:gd name="T110" fmla="*/ 65 w 543"/>
                <a:gd name="T111" fmla="*/ 61 h 466"/>
                <a:gd name="T112" fmla="*/ 44 w 543"/>
                <a:gd name="T113" fmla="*/ 67 h 466"/>
                <a:gd name="T114" fmla="*/ 32 w 543"/>
                <a:gd name="T115" fmla="*/ 87 h 466"/>
                <a:gd name="T116" fmla="*/ 0 w 543"/>
                <a:gd name="T117" fmla="*/ 81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3" h="466">
                  <a:moveTo>
                    <a:pt x="0" y="81"/>
                  </a:moveTo>
                  <a:lnTo>
                    <a:pt x="2" y="103"/>
                  </a:lnTo>
                  <a:lnTo>
                    <a:pt x="0" y="118"/>
                  </a:lnTo>
                  <a:lnTo>
                    <a:pt x="11" y="121"/>
                  </a:lnTo>
                  <a:lnTo>
                    <a:pt x="63" y="196"/>
                  </a:lnTo>
                  <a:lnTo>
                    <a:pt x="69" y="211"/>
                  </a:lnTo>
                  <a:lnTo>
                    <a:pt x="78" y="237"/>
                  </a:lnTo>
                  <a:lnTo>
                    <a:pt x="93" y="238"/>
                  </a:lnTo>
                  <a:lnTo>
                    <a:pt x="119" y="277"/>
                  </a:lnTo>
                  <a:lnTo>
                    <a:pt x="117" y="304"/>
                  </a:lnTo>
                  <a:lnTo>
                    <a:pt x="123" y="315"/>
                  </a:lnTo>
                  <a:lnTo>
                    <a:pt x="119" y="327"/>
                  </a:lnTo>
                  <a:lnTo>
                    <a:pt x="140" y="349"/>
                  </a:lnTo>
                  <a:lnTo>
                    <a:pt x="153" y="354"/>
                  </a:lnTo>
                  <a:lnTo>
                    <a:pt x="179" y="391"/>
                  </a:lnTo>
                  <a:lnTo>
                    <a:pt x="186" y="414"/>
                  </a:lnTo>
                  <a:lnTo>
                    <a:pt x="210" y="439"/>
                  </a:lnTo>
                  <a:lnTo>
                    <a:pt x="222" y="466"/>
                  </a:lnTo>
                  <a:lnTo>
                    <a:pt x="233" y="456"/>
                  </a:lnTo>
                  <a:lnTo>
                    <a:pt x="231" y="436"/>
                  </a:lnTo>
                  <a:lnTo>
                    <a:pt x="239" y="429"/>
                  </a:lnTo>
                  <a:lnTo>
                    <a:pt x="248" y="436"/>
                  </a:lnTo>
                  <a:lnTo>
                    <a:pt x="276" y="429"/>
                  </a:lnTo>
                  <a:lnTo>
                    <a:pt x="300" y="441"/>
                  </a:lnTo>
                  <a:lnTo>
                    <a:pt x="323" y="435"/>
                  </a:lnTo>
                  <a:lnTo>
                    <a:pt x="333" y="447"/>
                  </a:lnTo>
                  <a:lnTo>
                    <a:pt x="342" y="435"/>
                  </a:lnTo>
                  <a:lnTo>
                    <a:pt x="357" y="411"/>
                  </a:lnTo>
                  <a:lnTo>
                    <a:pt x="384" y="394"/>
                  </a:lnTo>
                  <a:lnTo>
                    <a:pt x="432" y="391"/>
                  </a:lnTo>
                  <a:lnTo>
                    <a:pt x="455" y="385"/>
                  </a:lnTo>
                  <a:lnTo>
                    <a:pt x="528" y="358"/>
                  </a:lnTo>
                  <a:lnTo>
                    <a:pt x="543" y="295"/>
                  </a:lnTo>
                  <a:lnTo>
                    <a:pt x="527" y="276"/>
                  </a:lnTo>
                  <a:lnTo>
                    <a:pt x="461" y="273"/>
                  </a:lnTo>
                  <a:lnTo>
                    <a:pt x="426" y="223"/>
                  </a:lnTo>
                  <a:lnTo>
                    <a:pt x="414" y="223"/>
                  </a:lnTo>
                  <a:lnTo>
                    <a:pt x="398" y="192"/>
                  </a:lnTo>
                  <a:lnTo>
                    <a:pt x="389" y="187"/>
                  </a:lnTo>
                  <a:lnTo>
                    <a:pt x="396" y="166"/>
                  </a:lnTo>
                  <a:lnTo>
                    <a:pt x="371" y="141"/>
                  </a:lnTo>
                  <a:lnTo>
                    <a:pt x="354" y="132"/>
                  </a:lnTo>
                  <a:lnTo>
                    <a:pt x="342" y="106"/>
                  </a:lnTo>
                  <a:lnTo>
                    <a:pt x="321" y="105"/>
                  </a:lnTo>
                  <a:lnTo>
                    <a:pt x="317" y="91"/>
                  </a:lnTo>
                  <a:lnTo>
                    <a:pt x="296" y="88"/>
                  </a:lnTo>
                  <a:lnTo>
                    <a:pt x="246" y="84"/>
                  </a:lnTo>
                  <a:lnTo>
                    <a:pt x="176" y="25"/>
                  </a:lnTo>
                  <a:lnTo>
                    <a:pt x="149" y="18"/>
                  </a:lnTo>
                  <a:lnTo>
                    <a:pt x="137" y="3"/>
                  </a:lnTo>
                  <a:lnTo>
                    <a:pt x="102" y="0"/>
                  </a:lnTo>
                  <a:lnTo>
                    <a:pt x="68" y="16"/>
                  </a:lnTo>
                  <a:lnTo>
                    <a:pt x="53" y="12"/>
                  </a:lnTo>
                  <a:lnTo>
                    <a:pt x="54" y="28"/>
                  </a:lnTo>
                  <a:lnTo>
                    <a:pt x="77" y="45"/>
                  </a:lnTo>
                  <a:lnTo>
                    <a:pt x="65" y="61"/>
                  </a:lnTo>
                  <a:lnTo>
                    <a:pt x="44" y="67"/>
                  </a:lnTo>
                  <a:lnTo>
                    <a:pt x="32" y="87"/>
                  </a:lnTo>
                  <a:lnTo>
                    <a:pt x="0" y="81"/>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grpSp>
          <p:nvGrpSpPr>
            <p:cNvPr id="27" name="Group 10">
              <a:extLst>
                <a:ext uri="{FF2B5EF4-FFF2-40B4-BE49-F238E27FC236}">
                  <a16:creationId xmlns:a16="http://schemas.microsoft.com/office/drawing/2014/main" id="{3B59136C-9FE4-BD42-84BD-3A6D4677DE59}"/>
                </a:ext>
              </a:extLst>
            </p:cNvPr>
            <p:cNvGrpSpPr>
              <a:grpSpLocks/>
            </p:cNvGrpSpPr>
            <p:nvPr/>
          </p:nvGrpSpPr>
          <p:grpSpPr bwMode="auto">
            <a:xfrm>
              <a:off x="4806" y="3036"/>
              <a:ext cx="685" cy="659"/>
              <a:chOff x="7180" y="4638"/>
              <a:chExt cx="1033" cy="994"/>
            </a:xfrm>
            <a:grpFill/>
          </p:grpSpPr>
          <p:sp>
            <p:nvSpPr>
              <p:cNvPr id="328" name="Freeform 11">
                <a:extLst>
                  <a:ext uri="{FF2B5EF4-FFF2-40B4-BE49-F238E27FC236}">
                    <a16:creationId xmlns:a16="http://schemas.microsoft.com/office/drawing/2014/main" id="{6A6EE686-8E45-0F4E-9261-DC6517810C7A}"/>
                  </a:ext>
                </a:extLst>
              </p:cNvPr>
              <p:cNvSpPr>
                <a:spLocks/>
              </p:cNvSpPr>
              <p:nvPr/>
            </p:nvSpPr>
            <p:spPr bwMode="auto">
              <a:xfrm>
                <a:off x="7794" y="5538"/>
                <a:ext cx="108" cy="94"/>
              </a:xfrm>
              <a:custGeom>
                <a:avLst/>
                <a:gdLst>
                  <a:gd name="T0" fmla="*/ 108 w 108"/>
                  <a:gd name="T1" fmla="*/ 6 h 94"/>
                  <a:gd name="T2" fmla="*/ 90 w 108"/>
                  <a:gd name="T3" fmla="*/ 5 h 94"/>
                  <a:gd name="T4" fmla="*/ 69 w 108"/>
                  <a:gd name="T5" fmla="*/ 15 h 94"/>
                  <a:gd name="T6" fmla="*/ 29 w 108"/>
                  <a:gd name="T7" fmla="*/ 0 h 94"/>
                  <a:gd name="T8" fmla="*/ 8 w 108"/>
                  <a:gd name="T9" fmla="*/ 17 h 94"/>
                  <a:gd name="T10" fmla="*/ 12 w 108"/>
                  <a:gd name="T11" fmla="*/ 35 h 94"/>
                  <a:gd name="T12" fmla="*/ 0 w 108"/>
                  <a:gd name="T13" fmla="*/ 66 h 94"/>
                  <a:gd name="T14" fmla="*/ 14 w 108"/>
                  <a:gd name="T15" fmla="*/ 93 h 94"/>
                  <a:gd name="T16" fmla="*/ 32 w 108"/>
                  <a:gd name="T17" fmla="*/ 92 h 94"/>
                  <a:gd name="T18" fmla="*/ 45 w 108"/>
                  <a:gd name="T19" fmla="*/ 81 h 94"/>
                  <a:gd name="T20" fmla="*/ 74 w 108"/>
                  <a:gd name="T21" fmla="*/ 63 h 94"/>
                  <a:gd name="T22" fmla="*/ 86 w 108"/>
                  <a:gd name="T23" fmla="*/ 51 h 94"/>
                  <a:gd name="T24" fmla="*/ 98 w 108"/>
                  <a:gd name="T25" fmla="*/ 32 h 94"/>
                  <a:gd name="T26" fmla="*/ 108 w 108"/>
                  <a:gd name="T2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94">
                    <a:moveTo>
                      <a:pt x="108" y="6"/>
                    </a:moveTo>
                    <a:cubicBezTo>
                      <a:pt x="99" y="5"/>
                      <a:pt x="99" y="3"/>
                      <a:pt x="90" y="5"/>
                    </a:cubicBezTo>
                    <a:cubicBezTo>
                      <a:pt x="83" y="10"/>
                      <a:pt x="78" y="14"/>
                      <a:pt x="69" y="15"/>
                    </a:cubicBezTo>
                    <a:cubicBezTo>
                      <a:pt x="47" y="22"/>
                      <a:pt x="44" y="8"/>
                      <a:pt x="29" y="0"/>
                    </a:cubicBezTo>
                    <a:cubicBezTo>
                      <a:pt x="19" y="3"/>
                      <a:pt x="13" y="8"/>
                      <a:pt x="8" y="17"/>
                    </a:cubicBezTo>
                    <a:cubicBezTo>
                      <a:pt x="9" y="24"/>
                      <a:pt x="11" y="28"/>
                      <a:pt x="12" y="35"/>
                    </a:cubicBezTo>
                    <a:cubicBezTo>
                      <a:pt x="11" y="49"/>
                      <a:pt x="5" y="54"/>
                      <a:pt x="0" y="66"/>
                    </a:cubicBezTo>
                    <a:cubicBezTo>
                      <a:pt x="1" y="79"/>
                      <a:pt x="0" y="90"/>
                      <a:pt x="14" y="93"/>
                    </a:cubicBezTo>
                    <a:cubicBezTo>
                      <a:pt x="20" y="93"/>
                      <a:pt x="26" y="94"/>
                      <a:pt x="32" y="92"/>
                    </a:cubicBezTo>
                    <a:cubicBezTo>
                      <a:pt x="34" y="91"/>
                      <a:pt x="42" y="83"/>
                      <a:pt x="45" y="81"/>
                    </a:cubicBezTo>
                    <a:cubicBezTo>
                      <a:pt x="54" y="75"/>
                      <a:pt x="65" y="70"/>
                      <a:pt x="74" y="63"/>
                    </a:cubicBezTo>
                    <a:cubicBezTo>
                      <a:pt x="79" y="59"/>
                      <a:pt x="80" y="54"/>
                      <a:pt x="86" y="51"/>
                    </a:cubicBezTo>
                    <a:cubicBezTo>
                      <a:pt x="87" y="44"/>
                      <a:pt x="93" y="38"/>
                      <a:pt x="98" y="32"/>
                    </a:cubicBezTo>
                    <a:cubicBezTo>
                      <a:pt x="100" y="23"/>
                      <a:pt x="104" y="14"/>
                      <a:pt x="108" y="6"/>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9" name="Freeform 12">
                <a:extLst>
                  <a:ext uri="{FF2B5EF4-FFF2-40B4-BE49-F238E27FC236}">
                    <a16:creationId xmlns:a16="http://schemas.microsoft.com/office/drawing/2014/main" id="{B5DA842A-A2DE-2C48-B9A8-29D0E63F88ED}"/>
                  </a:ext>
                </a:extLst>
              </p:cNvPr>
              <p:cNvSpPr>
                <a:spLocks/>
              </p:cNvSpPr>
              <p:nvPr/>
            </p:nvSpPr>
            <p:spPr bwMode="auto">
              <a:xfrm>
                <a:off x="7180" y="4638"/>
                <a:ext cx="1033" cy="854"/>
              </a:xfrm>
              <a:custGeom>
                <a:avLst/>
                <a:gdLst>
                  <a:gd name="T0" fmla="*/ 863 w 1033"/>
                  <a:gd name="T1" fmla="*/ 60 h 854"/>
                  <a:gd name="T2" fmla="*/ 901 w 1033"/>
                  <a:gd name="T3" fmla="*/ 141 h 854"/>
                  <a:gd name="T4" fmla="*/ 943 w 1033"/>
                  <a:gd name="T5" fmla="*/ 284 h 854"/>
                  <a:gd name="T6" fmla="*/ 970 w 1033"/>
                  <a:gd name="T7" fmla="*/ 347 h 854"/>
                  <a:gd name="T8" fmla="*/ 1001 w 1033"/>
                  <a:gd name="T9" fmla="*/ 377 h 854"/>
                  <a:gd name="T10" fmla="*/ 1033 w 1033"/>
                  <a:gd name="T11" fmla="*/ 456 h 854"/>
                  <a:gd name="T12" fmla="*/ 968 w 1033"/>
                  <a:gd name="T13" fmla="*/ 639 h 854"/>
                  <a:gd name="T14" fmla="*/ 887 w 1033"/>
                  <a:gd name="T15" fmla="*/ 714 h 854"/>
                  <a:gd name="T16" fmla="*/ 823 w 1033"/>
                  <a:gd name="T17" fmla="*/ 786 h 854"/>
                  <a:gd name="T18" fmla="*/ 766 w 1033"/>
                  <a:gd name="T19" fmla="*/ 816 h 854"/>
                  <a:gd name="T20" fmla="*/ 716 w 1033"/>
                  <a:gd name="T21" fmla="*/ 849 h 854"/>
                  <a:gd name="T22" fmla="*/ 688 w 1033"/>
                  <a:gd name="T23" fmla="*/ 833 h 854"/>
                  <a:gd name="T24" fmla="*/ 608 w 1033"/>
                  <a:gd name="T25" fmla="*/ 836 h 854"/>
                  <a:gd name="T26" fmla="*/ 584 w 1033"/>
                  <a:gd name="T27" fmla="*/ 783 h 854"/>
                  <a:gd name="T28" fmla="*/ 551 w 1033"/>
                  <a:gd name="T29" fmla="*/ 756 h 854"/>
                  <a:gd name="T30" fmla="*/ 565 w 1033"/>
                  <a:gd name="T31" fmla="*/ 719 h 854"/>
                  <a:gd name="T32" fmla="*/ 557 w 1033"/>
                  <a:gd name="T33" fmla="*/ 713 h 854"/>
                  <a:gd name="T34" fmla="*/ 581 w 1033"/>
                  <a:gd name="T35" fmla="*/ 672 h 854"/>
                  <a:gd name="T36" fmla="*/ 500 w 1033"/>
                  <a:gd name="T37" fmla="*/ 741 h 854"/>
                  <a:gd name="T38" fmla="*/ 496 w 1033"/>
                  <a:gd name="T39" fmla="*/ 666 h 854"/>
                  <a:gd name="T40" fmla="*/ 443 w 1033"/>
                  <a:gd name="T41" fmla="*/ 641 h 854"/>
                  <a:gd name="T42" fmla="*/ 362 w 1033"/>
                  <a:gd name="T43" fmla="*/ 645 h 854"/>
                  <a:gd name="T44" fmla="*/ 254 w 1033"/>
                  <a:gd name="T45" fmla="*/ 666 h 854"/>
                  <a:gd name="T46" fmla="*/ 218 w 1033"/>
                  <a:gd name="T47" fmla="*/ 702 h 854"/>
                  <a:gd name="T48" fmla="*/ 116 w 1033"/>
                  <a:gd name="T49" fmla="*/ 711 h 854"/>
                  <a:gd name="T50" fmla="*/ 38 w 1033"/>
                  <a:gd name="T51" fmla="*/ 737 h 854"/>
                  <a:gd name="T52" fmla="*/ 31 w 1033"/>
                  <a:gd name="T53" fmla="*/ 687 h 854"/>
                  <a:gd name="T54" fmla="*/ 37 w 1033"/>
                  <a:gd name="T55" fmla="*/ 539 h 854"/>
                  <a:gd name="T56" fmla="*/ 17 w 1033"/>
                  <a:gd name="T57" fmla="*/ 456 h 854"/>
                  <a:gd name="T58" fmla="*/ 32 w 1033"/>
                  <a:gd name="T59" fmla="*/ 467 h 854"/>
                  <a:gd name="T60" fmla="*/ 55 w 1033"/>
                  <a:gd name="T61" fmla="*/ 473 h 854"/>
                  <a:gd name="T62" fmla="*/ 49 w 1033"/>
                  <a:gd name="T63" fmla="*/ 413 h 854"/>
                  <a:gd name="T64" fmla="*/ 76 w 1033"/>
                  <a:gd name="T65" fmla="*/ 363 h 854"/>
                  <a:gd name="T66" fmla="*/ 175 w 1033"/>
                  <a:gd name="T67" fmla="*/ 314 h 854"/>
                  <a:gd name="T68" fmla="*/ 268 w 1033"/>
                  <a:gd name="T69" fmla="*/ 282 h 854"/>
                  <a:gd name="T70" fmla="*/ 331 w 1033"/>
                  <a:gd name="T71" fmla="*/ 210 h 854"/>
                  <a:gd name="T72" fmla="*/ 368 w 1033"/>
                  <a:gd name="T73" fmla="*/ 183 h 854"/>
                  <a:gd name="T74" fmla="*/ 380 w 1033"/>
                  <a:gd name="T75" fmla="*/ 149 h 854"/>
                  <a:gd name="T76" fmla="*/ 413 w 1033"/>
                  <a:gd name="T77" fmla="*/ 116 h 854"/>
                  <a:gd name="T78" fmla="*/ 455 w 1033"/>
                  <a:gd name="T79" fmla="*/ 123 h 854"/>
                  <a:gd name="T80" fmla="*/ 478 w 1033"/>
                  <a:gd name="T81" fmla="*/ 144 h 854"/>
                  <a:gd name="T82" fmla="*/ 503 w 1033"/>
                  <a:gd name="T83" fmla="*/ 119 h 854"/>
                  <a:gd name="T84" fmla="*/ 587 w 1033"/>
                  <a:gd name="T85" fmla="*/ 63 h 854"/>
                  <a:gd name="T86" fmla="*/ 593 w 1033"/>
                  <a:gd name="T87" fmla="*/ 27 h 854"/>
                  <a:gd name="T88" fmla="*/ 653 w 1033"/>
                  <a:gd name="T89" fmla="*/ 65 h 854"/>
                  <a:gd name="T90" fmla="*/ 670 w 1033"/>
                  <a:gd name="T91" fmla="*/ 98 h 854"/>
                  <a:gd name="T92" fmla="*/ 676 w 1033"/>
                  <a:gd name="T93" fmla="*/ 165 h 854"/>
                  <a:gd name="T94" fmla="*/ 754 w 1033"/>
                  <a:gd name="T95" fmla="*/ 225 h 854"/>
                  <a:gd name="T96" fmla="*/ 808 w 1033"/>
                  <a:gd name="T97" fmla="*/ 147 h 854"/>
                  <a:gd name="T98" fmla="*/ 832 w 1033"/>
                  <a:gd name="T99" fmla="*/ 51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3" h="854">
                    <a:moveTo>
                      <a:pt x="848" y="0"/>
                    </a:moveTo>
                    <a:cubicBezTo>
                      <a:pt x="851" y="18"/>
                      <a:pt x="851" y="13"/>
                      <a:pt x="856" y="26"/>
                    </a:cubicBezTo>
                    <a:cubicBezTo>
                      <a:pt x="857" y="43"/>
                      <a:pt x="852" y="51"/>
                      <a:pt x="863" y="60"/>
                    </a:cubicBezTo>
                    <a:cubicBezTo>
                      <a:pt x="871" y="83"/>
                      <a:pt x="860" y="111"/>
                      <a:pt x="871" y="132"/>
                    </a:cubicBezTo>
                    <a:cubicBezTo>
                      <a:pt x="879" y="122"/>
                      <a:pt x="874" y="124"/>
                      <a:pt x="883" y="122"/>
                    </a:cubicBezTo>
                    <a:cubicBezTo>
                      <a:pt x="894" y="124"/>
                      <a:pt x="895" y="133"/>
                      <a:pt x="901" y="141"/>
                    </a:cubicBezTo>
                    <a:cubicBezTo>
                      <a:pt x="903" y="151"/>
                      <a:pt x="906" y="162"/>
                      <a:pt x="910" y="171"/>
                    </a:cubicBezTo>
                    <a:cubicBezTo>
                      <a:pt x="913" y="204"/>
                      <a:pt x="898" y="249"/>
                      <a:pt x="926" y="270"/>
                    </a:cubicBezTo>
                    <a:cubicBezTo>
                      <a:pt x="930" y="277"/>
                      <a:pt x="936" y="280"/>
                      <a:pt x="943" y="284"/>
                    </a:cubicBezTo>
                    <a:cubicBezTo>
                      <a:pt x="951" y="295"/>
                      <a:pt x="947" y="291"/>
                      <a:pt x="955" y="297"/>
                    </a:cubicBezTo>
                    <a:cubicBezTo>
                      <a:pt x="958" y="302"/>
                      <a:pt x="964" y="314"/>
                      <a:pt x="964" y="314"/>
                    </a:cubicBezTo>
                    <a:cubicBezTo>
                      <a:pt x="966" y="324"/>
                      <a:pt x="966" y="338"/>
                      <a:pt x="970" y="347"/>
                    </a:cubicBezTo>
                    <a:cubicBezTo>
                      <a:pt x="971" y="353"/>
                      <a:pt x="973" y="359"/>
                      <a:pt x="974" y="365"/>
                    </a:cubicBezTo>
                    <a:cubicBezTo>
                      <a:pt x="983" y="361"/>
                      <a:pt x="984" y="361"/>
                      <a:pt x="994" y="363"/>
                    </a:cubicBezTo>
                    <a:cubicBezTo>
                      <a:pt x="998" y="368"/>
                      <a:pt x="1000" y="371"/>
                      <a:pt x="1001" y="377"/>
                    </a:cubicBezTo>
                    <a:cubicBezTo>
                      <a:pt x="1002" y="386"/>
                      <a:pt x="1002" y="396"/>
                      <a:pt x="1003" y="405"/>
                    </a:cubicBezTo>
                    <a:cubicBezTo>
                      <a:pt x="1005" y="415"/>
                      <a:pt x="1021" y="428"/>
                      <a:pt x="1027" y="437"/>
                    </a:cubicBezTo>
                    <a:cubicBezTo>
                      <a:pt x="1028" y="443"/>
                      <a:pt x="1030" y="450"/>
                      <a:pt x="1033" y="456"/>
                    </a:cubicBezTo>
                    <a:cubicBezTo>
                      <a:pt x="1032" y="464"/>
                      <a:pt x="1032" y="473"/>
                      <a:pt x="1028" y="480"/>
                    </a:cubicBezTo>
                    <a:cubicBezTo>
                      <a:pt x="1023" y="505"/>
                      <a:pt x="1023" y="533"/>
                      <a:pt x="1016" y="558"/>
                    </a:cubicBezTo>
                    <a:cubicBezTo>
                      <a:pt x="1013" y="589"/>
                      <a:pt x="986" y="615"/>
                      <a:pt x="968" y="639"/>
                    </a:cubicBezTo>
                    <a:cubicBezTo>
                      <a:pt x="965" y="654"/>
                      <a:pt x="943" y="674"/>
                      <a:pt x="929" y="680"/>
                    </a:cubicBezTo>
                    <a:cubicBezTo>
                      <a:pt x="924" y="685"/>
                      <a:pt x="917" y="691"/>
                      <a:pt x="911" y="695"/>
                    </a:cubicBezTo>
                    <a:cubicBezTo>
                      <a:pt x="907" y="702"/>
                      <a:pt x="895" y="712"/>
                      <a:pt x="887" y="714"/>
                    </a:cubicBezTo>
                    <a:cubicBezTo>
                      <a:pt x="874" y="723"/>
                      <a:pt x="866" y="738"/>
                      <a:pt x="853" y="747"/>
                    </a:cubicBezTo>
                    <a:cubicBezTo>
                      <a:pt x="847" y="758"/>
                      <a:pt x="841" y="768"/>
                      <a:pt x="832" y="777"/>
                    </a:cubicBezTo>
                    <a:cubicBezTo>
                      <a:pt x="829" y="780"/>
                      <a:pt x="823" y="786"/>
                      <a:pt x="823" y="786"/>
                    </a:cubicBezTo>
                    <a:cubicBezTo>
                      <a:pt x="820" y="794"/>
                      <a:pt x="816" y="800"/>
                      <a:pt x="811" y="807"/>
                    </a:cubicBezTo>
                    <a:cubicBezTo>
                      <a:pt x="809" y="814"/>
                      <a:pt x="807" y="815"/>
                      <a:pt x="800" y="818"/>
                    </a:cubicBezTo>
                    <a:cubicBezTo>
                      <a:pt x="787" y="814"/>
                      <a:pt x="782" y="815"/>
                      <a:pt x="766" y="816"/>
                    </a:cubicBezTo>
                    <a:cubicBezTo>
                      <a:pt x="760" y="818"/>
                      <a:pt x="755" y="821"/>
                      <a:pt x="749" y="822"/>
                    </a:cubicBezTo>
                    <a:cubicBezTo>
                      <a:pt x="744" y="826"/>
                      <a:pt x="734" y="834"/>
                      <a:pt x="734" y="834"/>
                    </a:cubicBezTo>
                    <a:cubicBezTo>
                      <a:pt x="732" y="844"/>
                      <a:pt x="725" y="847"/>
                      <a:pt x="716" y="849"/>
                    </a:cubicBezTo>
                    <a:cubicBezTo>
                      <a:pt x="712" y="851"/>
                      <a:pt x="707" y="852"/>
                      <a:pt x="703" y="854"/>
                    </a:cubicBezTo>
                    <a:cubicBezTo>
                      <a:pt x="697" y="852"/>
                      <a:pt x="695" y="850"/>
                      <a:pt x="692" y="845"/>
                    </a:cubicBezTo>
                    <a:cubicBezTo>
                      <a:pt x="696" y="838"/>
                      <a:pt x="693" y="839"/>
                      <a:pt x="688" y="833"/>
                    </a:cubicBezTo>
                    <a:cubicBezTo>
                      <a:pt x="690" y="822"/>
                      <a:pt x="701" y="817"/>
                      <a:pt x="685" y="819"/>
                    </a:cubicBezTo>
                    <a:cubicBezTo>
                      <a:pt x="669" y="829"/>
                      <a:pt x="654" y="842"/>
                      <a:pt x="637" y="851"/>
                    </a:cubicBezTo>
                    <a:cubicBezTo>
                      <a:pt x="628" y="845"/>
                      <a:pt x="619" y="838"/>
                      <a:pt x="608" y="836"/>
                    </a:cubicBezTo>
                    <a:cubicBezTo>
                      <a:pt x="601" y="832"/>
                      <a:pt x="592" y="831"/>
                      <a:pt x="584" y="830"/>
                    </a:cubicBezTo>
                    <a:cubicBezTo>
                      <a:pt x="581" y="825"/>
                      <a:pt x="581" y="820"/>
                      <a:pt x="578" y="815"/>
                    </a:cubicBezTo>
                    <a:cubicBezTo>
                      <a:pt x="575" y="801"/>
                      <a:pt x="578" y="794"/>
                      <a:pt x="584" y="783"/>
                    </a:cubicBezTo>
                    <a:cubicBezTo>
                      <a:pt x="587" y="778"/>
                      <a:pt x="592" y="767"/>
                      <a:pt x="592" y="767"/>
                    </a:cubicBezTo>
                    <a:cubicBezTo>
                      <a:pt x="590" y="759"/>
                      <a:pt x="589" y="755"/>
                      <a:pt x="583" y="750"/>
                    </a:cubicBezTo>
                    <a:cubicBezTo>
                      <a:pt x="572" y="752"/>
                      <a:pt x="562" y="754"/>
                      <a:pt x="551" y="756"/>
                    </a:cubicBezTo>
                    <a:cubicBezTo>
                      <a:pt x="557" y="751"/>
                      <a:pt x="561" y="744"/>
                      <a:pt x="568" y="740"/>
                    </a:cubicBezTo>
                    <a:cubicBezTo>
                      <a:pt x="572" y="734"/>
                      <a:pt x="575" y="733"/>
                      <a:pt x="577" y="726"/>
                    </a:cubicBezTo>
                    <a:cubicBezTo>
                      <a:pt x="575" y="712"/>
                      <a:pt x="575" y="712"/>
                      <a:pt x="565" y="719"/>
                    </a:cubicBezTo>
                    <a:cubicBezTo>
                      <a:pt x="554" y="742"/>
                      <a:pt x="551" y="742"/>
                      <a:pt x="527" y="747"/>
                    </a:cubicBezTo>
                    <a:cubicBezTo>
                      <a:pt x="529" y="736"/>
                      <a:pt x="533" y="733"/>
                      <a:pt x="544" y="731"/>
                    </a:cubicBezTo>
                    <a:cubicBezTo>
                      <a:pt x="552" y="727"/>
                      <a:pt x="550" y="718"/>
                      <a:pt x="557" y="713"/>
                    </a:cubicBezTo>
                    <a:cubicBezTo>
                      <a:pt x="561" y="706"/>
                      <a:pt x="569" y="698"/>
                      <a:pt x="575" y="692"/>
                    </a:cubicBezTo>
                    <a:cubicBezTo>
                      <a:pt x="577" y="687"/>
                      <a:pt x="578" y="682"/>
                      <a:pt x="580" y="677"/>
                    </a:cubicBezTo>
                    <a:cubicBezTo>
                      <a:pt x="580" y="675"/>
                      <a:pt x="582" y="673"/>
                      <a:pt x="581" y="672"/>
                    </a:cubicBezTo>
                    <a:cubicBezTo>
                      <a:pt x="577" y="668"/>
                      <a:pt x="568" y="681"/>
                      <a:pt x="568" y="681"/>
                    </a:cubicBezTo>
                    <a:cubicBezTo>
                      <a:pt x="560" y="700"/>
                      <a:pt x="536" y="705"/>
                      <a:pt x="521" y="716"/>
                    </a:cubicBezTo>
                    <a:cubicBezTo>
                      <a:pt x="512" y="723"/>
                      <a:pt x="510" y="735"/>
                      <a:pt x="500" y="741"/>
                    </a:cubicBezTo>
                    <a:cubicBezTo>
                      <a:pt x="498" y="730"/>
                      <a:pt x="501" y="726"/>
                      <a:pt x="506" y="717"/>
                    </a:cubicBezTo>
                    <a:cubicBezTo>
                      <a:pt x="505" y="703"/>
                      <a:pt x="510" y="689"/>
                      <a:pt x="494" y="686"/>
                    </a:cubicBezTo>
                    <a:cubicBezTo>
                      <a:pt x="489" y="678"/>
                      <a:pt x="492" y="673"/>
                      <a:pt x="496" y="666"/>
                    </a:cubicBezTo>
                    <a:cubicBezTo>
                      <a:pt x="490" y="654"/>
                      <a:pt x="490" y="655"/>
                      <a:pt x="476" y="653"/>
                    </a:cubicBezTo>
                    <a:cubicBezTo>
                      <a:pt x="466" y="648"/>
                      <a:pt x="468" y="649"/>
                      <a:pt x="458" y="653"/>
                    </a:cubicBezTo>
                    <a:cubicBezTo>
                      <a:pt x="450" y="649"/>
                      <a:pt x="452" y="642"/>
                      <a:pt x="443" y="641"/>
                    </a:cubicBezTo>
                    <a:cubicBezTo>
                      <a:pt x="431" y="632"/>
                      <a:pt x="432" y="633"/>
                      <a:pt x="416" y="630"/>
                    </a:cubicBezTo>
                    <a:cubicBezTo>
                      <a:pt x="406" y="631"/>
                      <a:pt x="395" y="630"/>
                      <a:pt x="385" y="633"/>
                    </a:cubicBezTo>
                    <a:cubicBezTo>
                      <a:pt x="376" y="635"/>
                      <a:pt x="371" y="643"/>
                      <a:pt x="362" y="645"/>
                    </a:cubicBezTo>
                    <a:cubicBezTo>
                      <a:pt x="357" y="649"/>
                      <a:pt x="353" y="650"/>
                      <a:pt x="347" y="651"/>
                    </a:cubicBezTo>
                    <a:cubicBezTo>
                      <a:pt x="323" y="663"/>
                      <a:pt x="298" y="661"/>
                      <a:pt x="271" y="662"/>
                    </a:cubicBezTo>
                    <a:cubicBezTo>
                      <a:pt x="265" y="663"/>
                      <a:pt x="260" y="665"/>
                      <a:pt x="254" y="666"/>
                    </a:cubicBezTo>
                    <a:cubicBezTo>
                      <a:pt x="249" y="670"/>
                      <a:pt x="248" y="673"/>
                      <a:pt x="245" y="678"/>
                    </a:cubicBezTo>
                    <a:cubicBezTo>
                      <a:pt x="244" y="685"/>
                      <a:pt x="242" y="688"/>
                      <a:pt x="236" y="693"/>
                    </a:cubicBezTo>
                    <a:cubicBezTo>
                      <a:pt x="232" y="699"/>
                      <a:pt x="225" y="701"/>
                      <a:pt x="218" y="702"/>
                    </a:cubicBezTo>
                    <a:cubicBezTo>
                      <a:pt x="203" y="701"/>
                      <a:pt x="196" y="700"/>
                      <a:pt x="182" y="698"/>
                    </a:cubicBezTo>
                    <a:cubicBezTo>
                      <a:pt x="164" y="699"/>
                      <a:pt x="151" y="702"/>
                      <a:pt x="134" y="705"/>
                    </a:cubicBezTo>
                    <a:cubicBezTo>
                      <a:pt x="128" y="708"/>
                      <a:pt x="122" y="710"/>
                      <a:pt x="116" y="711"/>
                    </a:cubicBezTo>
                    <a:cubicBezTo>
                      <a:pt x="105" y="717"/>
                      <a:pt x="98" y="727"/>
                      <a:pt x="86" y="729"/>
                    </a:cubicBezTo>
                    <a:cubicBezTo>
                      <a:pt x="80" y="732"/>
                      <a:pt x="74" y="734"/>
                      <a:pt x="68" y="735"/>
                    </a:cubicBezTo>
                    <a:cubicBezTo>
                      <a:pt x="58" y="740"/>
                      <a:pt x="50" y="738"/>
                      <a:pt x="38" y="737"/>
                    </a:cubicBezTo>
                    <a:cubicBezTo>
                      <a:pt x="24" y="730"/>
                      <a:pt x="19" y="717"/>
                      <a:pt x="5" y="711"/>
                    </a:cubicBezTo>
                    <a:cubicBezTo>
                      <a:pt x="0" y="701"/>
                      <a:pt x="3" y="697"/>
                      <a:pt x="13" y="695"/>
                    </a:cubicBezTo>
                    <a:cubicBezTo>
                      <a:pt x="19" y="692"/>
                      <a:pt x="25" y="689"/>
                      <a:pt x="31" y="687"/>
                    </a:cubicBezTo>
                    <a:cubicBezTo>
                      <a:pt x="38" y="678"/>
                      <a:pt x="37" y="668"/>
                      <a:pt x="40" y="657"/>
                    </a:cubicBezTo>
                    <a:cubicBezTo>
                      <a:pt x="43" y="627"/>
                      <a:pt x="31" y="586"/>
                      <a:pt x="46" y="557"/>
                    </a:cubicBezTo>
                    <a:cubicBezTo>
                      <a:pt x="44" y="547"/>
                      <a:pt x="45" y="545"/>
                      <a:pt x="37" y="539"/>
                    </a:cubicBezTo>
                    <a:cubicBezTo>
                      <a:pt x="28" y="523"/>
                      <a:pt x="39" y="505"/>
                      <a:pt x="25" y="491"/>
                    </a:cubicBezTo>
                    <a:cubicBezTo>
                      <a:pt x="23" y="481"/>
                      <a:pt x="22" y="471"/>
                      <a:pt x="19" y="461"/>
                    </a:cubicBezTo>
                    <a:cubicBezTo>
                      <a:pt x="19" y="459"/>
                      <a:pt x="16" y="457"/>
                      <a:pt x="17" y="456"/>
                    </a:cubicBezTo>
                    <a:cubicBezTo>
                      <a:pt x="19" y="455"/>
                      <a:pt x="21" y="457"/>
                      <a:pt x="23" y="458"/>
                    </a:cubicBezTo>
                    <a:cubicBezTo>
                      <a:pt x="28" y="469"/>
                      <a:pt x="24" y="483"/>
                      <a:pt x="34" y="489"/>
                    </a:cubicBezTo>
                    <a:cubicBezTo>
                      <a:pt x="39" y="483"/>
                      <a:pt x="35" y="474"/>
                      <a:pt x="32" y="467"/>
                    </a:cubicBezTo>
                    <a:cubicBezTo>
                      <a:pt x="35" y="456"/>
                      <a:pt x="37" y="458"/>
                      <a:pt x="40" y="467"/>
                    </a:cubicBezTo>
                    <a:cubicBezTo>
                      <a:pt x="41" y="476"/>
                      <a:pt x="42" y="478"/>
                      <a:pt x="46" y="485"/>
                    </a:cubicBezTo>
                    <a:cubicBezTo>
                      <a:pt x="51" y="482"/>
                      <a:pt x="52" y="478"/>
                      <a:pt x="55" y="473"/>
                    </a:cubicBezTo>
                    <a:cubicBezTo>
                      <a:pt x="53" y="468"/>
                      <a:pt x="52" y="463"/>
                      <a:pt x="50" y="458"/>
                    </a:cubicBezTo>
                    <a:cubicBezTo>
                      <a:pt x="49" y="452"/>
                      <a:pt x="46" y="449"/>
                      <a:pt x="44" y="444"/>
                    </a:cubicBezTo>
                    <a:cubicBezTo>
                      <a:pt x="42" y="433"/>
                      <a:pt x="39" y="421"/>
                      <a:pt x="49" y="413"/>
                    </a:cubicBezTo>
                    <a:cubicBezTo>
                      <a:pt x="51" y="403"/>
                      <a:pt x="54" y="394"/>
                      <a:pt x="56" y="384"/>
                    </a:cubicBezTo>
                    <a:cubicBezTo>
                      <a:pt x="54" y="365"/>
                      <a:pt x="57" y="361"/>
                      <a:pt x="68" y="347"/>
                    </a:cubicBezTo>
                    <a:cubicBezTo>
                      <a:pt x="72" y="354"/>
                      <a:pt x="69" y="359"/>
                      <a:pt x="76" y="363"/>
                    </a:cubicBezTo>
                    <a:cubicBezTo>
                      <a:pt x="87" y="355"/>
                      <a:pt x="94" y="341"/>
                      <a:pt x="109" y="338"/>
                    </a:cubicBezTo>
                    <a:cubicBezTo>
                      <a:pt x="118" y="331"/>
                      <a:pt x="123" y="325"/>
                      <a:pt x="134" y="323"/>
                    </a:cubicBezTo>
                    <a:cubicBezTo>
                      <a:pt x="149" y="314"/>
                      <a:pt x="155" y="315"/>
                      <a:pt x="175" y="314"/>
                    </a:cubicBezTo>
                    <a:cubicBezTo>
                      <a:pt x="183" y="310"/>
                      <a:pt x="198" y="295"/>
                      <a:pt x="206" y="294"/>
                    </a:cubicBezTo>
                    <a:cubicBezTo>
                      <a:pt x="223" y="293"/>
                      <a:pt x="240" y="293"/>
                      <a:pt x="257" y="293"/>
                    </a:cubicBezTo>
                    <a:cubicBezTo>
                      <a:pt x="263" y="290"/>
                      <a:pt x="265" y="288"/>
                      <a:pt x="268" y="282"/>
                    </a:cubicBezTo>
                    <a:cubicBezTo>
                      <a:pt x="270" y="272"/>
                      <a:pt x="284" y="252"/>
                      <a:pt x="293" y="246"/>
                    </a:cubicBezTo>
                    <a:cubicBezTo>
                      <a:pt x="302" y="227"/>
                      <a:pt x="305" y="201"/>
                      <a:pt x="325" y="189"/>
                    </a:cubicBezTo>
                    <a:cubicBezTo>
                      <a:pt x="326" y="199"/>
                      <a:pt x="325" y="203"/>
                      <a:pt x="331" y="210"/>
                    </a:cubicBezTo>
                    <a:cubicBezTo>
                      <a:pt x="333" y="218"/>
                      <a:pt x="332" y="220"/>
                      <a:pt x="340" y="216"/>
                    </a:cubicBezTo>
                    <a:cubicBezTo>
                      <a:pt x="346" y="209"/>
                      <a:pt x="344" y="205"/>
                      <a:pt x="337" y="200"/>
                    </a:cubicBezTo>
                    <a:cubicBezTo>
                      <a:pt x="330" y="181"/>
                      <a:pt x="358" y="184"/>
                      <a:pt x="368" y="183"/>
                    </a:cubicBezTo>
                    <a:cubicBezTo>
                      <a:pt x="371" y="177"/>
                      <a:pt x="369" y="174"/>
                      <a:pt x="364" y="170"/>
                    </a:cubicBezTo>
                    <a:cubicBezTo>
                      <a:pt x="361" y="162"/>
                      <a:pt x="362" y="159"/>
                      <a:pt x="370" y="158"/>
                    </a:cubicBezTo>
                    <a:cubicBezTo>
                      <a:pt x="380" y="159"/>
                      <a:pt x="388" y="159"/>
                      <a:pt x="380" y="149"/>
                    </a:cubicBezTo>
                    <a:cubicBezTo>
                      <a:pt x="397" y="142"/>
                      <a:pt x="380" y="133"/>
                      <a:pt x="401" y="131"/>
                    </a:cubicBezTo>
                    <a:cubicBezTo>
                      <a:pt x="407" y="117"/>
                      <a:pt x="394" y="138"/>
                      <a:pt x="409" y="129"/>
                    </a:cubicBezTo>
                    <a:cubicBezTo>
                      <a:pt x="420" y="115"/>
                      <a:pt x="398" y="112"/>
                      <a:pt x="413" y="116"/>
                    </a:cubicBezTo>
                    <a:cubicBezTo>
                      <a:pt x="415" y="116"/>
                      <a:pt x="416" y="117"/>
                      <a:pt x="418" y="117"/>
                    </a:cubicBezTo>
                    <a:cubicBezTo>
                      <a:pt x="424" y="124"/>
                      <a:pt x="432" y="125"/>
                      <a:pt x="436" y="116"/>
                    </a:cubicBezTo>
                    <a:cubicBezTo>
                      <a:pt x="438" y="106"/>
                      <a:pt x="450" y="118"/>
                      <a:pt x="455" y="123"/>
                    </a:cubicBezTo>
                    <a:cubicBezTo>
                      <a:pt x="457" y="128"/>
                      <a:pt x="460" y="132"/>
                      <a:pt x="463" y="137"/>
                    </a:cubicBezTo>
                    <a:cubicBezTo>
                      <a:pt x="464" y="145"/>
                      <a:pt x="463" y="151"/>
                      <a:pt x="464" y="159"/>
                    </a:cubicBezTo>
                    <a:cubicBezTo>
                      <a:pt x="468" y="150"/>
                      <a:pt x="468" y="149"/>
                      <a:pt x="478" y="144"/>
                    </a:cubicBezTo>
                    <a:cubicBezTo>
                      <a:pt x="491" y="147"/>
                      <a:pt x="485" y="147"/>
                      <a:pt x="494" y="152"/>
                    </a:cubicBezTo>
                    <a:cubicBezTo>
                      <a:pt x="504" y="149"/>
                      <a:pt x="509" y="145"/>
                      <a:pt x="499" y="137"/>
                    </a:cubicBezTo>
                    <a:cubicBezTo>
                      <a:pt x="495" y="128"/>
                      <a:pt x="495" y="125"/>
                      <a:pt x="503" y="119"/>
                    </a:cubicBezTo>
                    <a:cubicBezTo>
                      <a:pt x="507" y="108"/>
                      <a:pt x="515" y="103"/>
                      <a:pt x="527" y="101"/>
                    </a:cubicBezTo>
                    <a:cubicBezTo>
                      <a:pt x="530" y="95"/>
                      <a:pt x="531" y="92"/>
                      <a:pt x="527" y="86"/>
                    </a:cubicBezTo>
                    <a:cubicBezTo>
                      <a:pt x="533" y="60"/>
                      <a:pt x="567" y="64"/>
                      <a:pt x="587" y="63"/>
                    </a:cubicBezTo>
                    <a:cubicBezTo>
                      <a:pt x="602" y="54"/>
                      <a:pt x="584" y="45"/>
                      <a:pt x="575" y="44"/>
                    </a:cubicBezTo>
                    <a:cubicBezTo>
                      <a:pt x="570" y="36"/>
                      <a:pt x="570" y="40"/>
                      <a:pt x="581" y="32"/>
                    </a:cubicBezTo>
                    <a:cubicBezTo>
                      <a:pt x="584" y="29"/>
                      <a:pt x="593" y="27"/>
                      <a:pt x="593" y="27"/>
                    </a:cubicBezTo>
                    <a:cubicBezTo>
                      <a:pt x="610" y="34"/>
                      <a:pt x="585" y="42"/>
                      <a:pt x="616" y="45"/>
                    </a:cubicBezTo>
                    <a:cubicBezTo>
                      <a:pt x="618" y="56"/>
                      <a:pt x="631" y="54"/>
                      <a:pt x="640" y="56"/>
                    </a:cubicBezTo>
                    <a:cubicBezTo>
                      <a:pt x="644" y="59"/>
                      <a:pt x="649" y="62"/>
                      <a:pt x="653" y="65"/>
                    </a:cubicBezTo>
                    <a:cubicBezTo>
                      <a:pt x="683" y="63"/>
                      <a:pt x="692" y="67"/>
                      <a:pt x="674" y="56"/>
                    </a:cubicBezTo>
                    <a:cubicBezTo>
                      <a:pt x="682" y="51"/>
                      <a:pt x="688" y="55"/>
                      <a:pt x="697" y="57"/>
                    </a:cubicBezTo>
                    <a:cubicBezTo>
                      <a:pt x="701" y="77"/>
                      <a:pt x="686" y="90"/>
                      <a:pt x="670" y="98"/>
                    </a:cubicBezTo>
                    <a:cubicBezTo>
                      <a:pt x="665" y="105"/>
                      <a:pt x="671" y="111"/>
                      <a:pt x="667" y="119"/>
                    </a:cubicBezTo>
                    <a:cubicBezTo>
                      <a:pt x="665" y="123"/>
                      <a:pt x="657" y="130"/>
                      <a:pt x="653" y="132"/>
                    </a:cubicBezTo>
                    <a:cubicBezTo>
                      <a:pt x="655" y="149"/>
                      <a:pt x="662" y="157"/>
                      <a:pt x="676" y="165"/>
                    </a:cubicBezTo>
                    <a:cubicBezTo>
                      <a:pt x="685" y="178"/>
                      <a:pt x="699" y="192"/>
                      <a:pt x="715" y="195"/>
                    </a:cubicBezTo>
                    <a:cubicBezTo>
                      <a:pt x="722" y="200"/>
                      <a:pt x="731" y="205"/>
                      <a:pt x="739" y="209"/>
                    </a:cubicBezTo>
                    <a:cubicBezTo>
                      <a:pt x="741" y="219"/>
                      <a:pt x="744" y="223"/>
                      <a:pt x="754" y="225"/>
                    </a:cubicBezTo>
                    <a:cubicBezTo>
                      <a:pt x="772" y="234"/>
                      <a:pt x="788" y="214"/>
                      <a:pt x="796" y="201"/>
                    </a:cubicBezTo>
                    <a:cubicBezTo>
                      <a:pt x="798" y="190"/>
                      <a:pt x="795" y="179"/>
                      <a:pt x="802" y="170"/>
                    </a:cubicBezTo>
                    <a:cubicBezTo>
                      <a:pt x="803" y="162"/>
                      <a:pt x="806" y="154"/>
                      <a:pt x="808" y="147"/>
                    </a:cubicBezTo>
                    <a:cubicBezTo>
                      <a:pt x="809" y="119"/>
                      <a:pt x="807" y="103"/>
                      <a:pt x="826" y="84"/>
                    </a:cubicBezTo>
                    <a:cubicBezTo>
                      <a:pt x="824" y="74"/>
                      <a:pt x="822" y="76"/>
                      <a:pt x="818" y="68"/>
                    </a:cubicBezTo>
                    <a:cubicBezTo>
                      <a:pt x="825" y="64"/>
                      <a:pt x="828" y="58"/>
                      <a:pt x="832" y="51"/>
                    </a:cubicBezTo>
                    <a:cubicBezTo>
                      <a:pt x="833" y="45"/>
                      <a:pt x="834" y="40"/>
                      <a:pt x="838" y="35"/>
                    </a:cubicBezTo>
                    <a:cubicBezTo>
                      <a:pt x="839" y="17"/>
                      <a:pt x="841" y="14"/>
                      <a:pt x="848"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grpSp>
        <p:sp>
          <p:nvSpPr>
            <p:cNvPr id="28" name="Freeform 13">
              <a:extLst>
                <a:ext uri="{FF2B5EF4-FFF2-40B4-BE49-F238E27FC236}">
                  <a16:creationId xmlns:a16="http://schemas.microsoft.com/office/drawing/2014/main" id="{39348107-1DE6-FB4E-BD11-54C91DB9638A}"/>
                </a:ext>
              </a:extLst>
            </p:cNvPr>
            <p:cNvSpPr>
              <a:spLocks/>
            </p:cNvSpPr>
            <p:nvPr/>
          </p:nvSpPr>
          <p:spPr bwMode="auto">
            <a:xfrm>
              <a:off x="5039" y="3012"/>
              <a:ext cx="37" cy="31"/>
            </a:xfrm>
            <a:custGeom>
              <a:avLst/>
              <a:gdLst>
                <a:gd name="T0" fmla="*/ 53 w 55"/>
                <a:gd name="T1" fmla="*/ 0 h 47"/>
                <a:gd name="T2" fmla="*/ 34 w 55"/>
                <a:gd name="T3" fmla="*/ 9 h 47"/>
                <a:gd name="T4" fmla="*/ 13 w 55"/>
                <a:gd name="T5" fmla="*/ 24 h 47"/>
                <a:gd name="T6" fmla="*/ 14 w 55"/>
                <a:gd name="T7" fmla="*/ 47 h 47"/>
                <a:gd name="T8" fmla="*/ 37 w 55"/>
                <a:gd name="T9" fmla="*/ 36 h 47"/>
                <a:gd name="T10" fmla="*/ 55 w 55"/>
                <a:gd name="T11" fmla="*/ 23 h 47"/>
                <a:gd name="T12" fmla="*/ 53 w 5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53" y="0"/>
                  </a:moveTo>
                  <a:cubicBezTo>
                    <a:pt x="47" y="4"/>
                    <a:pt x="41" y="8"/>
                    <a:pt x="34" y="9"/>
                  </a:cubicBezTo>
                  <a:cubicBezTo>
                    <a:pt x="26" y="14"/>
                    <a:pt x="18" y="17"/>
                    <a:pt x="13" y="24"/>
                  </a:cubicBezTo>
                  <a:cubicBezTo>
                    <a:pt x="10" y="46"/>
                    <a:pt x="0" y="37"/>
                    <a:pt x="14" y="47"/>
                  </a:cubicBezTo>
                  <a:cubicBezTo>
                    <a:pt x="24" y="45"/>
                    <a:pt x="29" y="41"/>
                    <a:pt x="37" y="36"/>
                  </a:cubicBezTo>
                  <a:cubicBezTo>
                    <a:pt x="41" y="31"/>
                    <a:pt x="49" y="24"/>
                    <a:pt x="55" y="23"/>
                  </a:cubicBezTo>
                  <a:cubicBezTo>
                    <a:pt x="53" y="3"/>
                    <a:pt x="53" y="11"/>
                    <a:pt x="53" y="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grpSp>
          <p:nvGrpSpPr>
            <p:cNvPr id="29" name="Group 14">
              <a:extLst>
                <a:ext uri="{FF2B5EF4-FFF2-40B4-BE49-F238E27FC236}">
                  <a16:creationId xmlns:a16="http://schemas.microsoft.com/office/drawing/2014/main" id="{F447C1A1-7F83-E449-921F-EB302383A9F4}"/>
                </a:ext>
              </a:extLst>
            </p:cNvPr>
            <p:cNvGrpSpPr>
              <a:grpSpLocks/>
            </p:cNvGrpSpPr>
            <p:nvPr/>
          </p:nvGrpSpPr>
          <p:grpSpPr bwMode="auto">
            <a:xfrm>
              <a:off x="4565" y="2727"/>
              <a:ext cx="789" cy="316"/>
              <a:chOff x="4565" y="2727"/>
              <a:chExt cx="789" cy="316"/>
            </a:xfrm>
            <a:grpFill/>
          </p:grpSpPr>
          <p:sp>
            <p:nvSpPr>
              <p:cNvPr id="317" name="Freeform 15">
                <a:extLst>
                  <a:ext uri="{FF2B5EF4-FFF2-40B4-BE49-F238E27FC236}">
                    <a16:creationId xmlns:a16="http://schemas.microsoft.com/office/drawing/2014/main" id="{D980D7E3-0119-E245-8483-88034BE7DA01}"/>
                  </a:ext>
                </a:extLst>
              </p:cNvPr>
              <p:cNvSpPr>
                <a:spLocks/>
              </p:cNvSpPr>
              <p:nvPr/>
            </p:nvSpPr>
            <p:spPr bwMode="auto">
              <a:xfrm>
                <a:off x="4801" y="2753"/>
                <a:ext cx="178" cy="171"/>
              </a:xfrm>
              <a:custGeom>
                <a:avLst/>
                <a:gdLst>
                  <a:gd name="T0" fmla="*/ 225 w 269"/>
                  <a:gd name="T1" fmla="*/ 10 h 259"/>
                  <a:gd name="T2" fmla="*/ 216 w 269"/>
                  <a:gd name="T3" fmla="*/ 0 h 259"/>
                  <a:gd name="T4" fmla="*/ 169 w 269"/>
                  <a:gd name="T5" fmla="*/ 0 h 259"/>
                  <a:gd name="T6" fmla="*/ 172 w 269"/>
                  <a:gd name="T7" fmla="*/ 34 h 259"/>
                  <a:gd name="T8" fmla="*/ 159 w 269"/>
                  <a:gd name="T9" fmla="*/ 48 h 259"/>
                  <a:gd name="T10" fmla="*/ 153 w 269"/>
                  <a:gd name="T11" fmla="*/ 82 h 259"/>
                  <a:gd name="T12" fmla="*/ 136 w 269"/>
                  <a:gd name="T13" fmla="*/ 84 h 259"/>
                  <a:gd name="T14" fmla="*/ 123 w 269"/>
                  <a:gd name="T15" fmla="*/ 94 h 259"/>
                  <a:gd name="T16" fmla="*/ 103 w 269"/>
                  <a:gd name="T17" fmla="*/ 85 h 259"/>
                  <a:gd name="T18" fmla="*/ 84 w 269"/>
                  <a:gd name="T19" fmla="*/ 84 h 259"/>
                  <a:gd name="T20" fmla="*/ 82 w 269"/>
                  <a:gd name="T21" fmla="*/ 100 h 259"/>
                  <a:gd name="T22" fmla="*/ 60 w 269"/>
                  <a:gd name="T23" fmla="*/ 97 h 259"/>
                  <a:gd name="T24" fmla="*/ 40 w 269"/>
                  <a:gd name="T25" fmla="*/ 103 h 259"/>
                  <a:gd name="T26" fmla="*/ 27 w 269"/>
                  <a:gd name="T27" fmla="*/ 90 h 259"/>
                  <a:gd name="T28" fmla="*/ 21 w 269"/>
                  <a:gd name="T29" fmla="*/ 67 h 259"/>
                  <a:gd name="T30" fmla="*/ 7 w 269"/>
                  <a:gd name="T31" fmla="*/ 75 h 259"/>
                  <a:gd name="T32" fmla="*/ 9 w 269"/>
                  <a:gd name="T33" fmla="*/ 123 h 259"/>
                  <a:gd name="T34" fmla="*/ 7 w 269"/>
                  <a:gd name="T35" fmla="*/ 139 h 259"/>
                  <a:gd name="T36" fmla="*/ 18 w 269"/>
                  <a:gd name="T37" fmla="*/ 150 h 259"/>
                  <a:gd name="T38" fmla="*/ 7 w 269"/>
                  <a:gd name="T39" fmla="*/ 160 h 259"/>
                  <a:gd name="T40" fmla="*/ 18 w 269"/>
                  <a:gd name="T41" fmla="*/ 171 h 259"/>
                  <a:gd name="T42" fmla="*/ 30 w 269"/>
                  <a:gd name="T43" fmla="*/ 174 h 259"/>
                  <a:gd name="T44" fmla="*/ 48 w 269"/>
                  <a:gd name="T45" fmla="*/ 217 h 259"/>
                  <a:gd name="T46" fmla="*/ 63 w 269"/>
                  <a:gd name="T47" fmla="*/ 219 h 259"/>
                  <a:gd name="T48" fmla="*/ 78 w 269"/>
                  <a:gd name="T49" fmla="*/ 237 h 259"/>
                  <a:gd name="T50" fmla="*/ 102 w 269"/>
                  <a:gd name="T51" fmla="*/ 228 h 259"/>
                  <a:gd name="T52" fmla="*/ 114 w 269"/>
                  <a:gd name="T53" fmla="*/ 219 h 259"/>
                  <a:gd name="T54" fmla="*/ 142 w 269"/>
                  <a:gd name="T55" fmla="*/ 231 h 259"/>
                  <a:gd name="T56" fmla="*/ 147 w 269"/>
                  <a:gd name="T57" fmla="*/ 247 h 259"/>
                  <a:gd name="T58" fmla="*/ 168 w 269"/>
                  <a:gd name="T59" fmla="*/ 246 h 259"/>
                  <a:gd name="T60" fmla="*/ 181 w 269"/>
                  <a:gd name="T61" fmla="*/ 243 h 259"/>
                  <a:gd name="T62" fmla="*/ 193 w 269"/>
                  <a:gd name="T63" fmla="*/ 247 h 259"/>
                  <a:gd name="T64" fmla="*/ 192 w 269"/>
                  <a:gd name="T65" fmla="*/ 232 h 259"/>
                  <a:gd name="T66" fmla="*/ 199 w 269"/>
                  <a:gd name="T67" fmla="*/ 210 h 259"/>
                  <a:gd name="T68" fmla="*/ 193 w 269"/>
                  <a:gd name="T69" fmla="*/ 189 h 259"/>
                  <a:gd name="T70" fmla="*/ 216 w 269"/>
                  <a:gd name="T71" fmla="*/ 165 h 259"/>
                  <a:gd name="T72" fmla="*/ 223 w 269"/>
                  <a:gd name="T73" fmla="*/ 151 h 259"/>
                  <a:gd name="T74" fmla="*/ 243 w 269"/>
                  <a:gd name="T75" fmla="*/ 105 h 259"/>
                  <a:gd name="T76" fmla="*/ 268 w 269"/>
                  <a:gd name="T77" fmla="*/ 106 h 259"/>
                  <a:gd name="T78" fmla="*/ 267 w 269"/>
                  <a:gd name="T79" fmla="*/ 91 h 259"/>
                  <a:gd name="T80" fmla="*/ 262 w 269"/>
                  <a:gd name="T81" fmla="*/ 90 h 259"/>
                  <a:gd name="T82" fmla="*/ 244 w 269"/>
                  <a:gd name="T83" fmla="*/ 81 h 259"/>
                  <a:gd name="T84" fmla="*/ 243 w 269"/>
                  <a:gd name="T85" fmla="*/ 57 h 259"/>
                  <a:gd name="T86" fmla="*/ 232 w 269"/>
                  <a:gd name="T87" fmla="*/ 46 h 259"/>
                  <a:gd name="T88" fmla="*/ 220 w 269"/>
                  <a:gd name="T89" fmla="*/ 30 h 259"/>
                  <a:gd name="T90" fmla="*/ 225 w 269"/>
                  <a:gd name="T91" fmla="*/ 1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9" h="259">
                    <a:moveTo>
                      <a:pt x="225" y="10"/>
                    </a:moveTo>
                    <a:lnTo>
                      <a:pt x="216" y="0"/>
                    </a:lnTo>
                    <a:lnTo>
                      <a:pt x="169" y="0"/>
                    </a:lnTo>
                    <a:lnTo>
                      <a:pt x="172" y="34"/>
                    </a:lnTo>
                    <a:lnTo>
                      <a:pt x="159" y="48"/>
                    </a:lnTo>
                    <a:lnTo>
                      <a:pt x="153" y="82"/>
                    </a:lnTo>
                    <a:lnTo>
                      <a:pt x="136" y="84"/>
                    </a:lnTo>
                    <a:lnTo>
                      <a:pt x="123" y="94"/>
                    </a:lnTo>
                    <a:lnTo>
                      <a:pt x="103" y="85"/>
                    </a:lnTo>
                    <a:lnTo>
                      <a:pt x="84" y="84"/>
                    </a:lnTo>
                    <a:lnTo>
                      <a:pt x="82" y="100"/>
                    </a:lnTo>
                    <a:lnTo>
                      <a:pt x="60" y="97"/>
                    </a:lnTo>
                    <a:lnTo>
                      <a:pt x="40" y="103"/>
                    </a:lnTo>
                    <a:lnTo>
                      <a:pt x="27" y="90"/>
                    </a:lnTo>
                    <a:lnTo>
                      <a:pt x="21" y="67"/>
                    </a:lnTo>
                    <a:lnTo>
                      <a:pt x="7" y="75"/>
                    </a:lnTo>
                    <a:cubicBezTo>
                      <a:pt x="5" y="92"/>
                      <a:pt x="0" y="107"/>
                      <a:pt x="9" y="123"/>
                    </a:cubicBezTo>
                    <a:cubicBezTo>
                      <a:pt x="10" y="129"/>
                      <a:pt x="10" y="133"/>
                      <a:pt x="7" y="139"/>
                    </a:cubicBezTo>
                    <a:cubicBezTo>
                      <a:pt x="9" y="146"/>
                      <a:pt x="11" y="147"/>
                      <a:pt x="18" y="150"/>
                    </a:cubicBezTo>
                    <a:cubicBezTo>
                      <a:pt x="13" y="154"/>
                      <a:pt x="10" y="155"/>
                      <a:pt x="7" y="160"/>
                    </a:cubicBezTo>
                    <a:cubicBezTo>
                      <a:pt x="10" y="166"/>
                      <a:pt x="12" y="168"/>
                      <a:pt x="18" y="171"/>
                    </a:cubicBezTo>
                    <a:cubicBezTo>
                      <a:pt x="24" y="166"/>
                      <a:pt x="27" y="167"/>
                      <a:pt x="30" y="174"/>
                    </a:cubicBezTo>
                    <a:cubicBezTo>
                      <a:pt x="28" y="196"/>
                      <a:pt x="23" y="215"/>
                      <a:pt x="48" y="217"/>
                    </a:cubicBezTo>
                    <a:cubicBezTo>
                      <a:pt x="54" y="224"/>
                      <a:pt x="55" y="220"/>
                      <a:pt x="63" y="219"/>
                    </a:cubicBezTo>
                    <a:cubicBezTo>
                      <a:pt x="78" y="220"/>
                      <a:pt x="74" y="225"/>
                      <a:pt x="78" y="237"/>
                    </a:cubicBezTo>
                    <a:cubicBezTo>
                      <a:pt x="87" y="235"/>
                      <a:pt x="93" y="230"/>
                      <a:pt x="102" y="228"/>
                    </a:cubicBezTo>
                    <a:cubicBezTo>
                      <a:pt x="107" y="224"/>
                      <a:pt x="107" y="220"/>
                      <a:pt x="114" y="219"/>
                    </a:cubicBezTo>
                    <a:cubicBezTo>
                      <a:pt x="116" y="229"/>
                      <a:pt x="142" y="231"/>
                      <a:pt x="142" y="231"/>
                    </a:cubicBezTo>
                    <a:cubicBezTo>
                      <a:pt x="144" y="236"/>
                      <a:pt x="144" y="242"/>
                      <a:pt x="147" y="247"/>
                    </a:cubicBezTo>
                    <a:cubicBezTo>
                      <a:pt x="149" y="259"/>
                      <a:pt x="161" y="247"/>
                      <a:pt x="168" y="246"/>
                    </a:cubicBezTo>
                    <a:cubicBezTo>
                      <a:pt x="173" y="242"/>
                      <a:pt x="175" y="240"/>
                      <a:pt x="181" y="243"/>
                    </a:cubicBezTo>
                    <a:cubicBezTo>
                      <a:pt x="185" y="248"/>
                      <a:pt x="187" y="250"/>
                      <a:pt x="193" y="247"/>
                    </a:cubicBezTo>
                    <a:cubicBezTo>
                      <a:pt x="196" y="241"/>
                      <a:pt x="193" y="238"/>
                      <a:pt x="192" y="232"/>
                    </a:cubicBezTo>
                    <a:cubicBezTo>
                      <a:pt x="193" y="220"/>
                      <a:pt x="191" y="216"/>
                      <a:pt x="199" y="210"/>
                    </a:cubicBezTo>
                    <a:cubicBezTo>
                      <a:pt x="198" y="199"/>
                      <a:pt x="197" y="198"/>
                      <a:pt x="193" y="189"/>
                    </a:cubicBezTo>
                    <a:cubicBezTo>
                      <a:pt x="197" y="177"/>
                      <a:pt x="206" y="171"/>
                      <a:pt x="216" y="165"/>
                    </a:cubicBezTo>
                    <a:cubicBezTo>
                      <a:pt x="219" y="160"/>
                      <a:pt x="222" y="157"/>
                      <a:pt x="223" y="151"/>
                    </a:cubicBezTo>
                    <a:cubicBezTo>
                      <a:pt x="224" y="129"/>
                      <a:pt x="219" y="110"/>
                      <a:pt x="243" y="105"/>
                    </a:cubicBezTo>
                    <a:cubicBezTo>
                      <a:pt x="251" y="106"/>
                      <a:pt x="261" y="109"/>
                      <a:pt x="268" y="106"/>
                    </a:cubicBezTo>
                    <a:cubicBezTo>
                      <a:pt x="268" y="101"/>
                      <a:pt x="269" y="96"/>
                      <a:pt x="267" y="91"/>
                    </a:cubicBezTo>
                    <a:cubicBezTo>
                      <a:pt x="266" y="89"/>
                      <a:pt x="264" y="91"/>
                      <a:pt x="262" y="90"/>
                    </a:cubicBezTo>
                    <a:cubicBezTo>
                      <a:pt x="256" y="87"/>
                      <a:pt x="251" y="82"/>
                      <a:pt x="244" y="81"/>
                    </a:cubicBezTo>
                    <a:cubicBezTo>
                      <a:pt x="233" y="73"/>
                      <a:pt x="235" y="68"/>
                      <a:pt x="243" y="57"/>
                    </a:cubicBezTo>
                    <a:cubicBezTo>
                      <a:pt x="240" y="51"/>
                      <a:pt x="238" y="49"/>
                      <a:pt x="232" y="46"/>
                    </a:cubicBezTo>
                    <a:cubicBezTo>
                      <a:pt x="228" y="40"/>
                      <a:pt x="223" y="37"/>
                      <a:pt x="220" y="30"/>
                    </a:cubicBezTo>
                    <a:cubicBezTo>
                      <a:pt x="222" y="23"/>
                      <a:pt x="227" y="17"/>
                      <a:pt x="225" y="1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8" name="Freeform 16">
                <a:extLst>
                  <a:ext uri="{FF2B5EF4-FFF2-40B4-BE49-F238E27FC236}">
                    <a16:creationId xmlns:a16="http://schemas.microsoft.com/office/drawing/2014/main" id="{E1084E0D-CE00-3E4E-BFFB-C1F45ACD735F}"/>
                  </a:ext>
                </a:extLst>
              </p:cNvPr>
              <p:cNvSpPr>
                <a:spLocks/>
              </p:cNvSpPr>
              <p:nvPr/>
            </p:nvSpPr>
            <p:spPr bwMode="auto">
              <a:xfrm>
                <a:off x="4565" y="2727"/>
                <a:ext cx="182" cy="227"/>
              </a:xfrm>
              <a:custGeom>
                <a:avLst/>
                <a:gdLst>
                  <a:gd name="T0" fmla="*/ 0 w 275"/>
                  <a:gd name="T1" fmla="*/ 4 h 342"/>
                  <a:gd name="T2" fmla="*/ 15 w 275"/>
                  <a:gd name="T3" fmla="*/ 1 h 342"/>
                  <a:gd name="T4" fmla="*/ 36 w 275"/>
                  <a:gd name="T5" fmla="*/ 16 h 342"/>
                  <a:gd name="T6" fmla="*/ 49 w 275"/>
                  <a:gd name="T7" fmla="*/ 10 h 342"/>
                  <a:gd name="T8" fmla="*/ 63 w 275"/>
                  <a:gd name="T9" fmla="*/ 12 h 342"/>
                  <a:gd name="T10" fmla="*/ 73 w 275"/>
                  <a:gd name="T11" fmla="*/ 45 h 342"/>
                  <a:gd name="T12" fmla="*/ 105 w 275"/>
                  <a:gd name="T13" fmla="*/ 73 h 342"/>
                  <a:gd name="T14" fmla="*/ 133 w 275"/>
                  <a:gd name="T15" fmla="*/ 96 h 342"/>
                  <a:gd name="T16" fmla="*/ 147 w 275"/>
                  <a:gd name="T17" fmla="*/ 112 h 342"/>
                  <a:gd name="T18" fmla="*/ 159 w 275"/>
                  <a:gd name="T19" fmla="*/ 106 h 342"/>
                  <a:gd name="T20" fmla="*/ 184 w 275"/>
                  <a:gd name="T21" fmla="*/ 124 h 342"/>
                  <a:gd name="T22" fmla="*/ 207 w 275"/>
                  <a:gd name="T23" fmla="*/ 148 h 342"/>
                  <a:gd name="T24" fmla="*/ 186 w 275"/>
                  <a:gd name="T25" fmla="*/ 159 h 342"/>
                  <a:gd name="T26" fmla="*/ 204 w 275"/>
                  <a:gd name="T27" fmla="*/ 163 h 342"/>
                  <a:gd name="T28" fmla="*/ 223 w 275"/>
                  <a:gd name="T29" fmla="*/ 165 h 342"/>
                  <a:gd name="T30" fmla="*/ 217 w 275"/>
                  <a:gd name="T31" fmla="*/ 181 h 342"/>
                  <a:gd name="T32" fmla="*/ 235 w 275"/>
                  <a:gd name="T33" fmla="*/ 198 h 342"/>
                  <a:gd name="T34" fmla="*/ 243 w 275"/>
                  <a:gd name="T35" fmla="*/ 229 h 342"/>
                  <a:gd name="T36" fmla="*/ 264 w 275"/>
                  <a:gd name="T37" fmla="*/ 240 h 342"/>
                  <a:gd name="T38" fmla="*/ 273 w 275"/>
                  <a:gd name="T39" fmla="*/ 253 h 342"/>
                  <a:gd name="T40" fmla="*/ 265 w 275"/>
                  <a:gd name="T41" fmla="*/ 325 h 342"/>
                  <a:gd name="T42" fmla="*/ 253 w 275"/>
                  <a:gd name="T43" fmla="*/ 340 h 342"/>
                  <a:gd name="T44" fmla="*/ 234 w 275"/>
                  <a:gd name="T45" fmla="*/ 336 h 342"/>
                  <a:gd name="T46" fmla="*/ 225 w 275"/>
                  <a:gd name="T47" fmla="*/ 327 h 342"/>
                  <a:gd name="T48" fmla="*/ 199 w 275"/>
                  <a:gd name="T49" fmla="*/ 295 h 342"/>
                  <a:gd name="T50" fmla="*/ 154 w 275"/>
                  <a:gd name="T51" fmla="*/ 234 h 342"/>
                  <a:gd name="T52" fmla="*/ 145 w 275"/>
                  <a:gd name="T53" fmla="*/ 220 h 342"/>
                  <a:gd name="T54" fmla="*/ 130 w 275"/>
                  <a:gd name="T55" fmla="*/ 184 h 342"/>
                  <a:gd name="T56" fmla="*/ 108 w 275"/>
                  <a:gd name="T57" fmla="*/ 165 h 342"/>
                  <a:gd name="T58" fmla="*/ 100 w 275"/>
                  <a:gd name="T59" fmla="*/ 148 h 342"/>
                  <a:gd name="T60" fmla="*/ 94 w 275"/>
                  <a:gd name="T61" fmla="*/ 126 h 342"/>
                  <a:gd name="T62" fmla="*/ 72 w 275"/>
                  <a:gd name="T63" fmla="*/ 103 h 342"/>
                  <a:gd name="T64" fmla="*/ 61 w 275"/>
                  <a:gd name="T65" fmla="*/ 90 h 342"/>
                  <a:gd name="T66" fmla="*/ 52 w 275"/>
                  <a:gd name="T67" fmla="*/ 72 h 342"/>
                  <a:gd name="T68" fmla="*/ 40 w 275"/>
                  <a:gd name="T69" fmla="*/ 60 h 342"/>
                  <a:gd name="T70" fmla="*/ 16 w 275"/>
                  <a:gd name="T71" fmla="*/ 28 h 342"/>
                  <a:gd name="T72" fmla="*/ 1 w 275"/>
                  <a:gd name="T73" fmla="*/ 12 h 342"/>
                  <a:gd name="T74" fmla="*/ 0 w 275"/>
                  <a:gd name="T75" fmla="*/ 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5" h="342">
                    <a:moveTo>
                      <a:pt x="0" y="4"/>
                    </a:moveTo>
                    <a:cubicBezTo>
                      <a:pt x="6" y="0"/>
                      <a:pt x="8" y="0"/>
                      <a:pt x="15" y="1"/>
                    </a:cubicBezTo>
                    <a:cubicBezTo>
                      <a:pt x="20" y="10"/>
                      <a:pt x="26" y="14"/>
                      <a:pt x="36" y="16"/>
                    </a:cubicBezTo>
                    <a:cubicBezTo>
                      <a:pt x="40" y="13"/>
                      <a:pt x="44" y="12"/>
                      <a:pt x="49" y="10"/>
                    </a:cubicBezTo>
                    <a:cubicBezTo>
                      <a:pt x="54" y="11"/>
                      <a:pt x="59" y="11"/>
                      <a:pt x="63" y="12"/>
                    </a:cubicBezTo>
                    <a:cubicBezTo>
                      <a:pt x="72" y="15"/>
                      <a:pt x="71" y="37"/>
                      <a:pt x="73" y="45"/>
                    </a:cubicBezTo>
                    <a:cubicBezTo>
                      <a:pt x="77" y="59"/>
                      <a:pt x="92" y="70"/>
                      <a:pt x="105" y="73"/>
                    </a:cubicBezTo>
                    <a:cubicBezTo>
                      <a:pt x="117" y="79"/>
                      <a:pt x="122" y="88"/>
                      <a:pt x="133" y="96"/>
                    </a:cubicBezTo>
                    <a:cubicBezTo>
                      <a:pt x="136" y="102"/>
                      <a:pt x="143" y="106"/>
                      <a:pt x="147" y="112"/>
                    </a:cubicBezTo>
                    <a:cubicBezTo>
                      <a:pt x="148" y="103"/>
                      <a:pt x="151" y="105"/>
                      <a:pt x="159" y="106"/>
                    </a:cubicBezTo>
                    <a:cubicBezTo>
                      <a:pt x="167" y="119"/>
                      <a:pt x="168" y="123"/>
                      <a:pt x="184" y="124"/>
                    </a:cubicBezTo>
                    <a:cubicBezTo>
                      <a:pt x="197" y="132"/>
                      <a:pt x="185" y="144"/>
                      <a:pt x="207" y="148"/>
                    </a:cubicBezTo>
                    <a:cubicBezTo>
                      <a:pt x="204" y="155"/>
                      <a:pt x="186" y="159"/>
                      <a:pt x="186" y="159"/>
                    </a:cubicBezTo>
                    <a:cubicBezTo>
                      <a:pt x="181" y="170"/>
                      <a:pt x="200" y="164"/>
                      <a:pt x="204" y="163"/>
                    </a:cubicBezTo>
                    <a:cubicBezTo>
                      <a:pt x="211" y="158"/>
                      <a:pt x="217" y="160"/>
                      <a:pt x="223" y="165"/>
                    </a:cubicBezTo>
                    <a:cubicBezTo>
                      <a:pt x="222" y="172"/>
                      <a:pt x="220" y="175"/>
                      <a:pt x="217" y="181"/>
                    </a:cubicBezTo>
                    <a:cubicBezTo>
                      <a:pt x="214" y="198"/>
                      <a:pt x="220" y="196"/>
                      <a:pt x="235" y="198"/>
                    </a:cubicBezTo>
                    <a:cubicBezTo>
                      <a:pt x="241" y="211"/>
                      <a:pt x="238" y="211"/>
                      <a:pt x="243" y="229"/>
                    </a:cubicBezTo>
                    <a:cubicBezTo>
                      <a:pt x="245" y="237"/>
                      <a:pt x="264" y="240"/>
                      <a:pt x="264" y="240"/>
                    </a:cubicBezTo>
                    <a:cubicBezTo>
                      <a:pt x="267" y="244"/>
                      <a:pt x="270" y="249"/>
                      <a:pt x="273" y="253"/>
                    </a:cubicBezTo>
                    <a:cubicBezTo>
                      <a:pt x="272" y="273"/>
                      <a:pt x="275" y="305"/>
                      <a:pt x="265" y="325"/>
                    </a:cubicBezTo>
                    <a:cubicBezTo>
                      <a:pt x="263" y="333"/>
                      <a:pt x="261" y="338"/>
                      <a:pt x="253" y="340"/>
                    </a:cubicBezTo>
                    <a:cubicBezTo>
                      <a:pt x="241" y="339"/>
                      <a:pt x="240" y="342"/>
                      <a:pt x="234" y="336"/>
                    </a:cubicBezTo>
                    <a:cubicBezTo>
                      <a:pt x="231" y="333"/>
                      <a:pt x="225" y="327"/>
                      <a:pt x="225" y="327"/>
                    </a:cubicBezTo>
                    <a:cubicBezTo>
                      <a:pt x="221" y="316"/>
                      <a:pt x="209" y="301"/>
                      <a:pt x="199" y="295"/>
                    </a:cubicBezTo>
                    <a:cubicBezTo>
                      <a:pt x="184" y="275"/>
                      <a:pt x="165" y="257"/>
                      <a:pt x="154" y="234"/>
                    </a:cubicBezTo>
                    <a:cubicBezTo>
                      <a:pt x="153" y="227"/>
                      <a:pt x="148" y="227"/>
                      <a:pt x="145" y="220"/>
                    </a:cubicBezTo>
                    <a:cubicBezTo>
                      <a:pt x="143" y="207"/>
                      <a:pt x="136" y="196"/>
                      <a:pt x="130" y="184"/>
                    </a:cubicBezTo>
                    <a:cubicBezTo>
                      <a:pt x="128" y="175"/>
                      <a:pt x="117" y="167"/>
                      <a:pt x="108" y="165"/>
                    </a:cubicBezTo>
                    <a:cubicBezTo>
                      <a:pt x="103" y="159"/>
                      <a:pt x="103" y="155"/>
                      <a:pt x="100" y="148"/>
                    </a:cubicBezTo>
                    <a:cubicBezTo>
                      <a:pt x="99" y="141"/>
                      <a:pt x="97" y="133"/>
                      <a:pt x="94" y="126"/>
                    </a:cubicBezTo>
                    <a:cubicBezTo>
                      <a:pt x="92" y="114"/>
                      <a:pt x="84" y="107"/>
                      <a:pt x="72" y="103"/>
                    </a:cubicBezTo>
                    <a:cubicBezTo>
                      <a:pt x="69" y="98"/>
                      <a:pt x="64" y="95"/>
                      <a:pt x="61" y="90"/>
                    </a:cubicBezTo>
                    <a:cubicBezTo>
                      <a:pt x="60" y="81"/>
                      <a:pt x="60" y="77"/>
                      <a:pt x="52" y="72"/>
                    </a:cubicBezTo>
                    <a:cubicBezTo>
                      <a:pt x="49" y="66"/>
                      <a:pt x="46" y="63"/>
                      <a:pt x="40" y="60"/>
                    </a:cubicBezTo>
                    <a:cubicBezTo>
                      <a:pt x="35" y="51"/>
                      <a:pt x="25" y="33"/>
                      <a:pt x="16" y="28"/>
                    </a:cubicBezTo>
                    <a:cubicBezTo>
                      <a:pt x="12" y="22"/>
                      <a:pt x="6" y="18"/>
                      <a:pt x="1" y="12"/>
                    </a:cubicBezTo>
                    <a:cubicBezTo>
                      <a:pt x="0" y="6"/>
                      <a:pt x="0" y="9"/>
                      <a:pt x="0" y="4"/>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9" name="Freeform 17">
                <a:extLst>
                  <a:ext uri="{FF2B5EF4-FFF2-40B4-BE49-F238E27FC236}">
                    <a16:creationId xmlns:a16="http://schemas.microsoft.com/office/drawing/2014/main" id="{A6C6ECEA-E9EE-3340-AB4D-99FB5C39948C}"/>
                  </a:ext>
                </a:extLst>
              </p:cNvPr>
              <p:cNvSpPr>
                <a:spLocks/>
              </p:cNvSpPr>
              <p:nvPr/>
            </p:nvSpPr>
            <p:spPr bwMode="auto">
              <a:xfrm>
                <a:off x="4968" y="2803"/>
                <a:ext cx="114" cy="149"/>
              </a:xfrm>
              <a:custGeom>
                <a:avLst/>
                <a:gdLst>
                  <a:gd name="T0" fmla="*/ 166 w 171"/>
                  <a:gd name="T1" fmla="*/ 0 h 225"/>
                  <a:gd name="T2" fmla="*/ 154 w 171"/>
                  <a:gd name="T3" fmla="*/ 11 h 225"/>
                  <a:gd name="T4" fmla="*/ 133 w 171"/>
                  <a:gd name="T5" fmla="*/ 26 h 225"/>
                  <a:gd name="T6" fmla="*/ 81 w 171"/>
                  <a:gd name="T7" fmla="*/ 18 h 225"/>
                  <a:gd name="T8" fmla="*/ 55 w 171"/>
                  <a:gd name="T9" fmla="*/ 21 h 225"/>
                  <a:gd name="T10" fmla="*/ 40 w 171"/>
                  <a:gd name="T11" fmla="*/ 30 h 225"/>
                  <a:gd name="T12" fmla="*/ 33 w 171"/>
                  <a:gd name="T13" fmla="*/ 62 h 225"/>
                  <a:gd name="T14" fmla="*/ 13 w 171"/>
                  <a:gd name="T15" fmla="*/ 93 h 225"/>
                  <a:gd name="T16" fmla="*/ 3 w 171"/>
                  <a:gd name="T17" fmla="*/ 131 h 225"/>
                  <a:gd name="T18" fmla="*/ 6 w 171"/>
                  <a:gd name="T19" fmla="*/ 153 h 225"/>
                  <a:gd name="T20" fmla="*/ 21 w 171"/>
                  <a:gd name="T21" fmla="*/ 162 h 225"/>
                  <a:gd name="T22" fmla="*/ 28 w 171"/>
                  <a:gd name="T23" fmla="*/ 180 h 225"/>
                  <a:gd name="T24" fmla="*/ 22 w 171"/>
                  <a:gd name="T25" fmla="*/ 213 h 225"/>
                  <a:gd name="T26" fmla="*/ 33 w 171"/>
                  <a:gd name="T27" fmla="*/ 225 h 225"/>
                  <a:gd name="T28" fmla="*/ 45 w 171"/>
                  <a:gd name="T29" fmla="*/ 191 h 225"/>
                  <a:gd name="T30" fmla="*/ 54 w 171"/>
                  <a:gd name="T31" fmla="*/ 131 h 225"/>
                  <a:gd name="T32" fmla="*/ 66 w 171"/>
                  <a:gd name="T33" fmla="*/ 141 h 225"/>
                  <a:gd name="T34" fmla="*/ 58 w 171"/>
                  <a:gd name="T35" fmla="*/ 161 h 225"/>
                  <a:gd name="T36" fmla="*/ 72 w 171"/>
                  <a:gd name="T37" fmla="*/ 173 h 225"/>
                  <a:gd name="T38" fmla="*/ 79 w 171"/>
                  <a:gd name="T39" fmla="*/ 198 h 225"/>
                  <a:gd name="T40" fmla="*/ 97 w 171"/>
                  <a:gd name="T41" fmla="*/ 191 h 225"/>
                  <a:gd name="T42" fmla="*/ 90 w 171"/>
                  <a:gd name="T43" fmla="*/ 203 h 225"/>
                  <a:gd name="T44" fmla="*/ 99 w 171"/>
                  <a:gd name="T45" fmla="*/ 216 h 225"/>
                  <a:gd name="T46" fmla="*/ 118 w 171"/>
                  <a:gd name="T47" fmla="*/ 212 h 225"/>
                  <a:gd name="T48" fmla="*/ 115 w 171"/>
                  <a:gd name="T49" fmla="*/ 188 h 225"/>
                  <a:gd name="T50" fmla="*/ 97 w 171"/>
                  <a:gd name="T51" fmla="*/ 162 h 225"/>
                  <a:gd name="T52" fmla="*/ 97 w 171"/>
                  <a:gd name="T53" fmla="*/ 141 h 225"/>
                  <a:gd name="T54" fmla="*/ 78 w 171"/>
                  <a:gd name="T55" fmla="*/ 114 h 225"/>
                  <a:gd name="T56" fmla="*/ 93 w 171"/>
                  <a:gd name="T57" fmla="*/ 104 h 225"/>
                  <a:gd name="T58" fmla="*/ 105 w 171"/>
                  <a:gd name="T59" fmla="*/ 92 h 225"/>
                  <a:gd name="T60" fmla="*/ 124 w 171"/>
                  <a:gd name="T61" fmla="*/ 84 h 225"/>
                  <a:gd name="T62" fmla="*/ 126 w 171"/>
                  <a:gd name="T63" fmla="*/ 65 h 225"/>
                  <a:gd name="T64" fmla="*/ 103 w 171"/>
                  <a:gd name="T65" fmla="*/ 72 h 225"/>
                  <a:gd name="T66" fmla="*/ 61 w 171"/>
                  <a:gd name="T67" fmla="*/ 80 h 225"/>
                  <a:gd name="T68" fmla="*/ 60 w 171"/>
                  <a:gd name="T69" fmla="*/ 98 h 225"/>
                  <a:gd name="T70" fmla="*/ 42 w 171"/>
                  <a:gd name="T71" fmla="*/ 72 h 225"/>
                  <a:gd name="T72" fmla="*/ 52 w 171"/>
                  <a:gd name="T73" fmla="*/ 47 h 225"/>
                  <a:gd name="T74" fmla="*/ 157 w 171"/>
                  <a:gd name="T75" fmla="*/ 42 h 225"/>
                  <a:gd name="T76" fmla="*/ 166 w 171"/>
                  <a:gd name="T77" fmla="*/ 29 h 225"/>
                  <a:gd name="T78" fmla="*/ 171 w 171"/>
                  <a:gd name="T79" fmla="*/ 14 h 225"/>
                  <a:gd name="T80" fmla="*/ 166 w 171"/>
                  <a:gd name="T81"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25">
                    <a:moveTo>
                      <a:pt x="166" y="0"/>
                    </a:moveTo>
                    <a:cubicBezTo>
                      <a:pt x="161" y="4"/>
                      <a:pt x="159" y="8"/>
                      <a:pt x="154" y="11"/>
                    </a:cubicBezTo>
                    <a:cubicBezTo>
                      <a:pt x="149" y="18"/>
                      <a:pt x="140" y="22"/>
                      <a:pt x="133" y="26"/>
                    </a:cubicBezTo>
                    <a:cubicBezTo>
                      <a:pt x="110" y="25"/>
                      <a:pt x="100" y="26"/>
                      <a:pt x="81" y="18"/>
                    </a:cubicBezTo>
                    <a:cubicBezTo>
                      <a:pt x="72" y="19"/>
                      <a:pt x="63" y="18"/>
                      <a:pt x="55" y="21"/>
                    </a:cubicBezTo>
                    <a:cubicBezTo>
                      <a:pt x="49" y="23"/>
                      <a:pt x="40" y="30"/>
                      <a:pt x="40" y="30"/>
                    </a:cubicBezTo>
                    <a:cubicBezTo>
                      <a:pt x="31" y="41"/>
                      <a:pt x="35" y="46"/>
                      <a:pt x="33" y="62"/>
                    </a:cubicBezTo>
                    <a:cubicBezTo>
                      <a:pt x="32" y="67"/>
                      <a:pt x="17" y="88"/>
                      <a:pt x="13" y="93"/>
                    </a:cubicBezTo>
                    <a:cubicBezTo>
                      <a:pt x="12" y="108"/>
                      <a:pt x="15" y="122"/>
                      <a:pt x="3" y="131"/>
                    </a:cubicBezTo>
                    <a:cubicBezTo>
                      <a:pt x="0" y="141"/>
                      <a:pt x="0" y="145"/>
                      <a:pt x="6" y="153"/>
                    </a:cubicBezTo>
                    <a:cubicBezTo>
                      <a:pt x="7" y="160"/>
                      <a:pt x="14" y="161"/>
                      <a:pt x="21" y="162"/>
                    </a:cubicBezTo>
                    <a:cubicBezTo>
                      <a:pt x="25" y="168"/>
                      <a:pt x="27" y="173"/>
                      <a:pt x="28" y="180"/>
                    </a:cubicBezTo>
                    <a:cubicBezTo>
                      <a:pt x="27" y="196"/>
                      <a:pt x="28" y="201"/>
                      <a:pt x="22" y="213"/>
                    </a:cubicBezTo>
                    <a:cubicBezTo>
                      <a:pt x="24" y="223"/>
                      <a:pt x="24" y="223"/>
                      <a:pt x="33" y="225"/>
                    </a:cubicBezTo>
                    <a:cubicBezTo>
                      <a:pt x="46" y="223"/>
                      <a:pt x="43" y="202"/>
                      <a:pt x="45" y="191"/>
                    </a:cubicBezTo>
                    <a:cubicBezTo>
                      <a:pt x="45" y="167"/>
                      <a:pt x="35" y="144"/>
                      <a:pt x="54" y="131"/>
                    </a:cubicBezTo>
                    <a:cubicBezTo>
                      <a:pt x="66" y="132"/>
                      <a:pt x="62" y="132"/>
                      <a:pt x="66" y="141"/>
                    </a:cubicBezTo>
                    <a:cubicBezTo>
                      <a:pt x="64" y="152"/>
                      <a:pt x="62" y="152"/>
                      <a:pt x="58" y="161"/>
                    </a:cubicBezTo>
                    <a:cubicBezTo>
                      <a:pt x="62" y="169"/>
                      <a:pt x="64" y="170"/>
                      <a:pt x="72" y="173"/>
                    </a:cubicBezTo>
                    <a:cubicBezTo>
                      <a:pt x="81" y="180"/>
                      <a:pt x="78" y="185"/>
                      <a:pt x="79" y="198"/>
                    </a:cubicBezTo>
                    <a:cubicBezTo>
                      <a:pt x="88" y="197"/>
                      <a:pt x="90" y="196"/>
                      <a:pt x="97" y="191"/>
                    </a:cubicBezTo>
                    <a:cubicBezTo>
                      <a:pt x="110" y="193"/>
                      <a:pt x="95" y="199"/>
                      <a:pt x="90" y="203"/>
                    </a:cubicBezTo>
                    <a:cubicBezTo>
                      <a:pt x="91" y="211"/>
                      <a:pt x="91" y="214"/>
                      <a:pt x="99" y="216"/>
                    </a:cubicBezTo>
                    <a:cubicBezTo>
                      <a:pt x="107" y="220"/>
                      <a:pt x="111" y="219"/>
                      <a:pt x="118" y="212"/>
                    </a:cubicBezTo>
                    <a:cubicBezTo>
                      <a:pt x="121" y="204"/>
                      <a:pt x="119" y="196"/>
                      <a:pt x="115" y="188"/>
                    </a:cubicBezTo>
                    <a:cubicBezTo>
                      <a:pt x="112" y="172"/>
                      <a:pt x="110" y="170"/>
                      <a:pt x="97" y="162"/>
                    </a:cubicBezTo>
                    <a:cubicBezTo>
                      <a:pt x="95" y="153"/>
                      <a:pt x="95" y="150"/>
                      <a:pt x="97" y="141"/>
                    </a:cubicBezTo>
                    <a:cubicBezTo>
                      <a:pt x="96" y="133"/>
                      <a:pt x="85" y="119"/>
                      <a:pt x="78" y="114"/>
                    </a:cubicBezTo>
                    <a:cubicBezTo>
                      <a:pt x="74" y="106"/>
                      <a:pt x="87" y="105"/>
                      <a:pt x="93" y="104"/>
                    </a:cubicBezTo>
                    <a:cubicBezTo>
                      <a:pt x="98" y="100"/>
                      <a:pt x="100" y="96"/>
                      <a:pt x="105" y="92"/>
                    </a:cubicBezTo>
                    <a:cubicBezTo>
                      <a:pt x="107" y="83"/>
                      <a:pt x="115" y="85"/>
                      <a:pt x="124" y="84"/>
                    </a:cubicBezTo>
                    <a:cubicBezTo>
                      <a:pt x="133" y="79"/>
                      <a:pt x="135" y="72"/>
                      <a:pt x="126" y="65"/>
                    </a:cubicBezTo>
                    <a:cubicBezTo>
                      <a:pt x="117" y="66"/>
                      <a:pt x="111" y="70"/>
                      <a:pt x="103" y="72"/>
                    </a:cubicBezTo>
                    <a:cubicBezTo>
                      <a:pt x="91" y="81"/>
                      <a:pt x="75" y="79"/>
                      <a:pt x="61" y="80"/>
                    </a:cubicBezTo>
                    <a:cubicBezTo>
                      <a:pt x="60" y="86"/>
                      <a:pt x="61" y="92"/>
                      <a:pt x="60" y="98"/>
                    </a:cubicBezTo>
                    <a:cubicBezTo>
                      <a:pt x="45" y="95"/>
                      <a:pt x="44" y="86"/>
                      <a:pt x="42" y="72"/>
                    </a:cubicBezTo>
                    <a:cubicBezTo>
                      <a:pt x="43" y="59"/>
                      <a:pt x="39" y="49"/>
                      <a:pt x="52" y="47"/>
                    </a:cubicBezTo>
                    <a:cubicBezTo>
                      <a:pt x="82" y="35"/>
                      <a:pt x="151" y="42"/>
                      <a:pt x="157" y="42"/>
                    </a:cubicBezTo>
                    <a:cubicBezTo>
                      <a:pt x="163" y="37"/>
                      <a:pt x="162" y="35"/>
                      <a:pt x="166" y="29"/>
                    </a:cubicBezTo>
                    <a:cubicBezTo>
                      <a:pt x="168" y="24"/>
                      <a:pt x="169" y="19"/>
                      <a:pt x="171" y="14"/>
                    </a:cubicBezTo>
                    <a:cubicBezTo>
                      <a:pt x="168" y="4"/>
                      <a:pt x="170" y="8"/>
                      <a:pt x="166" y="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0" name="Freeform 18">
                <a:extLst>
                  <a:ext uri="{FF2B5EF4-FFF2-40B4-BE49-F238E27FC236}">
                    <a16:creationId xmlns:a16="http://schemas.microsoft.com/office/drawing/2014/main" id="{73AC29BF-DD5C-E941-9904-6B3772333C5F}"/>
                  </a:ext>
                </a:extLst>
              </p:cNvPr>
              <p:cNvSpPr>
                <a:spLocks/>
              </p:cNvSpPr>
              <p:nvPr/>
            </p:nvSpPr>
            <p:spPr bwMode="auto">
              <a:xfrm>
                <a:off x="4740" y="2947"/>
                <a:ext cx="173" cy="70"/>
              </a:xfrm>
              <a:custGeom>
                <a:avLst/>
                <a:gdLst>
                  <a:gd name="T0" fmla="*/ 0 w 260"/>
                  <a:gd name="T1" fmla="*/ 35 h 105"/>
                  <a:gd name="T2" fmla="*/ 39 w 260"/>
                  <a:gd name="T3" fmla="*/ 14 h 105"/>
                  <a:gd name="T4" fmla="*/ 68 w 260"/>
                  <a:gd name="T5" fmla="*/ 25 h 105"/>
                  <a:gd name="T6" fmla="*/ 86 w 260"/>
                  <a:gd name="T7" fmla="*/ 31 h 105"/>
                  <a:gd name="T8" fmla="*/ 95 w 260"/>
                  <a:gd name="T9" fmla="*/ 41 h 105"/>
                  <a:gd name="T10" fmla="*/ 119 w 260"/>
                  <a:gd name="T11" fmla="*/ 46 h 105"/>
                  <a:gd name="T12" fmla="*/ 132 w 260"/>
                  <a:gd name="T13" fmla="*/ 35 h 105"/>
                  <a:gd name="T14" fmla="*/ 155 w 260"/>
                  <a:gd name="T15" fmla="*/ 31 h 105"/>
                  <a:gd name="T16" fmla="*/ 182 w 260"/>
                  <a:gd name="T17" fmla="*/ 44 h 105"/>
                  <a:gd name="T18" fmla="*/ 207 w 260"/>
                  <a:gd name="T19" fmla="*/ 43 h 105"/>
                  <a:gd name="T20" fmla="*/ 213 w 260"/>
                  <a:gd name="T21" fmla="*/ 44 h 105"/>
                  <a:gd name="T22" fmla="*/ 189 w 260"/>
                  <a:gd name="T23" fmla="*/ 53 h 105"/>
                  <a:gd name="T24" fmla="*/ 222 w 260"/>
                  <a:gd name="T25" fmla="*/ 65 h 105"/>
                  <a:gd name="T26" fmla="*/ 237 w 260"/>
                  <a:gd name="T27" fmla="*/ 79 h 105"/>
                  <a:gd name="T28" fmla="*/ 260 w 260"/>
                  <a:gd name="T29" fmla="*/ 88 h 105"/>
                  <a:gd name="T30" fmla="*/ 237 w 260"/>
                  <a:gd name="T31" fmla="*/ 91 h 105"/>
                  <a:gd name="T32" fmla="*/ 225 w 260"/>
                  <a:gd name="T33" fmla="*/ 98 h 105"/>
                  <a:gd name="T34" fmla="*/ 201 w 260"/>
                  <a:gd name="T35" fmla="*/ 88 h 105"/>
                  <a:gd name="T36" fmla="*/ 149 w 260"/>
                  <a:gd name="T37" fmla="*/ 80 h 105"/>
                  <a:gd name="T38" fmla="*/ 126 w 260"/>
                  <a:gd name="T39" fmla="*/ 73 h 105"/>
                  <a:gd name="T40" fmla="*/ 104 w 260"/>
                  <a:gd name="T41" fmla="*/ 64 h 105"/>
                  <a:gd name="T42" fmla="*/ 30 w 260"/>
                  <a:gd name="T43" fmla="*/ 58 h 105"/>
                  <a:gd name="T44" fmla="*/ 0 w 260"/>
                  <a:gd name="T45" fmla="*/ 3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105">
                    <a:moveTo>
                      <a:pt x="0" y="35"/>
                    </a:moveTo>
                    <a:cubicBezTo>
                      <a:pt x="10" y="15"/>
                      <a:pt x="15" y="16"/>
                      <a:pt x="39" y="14"/>
                    </a:cubicBezTo>
                    <a:cubicBezTo>
                      <a:pt x="50" y="0"/>
                      <a:pt x="59" y="19"/>
                      <a:pt x="68" y="25"/>
                    </a:cubicBezTo>
                    <a:cubicBezTo>
                      <a:pt x="73" y="28"/>
                      <a:pt x="80" y="29"/>
                      <a:pt x="86" y="31"/>
                    </a:cubicBezTo>
                    <a:cubicBezTo>
                      <a:pt x="81" y="41"/>
                      <a:pt x="81" y="40"/>
                      <a:pt x="95" y="41"/>
                    </a:cubicBezTo>
                    <a:cubicBezTo>
                      <a:pt x="113" y="45"/>
                      <a:pt x="105" y="43"/>
                      <a:pt x="119" y="46"/>
                    </a:cubicBezTo>
                    <a:cubicBezTo>
                      <a:pt x="131" y="44"/>
                      <a:pt x="147" y="44"/>
                      <a:pt x="132" y="35"/>
                    </a:cubicBezTo>
                    <a:cubicBezTo>
                      <a:pt x="137" y="25"/>
                      <a:pt x="143" y="30"/>
                      <a:pt x="155" y="31"/>
                    </a:cubicBezTo>
                    <a:cubicBezTo>
                      <a:pt x="163" y="35"/>
                      <a:pt x="173" y="42"/>
                      <a:pt x="182" y="44"/>
                    </a:cubicBezTo>
                    <a:cubicBezTo>
                      <a:pt x="190" y="44"/>
                      <a:pt x="199" y="43"/>
                      <a:pt x="207" y="43"/>
                    </a:cubicBezTo>
                    <a:cubicBezTo>
                      <a:pt x="209" y="43"/>
                      <a:pt x="212" y="42"/>
                      <a:pt x="213" y="44"/>
                    </a:cubicBezTo>
                    <a:cubicBezTo>
                      <a:pt x="215" y="49"/>
                      <a:pt x="190" y="53"/>
                      <a:pt x="189" y="53"/>
                    </a:cubicBezTo>
                    <a:cubicBezTo>
                      <a:pt x="178" y="71"/>
                      <a:pt x="217" y="65"/>
                      <a:pt x="222" y="65"/>
                    </a:cubicBezTo>
                    <a:cubicBezTo>
                      <a:pt x="231" y="69"/>
                      <a:pt x="230" y="75"/>
                      <a:pt x="237" y="79"/>
                    </a:cubicBezTo>
                    <a:cubicBezTo>
                      <a:pt x="252" y="77"/>
                      <a:pt x="257" y="73"/>
                      <a:pt x="260" y="88"/>
                    </a:cubicBezTo>
                    <a:cubicBezTo>
                      <a:pt x="256" y="105"/>
                      <a:pt x="248" y="93"/>
                      <a:pt x="237" y="91"/>
                    </a:cubicBezTo>
                    <a:cubicBezTo>
                      <a:pt x="222" y="93"/>
                      <a:pt x="238" y="96"/>
                      <a:pt x="225" y="98"/>
                    </a:cubicBezTo>
                    <a:cubicBezTo>
                      <a:pt x="214" y="96"/>
                      <a:pt x="211" y="90"/>
                      <a:pt x="201" y="88"/>
                    </a:cubicBezTo>
                    <a:cubicBezTo>
                      <a:pt x="184" y="80"/>
                      <a:pt x="169" y="81"/>
                      <a:pt x="149" y="80"/>
                    </a:cubicBezTo>
                    <a:cubicBezTo>
                      <a:pt x="141" y="79"/>
                      <a:pt x="134" y="74"/>
                      <a:pt x="126" y="73"/>
                    </a:cubicBezTo>
                    <a:cubicBezTo>
                      <a:pt x="119" y="68"/>
                      <a:pt x="112" y="65"/>
                      <a:pt x="104" y="64"/>
                    </a:cubicBezTo>
                    <a:cubicBezTo>
                      <a:pt x="82" y="55"/>
                      <a:pt x="50" y="58"/>
                      <a:pt x="30" y="58"/>
                    </a:cubicBezTo>
                    <a:cubicBezTo>
                      <a:pt x="14" y="50"/>
                      <a:pt x="26" y="35"/>
                      <a:pt x="0" y="35"/>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1" name="Freeform 19">
                <a:extLst>
                  <a:ext uri="{FF2B5EF4-FFF2-40B4-BE49-F238E27FC236}">
                    <a16:creationId xmlns:a16="http://schemas.microsoft.com/office/drawing/2014/main" id="{FB96BD8B-9EFE-9041-AFCB-F5519BE621FC}"/>
                  </a:ext>
                </a:extLst>
              </p:cNvPr>
              <p:cNvSpPr>
                <a:spLocks/>
              </p:cNvSpPr>
              <p:nvPr/>
            </p:nvSpPr>
            <p:spPr bwMode="auto">
              <a:xfrm>
                <a:off x="4916" y="2997"/>
                <a:ext cx="59" cy="21"/>
              </a:xfrm>
              <a:custGeom>
                <a:avLst/>
                <a:gdLst>
                  <a:gd name="T0" fmla="*/ 0 w 88"/>
                  <a:gd name="T1" fmla="*/ 16 h 32"/>
                  <a:gd name="T2" fmla="*/ 9 w 88"/>
                  <a:gd name="T3" fmla="*/ 4 h 32"/>
                  <a:gd name="T4" fmla="*/ 27 w 88"/>
                  <a:gd name="T5" fmla="*/ 8 h 32"/>
                  <a:gd name="T6" fmla="*/ 51 w 88"/>
                  <a:gd name="T7" fmla="*/ 1 h 32"/>
                  <a:gd name="T8" fmla="*/ 79 w 88"/>
                  <a:gd name="T9" fmla="*/ 8 h 32"/>
                  <a:gd name="T10" fmla="*/ 46 w 88"/>
                  <a:gd name="T11" fmla="*/ 26 h 32"/>
                  <a:gd name="T12" fmla="*/ 28 w 88"/>
                  <a:gd name="T13" fmla="*/ 32 h 32"/>
                  <a:gd name="T14" fmla="*/ 0 w 88"/>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2">
                    <a:moveTo>
                      <a:pt x="0" y="16"/>
                    </a:moveTo>
                    <a:cubicBezTo>
                      <a:pt x="1" y="9"/>
                      <a:pt x="3" y="8"/>
                      <a:pt x="9" y="4"/>
                    </a:cubicBezTo>
                    <a:cubicBezTo>
                      <a:pt x="15" y="5"/>
                      <a:pt x="21" y="7"/>
                      <a:pt x="27" y="8"/>
                    </a:cubicBezTo>
                    <a:cubicBezTo>
                      <a:pt x="36" y="7"/>
                      <a:pt x="42" y="2"/>
                      <a:pt x="51" y="1"/>
                    </a:cubicBezTo>
                    <a:cubicBezTo>
                      <a:pt x="65" y="2"/>
                      <a:pt x="69" y="0"/>
                      <a:pt x="79" y="8"/>
                    </a:cubicBezTo>
                    <a:cubicBezTo>
                      <a:pt x="88" y="31"/>
                      <a:pt x="61" y="24"/>
                      <a:pt x="46" y="26"/>
                    </a:cubicBezTo>
                    <a:cubicBezTo>
                      <a:pt x="40" y="29"/>
                      <a:pt x="34" y="31"/>
                      <a:pt x="28" y="32"/>
                    </a:cubicBezTo>
                    <a:cubicBezTo>
                      <a:pt x="13" y="31"/>
                      <a:pt x="2" y="32"/>
                      <a:pt x="0" y="16"/>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2" name="Freeform 20">
                <a:extLst>
                  <a:ext uri="{FF2B5EF4-FFF2-40B4-BE49-F238E27FC236}">
                    <a16:creationId xmlns:a16="http://schemas.microsoft.com/office/drawing/2014/main" id="{453E6A03-C579-484E-9EC6-E33E1823C8D7}"/>
                  </a:ext>
                </a:extLst>
              </p:cNvPr>
              <p:cNvSpPr>
                <a:spLocks/>
              </p:cNvSpPr>
              <p:nvPr/>
            </p:nvSpPr>
            <p:spPr bwMode="auto">
              <a:xfrm>
                <a:off x="4983" y="2995"/>
                <a:ext cx="97" cy="20"/>
              </a:xfrm>
              <a:custGeom>
                <a:avLst/>
                <a:gdLst>
                  <a:gd name="T0" fmla="*/ 2 w 146"/>
                  <a:gd name="T1" fmla="*/ 12 h 29"/>
                  <a:gd name="T2" fmla="*/ 16 w 146"/>
                  <a:gd name="T3" fmla="*/ 3 h 29"/>
                  <a:gd name="T4" fmla="*/ 34 w 146"/>
                  <a:gd name="T5" fmla="*/ 13 h 29"/>
                  <a:gd name="T6" fmla="*/ 82 w 146"/>
                  <a:gd name="T7" fmla="*/ 0 h 29"/>
                  <a:gd name="T8" fmla="*/ 106 w 146"/>
                  <a:gd name="T9" fmla="*/ 6 h 29"/>
                  <a:gd name="T10" fmla="*/ 143 w 146"/>
                  <a:gd name="T11" fmla="*/ 4 h 29"/>
                  <a:gd name="T12" fmla="*/ 128 w 146"/>
                  <a:gd name="T13" fmla="*/ 13 h 29"/>
                  <a:gd name="T14" fmla="*/ 94 w 146"/>
                  <a:gd name="T15" fmla="*/ 16 h 29"/>
                  <a:gd name="T16" fmla="*/ 55 w 146"/>
                  <a:gd name="T17" fmla="*/ 25 h 29"/>
                  <a:gd name="T18" fmla="*/ 22 w 146"/>
                  <a:gd name="T19" fmla="*/ 27 h 29"/>
                  <a:gd name="T20" fmla="*/ 5 w 146"/>
                  <a:gd name="T21" fmla="*/ 22 h 29"/>
                  <a:gd name="T22" fmla="*/ 2 w 146"/>
                  <a:gd name="T2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29">
                    <a:moveTo>
                      <a:pt x="2" y="12"/>
                    </a:moveTo>
                    <a:cubicBezTo>
                      <a:pt x="9" y="8"/>
                      <a:pt x="8" y="4"/>
                      <a:pt x="16" y="3"/>
                    </a:cubicBezTo>
                    <a:cubicBezTo>
                      <a:pt x="25" y="4"/>
                      <a:pt x="25" y="11"/>
                      <a:pt x="34" y="13"/>
                    </a:cubicBezTo>
                    <a:cubicBezTo>
                      <a:pt x="87" y="12"/>
                      <a:pt x="57" y="15"/>
                      <a:pt x="82" y="0"/>
                    </a:cubicBezTo>
                    <a:cubicBezTo>
                      <a:pt x="93" y="1"/>
                      <a:pt x="97" y="1"/>
                      <a:pt x="106" y="6"/>
                    </a:cubicBezTo>
                    <a:cubicBezTo>
                      <a:pt x="120" y="5"/>
                      <a:pt x="130" y="3"/>
                      <a:pt x="143" y="4"/>
                    </a:cubicBezTo>
                    <a:cubicBezTo>
                      <a:pt x="146" y="12"/>
                      <a:pt x="135" y="12"/>
                      <a:pt x="128" y="13"/>
                    </a:cubicBezTo>
                    <a:cubicBezTo>
                      <a:pt x="110" y="18"/>
                      <a:pt x="132" y="13"/>
                      <a:pt x="94" y="16"/>
                    </a:cubicBezTo>
                    <a:cubicBezTo>
                      <a:pt x="81" y="17"/>
                      <a:pt x="68" y="23"/>
                      <a:pt x="55" y="25"/>
                    </a:cubicBezTo>
                    <a:cubicBezTo>
                      <a:pt x="44" y="29"/>
                      <a:pt x="34" y="28"/>
                      <a:pt x="22" y="27"/>
                    </a:cubicBezTo>
                    <a:cubicBezTo>
                      <a:pt x="16" y="25"/>
                      <a:pt x="11" y="24"/>
                      <a:pt x="5" y="22"/>
                    </a:cubicBezTo>
                    <a:cubicBezTo>
                      <a:pt x="0" y="17"/>
                      <a:pt x="1" y="20"/>
                      <a:pt x="2" y="12"/>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3" name="Freeform 21">
                <a:extLst>
                  <a:ext uri="{FF2B5EF4-FFF2-40B4-BE49-F238E27FC236}">
                    <a16:creationId xmlns:a16="http://schemas.microsoft.com/office/drawing/2014/main" id="{5C7CF0C3-CE2C-D84F-BDD3-7E037720C364}"/>
                  </a:ext>
                </a:extLst>
              </p:cNvPr>
              <p:cNvSpPr>
                <a:spLocks/>
              </p:cNvSpPr>
              <p:nvPr/>
            </p:nvSpPr>
            <p:spPr bwMode="auto">
              <a:xfrm>
                <a:off x="4964" y="3020"/>
                <a:ext cx="32" cy="23"/>
              </a:xfrm>
              <a:custGeom>
                <a:avLst/>
                <a:gdLst>
                  <a:gd name="T0" fmla="*/ 16 w 49"/>
                  <a:gd name="T1" fmla="*/ 3 h 35"/>
                  <a:gd name="T2" fmla="*/ 49 w 49"/>
                  <a:gd name="T3" fmla="*/ 14 h 35"/>
                  <a:gd name="T4" fmla="*/ 28 w 49"/>
                  <a:gd name="T5" fmla="*/ 20 h 35"/>
                  <a:gd name="T6" fmla="*/ 10 w 49"/>
                  <a:gd name="T7" fmla="*/ 17 h 35"/>
                  <a:gd name="T8" fmla="*/ 16 w 49"/>
                  <a:gd name="T9" fmla="*/ 3 h 35"/>
                </a:gdLst>
                <a:ahLst/>
                <a:cxnLst>
                  <a:cxn ang="0">
                    <a:pos x="T0" y="T1"/>
                  </a:cxn>
                  <a:cxn ang="0">
                    <a:pos x="T2" y="T3"/>
                  </a:cxn>
                  <a:cxn ang="0">
                    <a:pos x="T4" y="T5"/>
                  </a:cxn>
                  <a:cxn ang="0">
                    <a:pos x="T6" y="T7"/>
                  </a:cxn>
                  <a:cxn ang="0">
                    <a:pos x="T8" y="T9"/>
                  </a:cxn>
                </a:cxnLst>
                <a:rect l="0" t="0" r="r" b="b"/>
                <a:pathLst>
                  <a:path w="49" h="35">
                    <a:moveTo>
                      <a:pt x="16" y="3"/>
                    </a:moveTo>
                    <a:cubicBezTo>
                      <a:pt x="34" y="5"/>
                      <a:pt x="35" y="7"/>
                      <a:pt x="49" y="14"/>
                    </a:cubicBezTo>
                    <a:cubicBezTo>
                      <a:pt x="46" y="35"/>
                      <a:pt x="41" y="29"/>
                      <a:pt x="28" y="20"/>
                    </a:cubicBezTo>
                    <a:cubicBezTo>
                      <a:pt x="23" y="17"/>
                      <a:pt x="15" y="17"/>
                      <a:pt x="10" y="17"/>
                    </a:cubicBezTo>
                    <a:cubicBezTo>
                      <a:pt x="0" y="0"/>
                      <a:pt x="16" y="10"/>
                      <a:pt x="16" y="3"/>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4" name="Freeform 22">
                <a:extLst>
                  <a:ext uri="{FF2B5EF4-FFF2-40B4-BE49-F238E27FC236}">
                    <a16:creationId xmlns:a16="http://schemas.microsoft.com/office/drawing/2014/main" id="{CAFE2D93-F5A7-744C-ACC7-8C956CB9F3AA}"/>
                  </a:ext>
                </a:extLst>
              </p:cNvPr>
              <p:cNvSpPr>
                <a:spLocks/>
              </p:cNvSpPr>
              <p:nvPr/>
            </p:nvSpPr>
            <p:spPr bwMode="auto">
              <a:xfrm>
                <a:off x="5112" y="2785"/>
                <a:ext cx="36" cy="80"/>
              </a:xfrm>
              <a:custGeom>
                <a:avLst/>
                <a:gdLst>
                  <a:gd name="T0" fmla="*/ 39 w 54"/>
                  <a:gd name="T1" fmla="*/ 0 h 121"/>
                  <a:gd name="T2" fmla="*/ 26 w 54"/>
                  <a:gd name="T3" fmla="*/ 10 h 121"/>
                  <a:gd name="T4" fmla="*/ 18 w 54"/>
                  <a:gd name="T5" fmla="*/ 24 h 121"/>
                  <a:gd name="T6" fmla="*/ 21 w 54"/>
                  <a:gd name="T7" fmla="*/ 48 h 121"/>
                  <a:gd name="T8" fmla="*/ 9 w 54"/>
                  <a:gd name="T9" fmla="*/ 84 h 121"/>
                  <a:gd name="T10" fmla="*/ 21 w 54"/>
                  <a:gd name="T11" fmla="*/ 108 h 121"/>
                  <a:gd name="T12" fmla="*/ 32 w 54"/>
                  <a:gd name="T13" fmla="*/ 97 h 121"/>
                  <a:gd name="T14" fmla="*/ 30 w 54"/>
                  <a:gd name="T15" fmla="*/ 90 h 121"/>
                  <a:gd name="T16" fmla="*/ 32 w 54"/>
                  <a:gd name="T17" fmla="*/ 75 h 121"/>
                  <a:gd name="T18" fmla="*/ 51 w 54"/>
                  <a:gd name="T19" fmla="*/ 73 h 121"/>
                  <a:gd name="T20" fmla="*/ 45 w 54"/>
                  <a:gd name="T21" fmla="*/ 66 h 121"/>
                  <a:gd name="T22" fmla="*/ 45 w 54"/>
                  <a:gd name="T23" fmla="*/ 48 h 121"/>
                  <a:gd name="T24" fmla="*/ 27 w 54"/>
                  <a:gd name="T25" fmla="*/ 36 h 121"/>
                  <a:gd name="T26" fmla="*/ 44 w 54"/>
                  <a:gd name="T27" fmla="*/ 19 h 121"/>
                  <a:gd name="T28" fmla="*/ 39 w 54"/>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121">
                    <a:moveTo>
                      <a:pt x="39" y="0"/>
                    </a:moveTo>
                    <a:cubicBezTo>
                      <a:pt x="35" y="4"/>
                      <a:pt x="31" y="7"/>
                      <a:pt x="26" y="10"/>
                    </a:cubicBezTo>
                    <a:cubicBezTo>
                      <a:pt x="23" y="15"/>
                      <a:pt x="20" y="19"/>
                      <a:pt x="18" y="24"/>
                    </a:cubicBezTo>
                    <a:cubicBezTo>
                      <a:pt x="17" y="33"/>
                      <a:pt x="16" y="40"/>
                      <a:pt x="21" y="48"/>
                    </a:cubicBezTo>
                    <a:cubicBezTo>
                      <a:pt x="26" y="67"/>
                      <a:pt x="31" y="80"/>
                      <a:pt x="9" y="84"/>
                    </a:cubicBezTo>
                    <a:cubicBezTo>
                      <a:pt x="0" y="96"/>
                      <a:pt x="11" y="103"/>
                      <a:pt x="21" y="108"/>
                    </a:cubicBezTo>
                    <a:cubicBezTo>
                      <a:pt x="31" y="121"/>
                      <a:pt x="33" y="107"/>
                      <a:pt x="32" y="97"/>
                    </a:cubicBezTo>
                    <a:cubicBezTo>
                      <a:pt x="32" y="95"/>
                      <a:pt x="31" y="92"/>
                      <a:pt x="30" y="90"/>
                    </a:cubicBezTo>
                    <a:cubicBezTo>
                      <a:pt x="31" y="85"/>
                      <a:pt x="28" y="78"/>
                      <a:pt x="32" y="75"/>
                    </a:cubicBezTo>
                    <a:cubicBezTo>
                      <a:pt x="37" y="71"/>
                      <a:pt x="45" y="76"/>
                      <a:pt x="51" y="73"/>
                    </a:cubicBezTo>
                    <a:cubicBezTo>
                      <a:pt x="54" y="72"/>
                      <a:pt x="48" y="67"/>
                      <a:pt x="45" y="66"/>
                    </a:cubicBezTo>
                    <a:cubicBezTo>
                      <a:pt x="35" y="58"/>
                      <a:pt x="33" y="57"/>
                      <a:pt x="45" y="48"/>
                    </a:cubicBezTo>
                    <a:cubicBezTo>
                      <a:pt x="51" y="34"/>
                      <a:pt x="40" y="37"/>
                      <a:pt x="27" y="36"/>
                    </a:cubicBezTo>
                    <a:cubicBezTo>
                      <a:pt x="25" y="27"/>
                      <a:pt x="37" y="23"/>
                      <a:pt x="44" y="19"/>
                    </a:cubicBezTo>
                    <a:cubicBezTo>
                      <a:pt x="42" y="2"/>
                      <a:pt x="45" y="8"/>
                      <a:pt x="39" y="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5" name="Freeform 23">
                <a:extLst>
                  <a:ext uri="{FF2B5EF4-FFF2-40B4-BE49-F238E27FC236}">
                    <a16:creationId xmlns:a16="http://schemas.microsoft.com/office/drawing/2014/main" id="{6FB918B3-55D7-9C46-B47B-4E6186EE4F65}"/>
                  </a:ext>
                </a:extLst>
              </p:cNvPr>
              <p:cNvSpPr>
                <a:spLocks/>
              </p:cNvSpPr>
              <p:nvPr/>
            </p:nvSpPr>
            <p:spPr bwMode="auto">
              <a:xfrm>
                <a:off x="5097" y="2897"/>
                <a:ext cx="20" cy="18"/>
              </a:xfrm>
              <a:custGeom>
                <a:avLst/>
                <a:gdLst>
                  <a:gd name="T0" fmla="*/ 24 w 30"/>
                  <a:gd name="T1" fmla="*/ 9 h 28"/>
                  <a:gd name="T2" fmla="*/ 13 w 30"/>
                  <a:gd name="T3" fmla="*/ 0 h 28"/>
                  <a:gd name="T4" fmla="*/ 0 w 30"/>
                  <a:gd name="T5" fmla="*/ 11 h 28"/>
                  <a:gd name="T6" fmla="*/ 15 w 30"/>
                  <a:gd name="T7" fmla="*/ 24 h 28"/>
                  <a:gd name="T8" fmla="*/ 30 w 30"/>
                  <a:gd name="T9" fmla="*/ 15 h 28"/>
                  <a:gd name="T10" fmla="*/ 24 w 30"/>
                  <a:gd name="T11" fmla="*/ 9 h 28"/>
                </a:gdLst>
                <a:ahLst/>
                <a:cxnLst>
                  <a:cxn ang="0">
                    <a:pos x="T0" y="T1"/>
                  </a:cxn>
                  <a:cxn ang="0">
                    <a:pos x="T2" y="T3"/>
                  </a:cxn>
                  <a:cxn ang="0">
                    <a:pos x="T4" y="T5"/>
                  </a:cxn>
                  <a:cxn ang="0">
                    <a:pos x="T6" y="T7"/>
                  </a:cxn>
                  <a:cxn ang="0">
                    <a:pos x="T8" y="T9"/>
                  </a:cxn>
                  <a:cxn ang="0">
                    <a:pos x="T10" y="T11"/>
                  </a:cxn>
                </a:cxnLst>
                <a:rect l="0" t="0" r="r" b="b"/>
                <a:pathLst>
                  <a:path w="30" h="28">
                    <a:moveTo>
                      <a:pt x="24" y="9"/>
                    </a:moveTo>
                    <a:cubicBezTo>
                      <a:pt x="21" y="4"/>
                      <a:pt x="18" y="3"/>
                      <a:pt x="13" y="0"/>
                    </a:cubicBezTo>
                    <a:cubicBezTo>
                      <a:pt x="4" y="2"/>
                      <a:pt x="2" y="2"/>
                      <a:pt x="0" y="11"/>
                    </a:cubicBezTo>
                    <a:cubicBezTo>
                      <a:pt x="4" y="19"/>
                      <a:pt x="6" y="22"/>
                      <a:pt x="15" y="24"/>
                    </a:cubicBezTo>
                    <a:cubicBezTo>
                      <a:pt x="23" y="28"/>
                      <a:pt x="26" y="21"/>
                      <a:pt x="30" y="15"/>
                    </a:cubicBezTo>
                    <a:cubicBezTo>
                      <a:pt x="26" y="10"/>
                      <a:pt x="28" y="12"/>
                      <a:pt x="24" y="9"/>
                    </a:cubicBezTo>
                    <a:close/>
                  </a:path>
                </a:pathLst>
              </a:custGeom>
              <a:solidFill>
                <a:srgbClr val="70AD4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6" name="Freeform 24">
                <a:extLst>
                  <a:ext uri="{FF2B5EF4-FFF2-40B4-BE49-F238E27FC236}">
                    <a16:creationId xmlns:a16="http://schemas.microsoft.com/office/drawing/2014/main" id="{CA17A216-5FCB-6A48-812F-FBBBADEA6336}"/>
                  </a:ext>
                </a:extLst>
              </p:cNvPr>
              <p:cNvSpPr>
                <a:spLocks/>
              </p:cNvSpPr>
              <p:nvPr/>
            </p:nvSpPr>
            <p:spPr bwMode="auto">
              <a:xfrm>
                <a:off x="5133" y="2889"/>
                <a:ext cx="47" cy="31"/>
              </a:xfrm>
              <a:custGeom>
                <a:avLst/>
                <a:gdLst>
                  <a:gd name="T0" fmla="*/ 0 w 70"/>
                  <a:gd name="T1" fmla="*/ 11 h 47"/>
                  <a:gd name="T2" fmla="*/ 33 w 70"/>
                  <a:gd name="T3" fmla="*/ 5 h 47"/>
                  <a:gd name="T4" fmla="*/ 60 w 70"/>
                  <a:gd name="T5" fmla="*/ 8 h 47"/>
                  <a:gd name="T6" fmla="*/ 69 w 70"/>
                  <a:gd name="T7" fmla="*/ 21 h 47"/>
                  <a:gd name="T8" fmla="*/ 67 w 70"/>
                  <a:gd name="T9" fmla="*/ 39 h 47"/>
                  <a:gd name="T10" fmla="*/ 48 w 70"/>
                  <a:gd name="T11" fmla="*/ 26 h 47"/>
                  <a:gd name="T12" fmla="*/ 19 w 70"/>
                  <a:gd name="T13" fmla="*/ 24 h 47"/>
                  <a:gd name="T14" fmla="*/ 0 w 70"/>
                  <a:gd name="T15" fmla="*/ 1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7">
                    <a:moveTo>
                      <a:pt x="0" y="11"/>
                    </a:moveTo>
                    <a:cubicBezTo>
                      <a:pt x="10" y="6"/>
                      <a:pt x="22" y="7"/>
                      <a:pt x="33" y="5"/>
                    </a:cubicBezTo>
                    <a:cubicBezTo>
                      <a:pt x="42" y="0"/>
                      <a:pt x="52" y="3"/>
                      <a:pt x="60" y="8"/>
                    </a:cubicBezTo>
                    <a:cubicBezTo>
                      <a:pt x="64" y="13"/>
                      <a:pt x="67" y="14"/>
                      <a:pt x="69" y="21"/>
                    </a:cubicBezTo>
                    <a:cubicBezTo>
                      <a:pt x="68" y="27"/>
                      <a:pt x="70" y="34"/>
                      <a:pt x="67" y="39"/>
                    </a:cubicBezTo>
                    <a:cubicBezTo>
                      <a:pt x="62" y="47"/>
                      <a:pt x="52" y="27"/>
                      <a:pt x="48" y="26"/>
                    </a:cubicBezTo>
                    <a:cubicBezTo>
                      <a:pt x="38" y="25"/>
                      <a:pt x="29" y="25"/>
                      <a:pt x="19" y="24"/>
                    </a:cubicBezTo>
                    <a:cubicBezTo>
                      <a:pt x="11" y="23"/>
                      <a:pt x="0" y="21"/>
                      <a:pt x="0" y="11"/>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7" name="Freeform 25">
                <a:extLst>
                  <a:ext uri="{FF2B5EF4-FFF2-40B4-BE49-F238E27FC236}">
                    <a16:creationId xmlns:a16="http://schemas.microsoft.com/office/drawing/2014/main" id="{86E3307E-8D2D-0848-84CE-ADC8DA13DEB4}"/>
                  </a:ext>
                </a:extLst>
              </p:cNvPr>
              <p:cNvSpPr>
                <a:spLocks/>
              </p:cNvSpPr>
              <p:nvPr/>
            </p:nvSpPr>
            <p:spPr bwMode="auto">
              <a:xfrm>
                <a:off x="5182" y="2846"/>
                <a:ext cx="172" cy="172"/>
              </a:xfrm>
              <a:custGeom>
                <a:avLst/>
                <a:gdLst>
                  <a:gd name="T0" fmla="*/ 85 w 259"/>
                  <a:gd name="T1" fmla="*/ 19 h 259"/>
                  <a:gd name="T2" fmla="*/ 58 w 259"/>
                  <a:gd name="T3" fmla="*/ 6 h 259"/>
                  <a:gd name="T4" fmla="*/ 44 w 259"/>
                  <a:gd name="T5" fmla="*/ 0 h 259"/>
                  <a:gd name="T6" fmla="*/ 8 w 259"/>
                  <a:gd name="T7" fmla="*/ 12 h 259"/>
                  <a:gd name="T8" fmla="*/ 13 w 259"/>
                  <a:gd name="T9" fmla="*/ 31 h 259"/>
                  <a:gd name="T10" fmla="*/ 25 w 259"/>
                  <a:gd name="T11" fmla="*/ 43 h 259"/>
                  <a:gd name="T12" fmla="*/ 73 w 259"/>
                  <a:gd name="T13" fmla="*/ 57 h 259"/>
                  <a:gd name="T14" fmla="*/ 52 w 259"/>
                  <a:gd name="T15" fmla="*/ 64 h 259"/>
                  <a:gd name="T16" fmla="*/ 44 w 259"/>
                  <a:gd name="T17" fmla="*/ 72 h 259"/>
                  <a:gd name="T18" fmla="*/ 31 w 259"/>
                  <a:gd name="T19" fmla="*/ 73 h 259"/>
                  <a:gd name="T20" fmla="*/ 44 w 259"/>
                  <a:gd name="T21" fmla="*/ 82 h 259"/>
                  <a:gd name="T22" fmla="*/ 58 w 259"/>
                  <a:gd name="T23" fmla="*/ 117 h 259"/>
                  <a:gd name="T24" fmla="*/ 64 w 259"/>
                  <a:gd name="T25" fmla="*/ 99 h 259"/>
                  <a:gd name="T26" fmla="*/ 80 w 259"/>
                  <a:gd name="T27" fmla="*/ 108 h 259"/>
                  <a:gd name="T28" fmla="*/ 101 w 259"/>
                  <a:gd name="T29" fmla="*/ 117 h 259"/>
                  <a:gd name="T30" fmla="*/ 118 w 259"/>
                  <a:gd name="T31" fmla="*/ 121 h 259"/>
                  <a:gd name="T32" fmla="*/ 142 w 259"/>
                  <a:gd name="T33" fmla="*/ 130 h 259"/>
                  <a:gd name="T34" fmla="*/ 181 w 259"/>
                  <a:gd name="T35" fmla="*/ 156 h 259"/>
                  <a:gd name="T36" fmla="*/ 196 w 259"/>
                  <a:gd name="T37" fmla="*/ 178 h 259"/>
                  <a:gd name="T38" fmla="*/ 199 w 259"/>
                  <a:gd name="T39" fmla="*/ 210 h 259"/>
                  <a:gd name="T40" fmla="*/ 184 w 259"/>
                  <a:gd name="T41" fmla="*/ 208 h 259"/>
                  <a:gd name="T42" fmla="*/ 167 w 259"/>
                  <a:gd name="T43" fmla="*/ 228 h 259"/>
                  <a:gd name="T44" fmla="*/ 172 w 259"/>
                  <a:gd name="T45" fmla="*/ 241 h 259"/>
                  <a:gd name="T46" fmla="*/ 193 w 259"/>
                  <a:gd name="T47" fmla="*/ 231 h 259"/>
                  <a:gd name="T48" fmla="*/ 232 w 259"/>
                  <a:gd name="T49" fmla="*/ 232 h 259"/>
                  <a:gd name="T50" fmla="*/ 235 w 259"/>
                  <a:gd name="T51" fmla="*/ 243 h 259"/>
                  <a:gd name="T52" fmla="*/ 247 w 259"/>
                  <a:gd name="T53" fmla="*/ 255 h 259"/>
                  <a:gd name="T54" fmla="*/ 250 w 259"/>
                  <a:gd name="T55" fmla="*/ 259 h 259"/>
                  <a:gd name="T56" fmla="*/ 256 w 259"/>
                  <a:gd name="T57" fmla="*/ 192 h 259"/>
                  <a:gd name="T58" fmla="*/ 247 w 259"/>
                  <a:gd name="T59" fmla="*/ 186 h 259"/>
                  <a:gd name="T60" fmla="*/ 259 w 259"/>
                  <a:gd name="T61" fmla="*/ 166 h 259"/>
                  <a:gd name="T62" fmla="*/ 259 w 259"/>
                  <a:gd name="T63" fmla="*/ 64 h 259"/>
                  <a:gd name="T64" fmla="*/ 212 w 259"/>
                  <a:gd name="T65" fmla="*/ 57 h 259"/>
                  <a:gd name="T66" fmla="*/ 200 w 259"/>
                  <a:gd name="T67" fmla="*/ 48 h 259"/>
                  <a:gd name="T68" fmla="*/ 185 w 259"/>
                  <a:gd name="T69" fmla="*/ 36 h 259"/>
                  <a:gd name="T70" fmla="*/ 167 w 259"/>
                  <a:gd name="T71" fmla="*/ 34 h 259"/>
                  <a:gd name="T72" fmla="*/ 158 w 259"/>
                  <a:gd name="T73" fmla="*/ 46 h 259"/>
                  <a:gd name="T74" fmla="*/ 140 w 259"/>
                  <a:gd name="T75" fmla="*/ 55 h 259"/>
                  <a:gd name="T76" fmla="*/ 119 w 259"/>
                  <a:gd name="T77" fmla="*/ 81 h 259"/>
                  <a:gd name="T78" fmla="*/ 103 w 259"/>
                  <a:gd name="T79" fmla="*/ 82 h 259"/>
                  <a:gd name="T80" fmla="*/ 94 w 259"/>
                  <a:gd name="T81" fmla="*/ 54 h 259"/>
                  <a:gd name="T82" fmla="*/ 83 w 259"/>
                  <a:gd name="T83" fmla="*/ 64 h 259"/>
                  <a:gd name="T84" fmla="*/ 85 w 259"/>
                  <a:gd name="T85" fmla="*/ 40 h 259"/>
                  <a:gd name="T86" fmla="*/ 85 w 259"/>
                  <a:gd name="T87" fmla="*/ 1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9" h="259">
                    <a:moveTo>
                      <a:pt x="85" y="19"/>
                    </a:moveTo>
                    <a:cubicBezTo>
                      <a:pt x="81" y="5"/>
                      <a:pt x="72" y="7"/>
                      <a:pt x="58" y="6"/>
                    </a:cubicBezTo>
                    <a:cubicBezTo>
                      <a:pt x="53" y="4"/>
                      <a:pt x="50" y="1"/>
                      <a:pt x="44" y="0"/>
                    </a:cubicBezTo>
                    <a:cubicBezTo>
                      <a:pt x="30" y="1"/>
                      <a:pt x="22" y="10"/>
                      <a:pt x="8" y="12"/>
                    </a:cubicBezTo>
                    <a:cubicBezTo>
                      <a:pt x="0" y="20"/>
                      <a:pt x="1" y="29"/>
                      <a:pt x="13" y="31"/>
                    </a:cubicBezTo>
                    <a:cubicBezTo>
                      <a:pt x="24" y="36"/>
                      <a:pt x="20" y="32"/>
                      <a:pt x="25" y="43"/>
                    </a:cubicBezTo>
                    <a:cubicBezTo>
                      <a:pt x="27" y="66"/>
                      <a:pt x="54" y="55"/>
                      <a:pt x="73" y="57"/>
                    </a:cubicBezTo>
                    <a:cubicBezTo>
                      <a:pt x="75" y="71"/>
                      <a:pt x="75" y="58"/>
                      <a:pt x="52" y="64"/>
                    </a:cubicBezTo>
                    <a:cubicBezTo>
                      <a:pt x="48" y="65"/>
                      <a:pt x="47" y="70"/>
                      <a:pt x="44" y="72"/>
                    </a:cubicBezTo>
                    <a:cubicBezTo>
                      <a:pt x="40" y="71"/>
                      <a:pt x="16" y="70"/>
                      <a:pt x="31" y="73"/>
                    </a:cubicBezTo>
                    <a:cubicBezTo>
                      <a:pt x="35" y="76"/>
                      <a:pt x="40" y="79"/>
                      <a:pt x="44" y="82"/>
                    </a:cubicBezTo>
                    <a:cubicBezTo>
                      <a:pt x="49" y="94"/>
                      <a:pt x="44" y="112"/>
                      <a:pt x="58" y="117"/>
                    </a:cubicBezTo>
                    <a:cubicBezTo>
                      <a:pt x="59" y="111"/>
                      <a:pt x="61" y="105"/>
                      <a:pt x="64" y="99"/>
                    </a:cubicBezTo>
                    <a:cubicBezTo>
                      <a:pt x="78" y="100"/>
                      <a:pt x="71" y="101"/>
                      <a:pt x="80" y="108"/>
                    </a:cubicBezTo>
                    <a:cubicBezTo>
                      <a:pt x="97" y="104"/>
                      <a:pt x="90" y="110"/>
                      <a:pt x="101" y="117"/>
                    </a:cubicBezTo>
                    <a:cubicBezTo>
                      <a:pt x="105" y="120"/>
                      <a:pt x="113" y="120"/>
                      <a:pt x="118" y="121"/>
                    </a:cubicBezTo>
                    <a:cubicBezTo>
                      <a:pt x="125" y="125"/>
                      <a:pt x="134" y="129"/>
                      <a:pt x="142" y="130"/>
                    </a:cubicBezTo>
                    <a:cubicBezTo>
                      <a:pt x="154" y="139"/>
                      <a:pt x="168" y="148"/>
                      <a:pt x="181" y="156"/>
                    </a:cubicBezTo>
                    <a:cubicBezTo>
                      <a:pt x="186" y="163"/>
                      <a:pt x="190" y="171"/>
                      <a:pt x="196" y="178"/>
                    </a:cubicBezTo>
                    <a:cubicBezTo>
                      <a:pt x="194" y="189"/>
                      <a:pt x="193" y="200"/>
                      <a:pt x="199" y="210"/>
                    </a:cubicBezTo>
                    <a:cubicBezTo>
                      <a:pt x="193" y="211"/>
                      <a:pt x="189" y="211"/>
                      <a:pt x="184" y="208"/>
                    </a:cubicBezTo>
                    <a:cubicBezTo>
                      <a:pt x="169" y="211"/>
                      <a:pt x="174" y="216"/>
                      <a:pt x="167" y="228"/>
                    </a:cubicBezTo>
                    <a:cubicBezTo>
                      <a:pt x="166" y="235"/>
                      <a:pt x="164" y="239"/>
                      <a:pt x="172" y="241"/>
                    </a:cubicBezTo>
                    <a:cubicBezTo>
                      <a:pt x="179" y="237"/>
                      <a:pt x="185" y="233"/>
                      <a:pt x="193" y="231"/>
                    </a:cubicBezTo>
                    <a:cubicBezTo>
                      <a:pt x="206" y="231"/>
                      <a:pt x="219" y="230"/>
                      <a:pt x="232" y="232"/>
                    </a:cubicBezTo>
                    <a:cubicBezTo>
                      <a:pt x="236" y="233"/>
                      <a:pt x="233" y="240"/>
                      <a:pt x="235" y="243"/>
                    </a:cubicBezTo>
                    <a:cubicBezTo>
                      <a:pt x="241" y="252"/>
                      <a:pt x="240" y="251"/>
                      <a:pt x="247" y="255"/>
                    </a:cubicBezTo>
                    <a:cubicBezTo>
                      <a:pt x="248" y="256"/>
                      <a:pt x="250" y="259"/>
                      <a:pt x="250" y="259"/>
                    </a:cubicBezTo>
                    <a:lnTo>
                      <a:pt x="256" y="192"/>
                    </a:lnTo>
                    <a:lnTo>
                      <a:pt x="247" y="186"/>
                    </a:lnTo>
                    <a:lnTo>
                      <a:pt x="259" y="166"/>
                    </a:lnTo>
                    <a:lnTo>
                      <a:pt x="259" y="64"/>
                    </a:lnTo>
                    <a:cubicBezTo>
                      <a:pt x="239" y="63"/>
                      <a:pt x="230" y="60"/>
                      <a:pt x="212" y="57"/>
                    </a:cubicBezTo>
                    <a:cubicBezTo>
                      <a:pt x="207" y="53"/>
                      <a:pt x="207" y="49"/>
                      <a:pt x="200" y="48"/>
                    </a:cubicBezTo>
                    <a:cubicBezTo>
                      <a:pt x="198" y="44"/>
                      <a:pt x="188" y="37"/>
                      <a:pt x="185" y="36"/>
                    </a:cubicBezTo>
                    <a:cubicBezTo>
                      <a:pt x="177" y="30"/>
                      <a:pt x="176" y="32"/>
                      <a:pt x="167" y="34"/>
                    </a:cubicBezTo>
                    <a:cubicBezTo>
                      <a:pt x="162" y="37"/>
                      <a:pt x="161" y="41"/>
                      <a:pt x="158" y="46"/>
                    </a:cubicBezTo>
                    <a:cubicBezTo>
                      <a:pt x="156" y="56"/>
                      <a:pt x="150" y="54"/>
                      <a:pt x="140" y="55"/>
                    </a:cubicBezTo>
                    <a:cubicBezTo>
                      <a:pt x="135" y="63"/>
                      <a:pt x="127" y="76"/>
                      <a:pt x="119" y="81"/>
                    </a:cubicBezTo>
                    <a:cubicBezTo>
                      <a:pt x="113" y="88"/>
                      <a:pt x="110" y="87"/>
                      <a:pt x="103" y="82"/>
                    </a:cubicBezTo>
                    <a:cubicBezTo>
                      <a:pt x="98" y="73"/>
                      <a:pt x="103" y="61"/>
                      <a:pt x="94" y="54"/>
                    </a:cubicBezTo>
                    <a:cubicBezTo>
                      <a:pt x="90" y="59"/>
                      <a:pt x="90" y="63"/>
                      <a:pt x="83" y="64"/>
                    </a:cubicBezTo>
                    <a:cubicBezTo>
                      <a:pt x="77" y="56"/>
                      <a:pt x="81" y="48"/>
                      <a:pt x="85" y="40"/>
                    </a:cubicBezTo>
                    <a:cubicBezTo>
                      <a:pt x="87" y="29"/>
                      <a:pt x="86" y="36"/>
                      <a:pt x="85" y="19"/>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grpSp>
        <p:grpSp>
          <p:nvGrpSpPr>
            <p:cNvPr id="30" name="Group 26">
              <a:extLst>
                <a:ext uri="{FF2B5EF4-FFF2-40B4-BE49-F238E27FC236}">
                  <a16:creationId xmlns:a16="http://schemas.microsoft.com/office/drawing/2014/main" id="{E7CCD9A9-9130-FE42-ABD5-DDE628A16854}"/>
                </a:ext>
              </a:extLst>
            </p:cNvPr>
            <p:cNvGrpSpPr>
              <a:grpSpLocks/>
            </p:cNvGrpSpPr>
            <p:nvPr/>
          </p:nvGrpSpPr>
          <p:grpSpPr bwMode="auto">
            <a:xfrm>
              <a:off x="1004" y="1315"/>
              <a:ext cx="1353" cy="707"/>
              <a:chOff x="1445" y="2042"/>
              <a:chExt cx="2040" cy="1066"/>
            </a:xfrm>
            <a:grpFill/>
          </p:grpSpPr>
          <p:sp>
            <p:nvSpPr>
              <p:cNvPr id="280" name="Freeform 27">
                <a:extLst>
                  <a:ext uri="{FF2B5EF4-FFF2-40B4-BE49-F238E27FC236}">
                    <a16:creationId xmlns:a16="http://schemas.microsoft.com/office/drawing/2014/main" id="{08C04CE2-493B-6F49-B080-FB9FBBC4F2DF}"/>
                  </a:ext>
                </a:extLst>
              </p:cNvPr>
              <p:cNvSpPr>
                <a:spLocks/>
              </p:cNvSpPr>
              <p:nvPr/>
            </p:nvSpPr>
            <p:spPr bwMode="auto">
              <a:xfrm>
                <a:off x="1466" y="2226"/>
                <a:ext cx="1673" cy="882"/>
              </a:xfrm>
              <a:custGeom>
                <a:avLst/>
                <a:gdLst>
                  <a:gd name="T0" fmla="*/ 832 w 1673"/>
                  <a:gd name="T1" fmla="*/ 692 h 882"/>
                  <a:gd name="T2" fmla="*/ 925 w 1673"/>
                  <a:gd name="T3" fmla="*/ 695 h 882"/>
                  <a:gd name="T4" fmla="*/ 1021 w 1673"/>
                  <a:gd name="T5" fmla="*/ 806 h 882"/>
                  <a:gd name="T6" fmla="*/ 942 w 1673"/>
                  <a:gd name="T7" fmla="*/ 834 h 882"/>
                  <a:gd name="T8" fmla="*/ 1005 w 1673"/>
                  <a:gd name="T9" fmla="*/ 836 h 882"/>
                  <a:gd name="T10" fmla="*/ 1221 w 1673"/>
                  <a:gd name="T11" fmla="*/ 788 h 882"/>
                  <a:gd name="T12" fmla="*/ 1327 w 1673"/>
                  <a:gd name="T13" fmla="*/ 771 h 882"/>
                  <a:gd name="T14" fmla="*/ 1357 w 1673"/>
                  <a:gd name="T15" fmla="*/ 795 h 882"/>
                  <a:gd name="T16" fmla="*/ 1401 w 1673"/>
                  <a:gd name="T17" fmla="*/ 806 h 882"/>
                  <a:gd name="T18" fmla="*/ 1506 w 1673"/>
                  <a:gd name="T19" fmla="*/ 759 h 882"/>
                  <a:gd name="T20" fmla="*/ 1444 w 1673"/>
                  <a:gd name="T21" fmla="*/ 767 h 882"/>
                  <a:gd name="T22" fmla="*/ 1405 w 1673"/>
                  <a:gd name="T23" fmla="*/ 707 h 882"/>
                  <a:gd name="T24" fmla="*/ 1378 w 1673"/>
                  <a:gd name="T25" fmla="*/ 666 h 882"/>
                  <a:gd name="T26" fmla="*/ 1258 w 1673"/>
                  <a:gd name="T27" fmla="*/ 732 h 882"/>
                  <a:gd name="T28" fmla="*/ 1371 w 1673"/>
                  <a:gd name="T29" fmla="*/ 662 h 882"/>
                  <a:gd name="T30" fmla="*/ 1563 w 1673"/>
                  <a:gd name="T31" fmla="*/ 629 h 882"/>
                  <a:gd name="T32" fmla="*/ 1663 w 1673"/>
                  <a:gd name="T33" fmla="*/ 581 h 882"/>
                  <a:gd name="T34" fmla="*/ 1573 w 1673"/>
                  <a:gd name="T35" fmla="*/ 551 h 882"/>
                  <a:gd name="T36" fmla="*/ 1606 w 1673"/>
                  <a:gd name="T37" fmla="*/ 494 h 882"/>
                  <a:gd name="T38" fmla="*/ 1581 w 1673"/>
                  <a:gd name="T39" fmla="*/ 357 h 882"/>
                  <a:gd name="T40" fmla="*/ 1468 w 1673"/>
                  <a:gd name="T41" fmla="*/ 369 h 882"/>
                  <a:gd name="T42" fmla="*/ 1444 w 1673"/>
                  <a:gd name="T43" fmla="*/ 315 h 882"/>
                  <a:gd name="T44" fmla="*/ 1330 w 1673"/>
                  <a:gd name="T45" fmla="*/ 327 h 882"/>
                  <a:gd name="T46" fmla="*/ 1269 w 1673"/>
                  <a:gd name="T47" fmla="*/ 398 h 882"/>
                  <a:gd name="T48" fmla="*/ 1174 w 1673"/>
                  <a:gd name="T49" fmla="*/ 507 h 882"/>
                  <a:gd name="T50" fmla="*/ 1093 w 1673"/>
                  <a:gd name="T51" fmla="*/ 590 h 882"/>
                  <a:gd name="T52" fmla="*/ 1114 w 1673"/>
                  <a:gd name="T53" fmla="*/ 518 h 882"/>
                  <a:gd name="T54" fmla="*/ 1009 w 1673"/>
                  <a:gd name="T55" fmla="*/ 458 h 882"/>
                  <a:gd name="T56" fmla="*/ 948 w 1673"/>
                  <a:gd name="T57" fmla="*/ 425 h 882"/>
                  <a:gd name="T58" fmla="*/ 990 w 1673"/>
                  <a:gd name="T59" fmla="*/ 338 h 882"/>
                  <a:gd name="T60" fmla="*/ 1086 w 1673"/>
                  <a:gd name="T61" fmla="*/ 284 h 882"/>
                  <a:gd name="T62" fmla="*/ 1170 w 1673"/>
                  <a:gd name="T63" fmla="*/ 254 h 882"/>
                  <a:gd name="T64" fmla="*/ 1189 w 1673"/>
                  <a:gd name="T65" fmla="*/ 224 h 882"/>
                  <a:gd name="T66" fmla="*/ 1269 w 1673"/>
                  <a:gd name="T67" fmla="*/ 191 h 882"/>
                  <a:gd name="T68" fmla="*/ 1368 w 1673"/>
                  <a:gd name="T69" fmla="*/ 167 h 882"/>
                  <a:gd name="T70" fmla="*/ 1362 w 1673"/>
                  <a:gd name="T71" fmla="*/ 108 h 882"/>
                  <a:gd name="T72" fmla="*/ 1257 w 1673"/>
                  <a:gd name="T73" fmla="*/ 176 h 882"/>
                  <a:gd name="T74" fmla="*/ 1231 w 1673"/>
                  <a:gd name="T75" fmla="*/ 138 h 882"/>
                  <a:gd name="T76" fmla="*/ 1222 w 1673"/>
                  <a:gd name="T77" fmla="*/ 90 h 882"/>
                  <a:gd name="T78" fmla="*/ 1326 w 1673"/>
                  <a:gd name="T79" fmla="*/ 26 h 882"/>
                  <a:gd name="T80" fmla="*/ 1210 w 1673"/>
                  <a:gd name="T81" fmla="*/ 42 h 882"/>
                  <a:gd name="T82" fmla="*/ 1153 w 1673"/>
                  <a:gd name="T83" fmla="*/ 129 h 882"/>
                  <a:gd name="T84" fmla="*/ 1089 w 1673"/>
                  <a:gd name="T85" fmla="*/ 167 h 882"/>
                  <a:gd name="T86" fmla="*/ 1134 w 1673"/>
                  <a:gd name="T87" fmla="*/ 120 h 882"/>
                  <a:gd name="T88" fmla="*/ 1059 w 1673"/>
                  <a:gd name="T89" fmla="*/ 147 h 882"/>
                  <a:gd name="T90" fmla="*/ 943 w 1673"/>
                  <a:gd name="T91" fmla="*/ 153 h 882"/>
                  <a:gd name="T92" fmla="*/ 858 w 1673"/>
                  <a:gd name="T93" fmla="*/ 143 h 882"/>
                  <a:gd name="T94" fmla="*/ 744 w 1673"/>
                  <a:gd name="T95" fmla="*/ 152 h 882"/>
                  <a:gd name="T96" fmla="*/ 664 w 1673"/>
                  <a:gd name="T97" fmla="*/ 116 h 882"/>
                  <a:gd name="T98" fmla="*/ 589 w 1673"/>
                  <a:gd name="T99" fmla="*/ 108 h 882"/>
                  <a:gd name="T100" fmla="*/ 510 w 1673"/>
                  <a:gd name="T101" fmla="*/ 107 h 882"/>
                  <a:gd name="T102" fmla="*/ 385 w 1673"/>
                  <a:gd name="T103" fmla="*/ 114 h 882"/>
                  <a:gd name="T104" fmla="*/ 304 w 1673"/>
                  <a:gd name="T105" fmla="*/ 111 h 882"/>
                  <a:gd name="T106" fmla="*/ 69 w 1673"/>
                  <a:gd name="T107" fmla="*/ 377 h 882"/>
                  <a:gd name="T108" fmla="*/ 78 w 1673"/>
                  <a:gd name="T109" fmla="*/ 503 h 882"/>
                  <a:gd name="T110" fmla="*/ 45 w 1673"/>
                  <a:gd name="T111" fmla="*/ 584 h 882"/>
                  <a:gd name="T112" fmla="*/ 82 w 1673"/>
                  <a:gd name="T113" fmla="*/ 65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73" h="882">
                    <a:moveTo>
                      <a:pt x="102" y="671"/>
                    </a:moveTo>
                    <a:lnTo>
                      <a:pt x="729" y="674"/>
                    </a:lnTo>
                    <a:lnTo>
                      <a:pt x="739" y="660"/>
                    </a:lnTo>
                    <a:lnTo>
                      <a:pt x="754" y="678"/>
                    </a:lnTo>
                    <a:lnTo>
                      <a:pt x="832" y="692"/>
                    </a:lnTo>
                    <a:lnTo>
                      <a:pt x="847" y="693"/>
                    </a:lnTo>
                    <a:lnTo>
                      <a:pt x="868" y="696"/>
                    </a:lnTo>
                    <a:lnTo>
                      <a:pt x="909" y="675"/>
                    </a:lnTo>
                    <a:lnTo>
                      <a:pt x="925" y="678"/>
                    </a:lnTo>
                    <a:lnTo>
                      <a:pt x="925" y="695"/>
                    </a:lnTo>
                    <a:lnTo>
                      <a:pt x="957" y="695"/>
                    </a:lnTo>
                    <a:lnTo>
                      <a:pt x="942" y="740"/>
                    </a:lnTo>
                    <a:lnTo>
                      <a:pt x="1020" y="758"/>
                    </a:lnTo>
                    <a:lnTo>
                      <a:pt x="1032" y="786"/>
                    </a:lnTo>
                    <a:lnTo>
                      <a:pt x="1021" y="806"/>
                    </a:lnTo>
                    <a:lnTo>
                      <a:pt x="991" y="776"/>
                    </a:lnTo>
                    <a:lnTo>
                      <a:pt x="993" y="797"/>
                    </a:lnTo>
                    <a:lnTo>
                      <a:pt x="975" y="807"/>
                    </a:lnTo>
                    <a:lnTo>
                      <a:pt x="957" y="836"/>
                    </a:lnTo>
                    <a:lnTo>
                      <a:pt x="942" y="834"/>
                    </a:lnTo>
                    <a:lnTo>
                      <a:pt x="910" y="882"/>
                    </a:lnTo>
                    <a:lnTo>
                      <a:pt x="958" y="851"/>
                    </a:lnTo>
                    <a:lnTo>
                      <a:pt x="1035" y="851"/>
                    </a:lnTo>
                    <a:lnTo>
                      <a:pt x="1020" y="836"/>
                    </a:lnTo>
                    <a:lnTo>
                      <a:pt x="1005" y="836"/>
                    </a:lnTo>
                    <a:lnTo>
                      <a:pt x="1021" y="819"/>
                    </a:lnTo>
                    <a:lnTo>
                      <a:pt x="1084" y="821"/>
                    </a:lnTo>
                    <a:lnTo>
                      <a:pt x="1111" y="803"/>
                    </a:lnTo>
                    <a:lnTo>
                      <a:pt x="1143" y="786"/>
                    </a:lnTo>
                    <a:lnTo>
                      <a:pt x="1221" y="788"/>
                    </a:lnTo>
                    <a:lnTo>
                      <a:pt x="1252" y="773"/>
                    </a:lnTo>
                    <a:lnTo>
                      <a:pt x="1306" y="723"/>
                    </a:lnTo>
                    <a:lnTo>
                      <a:pt x="1329" y="723"/>
                    </a:lnTo>
                    <a:lnTo>
                      <a:pt x="1312" y="773"/>
                    </a:lnTo>
                    <a:lnTo>
                      <a:pt x="1327" y="771"/>
                    </a:lnTo>
                    <a:lnTo>
                      <a:pt x="1329" y="783"/>
                    </a:lnTo>
                    <a:cubicBezTo>
                      <a:pt x="1347" y="782"/>
                      <a:pt x="1352" y="778"/>
                      <a:pt x="1368" y="776"/>
                    </a:cubicBezTo>
                    <a:cubicBezTo>
                      <a:pt x="1373" y="773"/>
                      <a:pt x="1377" y="773"/>
                      <a:pt x="1383" y="774"/>
                    </a:cubicBezTo>
                    <a:cubicBezTo>
                      <a:pt x="1402" y="783"/>
                      <a:pt x="1388" y="784"/>
                      <a:pt x="1374" y="786"/>
                    </a:cubicBezTo>
                    <a:cubicBezTo>
                      <a:pt x="1367" y="789"/>
                      <a:pt x="1365" y="793"/>
                      <a:pt x="1357" y="795"/>
                    </a:cubicBezTo>
                    <a:cubicBezTo>
                      <a:pt x="1352" y="799"/>
                      <a:pt x="1348" y="800"/>
                      <a:pt x="1342" y="801"/>
                    </a:cubicBezTo>
                    <a:cubicBezTo>
                      <a:pt x="1340" y="813"/>
                      <a:pt x="1336" y="822"/>
                      <a:pt x="1350" y="827"/>
                    </a:cubicBezTo>
                    <a:cubicBezTo>
                      <a:pt x="1356" y="824"/>
                      <a:pt x="1362" y="823"/>
                      <a:pt x="1369" y="822"/>
                    </a:cubicBezTo>
                    <a:cubicBezTo>
                      <a:pt x="1374" y="816"/>
                      <a:pt x="1372" y="813"/>
                      <a:pt x="1380" y="812"/>
                    </a:cubicBezTo>
                    <a:cubicBezTo>
                      <a:pt x="1386" y="809"/>
                      <a:pt x="1394" y="807"/>
                      <a:pt x="1401" y="806"/>
                    </a:cubicBezTo>
                    <a:cubicBezTo>
                      <a:pt x="1407" y="803"/>
                      <a:pt x="1412" y="798"/>
                      <a:pt x="1419" y="797"/>
                    </a:cubicBezTo>
                    <a:cubicBezTo>
                      <a:pt x="1425" y="796"/>
                      <a:pt x="1438" y="794"/>
                      <a:pt x="1438" y="794"/>
                    </a:cubicBezTo>
                    <a:cubicBezTo>
                      <a:pt x="1450" y="787"/>
                      <a:pt x="1452" y="786"/>
                      <a:pt x="1467" y="785"/>
                    </a:cubicBezTo>
                    <a:cubicBezTo>
                      <a:pt x="1475" y="772"/>
                      <a:pt x="1480" y="771"/>
                      <a:pt x="1495" y="770"/>
                    </a:cubicBezTo>
                    <a:cubicBezTo>
                      <a:pt x="1501" y="767"/>
                      <a:pt x="1503" y="765"/>
                      <a:pt x="1506" y="759"/>
                    </a:cubicBezTo>
                    <a:cubicBezTo>
                      <a:pt x="1500" y="751"/>
                      <a:pt x="1498" y="746"/>
                      <a:pt x="1503" y="737"/>
                    </a:cubicBezTo>
                    <a:cubicBezTo>
                      <a:pt x="1495" y="732"/>
                      <a:pt x="1491" y="736"/>
                      <a:pt x="1483" y="738"/>
                    </a:cubicBezTo>
                    <a:cubicBezTo>
                      <a:pt x="1478" y="742"/>
                      <a:pt x="1477" y="747"/>
                      <a:pt x="1474" y="752"/>
                    </a:cubicBezTo>
                    <a:cubicBezTo>
                      <a:pt x="1473" y="759"/>
                      <a:pt x="1473" y="763"/>
                      <a:pt x="1467" y="767"/>
                    </a:cubicBezTo>
                    <a:cubicBezTo>
                      <a:pt x="1443" y="762"/>
                      <a:pt x="1477" y="768"/>
                      <a:pt x="1444" y="767"/>
                    </a:cubicBezTo>
                    <a:cubicBezTo>
                      <a:pt x="1438" y="767"/>
                      <a:pt x="1426" y="764"/>
                      <a:pt x="1426" y="764"/>
                    </a:cubicBezTo>
                    <a:cubicBezTo>
                      <a:pt x="1420" y="761"/>
                      <a:pt x="1414" y="759"/>
                      <a:pt x="1408" y="758"/>
                    </a:cubicBezTo>
                    <a:cubicBezTo>
                      <a:pt x="1402" y="754"/>
                      <a:pt x="1402" y="751"/>
                      <a:pt x="1401" y="744"/>
                    </a:cubicBezTo>
                    <a:cubicBezTo>
                      <a:pt x="1402" y="732"/>
                      <a:pt x="1400" y="728"/>
                      <a:pt x="1408" y="722"/>
                    </a:cubicBezTo>
                    <a:cubicBezTo>
                      <a:pt x="1412" y="715"/>
                      <a:pt x="1416" y="709"/>
                      <a:pt x="1405" y="707"/>
                    </a:cubicBezTo>
                    <a:cubicBezTo>
                      <a:pt x="1396" y="708"/>
                      <a:pt x="1392" y="706"/>
                      <a:pt x="1384" y="704"/>
                    </a:cubicBezTo>
                    <a:cubicBezTo>
                      <a:pt x="1387" y="692"/>
                      <a:pt x="1386" y="697"/>
                      <a:pt x="1395" y="699"/>
                    </a:cubicBezTo>
                    <a:cubicBezTo>
                      <a:pt x="1416" y="698"/>
                      <a:pt x="1416" y="692"/>
                      <a:pt x="1432" y="689"/>
                    </a:cubicBezTo>
                    <a:cubicBezTo>
                      <a:pt x="1439" y="672"/>
                      <a:pt x="1431" y="669"/>
                      <a:pt x="1419" y="660"/>
                    </a:cubicBezTo>
                    <a:cubicBezTo>
                      <a:pt x="1404" y="661"/>
                      <a:pt x="1392" y="664"/>
                      <a:pt x="1378" y="666"/>
                    </a:cubicBezTo>
                    <a:cubicBezTo>
                      <a:pt x="1372" y="669"/>
                      <a:pt x="1367" y="674"/>
                      <a:pt x="1360" y="675"/>
                    </a:cubicBezTo>
                    <a:cubicBezTo>
                      <a:pt x="1355" y="679"/>
                      <a:pt x="1348" y="683"/>
                      <a:pt x="1342" y="684"/>
                    </a:cubicBezTo>
                    <a:cubicBezTo>
                      <a:pt x="1334" y="688"/>
                      <a:pt x="1324" y="694"/>
                      <a:pt x="1315" y="696"/>
                    </a:cubicBezTo>
                    <a:cubicBezTo>
                      <a:pt x="1305" y="703"/>
                      <a:pt x="1294" y="709"/>
                      <a:pt x="1284" y="716"/>
                    </a:cubicBezTo>
                    <a:cubicBezTo>
                      <a:pt x="1277" y="730"/>
                      <a:pt x="1274" y="731"/>
                      <a:pt x="1258" y="732"/>
                    </a:cubicBezTo>
                    <a:cubicBezTo>
                      <a:pt x="1247" y="738"/>
                      <a:pt x="1261" y="723"/>
                      <a:pt x="1270" y="722"/>
                    </a:cubicBezTo>
                    <a:cubicBezTo>
                      <a:pt x="1275" y="720"/>
                      <a:pt x="1284" y="713"/>
                      <a:pt x="1284" y="713"/>
                    </a:cubicBezTo>
                    <a:cubicBezTo>
                      <a:pt x="1288" y="707"/>
                      <a:pt x="1289" y="705"/>
                      <a:pt x="1296" y="704"/>
                    </a:cubicBezTo>
                    <a:cubicBezTo>
                      <a:pt x="1308" y="698"/>
                      <a:pt x="1303" y="701"/>
                      <a:pt x="1311" y="696"/>
                    </a:cubicBezTo>
                    <a:cubicBezTo>
                      <a:pt x="1323" y="680"/>
                      <a:pt x="1352" y="664"/>
                      <a:pt x="1371" y="662"/>
                    </a:cubicBezTo>
                    <a:cubicBezTo>
                      <a:pt x="1381" y="655"/>
                      <a:pt x="1378" y="649"/>
                      <a:pt x="1392" y="647"/>
                    </a:cubicBezTo>
                    <a:cubicBezTo>
                      <a:pt x="1398" y="644"/>
                      <a:pt x="1404" y="641"/>
                      <a:pt x="1410" y="639"/>
                    </a:cubicBezTo>
                    <a:cubicBezTo>
                      <a:pt x="1418" y="628"/>
                      <a:pt x="1446" y="636"/>
                      <a:pt x="1456" y="636"/>
                    </a:cubicBezTo>
                    <a:cubicBezTo>
                      <a:pt x="1486" y="640"/>
                      <a:pt x="1518" y="641"/>
                      <a:pt x="1548" y="635"/>
                    </a:cubicBezTo>
                    <a:cubicBezTo>
                      <a:pt x="1553" y="631"/>
                      <a:pt x="1557" y="630"/>
                      <a:pt x="1563" y="629"/>
                    </a:cubicBezTo>
                    <a:cubicBezTo>
                      <a:pt x="1571" y="625"/>
                      <a:pt x="1573" y="619"/>
                      <a:pt x="1584" y="617"/>
                    </a:cubicBezTo>
                    <a:cubicBezTo>
                      <a:pt x="1593" y="613"/>
                      <a:pt x="1583" y="617"/>
                      <a:pt x="1597" y="614"/>
                    </a:cubicBezTo>
                    <a:cubicBezTo>
                      <a:pt x="1607" y="612"/>
                      <a:pt x="1613" y="604"/>
                      <a:pt x="1623" y="602"/>
                    </a:cubicBezTo>
                    <a:cubicBezTo>
                      <a:pt x="1629" y="598"/>
                      <a:pt x="1641" y="590"/>
                      <a:pt x="1641" y="590"/>
                    </a:cubicBezTo>
                    <a:cubicBezTo>
                      <a:pt x="1643" y="579"/>
                      <a:pt x="1652" y="582"/>
                      <a:pt x="1663" y="581"/>
                    </a:cubicBezTo>
                    <a:cubicBezTo>
                      <a:pt x="1673" y="575"/>
                      <a:pt x="1671" y="572"/>
                      <a:pt x="1672" y="560"/>
                    </a:cubicBezTo>
                    <a:cubicBezTo>
                      <a:pt x="1671" y="550"/>
                      <a:pt x="1672" y="546"/>
                      <a:pt x="1666" y="539"/>
                    </a:cubicBezTo>
                    <a:cubicBezTo>
                      <a:pt x="1661" y="535"/>
                      <a:pt x="1656" y="528"/>
                      <a:pt x="1647" y="527"/>
                    </a:cubicBezTo>
                    <a:cubicBezTo>
                      <a:pt x="1638" y="526"/>
                      <a:pt x="1626" y="532"/>
                      <a:pt x="1614" y="536"/>
                    </a:cubicBezTo>
                    <a:cubicBezTo>
                      <a:pt x="1602" y="540"/>
                      <a:pt x="1576" y="552"/>
                      <a:pt x="1573" y="551"/>
                    </a:cubicBezTo>
                    <a:cubicBezTo>
                      <a:pt x="1570" y="550"/>
                      <a:pt x="1579" y="540"/>
                      <a:pt x="1594" y="533"/>
                    </a:cubicBezTo>
                    <a:cubicBezTo>
                      <a:pt x="1609" y="526"/>
                      <a:pt x="1654" y="513"/>
                      <a:pt x="1662" y="509"/>
                    </a:cubicBezTo>
                    <a:cubicBezTo>
                      <a:pt x="1660" y="508"/>
                      <a:pt x="1643" y="505"/>
                      <a:pt x="1644" y="506"/>
                    </a:cubicBezTo>
                    <a:cubicBezTo>
                      <a:pt x="1640" y="506"/>
                      <a:pt x="1635" y="510"/>
                      <a:pt x="1627" y="503"/>
                    </a:cubicBezTo>
                    <a:cubicBezTo>
                      <a:pt x="1619" y="500"/>
                      <a:pt x="1613" y="498"/>
                      <a:pt x="1606" y="494"/>
                    </a:cubicBezTo>
                    <a:cubicBezTo>
                      <a:pt x="1602" y="488"/>
                      <a:pt x="1599" y="481"/>
                      <a:pt x="1593" y="477"/>
                    </a:cubicBezTo>
                    <a:cubicBezTo>
                      <a:pt x="1588" y="468"/>
                      <a:pt x="1587" y="465"/>
                      <a:pt x="1593" y="456"/>
                    </a:cubicBezTo>
                    <a:cubicBezTo>
                      <a:pt x="1595" y="440"/>
                      <a:pt x="1599" y="426"/>
                      <a:pt x="1591" y="410"/>
                    </a:cubicBezTo>
                    <a:cubicBezTo>
                      <a:pt x="1590" y="400"/>
                      <a:pt x="1590" y="386"/>
                      <a:pt x="1585" y="377"/>
                    </a:cubicBezTo>
                    <a:cubicBezTo>
                      <a:pt x="1584" y="370"/>
                      <a:pt x="1582" y="364"/>
                      <a:pt x="1581" y="357"/>
                    </a:cubicBezTo>
                    <a:cubicBezTo>
                      <a:pt x="1575" y="359"/>
                      <a:pt x="1571" y="359"/>
                      <a:pt x="1566" y="363"/>
                    </a:cubicBezTo>
                    <a:cubicBezTo>
                      <a:pt x="1558" y="376"/>
                      <a:pt x="1537" y="405"/>
                      <a:pt x="1522" y="408"/>
                    </a:cubicBezTo>
                    <a:cubicBezTo>
                      <a:pt x="1510" y="414"/>
                      <a:pt x="1500" y="411"/>
                      <a:pt x="1485" y="410"/>
                    </a:cubicBezTo>
                    <a:cubicBezTo>
                      <a:pt x="1474" y="405"/>
                      <a:pt x="1473" y="396"/>
                      <a:pt x="1464" y="389"/>
                    </a:cubicBezTo>
                    <a:cubicBezTo>
                      <a:pt x="1462" y="379"/>
                      <a:pt x="1460" y="375"/>
                      <a:pt x="1468" y="369"/>
                    </a:cubicBezTo>
                    <a:cubicBezTo>
                      <a:pt x="1472" y="360"/>
                      <a:pt x="1476" y="355"/>
                      <a:pt x="1485" y="351"/>
                    </a:cubicBezTo>
                    <a:cubicBezTo>
                      <a:pt x="1490" y="345"/>
                      <a:pt x="1492" y="342"/>
                      <a:pt x="1483" y="341"/>
                    </a:cubicBezTo>
                    <a:cubicBezTo>
                      <a:pt x="1477" y="338"/>
                      <a:pt x="1471" y="336"/>
                      <a:pt x="1465" y="335"/>
                    </a:cubicBezTo>
                    <a:cubicBezTo>
                      <a:pt x="1461" y="332"/>
                      <a:pt x="1456" y="330"/>
                      <a:pt x="1452" y="327"/>
                    </a:cubicBezTo>
                    <a:cubicBezTo>
                      <a:pt x="1449" y="321"/>
                      <a:pt x="1450" y="319"/>
                      <a:pt x="1444" y="315"/>
                    </a:cubicBezTo>
                    <a:cubicBezTo>
                      <a:pt x="1440" y="309"/>
                      <a:pt x="1434" y="306"/>
                      <a:pt x="1428" y="302"/>
                    </a:cubicBezTo>
                    <a:cubicBezTo>
                      <a:pt x="1420" y="304"/>
                      <a:pt x="1412" y="306"/>
                      <a:pt x="1405" y="308"/>
                    </a:cubicBezTo>
                    <a:cubicBezTo>
                      <a:pt x="1388" y="306"/>
                      <a:pt x="1374" y="300"/>
                      <a:pt x="1356" y="299"/>
                    </a:cubicBezTo>
                    <a:cubicBezTo>
                      <a:pt x="1344" y="296"/>
                      <a:pt x="1343" y="299"/>
                      <a:pt x="1333" y="305"/>
                    </a:cubicBezTo>
                    <a:cubicBezTo>
                      <a:pt x="1337" y="313"/>
                      <a:pt x="1335" y="320"/>
                      <a:pt x="1330" y="327"/>
                    </a:cubicBezTo>
                    <a:cubicBezTo>
                      <a:pt x="1328" y="336"/>
                      <a:pt x="1324" y="337"/>
                      <a:pt x="1317" y="342"/>
                    </a:cubicBezTo>
                    <a:cubicBezTo>
                      <a:pt x="1315" y="345"/>
                      <a:pt x="1311" y="347"/>
                      <a:pt x="1309" y="350"/>
                    </a:cubicBezTo>
                    <a:cubicBezTo>
                      <a:pt x="1308" y="353"/>
                      <a:pt x="1309" y="357"/>
                      <a:pt x="1308" y="360"/>
                    </a:cubicBezTo>
                    <a:cubicBezTo>
                      <a:pt x="1306" y="372"/>
                      <a:pt x="1293" y="382"/>
                      <a:pt x="1282" y="384"/>
                    </a:cubicBezTo>
                    <a:cubicBezTo>
                      <a:pt x="1276" y="388"/>
                      <a:pt x="1275" y="395"/>
                      <a:pt x="1269" y="398"/>
                    </a:cubicBezTo>
                    <a:cubicBezTo>
                      <a:pt x="1266" y="405"/>
                      <a:pt x="1272" y="409"/>
                      <a:pt x="1275" y="416"/>
                    </a:cubicBezTo>
                    <a:cubicBezTo>
                      <a:pt x="1281" y="453"/>
                      <a:pt x="1269" y="459"/>
                      <a:pt x="1245" y="477"/>
                    </a:cubicBezTo>
                    <a:cubicBezTo>
                      <a:pt x="1242" y="485"/>
                      <a:pt x="1233" y="490"/>
                      <a:pt x="1225" y="492"/>
                    </a:cubicBezTo>
                    <a:cubicBezTo>
                      <a:pt x="1219" y="495"/>
                      <a:pt x="1213" y="497"/>
                      <a:pt x="1207" y="498"/>
                    </a:cubicBezTo>
                    <a:cubicBezTo>
                      <a:pt x="1197" y="503"/>
                      <a:pt x="1185" y="505"/>
                      <a:pt x="1174" y="507"/>
                    </a:cubicBezTo>
                    <a:cubicBezTo>
                      <a:pt x="1173" y="513"/>
                      <a:pt x="1170" y="516"/>
                      <a:pt x="1168" y="521"/>
                    </a:cubicBezTo>
                    <a:cubicBezTo>
                      <a:pt x="1172" y="539"/>
                      <a:pt x="1166" y="550"/>
                      <a:pt x="1158" y="564"/>
                    </a:cubicBezTo>
                    <a:cubicBezTo>
                      <a:pt x="1155" y="597"/>
                      <a:pt x="1152" y="600"/>
                      <a:pt x="1120" y="606"/>
                    </a:cubicBezTo>
                    <a:cubicBezTo>
                      <a:pt x="1114" y="609"/>
                      <a:pt x="1111" y="609"/>
                      <a:pt x="1105" y="608"/>
                    </a:cubicBezTo>
                    <a:cubicBezTo>
                      <a:pt x="1104" y="601"/>
                      <a:pt x="1097" y="596"/>
                      <a:pt x="1093" y="590"/>
                    </a:cubicBezTo>
                    <a:cubicBezTo>
                      <a:pt x="1092" y="584"/>
                      <a:pt x="1089" y="581"/>
                      <a:pt x="1087" y="576"/>
                    </a:cubicBezTo>
                    <a:cubicBezTo>
                      <a:pt x="1086" y="563"/>
                      <a:pt x="1083" y="565"/>
                      <a:pt x="1093" y="557"/>
                    </a:cubicBezTo>
                    <a:cubicBezTo>
                      <a:pt x="1096" y="552"/>
                      <a:pt x="1099" y="548"/>
                      <a:pt x="1101" y="543"/>
                    </a:cubicBezTo>
                    <a:cubicBezTo>
                      <a:pt x="1103" y="539"/>
                      <a:pt x="1107" y="531"/>
                      <a:pt x="1107" y="531"/>
                    </a:cubicBezTo>
                    <a:cubicBezTo>
                      <a:pt x="1108" y="524"/>
                      <a:pt x="1109" y="522"/>
                      <a:pt x="1114" y="518"/>
                    </a:cubicBezTo>
                    <a:cubicBezTo>
                      <a:pt x="1117" y="513"/>
                      <a:pt x="1119" y="510"/>
                      <a:pt x="1120" y="504"/>
                    </a:cubicBezTo>
                    <a:cubicBezTo>
                      <a:pt x="1114" y="496"/>
                      <a:pt x="1111" y="498"/>
                      <a:pt x="1101" y="497"/>
                    </a:cubicBezTo>
                    <a:cubicBezTo>
                      <a:pt x="1088" y="494"/>
                      <a:pt x="1076" y="493"/>
                      <a:pt x="1063" y="491"/>
                    </a:cubicBezTo>
                    <a:cubicBezTo>
                      <a:pt x="1058" y="488"/>
                      <a:pt x="1054" y="486"/>
                      <a:pt x="1048" y="485"/>
                    </a:cubicBezTo>
                    <a:cubicBezTo>
                      <a:pt x="1034" y="478"/>
                      <a:pt x="1023" y="466"/>
                      <a:pt x="1009" y="458"/>
                    </a:cubicBezTo>
                    <a:cubicBezTo>
                      <a:pt x="1004" y="450"/>
                      <a:pt x="999" y="447"/>
                      <a:pt x="990" y="446"/>
                    </a:cubicBezTo>
                    <a:cubicBezTo>
                      <a:pt x="984" y="443"/>
                      <a:pt x="979" y="441"/>
                      <a:pt x="973" y="440"/>
                    </a:cubicBezTo>
                    <a:cubicBezTo>
                      <a:pt x="967" y="437"/>
                      <a:pt x="959" y="440"/>
                      <a:pt x="952" y="441"/>
                    </a:cubicBezTo>
                    <a:cubicBezTo>
                      <a:pt x="947" y="443"/>
                      <a:pt x="930" y="445"/>
                      <a:pt x="942" y="438"/>
                    </a:cubicBezTo>
                    <a:cubicBezTo>
                      <a:pt x="945" y="434"/>
                      <a:pt x="946" y="430"/>
                      <a:pt x="948" y="425"/>
                    </a:cubicBezTo>
                    <a:cubicBezTo>
                      <a:pt x="949" y="419"/>
                      <a:pt x="951" y="414"/>
                      <a:pt x="952" y="408"/>
                    </a:cubicBezTo>
                    <a:cubicBezTo>
                      <a:pt x="950" y="397"/>
                      <a:pt x="949" y="398"/>
                      <a:pt x="937" y="396"/>
                    </a:cubicBezTo>
                    <a:cubicBezTo>
                      <a:pt x="926" y="387"/>
                      <a:pt x="944" y="371"/>
                      <a:pt x="948" y="362"/>
                    </a:cubicBezTo>
                    <a:cubicBezTo>
                      <a:pt x="950" y="351"/>
                      <a:pt x="959" y="349"/>
                      <a:pt x="969" y="347"/>
                    </a:cubicBezTo>
                    <a:cubicBezTo>
                      <a:pt x="980" y="339"/>
                      <a:pt x="979" y="339"/>
                      <a:pt x="990" y="338"/>
                    </a:cubicBezTo>
                    <a:cubicBezTo>
                      <a:pt x="1000" y="330"/>
                      <a:pt x="1004" y="321"/>
                      <a:pt x="1011" y="320"/>
                    </a:cubicBezTo>
                    <a:cubicBezTo>
                      <a:pt x="1015" y="313"/>
                      <a:pt x="1025" y="310"/>
                      <a:pt x="1033" y="308"/>
                    </a:cubicBezTo>
                    <a:cubicBezTo>
                      <a:pt x="1040" y="305"/>
                      <a:pt x="1047" y="301"/>
                      <a:pt x="1053" y="299"/>
                    </a:cubicBezTo>
                    <a:cubicBezTo>
                      <a:pt x="1065" y="293"/>
                      <a:pt x="1059" y="295"/>
                      <a:pt x="1068" y="293"/>
                    </a:cubicBezTo>
                    <a:cubicBezTo>
                      <a:pt x="1074" y="290"/>
                      <a:pt x="1079" y="285"/>
                      <a:pt x="1086" y="284"/>
                    </a:cubicBezTo>
                    <a:cubicBezTo>
                      <a:pt x="1091" y="281"/>
                      <a:pt x="1095" y="279"/>
                      <a:pt x="1101" y="278"/>
                    </a:cubicBezTo>
                    <a:cubicBezTo>
                      <a:pt x="1106" y="274"/>
                      <a:pt x="1110" y="273"/>
                      <a:pt x="1116" y="272"/>
                    </a:cubicBezTo>
                    <a:cubicBezTo>
                      <a:pt x="1124" y="268"/>
                      <a:pt x="1127" y="260"/>
                      <a:pt x="1135" y="258"/>
                    </a:cubicBezTo>
                    <a:cubicBezTo>
                      <a:pt x="1143" y="253"/>
                      <a:pt x="1150" y="258"/>
                      <a:pt x="1159" y="257"/>
                    </a:cubicBezTo>
                    <a:cubicBezTo>
                      <a:pt x="1163" y="256"/>
                      <a:pt x="1167" y="256"/>
                      <a:pt x="1170" y="254"/>
                    </a:cubicBezTo>
                    <a:cubicBezTo>
                      <a:pt x="1171" y="253"/>
                      <a:pt x="1170" y="250"/>
                      <a:pt x="1171" y="249"/>
                    </a:cubicBezTo>
                    <a:cubicBezTo>
                      <a:pt x="1173" y="248"/>
                      <a:pt x="1175" y="248"/>
                      <a:pt x="1177" y="248"/>
                    </a:cubicBezTo>
                    <a:cubicBezTo>
                      <a:pt x="1182" y="246"/>
                      <a:pt x="1189" y="246"/>
                      <a:pt x="1194" y="243"/>
                    </a:cubicBezTo>
                    <a:cubicBezTo>
                      <a:pt x="1197" y="241"/>
                      <a:pt x="1203" y="236"/>
                      <a:pt x="1203" y="236"/>
                    </a:cubicBezTo>
                    <a:cubicBezTo>
                      <a:pt x="1205" y="227"/>
                      <a:pt x="1197" y="225"/>
                      <a:pt x="1189" y="224"/>
                    </a:cubicBezTo>
                    <a:cubicBezTo>
                      <a:pt x="1184" y="220"/>
                      <a:pt x="1180" y="219"/>
                      <a:pt x="1174" y="218"/>
                    </a:cubicBezTo>
                    <a:cubicBezTo>
                      <a:pt x="1174" y="218"/>
                      <a:pt x="1163" y="212"/>
                      <a:pt x="1174" y="212"/>
                    </a:cubicBezTo>
                    <a:cubicBezTo>
                      <a:pt x="1177" y="212"/>
                      <a:pt x="1185" y="219"/>
                      <a:pt x="1188" y="221"/>
                    </a:cubicBezTo>
                    <a:cubicBezTo>
                      <a:pt x="1209" y="220"/>
                      <a:pt x="1220" y="222"/>
                      <a:pt x="1236" y="213"/>
                    </a:cubicBezTo>
                    <a:cubicBezTo>
                      <a:pt x="1248" y="196"/>
                      <a:pt x="1247" y="195"/>
                      <a:pt x="1269" y="191"/>
                    </a:cubicBezTo>
                    <a:cubicBezTo>
                      <a:pt x="1274" y="198"/>
                      <a:pt x="1282" y="211"/>
                      <a:pt x="1290" y="213"/>
                    </a:cubicBezTo>
                    <a:cubicBezTo>
                      <a:pt x="1295" y="206"/>
                      <a:pt x="1291" y="200"/>
                      <a:pt x="1299" y="195"/>
                    </a:cubicBezTo>
                    <a:cubicBezTo>
                      <a:pt x="1310" y="199"/>
                      <a:pt x="1316" y="198"/>
                      <a:pt x="1329" y="197"/>
                    </a:cubicBezTo>
                    <a:cubicBezTo>
                      <a:pt x="1339" y="192"/>
                      <a:pt x="1344" y="184"/>
                      <a:pt x="1356" y="182"/>
                    </a:cubicBezTo>
                    <a:cubicBezTo>
                      <a:pt x="1363" y="179"/>
                      <a:pt x="1364" y="173"/>
                      <a:pt x="1368" y="167"/>
                    </a:cubicBezTo>
                    <a:cubicBezTo>
                      <a:pt x="1364" y="146"/>
                      <a:pt x="1370" y="147"/>
                      <a:pt x="1389" y="144"/>
                    </a:cubicBezTo>
                    <a:cubicBezTo>
                      <a:pt x="1394" y="140"/>
                      <a:pt x="1396" y="138"/>
                      <a:pt x="1398" y="132"/>
                    </a:cubicBezTo>
                    <a:cubicBezTo>
                      <a:pt x="1396" y="125"/>
                      <a:pt x="1398" y="121"/>
                      <a:pt x="1390" y="119"/>
                    </a:cubicBezTo>
                    <a:cubicBezTo>
                      <a:pt x="1385" y="115"/>
                      <a:pt x="1381" y="114"/>
                      <a:pt x="1375" y="113"/>
                    </a:cubicBezTo>
                    <a:cubicBezTo>
                      <a:pt x="1371" y="111"/>
                      <a:pt x="1366" y="110"/>
                      <a:pt x="1362" y="108"/>
                    </a:cubicBezTo>
                    <a:cubicBezTo>
                      <a:pt x="1352" y="109"/>
                      <a:pt x="1338" y="105"/>
                      <a:pt x="1333" y="113"/>
                    </a:cubicBezTo>
                    <a:cubicBezTo>
                      <a:pt x="1325" y="125"/>
                      <a:pt x="1332" y="134"/>
                      <a:pt x="1312" y="138"/>
                    </a:cubicBezTo>
                    <a:cubicBezTo>
                      <a:pt x="1304" y="144"/>
                      <a:pt x="1294" y="150"/>
                      <a:pt x="1285" y="155"/>
                    </a:cubicBezTo>
                    <a:cubicBezTo>
                      <a:pt x="1283" y="145"/>
                      <a:pt x="1276" y="150"/>
                      <a:pt x="1272" y="156"/>
                    </a:cubicBezTo>
                    <a:cubicBezTo>
                      <a:pt x="1270" y="170"/>
                      <a:pt x="1268" y="170"/>
                      <a:pt x="1257" y="176"/>
                    </a:cubicBezTo>
                    <a:cubicBezTo>
                      <a:pt x="1238" y="173"/>
                      <a:pt x="1246" y="176"/>
                      <a:pt x="1240" y="164"/>
                    </a:cubicBezTo>
                    <a:cubicBezTo>
                      <a:pt x="1245" y="150"/>
                      <a:pt x="1243" y="150"/>
                      <a:pt x="1261" y="149"/>
                    </a:cubicBezTo>
                    <a:cubicBezTo>
                      <a:pt x="1264" y="143"/>
                      <a:pt x="1265" y="140"/>
                      <a:pt x="1261" y="134"/>
                    </a:cubicBezTo>
                    <a:cubicBezTo>
                      <a:pt x="1260" y="127"/>
                      <a:pt x="1256" y="128"/>
                      <a:pt x="1249" y="126"/>
                    </a:cubicBezTo>
                    <a:cubicBezTo>
                      <a:pt x="1234" y="130"/>
                      <a:pt x="1240" y="136"/>
                      <a:pt x="1231" y="138"/>
                    </a:cubicBezTo>
                    <a:cubicBezTo>
                      <a:pt x="1229" y="149"/>
                      <a:pt x="1223" y="145"/>
                      <a:pt x="1216" y="141"/>
                    </a:cubicBezTo>
                    <a:cubicBezTo>
                      <a:pt x="1218" y="136"/>
                      <a:pt x="1219" y="131"/>
                      <a:pt x="1221" y="126"/>
                    </a:cubicBezTo>
                    <a:cubicBezTo>
                      <a:pt x="1222" y="117"/>
                      <a:pt x="1215" y="118"/>
                      <a:pt x="1207" y="116"/>
                    </a:cubicBezTo>
                    <a:cubicBezTo>
                      <a:pt x="1205" y="105"/>
                      <a:pt x="1216" y="105"/>
                      <a:pt x="1224" y="102"/>
                    </a:cubicBezTo>
                    <a:cubicBezTo>
                      <a:pt x="1230" y="97"/>
                      <a:pt x="1226" y="96"/>
                      <a:pt x="1222" y="90"/>
                    </a:cubicBezTo>
                    <a:cubicBezTo>
                      <a:pt x="1224" y="84"/>
                      <a:pt x="1226" y="81"/>
                      <a:pt x="1231" y="77"/>
                    </a:cubicBezTo>
                    <a:cubicBezTo>
                      <a:pt x="1230" y="70"/>
                      <a:pt x="1228" y="69"/>
                      <a:pt x="1222" y="65"/>
                    </a:cubicBezTo>
                    <a:cubicBezTo>
                      <a:pt x="1225" y="57"/>
                      <a:pt x="1230" y="54"/>
                      <a:pt x="1239" y="53"/>
                    </a:cubicBezTo>
                    <a:cubicBezTo>
                      <a:pt x="1243" y="32"/>
                      <a:pt x="1282" y="39"/>
                      <a:pt x="1297" y="38"/>
                    </a:cubicBezTo>
                    <a:cubicBezTo>
                      <a:pt x="1306" y="34"/>
                      <a:pt x="1316" y="28"/>
                      <a:pt x="1326" y="26"/>
                    </a:cubicBezTo>
                    <a:cubicBezTo>
                      <a:pt x="1331" y="20"/>
                      <a:pt x="1334" y="22"/>
                      <a:pt x="1338" y="15"/>
                    </a:cubicBezTo>
                    <a:cubicBezTo>
                      <a:pt x="1331" y="11"/>
                      <a:pt x="1323" y="9"/>
                      <a:pt x="1315" y="8"/>
                    </a:cubicBezTo>
                    <a:cubicBezTo>
                      <a:pt x="1299" y="0"/>
                      <a:pt x="1281" y="6"/>
                      <a:pt x="1264" y="9"/>
                    </a:cubicBezTo>
                    <a:cubicBezTo>
                      <a:pt x="1256" y="13"/>
                      <a:pt x="1237" y="15"/>
                      <a:pt x="1237" y="15"/>
                    </a:cubicBezTo>
                    <a:cubicBezTo>
                      <a:pt x="1231" y="26"/>
                      <a:pt x="1218" y="32"/>
                      <a:pt x="1210" y="42"/>
                    </a:cubicBezTo>
                    <a:cubicBezTo>
                      <a:pt x="1208" y="62"/>
                      <a:pt x="1188" y="69"/>
                      <a:pt x="1170" y="72"/>
                    </a:cubicBezTo>
                    <a:cubicBezTo>
                      <a:pt x="1164" y="76"/>
                      <a:pt x="1161" y="78"/>
                      <a:pt x="1153" y="80"/>
                    </a:cubicBezTo>
                    <a:cubicBezTo>
                      <a:pt x="1147" y="85"/>
                      <a:pt x="1145" y="90"/>
                      <a:pt x="1141" y="96"/>
                    </a:cubicBezTo>
                    <a:cubicBezTo>
                      <a:pt x="1138" y="110"/>
                      <a:pt x="1139" y="114"/>
                      <a:pt x="1155" y="117"/>
                    </a:cubicBezTo>
                    <a:cubicBezTo>
                      <a:pt x="1168" y="123"/>
                      <a:pt x="1166" y="126"/>
                      <a:pt x="1153" y="129"/>
                    </a:cubicBezTo>
                    <a:cubicBezTo>
                      <a:pt x="1149" y="136"/>
                      <a:pt x="1152" y="138"/>
                      <a:pt x="1153" y="146"/>
                    </a:cubicBezTo>
                    <a:cubicBezTo>
                      <a:pt x="1147" y="147"/>
                      <a:pt x="1143" y="149"/>
                      <a:pt x="1137" y="150"/>
                    </a:cubicBezTo>
                    <a:cubicBezTo>
                      <a:pt x="1129" y="153"/>
                      <a:pt x="1120" y="155"/>
                      <a:pt x="1111" y="156"/>
                    </a:cubicBezTo>
                    <a:cubicBezTo>
                      <a:pt x="1103" y="162"/>
                      <a:pt x="1103" y="172"/>
                      <a:pt x="1093" y="174"/>
                    </a:cubicBezTo>
                    <a:cubicBezTo>
                      <a:pt x="1086" y="178"/>
                      <a:pt x="1085" y="172"/>
                      <a:pt x="1089" y="167"/>
                    </a:cubicBezTo>
                    <a:cubicBezTo>
                      <a:pt x="1090" y="160"/>
                      <a:pt x="1093" y="162"/>
                      <a:pt x="1099" y="159"/>
                    </a:cubicBezTo>
                    <a:cubicBezTo>
                      <a:pt x="1103" y="151"/>
                      <a:pt x="1100" y="150"/>
                      <a:pt x="1092" y="149"/>
                    </a:cubicBezTo>
                    <a:cubicBezTo>
                      <a:pt x="1089" y="148"/>
                      <a:pt x="1084" y="142"/>
                      <a:pt x="1087" y="141"/>
                    </a:cubicBezTo>
                    <a:cubicBezTo>
                      <a:pt x="1099" y="139"/>
                      <a:pt x="1112" y="140"/>
                      <a:pt x="1125" y="140"/>
                    </a:cubicBezTo>
                    <a:cubicBezTo>
                      <a:pt x="1126" y="124"/>
                      <a:pt x="1128" y="131"/>
                      <a:pt x="1134" y="120"/>
                    </a:cubicBezTo>
                    <a:cubicBezTo>
                      <a:pt x="1127" y="116"/>
                      <a:pt x="1111" y="114"/>
                      <a:pt x="1111" y="114"/>
                    </a:cubicBezTo>
                    <a:cubicBezTo>
                      <a:pt x="1103" y="108"/>
                      <a:pt x="1098" y="115"/>
                      <a:pt x="1090" y="117"/>
                    </a:cubicBezTo>
                    <a:cubicBezTo>
                      <a:pt x="1072" y="126"/>
                      <a:pt x="1082" y="128"/>
                      <a:pt x="1056" y="131"/>
                    </a:cubicBezTo>
                    <a:cubicBezTo>
                      <a:pt x="1061" y="135"/>
                      <a:pt x="1068" y="136"/>
                      <a:pt x="1074" y="140"/>
                    </a:cubicBezTo>
                    <a:cubicBezTo>
                      <a:pt x="1071" y="146"/>
                      <a:pt x="1066" y="146"/>
                      <a:pt x="1059" y="147"/>
                    </a:cubicBezTo>
                    <a:cubicBezTo>
                      <a:pt x="1048" y="151"/>
                      <a:pt x="1058" y="158"/>
                      <a:pt x="1065" y="159"/>
                    </a:cubicBezTo>
                    <a:cubicBezTo>
                      <a:pt x="1059" y="163"/>
                      <a:pt x="1035" y="161"/>
                      <a:pt x="1030" y="161"/>
                    </a:cubicBezTo>
                    <a:cubicBezTo>
                      <a:pt x="1019" y="156"/>
                      <a:pt x="1006" y="162"/>
                      <a:pt x="994" y="162"/>
                    </a:cubicBezTo>
                    <a:cubicBezTo>
                      <a:pt x="983" y="165"/>
                      <a:pt x="972" y="163"/>
                      <a:pt x="961" y="161"/>
                    </a:cubicBezTo>
                    <a:cubicBezTo>
                      <a:pt x="955" y="156"/>
                      <a:pt x="951" y="155"/>
                      <a:pt x="943" y="153"/>
                    </a:cubicBezTo>
                    <a:cubicBezTo>
                      <a:pt x="938" y="150"/>
                      <a:pt x="936" y="146"/>
                      <a:pt x="931" y="143"/>
                    </a:cubicBezTo>
                    <a:cubicBezTo>
                      <a:pt x="928" y="139"/>
                      <a:pt x="925" y="135"/>
                      <a:pt x="922" y="132"/>
                    </a:cubicBezTo>
                    <a:cubicBezTo>
                      <a:pt x="919" y="131"/>
                      <a:pt x="920" y="136"/>
                      <a:pt x="913" y="137"/>
                    </a:cubicBezTo>
                    <a:cubicBezTo>
                      <a:pt x="906" y="134"/>
                      <a:pt x="884" y="138"/>
                      <a:pt x="879" y="138"/>
                    </a:cubicBezTo>
                    <a:cubicBezTo>
                      <a:pt x="872" y="141"/>
                      <a:pt x="865" y="140"/>
                      <a:pt x="858" y="143"/>
                    </a:cubicBezTo>
                    <a:cubicBezTo>
                      <a:pt x="849" y="154"/>
                      <a:pt x="862" y="180"/>
                      <a:pt x="847" y="183"/>
                    </a:cubicBezTo>
                    <a:cubicBezTo>
                      <a:pt x="845" y="169"/>
                      <a:pt x="841" y="161"/>
                      <a:pt x="826" y="158"/>
                    </a:cubicBezTo>
                    <a:cubicBezTo>
                      <a:pt x="809" y="159"/>
                      <a:pt x="794" y="164"/>
                      <a:pt x="777" y="165"/>
                    </a:cubicBezTo>
                    <a:cubicBezTo>
                      <a:pt x="762" y="165"/>
                      <a:pt x="738" y="176"/>
                      <a:pt x="733" y="162"/>
                    </a:cubicBezTo>
                    <a:cubicBezTo>
                      <a:pt x="730" y="154"/>
                      <a:pt x="740" y="153"/>
                      <a:pt x="744" y="152"/>
                    </a:cubicBezTo>
                    <a:cubicBezTo>
                      <a:pt x="757" y="146"/>
                      <a:pt x="753" y="153"/>
                      <a:pt x="759" y="140"/>
                    </a:cubicBezTo>
                    <a:cubicBezTo>
                      <a:pt x="756" y="129"/>
                      <a:pt x="756" y="133"/>
                      <a:pt x="747" y="129"/>
                    </a:cubicBezTo>
                    <a:cubicBezTo>
                      <a:pt x="733" y="130"/>
                      <a:pt x="722" y="132"/>
                      <a:pt x="709" y="131"/>
                    </a:cubicBezTo>
                    <a:cubicBezTo>
                      <a:pt x="701" y="127"/>
                      <a:pt x="691" y="124"/>
                      <a:pt x="682" y="122"/>
                    </a:cubicBezTo>
                    <a:cubicBezTo>
                      <a:pt x="676" y="119"/>
                      <a:pt x="670" y="117"/>
                      <a:pt x="664" y="116"/>
                    </a:cubicBezTo>
                    <a:cubicBezTo>
                      <a:pt x="657" y="112"/>
                      <a:pt x="647" y="111"/>
                      <a:pt x="639" y="110"/>
                    </a:cubicBezTo>
                    <a:cubicBezTo>
                      <a:pt x="630" y="111"/>
                      <a:pt x="624" y="115"/>
                      <a:pt x="616" y="117"/>
                    </a:cubicBezTo>
                    <a:cubicBezTo>
                      <a:pt x="611" y="120"/>
                      <a:pt x="609" y="124"/>
                      <a:pt x="601" y="119"/>
                    </a:cubicBezTo>
                    <a:cubicBezTo>
                      <a:pt x="599" y="118"/>
                      <a:pt x="609" y="108"/>
                      <a:pt x="610" y="107"/>
                    </a:cubicBezTo>
                    <a:cubicBezTo>
                      <a:pt x="603" y="102"/>
                      <a:pt x="597" y="107"/>
                      <a:pt x="589" y="108"/>
                    </a:cubicBezTo>
                    <a:cubicBezTo>
                      <a:pt x="583" y="112"/>
                      <a:pt x="578" y="116"/>
                      <a:pt x="571" y="119"/>
                    </a:cubicBezTo>
                    <a:cubicBezTo>
                      <a:pt x="562" y="116"/>
                      <a:pt x="568" y="104"/>
                      <a:pt x="561" y="95"/>
                    </a:cubicBezTo>
                    <a:cubicBezTo>
                      <a:pt x="555" y="96"/>
                      <a:pt x="550" y="98"/>
                      <a:pt x="544" y="99"/>
                    </a:cubicBezTo>
                    <a:cubicBezTo>
                      <a:pt x="538" y="102"/>
                      <a:pt x="532" y="104"/>
                      <a:pt x="526" y="105"/>
                    </a:cubicBezTo>
                    <a:cubicBezTo>
                      <a:pt x="520" y="108"/>
                      <a:pt x="517" y="108"/>
                      <a:pt x="510" y="107"/>
                    </a:cubicBezTo>
                    <a:cubicBezTo>
                      <a:pt x="512" y="106"/>
                      <a:pt x="513" y="101"/>
                      <a:pt x="511" y="101"/>
                    </a:cubicBezTo>
                    <a:cubicBezTo>
                      <a:pt x="507" y="100"/>
                      <a:pt x="502" y="102"/>
                      <a:pt x="498" y="102"/>
                    </a:cubicBezTo>
                    <a:cubicBezTo>
                      <a:pt x="488" y="105"/>
                      <a:pt x="477" y="107"/>
                      <a:pt x="466" y="108"/>
                    </a:cubicBezTo>
                    <a:cubicBezTo>
                      <a:pt x="454" y="114"/>
                      <a:pt x="439" y="112"/>
                      <a:pt x="426" y="114"/>
                    </a:cubicBezTo>
                    <a:cubicBezTo>
                      <a:pt x="408" y="113"/>
                      <a:pt x="401" y="111"/>
                      <a:pt x="385" y="114"/>
                    </a:cubicBezTo>
                    <a:cubicBezTo>
                      <a:pt x="380" y="118"/>
                      <a:pt x="375" y="122"/>
                      <a:pt x="369" y="125"/>
                    </a:cubicBezTo>
                    <a:cubicBezTo>
                      <a:pt x="365" y="132"/>
                      <a:pt x="359" y="131"/>
                      <a:pt x="352" y="132"/>
                    </a:cubicBezTo>
                    <a:cubicBezTo>
                      <a:pt x="344" y="131"/>
                      <a:pt x="339" y="129"/>
                      <a:pt x="331" y="128"/>
                    </a:cubicBezTo>
                    <a:cubicBezTo>
                      <a:pt x="326" y="124"/>
                      <a:pt x="326" y="120"/>
                      <a:pt x="319" y="119"/>
                    </a:cubicBezTo>
                    <a:cubicBezTo>
                      <a:pt x="314" y="116"/>
                      <a:pt x="309" y="113"/>
                      <a:pt x="304" y="111"/>
                    </a:cubicBezTo>
                    <a:cubicBezTo>
                      <a:pt x="299" y="115"/>
                      <a:pt x="295" y="116"/>
                      <a:pt x="289" y="117"/>
                    </a:cubicBezTo>
                    <a:cubicBezTo>
                      <a:pt x="239" y="158"/>
                      <a:pt x="47" y="314"/>
                      <a:pt x="3" y="354"/>
                    </a:cubicBezTo>
                    <a:cubicBezTo>
                      <a:pt x="0" y="372"/>
                      <a:pt x="10" y="359"/>
                      <a:pt x="24" y="360"/>
                    </a:cubicBezTo>
                    <a:cubicBezTo>
                      <a:pt x="35" y="365"/>
                      <a:pt x="30" y="395"/>
                      <a:pt x="30" y="395"/>
                    </a:cubicBezTo>
                    <a:lnTo>
                      <a:pt x="69" y="377"/>
                    </a:lnTo>
                    <a:lnTo>
                      <a:pt x="100" y="371"/>
                    </a:lnTo>
                    <a:lnTo>
                      <a:pt x="99" y="401"/>
                    </a:lnTo>
                    <a:lnTo>
                      <a:pt x="91" y="456"/>
                    </a:lnTo>
                    <a:lnTo>
                      <a:pt x="100" y="477"/>
                    </a:lnTo>
                    <a:lnTo>
                      <a:pt x="78" y="503"/>
                    </a:lnTo>
                    <a:lnTo>
                      <a:pt x="57" y="519"/>
                    </a:lnTo>
                    <a:lnTo>
                      <a:pt x="31" y="539"/>
                    </a:lnTo>
                    <a:lnTo>
                      <a:pt x="39" y="555"/>
                    </a:lnTo>
                    <a:lnTo>
                      <a:pt x="46" y="567"/>
                    </a:lnTo>
                    <a:lnTo>
                      <a:pt x="45" y="584"/>
                    </a:lnTo>
                    <a:lnTo>
                      <a:pt x="36" y="599"/>
                    </a:lnTo>
                    <a:lnTo>
                      <a:pt x="39" y="612"/>
                    </a:lnTo>
                    <a:lnTo>
                      <a:pt x="58" y="621"/>
                    </a:lnTo>
                    <a:lnTo>
                      <a:pt x="72" y="633"/>
                    </a:lnTo>
                    <a:lnTo>
                      <a:pt x="82" y="650"/>
                    </a:lnTo>
                    <a:lnTo>
                      <a:pt x="102" y="671"/>
                    </a:ln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1" name="Freeform 28">
                <a:extLst>
                  <a:ext uri="{FF2B5EF4-FFF2-40B4-BE49-F238E27FC236}">
                    <a16:creationId xmlns:a16="http://schemas.microsoft.com/office/drawing/2014/main" id="{472526C3-DB87-2442-AFA4-DC733B958CAF}"/>
                  </a:ext>
                </a:extLst>
              </p:cNvPr>
              <p:cNvSpPr>
                <a:spLocks/>
              </p:cNvSpPr>
              <p:nvPr/>
            </p:nvSpPr>
            <p:spPr bwMode="auto">
              <a:xfrm>
                <a:off x="1445" y="2750"/>
                <a:ext cx="41" cy="63"/>
              </a:xfrm>
              <a:custGeom>
                <a:avLst/>
                <a:gdLst>
                  <a:gd name="T0" fmla="*/ 37 w 41"/>
                  <a:gd name="T1" fmla="*/ 3 h 63"/>
                  <a:gd name="T2" fmla="*/ 10 w 41"/>
                  <a:gd name="T3" fmla="*/ 6 h 63"/>
                  <a:gd name="T4" fmla="*/ 0 w 41"/>
                  <a:gd name="T5" fmla="*/ 27 h 63"/>
                  <a:gd name="T6" fmla="*/ 9 w 41"/>
                  <a:gd name="T7" fmla="*/ 63 h 63"/>
                  <a:gd name="T8" fmla="*/ 30 w 41"/>
                  <a:gd name="T9" fmla="*/ 24 h 63"/>
                  <a:gd name="T10" fmla="*/ 37 w 41"/>
                  <a:gd name="T11" fmla="*/ 3 h 63"/>
                </a:gdLst>
                <a:ahLst/>
                <a:cxnLst>
                  <a:cxn ang="0">
                    <a:pos x="T0" y="T1"/>
                  </a:cxn>
                  <a:cxn ang="0">
                    <a:pos x="T2" y="T3"/>
                  </a:cxn>
                  <a:cxn ang="0">
                    <a:pos x="T4" y="T5"/>
                  </a:cxn>
                  <a:cxn ang="0">
                    <a:pos x="T6" y="T7"/>
                  </a:cxn>
                  <a:cxn ang="0">
                    <a:pos x="T8" y="T9"/>
                  </a:cxn>
                  <a:cxn ang="0">
                    <a:pos x="T10" y="T11"/>
                  </a:cxn>
                </a:cxnLst>
                <a:rect l="0" t="0" r="r" b="b"/>
                <a:pathLst>
                  <a:path w="41" h="63">
                    <a:moveTo>
                      <a:pt x="37" y="3"/>
                    </a:moveTo>
                    <a:cubicBezTo>
                      <a:pt x="30" y="0"/>
                      <a:pt x="17" y="5"/>
                      <a:pt x="10" y="6"/>
                    </a:cubicBezTo>
                    <a:cubicBezTo>
                      <a:pt x="4" y="14"/>
                      <a:pt x="2" y="17"/>
                      <a:pt x="0" y="27"/>
                    </a:cubicBezTo>
                    <a:cubicBezTo>
                      <a:pt x="1" y="37"/>
                      <a:pt x="0" y="58"/>
                      <a:pt x="9" y="63"/>
                    </a:cubicBezTo>
                    <a:cubicBezTo>
                      <a:pt x="16" y="51"/>
                      <a:pt x="13" y="27"/>
                      <a:pt x="30" y="24"/>
                    </a:cubicBezTo>
                    <a:cubicBezTo>
                      <a:pt x="33" y="18"/>
                      <a:pt x="41" y="9"/>
                      <a:pt x="37" y="3"/>
                    </a:cubicBez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2" name="Freeform 29">
                <a:extLst>
                  <a:ext uri="{FF2B5EF4-FFF2-40B4-BE49-F238E27FC236}">
                    <a16:creationId xmlns:a16="http://schemas.microsoft.com/office/drawing/2014/main" id="{33E472DB-6FC4-9941-ACA7-B469744B2D42}"/>
                  </a:ext>
                </a:extLst>
              </p:cNvPr>
              <p:cNvSpPr>
                <a:spLocks/>
              </p:cNvSpPr>
              <p:nvPr/>
            </p:nvSpPr>
            <p:spPr bwMode="auto">
              <a:xfrm>
                <a:off x="1475" y="2846"/>
                <a:ext cx="84" cy="75"/>
              </a:xfrm>
              <a:custGeom>
                <a:avLst/>
                <a:gdLst>
                  <a:gd name="T0" fmla="*/ 72 w 84"/>
                  <a:gd name="T1" fmla="*/ 72 h 75"/>
                  <a:gd name="T2" fmla="*/ 84 w 84"/>
                  <a:gd name="T3" fmla="*/ 57 h 75"/>
                  <a:gd name="T4" fmla="*/ 67 w 84"/>
                  <a:gd name="T5" fmla="*/ 36 h 75"/>
                  <a:gd name="T6" fmla="*/ 60 w 84"/>
                  <a:gd name="T7" fmla="*/ 6 h 75"/>
                  <a:gd name="T8" fmla="*/ 45 w 84"/>
                  <a:gd name="T9" fmla="*/ 1 h 75"/>
                  <a:gd name="T10" fmla="*/ 31 w 84"/>
                  <a:gd name="T11" fmla="*/ 6 h 75"/>
                  <a:gd name="T12" fmla="*/ 16 w 84"/>
                  <a:gd name="T13" fmla="*/ 0 h 75"/>
                  <a:gd name="T14" fmla="*/ 1 w 84"/>
                  <a:gd name="T15" fmla="*/ 7 h 75"/>
                  <a:gd name="T16" fmla="*/ 7 w 84"/>
                  <a:gd name="T17" fmla="*/ 19 h 75"/>
                  <a:gd name="T18" fmla="*/ 18 w 84"/>
                  <a:gd name="T19" fmla="*/ 34 h 75"/>
                  <a:gd name="T20" fmla="*/ 22 w 84"/>
                  <a:gd name="T21" fmla="*/ 37 h 75"/>
                  <a:gd name="T22" fmla="*/ 33 w 84"/>
                  <a:gd name="T23" fmla="*/ 75 h 75"/>
                  <a:gd name="T24" fmla="*/ 42 w 84"/>
                  <a:gd name="T25" fmla="*/ 70 h 75"/>
                  <a:gd name="T26" fmla="*/ 72 w 84"/>
                  <a:gd name="T2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5">
                    <a:moveTo>
                      <a:pt x="72" y="72"/>
                    </a:moveTo>
                    <a:cubicBezTo>
                      <a:pt x="81" y="68"/>
                      <a:pt x="80" y="65"/>
                      <a:pt x="84" y="57"/>
                    </a:cubicBezTo>
                    <a:cubicBezTo>
                      <a:pt x="76" y="52"/>
                      <a:pt x="73" y="43"/>
                      <a:pt x="67" y="36"/>
                    </a:cubicBezTo>
                    <a:cubicBezTo>
                      <a:pt x="65" y="27"/>
                      <a:pt x="69" y="10"/>
                      <a:pt x="60" y="6"/>
                    </a:cubicBezTo>
                    <a:cubicBezTo>
                      <a:pt x="56" y="1"/>
                      <a:pt x="50" y="4"/>
                      <a:pt x="45" y="1"/>
                    </a:cubicBezTo>
                    <a:cubicBezTo>
                      <a:pt x="41" y="8"/>
                      <a:pt x="39" y="7"/>
                      <a:pt x="31" y="6"/>
                    </a:cubicBezTo>
                    <a:cubicBezTo>
                      <a:pt x="26" y="2"/>
                      <a:pt x="22" y="1"/>
                      <a:pt x="16" y="0"/>
                    </a:cubicBezTo>
                    <a:cubicBezTo>
                      <a:pt x="9" y="1"/>
                      <a:pt x="5" y="1"/>
                      <a:pt x="1" y="7"/>
                    </a:cubicBezTo>
                    <a:cubicBezTo>
                      <a:pt x="0" y="14"/>
                      <a:pt x="2" y="15"/>
                      <a:pt x="7" y="19"/>
                    </a:cubicBezTo>
                    <a:cubicBezTo>
                      <a:pt x="10" y="31"/>
                      <a:pt x="7" y="25"/>
                      <a:pt x="18" y="34"/>
                    </a:cubicBezTo>
                    <a:cubicBezTo>
                      <a:pt x="19" y="35"/>
                      <a:pt x="22" y="37"/>
                      <a:pt x="22" y="37"/>
                    </a:cubicBezTo>
                    <a:cubicBezTo>
                      <a:pt x="26" y="47"/>
                      <a:pt x="33" y="65"/>
                      <a:pt x="33" y="75"/>
                    </a:cubicBezTo>
                    <a:lnTo>
                      <a:pt x="42" y="70"/>
                    </a:lnTo>
                    <a:lnTo>
                      <a:pt x="72" y="72"/>
                    </a:ln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3" name="Freeform 30">
                <a:extLst>
                  <a:ext uri="{FF2B5EF4-FFF2-40B4-BE49-F238E27FC236}">
                    <a16:creationId xmlns:a16="http://schemas.microsoft.com/office/drawing/2014/main" id="{991E8E67-B7A9-1041-B7BE-19090C92B0E8}"/>
                  </a:ext>
                </a:extLst>
              </p:cNvPr>
              <p:cNvSpPr>
                <a:spLocks/>
              </p:cNvSpPr>
              <p:nvPr/>
            </p:nvSpPr>
            <p:spPr bwMode="auto">
              <a:xfrm>
                <a:off x="3008" y="2823"/>
                <a:ext cx="151" cy="144"/>
              </a:xfrm>
              <a:custGeom>
                <a:avLst/>
                <a:gdLst>
                  <a:gd name="T0" fmla="*/ 0 w 151"/>
                  <a:gd name="T1" fmla="*/ 117 h 144"/>
                  <a:gd name="T2" fmla="*/ 18 w 151"/>
                  <a:gd name="T3" fmla="*/ 96 h 144"/>
                  <a:gd name="T4" fmla="*/ 6 w 151"/>
                  <a:gd name="T5" fmla="*/ 87 h 144"/>
                  <a:gd name="T6" fmla="*/ 18 w 151"/>
                  <a:gd name="T7" fmla="*/ 80 h 144"/>
                  <a:gd name="T8" fmla="*/ 36 w 151"/>
                  <a:gd name="T9" fmla="*/ 74 h 144"/>
                  <a:gd name="T10" fmla="*/ 57 w 151"/>
                  <a:gd name="T11" fmla="*/ 50 h 144"/>
                  <a:gd name="T12" fmla="*/ 87 w 151"/>
                  <a:gd name="T13" fmla="*/ 14 h 144"/>
                  <a:gd name="T14" fmla="*/ 103 w 151"/>
                  <a:gd name="T15" fmla="*/ 2 h 144"/>
                  <a:gd name="T16" fmla="*/ 118 w 151"/>
                  <a:gd name="T17" fmla="*/ 3 h 144"/>
                  <a:gd name="T18" fmla="*/ 100 w 151"/>
                  <a:gd name="T19" fmla="*/ 24 h 144"/>
                  <a:gd name="T20" fmla="*/ 79 w 151"/>
                  <a:gd name="T21" fmla="*/ 45 h 144"/>
                  <a:gd name="T22" fmla="*/ 72 w 151"/>
                  <a:gd name="T23" fmla="*/ 56 h 144"/>
                  <a:gd name="T24" fmla="*/ 93 w 151"/>
                  <a:gd name="T25" fmla="*/ 48 h 144"/>
                  <a:gd name="T26" fmla="*/ 97 w 151"/>
                  <a:gd name="T27" fmla="*/ 59 h 144"/>
                  <a:gd name="T28" fmla="*/ 111 w 151"/>
                  <a:gd name="T29" fmla="*/ 68 h 144"/>
                  <a:gd name="T30" fmla="*/ 124 w 151"/>
                  <a:gd name="T31" fmla="*/ 59 h 144"/>
                  <a:gd name="T32" fmla="*/ 138 w 151"/>
                  <a:gd name="T33" fmla="*/ 71 h 144"/>
                  <a:gd name="T34" fmla="*/ 147 w 151"/>
                  <a:gd name="T35" fmla="*/ 89 h 144"/>
                  <a:gd name="T36" fmla="*/ 133 w 151"/>
                  <a:gd name="T37" fmla="*/ 102 h 144"/>
                  <a:gd name="T38" fmla="*/ 141 w 151"/>
                  <a:gd name="T39" fmla="*/ 113 h 144"/>
                  <a:gd name="T40" fmla="*/ 136 w 151"/>
                  <a:gd name="T41" fmla="*/ 138 h 144"/>
                  <a:gd name="T42" fmla="*/ 121 w 151"/>
                  <a:gd name="T43" fmla="*/ 144 h 144"/>
                  <a:gd name="T44" fmla="*/ 106 w 151"/>
                  <a:gd name="T45" fmla="*/ 137 h 144"/>
                  <a:gd name="T46" fmla="*/ 112 w 151"/>
                  <a:gd name="T47" fmla="*/ 126 h 144"/>
                  <a:gd name="T48" fmla="*/ 109 w 151"/>
                  <a:gd name="T49" fmla="*/ 116 h 144"/>
                  <a:gd name="T50" fmla="*/ 93 w 151"/>
                  <a:gd name="T51" fmla="*/ 122 h 144"/>
                  <a:gd name="T52" fmla="*/ 72 w 151"/>
                  <a:gd name="T53" fmla="*/ 137 h 144"/>
                  <a:gd name="T54" fmla="*/ 66 w 151"/>
                  <a:gd name="T55" fmla="*/ 135 h 144"/>
                  <a:gd name="T56" fmla="*/ 79 w 151"/>
                  <a:gd name="T57" fmla="*/ 119 h 144"/>
                  <a:gd name="T58" fmla="*/ 61 w 151"/>
                  <a:gd name="T59" fmla="*/ 114 h 144"/>
                  <a:gd name="T60" fmla="*/ 28 w 151"/>
                  <a:gd name="T61" fmla="*/ 116 h 144"/>
                  <a:gd name="T62" fmla="*/ 9 w 151"/>
                  <a:gd name="T63" fmla="*/ 114 h 144"/>
                  <a:gd name="T64" fmla="*/ 0 w 151"/>
                  <a:gd name="T65" fmla="*/ 11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144">
                    <a:moveTo>
                      <a:pt x="0" y="117"/>
                    </a:moveTo>
                    <a:cubicBezTo>
                      <a:pt x="1" y="105"/>
                      <a:pt x="7" y="100"/>
                      <a:pt x="18" y="96"/>
                    </a:cubicBezTo>
                    <a:cubicBezTo>
                      <a:pt x="15" y="88"/>
                      <a:pt x="13" y="91"/>
                      <a:pt x="6" y="87"/>
                    </a:cubicBezTo>
                    <a:cubicBezTo>
                      <a:pt x="10" y="82"/>
                      <a:pt x="12" y="81"/>
                      <a:pt x="18" y="80"/>
                    </a:cubicBezTo>
                    <a:cubicBezTo>
                      <a:pt x="24" y="77"/>
                      <a:pt x="30" y="75"/>
                      <a:pt x="36" y="74"/>
                    </a:cubicBezTo>
                    <a:cubicBezTo>
                      <a:pt x="37" y="63"/>
                      <a:pt x="47" y="56"/>
                      <a:pt x="57" y="50"/>
                    </a:cubicBezTo>
                    <a:cubicBezTo>
                      <a:pt x="60" y="37"/>
                      <a:pt x="73" y="16"/>
                      <a:pt x="87" y="14"/>
                    </a:cubicBezTo>
                    <a:cubicBezTo>
                      <a:pt x="95" y="10"/>
                      <a:pt x="94" y="3"/>
                      <a:pt x="103" y="2"/>
                    </a:cubicBezTo>
                    <a:cubicBezTo>
                      <a:pt x="108" y="2"/>
                      <a:pt x="114" y="0"/>
                      <a:pt x="118" y="3"/>
                    </a:cubicBezTo>
                    <a:cubicBezTo>
                      <a:pt x="129" y="12"/>
                      <a:pt x="104" y="23"/>
                      <a:pt x="100" y="24"/>
                    </a:cubicBezTo>
                    <a:cubicBezTo>
                      <a:pt x="91" y="31"/>
                      <a:pt x="91" y="43"/>
                      <a:pt x="79" y="45"/>
                    </a:cubicBezTo>
                    <a:cubicBezTo>
                      <a:pt x="73" y="49"/>
                      <a:pt x="69" y="48"/>
                      <a:pt x="72" y="56"/>
                    </a:cubicBezTo>
                    <a:cubicBezTo>
                      <a:pt x="79" y="51"/>
                      <a:pt x="85" y="51"/>
                      <a:pt x="93" y="48"/>
                    </a:cubicBezTo>
                    <a:cubicBezTo>
                      <a:pt x="98" y="56"/>
                      <a:pt x="90" y="56"/>
                      <a:pt x="97" y="59"/>
                    </a:cubicBezTo>
                    <a:cubicBezTo>
                      <a:pt x="101" y="64"/>
                      <a:pt x="105" y="66"/>
                      <a:pt x="111" y="68"/>
                    </a:cubicBezTo>
                    <a:cubicBezTo>
                      <a:pt x="118" y="66"/>
                      <a:pt x="119" y="63"/>
                      <a:pt x="124" y="59"/>
                    </a:cubicBezTo>
                    <a:cubicBezTo>
                      <a:pt x="132" y="61"/>
                      <a:pt x="135" y="63"/>
                      <a:pt x="138" y="71"/>
                    </a:cubicBezTo>
                    <a:cubicBezTo>
                      <a:pt x="134" y="87"/>
                      <a:pt x="131" y="85"/>
                      <a:pt x="147" y="89"/>
                    </a:cubicBezTo>
                    <a:cubicBezTo>
                      <a:pt x="143" y="96"/>
                      <a:pt x="141" y="100"/>
                      <a:pt x="133" y="102"/>
                    </a:cubicBezTo>
                    <a:cubicBezTo>
                      <a:pt x="126" y="114"/>
                      <a:pt x="119" y="108"/>
                      <a:pt x="141" y="113"/>
                    </a:cubicBezTo>
                    <a:cubicBezTo>
                      <a:pt x="151" y="120"/>
                      <a:pt x="148" y="136"/>
                      <a:pt x="136" y="138"/>
                    </a:cubicBezTo>
                    <a:cubicBezTo>
                      <a:pt x="131" y="142"/>
                      <a:pt x="127" y="143"/>
                      <a:pt x="121" y="144"/>
                    </a:cubicBezTo>
                    <a:cubicBezTo>
                      <a:pt x="114" y="143"/>
                      <a:pt x="112" y="140"/>
                      <a:pt x="106" y="137"/>
                    </a:cubicBezTo>
                    <a:cubicBezTo>
                      <a:pt x="105" y="130"/>
                      <a:pt x="106" y="129"/>
                      <a:pt x="112" y="126"/>
                    </a:cubicBezTo>
                    <a:cubicBezTo>
                      <a:pt x="115" y="119"/>
                      <a:pt x="118" y="117"/>
                      <a:pt x="109" y="116"/>
                    </a:cubicBezTo>
                    <a:cubicBezTo>
                      <a:pt x="103" y="117"/>
                      <a:pt x="98" y="118"/>
                      <a:pt x="93" y="122"/>
                    </a:cubicBezTo>
                    <a:cubicBezTo>
                      <a:pt x="89" y="130"/>
                      <a:pt x="79" y="132"/>
                      <a:pt x="72" y="137"/>
                    </a:cubicBezTo>
                    <a:cubicBezTo>
                      <a:pt x="70" y="136"/>
                      <a:pt x="67" y="137"/>
                      <a:pt x="66" y="135"/>
                    </a:cubicBezTo>
                    <a:cubicBezTo>
                      <a:pt x="65" y="133"/>
                      <a:pt x="77" y="121"/>
                      <a:pt x="79" y="119"/>
                    </a:cubicBezTo>
                    <a:cubicBezTo>
                      <a:pt x="83" y="108"/>
                      <a:pt x="69" y="113"/>
                      <a:pt x="61" y="114"/>
                    </a:cubicBezTo>
                    <a:cubicBezTo>
                      <a:pt x="49" y="118"/>
                      <a:pt x="43" y="117"/>
                      <a:pt x="28" y="116"/>
                    </a:cubicBezTo>
                    <a:cubicBezTo>
                      <a:pt x="21" y="112"/>
                      <a:pt x="17" y="113"/>
                      <a:pt x="9" y="114"/>
                    </a:cubicBezTo>
                    <a:cubicBezTo>
                      <a:pt x="3" y="118"/>
                      <a:pt x="6" y="117"/>
                      <a:pt x="0" y="117"/>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4" name="Freeform 31">
                <a:extLst>
                  <a:ext uri="{FF2B5EF4-FFF2-40B4-BE49-F238E27FC236}">
                    <a16:creationId xmlns:a16="http://schemas.microsoft.com/office/drawing/2014/main" id="{68A347A8-AD9A-7C42-ABD9-2177E696B27B}"/>
                  </a:ext>
                </a:extLst>
              </p:cNvPr>
              <p:cNvSpPr>
                <a:spLocks/>
              </p:cNvSpPr>
              <p:nvPr/>
            </p:nvSpPr>
            <p:spPr bwMode="auto">
              <a:xfrm>
                <a:off x="2742" y="2234"/>
                <a:ext cx="465" cy="307"/>
              </a:xfrm>
              <a:custGeom>
                <a:avLst/>
                <a:gdLst>
                  <a:gd name="T0" fmla="*/ 225 w 465"/>
                  <a:gd name="T1" fmla="*/ 184 h 307"/>
                  <a:gd name="T2" fmla="*/ 207 w 465"/>
                  <a:gd name="T3" fmla="*/ 208 h 307"/>
                  <a:gd name="T4" fmla="*/ 179 w 465"/>
                  <a:gd name="T5" fmla="*/ 217 h 307"/>
                  <a:gd name="T6" fmla="*/ 108 w 465"/>
                  <a:gd name="T7" fmla="*/ 220 h 307"/>
                  <a:gd name="T8" fmla="*/ 99 w 465"/>
                  <a:gd name="T9" fmla="*/ 238 h 307"/>
                  <a:gd name="T10" fmla="*/ 144 w 465"/>
                  <a:gd name="T11" fmla="*/ 241 h 307"/>
                  <a:gd name="T12" fmla="*/ 200 w 465"/>
                  <a:gd name="T13" fmla="*/ 250 h 307"/>
                  <a:gd name="T14" fmla="*/ 203 w 465"/>
                  <a:gd name="T15" fmla="*/ 270 h 307"/>
                  <a:gd name="T16" fmla="*/ 246 w 465"/>
                  <a:gd name="T17" fmla="*/ 289 h 307"/>
                  <a:gd name="T18" fmla="*/ 287 w 465"/>
                  <a:gd name="T19" fmla="*/ 307 h 307"/>
                  <a:gd name="T20" fmla="*/ 284 w 465"/>
                  <a:gd name="T21" fmla="*/ 279 h 307"/>
                  <a:gd name="T22" fmla="*/ 284 w 465"/>
                  <a:gd name="T23" fmla="*/ 261 h 307"/>
                  <a:gd name="T24" fmla="*/ 329 w 465"/>
                  <a:gd name="T25" fmla="*/ 286 h 307"/>
                  <a:gd name="T26" fmla="*/ 359 w 465"/>
                  <a:gd name="T27" fmla="*/ 270 h 307"/>
                  <a:gd name="T28" fmla="*/ 345 w 465"/>
                  <a:gd name="T29" fmla="*/ 228 h 307"/>
                  <a:gd name="T30" fmla="*/ 327 w 465"/>
                  <a:gd name="T31" fmla="*/ 204 h 307"/>
                  <a:gd name="T32" fmla="*/ 348 w 465"/>
                  <a:gd name="T33" fmla="*/ 189 h 307"/>
                  <a:gd name="T34" fmla="*/ 371 w 465"/>
                  <a:gd name="T35" fmla="*/ 208 h 307"/>
                  <a:gd name="T36" fmla="*/ 387 w 465"/>
                  <a:gd name="T37" fmla="*/ 228 h 307"/>
                  <a:gd name="T38" fmla="*/ 410 w 465"/>
                  <a:gd name="T39" fmla="*/ 205 h 307"/>
                  <a:gd name="T40" fmla="*/ 461 w 465"/>
                  <a:gd name="T41" fmla="*/ 189 h 307"/>
                  <a:gd name="T42" fmla="*/ 435 w 465"/>
                  <a:gd name="T43" fmla="*/ 162 h 307"/>
                  <a:gd name="T44" fmla="*/ 405 w 465"/>
                  <a:gd name="T45" fmla="*/ 150 h 307"/>
                  <a:gd name="T46" fmla="*/ 366 w 465"/>
                  <a:gd name="T47" fmla="*/ 135 h 307"/>
                  <a:gd name="T48" fmla="*/ 383 w 465"/>
                  <a:gd name="T49" fmla="*/ 123 h 307"/>
                  <a:gd name="T50" fmla="*/ 387 w 465"/>
                  <a:gd name="T51" fmla="*/ 105 h 307"/>
                  <a:gd name="T52" fmla="*/ 378 w 465"/>
                  <a:gd name="T53" fmla="*/ 94 h 307"/>
                  <a:gd name="T54" fmla="*/ 365 w 465"/>
                  <a:gd name="T55" fmla="*/ 79 h 307"/>
                  <a:gd name="T56" fmla="*/ 345 w 465"/>
                  <a:gd name="T57" fmla="*/ 55 h 307"/>
                  <a:gd name="T58" fmla="*/ 303 w 465"/>
                  <a:gd name="T59" fmla="*/ 45 h 307"/>
                  <a:gd name="T60" fmla="*/ 287 w 465"/>
                  <a:gd name="T61" fmla="*/ 30 h 307"/>
                  <a:gd name="T62" fmla="*/ 276 w 465"/>
                  <a:gd name="T63" fmla="*/ 9 h 307"/>
                  <a:gd name="T64" fmla="*/ 230 w 465"/>
                  <a:gd name="T65" fmla="*/ 25 h 307"/>
                  <a:gd name="T66" fmla="*/ 251 w 465"/>
                  <a:gd name="T67" fmla="*/ 39 h 307"/>
                  <a:gd name="T68" fmla="*/ 218 w 465"/>
                  <a:gd name="T69" fmla="*/ 40 h 307"/>
                  <a:gd name="T70" fmla="*/ 207 w 465"/>
                  <a:gd name="T71" fmla="*/ 36 h 307"/>
                  <a:gd name="T72" fmla="*/ 215 w 465"/>
                  <a:gd name="T73" fmla="*/ 7 h 307"/>
                  <a:gd name="T74" fmla="*/ 144 w 465"/>
                  <a:gd name="T75" fmla="*/ 19 h 307"/>
                  <a:gd name="T76" fmla="*/ 114 w 465"/>
                  <a:gd name="T77" fmla="*/ 37 h 307"/>
                  <a:gd name="T78" fmla="*/ 101 w 465"/>
                  <a:gd name="T79" fmla="*/ 61 h 307"/>
                  <a:gd name="T80" fmla="*/ 105 w 465"/>
                  <a:gd name="T81" fmla="*/ 28 h 307"/>
                  <a:gd name="T82" fmla="*/ 153 w 465"/>
                  <a:gd name="T83" fmla="*/ 7 h 307"/>
                  <a:gd name="T84" fmla="*/ 102 w 465"/>
                  <a:gd name="T85" fmla="*/ 13 h 307"/>
                  <a:gd name="T86" fmla="*/ 62 w 465"/>
                  <a:gd name="T87" fmla="*/ 25 h 307"/>
                  <a:gd name="T88" fmla="*/ 38 w 465"/>
                  <a:gd name="T89" fmla="*/ 37 h 307"/>
                  <a:gd name="T90" fmla="*/ 17 w 465"/>
                  <a:gd name="T91" fmla="*/ 55 h 307"/>
                  <a:gd name="T92" fmla="*/ 50 w 465"/>
                  <a:gd name="T93" fmla="*/ 67 h 307"/>
                  <a:gd name="T94" fmla="*/ 12 w 465"/>
                  <a:gd name="T95" fmla="*/ 75 h 307"/>
                  <a:gd name="T96" fmla="*/ 36 w 465"/>
                  <a:gd name="T97" fmla="*/ 96 h 307"/>
                  <a:gd name="T98" fmla="*/ 101 w 465"/>
                  <a:gd name="T99" fmla="*/ 97 h 307"/>
                  <a:gd name="T100" fmla="*/ 134 w 465"/>
                  <a:gd name="T101" fmla="*/ 99 h 307"/>
                  <a:gd name="T102" fmla="*/ 188 w 465"/>
                  <a:gd name="T103" fmla="*/ 100 h 307"/>
                  <a:gd name="T104" fmla="*/ 219 w 465"/>
                  <a:gd name="T105" fmla="*/ 108 h 307"/>
                  <a:gd name="T106" fmla="*/ 212 w 465"/>
                  <a:gd name="T107" fmla="*/ 129 h 307"/>
                  <a:gd name="T108" fmla="*/ 246 w 465"/>
                  <a:gd name="T109" fmla="*/ 130 h 307"/>
                  <a:gd name="T110" fmla="*/ 231 w 465"/>
                  <a:gd name="T111" fmla="*/ 17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5" h="307">
                    <a:moveTo>
                      <a:pt x="243" y="178"/>
                    </a:moveTo>
                    <a:cubicBezTo>
                      <a:pt x="240" y="179"/>
                      <a:pt x="230" y="182"/>
                      <a:pt x="225" y="184"/>
                    </a:cubicBezTo>
                    <a:cubicBezTo>
                      <a:pt x="219" y="186"/>
                      <a:pt x="215" y="189"/>
                      <a:pt x="210" y="192"/>
                    </a:cubicBezTo>
                    <a:cubicBezTo>
                      <a:pt x="205" y="199"/>
                      <a:pt x="201" y="199"/>
                      <a:pt x="207" y="208"/>
                    </a:cubicBezTo>
                    <a:cubicBezTo>
                      <a:pt x="201" y="219"/>
                      <a:pt x="206" y="213"/>
                      <a:pt x="185" y="216"/>
                    </a:cubicBezTo>
                    <a:cubicBezTo>
                      <a:pt x="183" y="216"/>
                      <a:pt x="179" y="217"/>
                      <a:pt x="179" y="217"/>
                    </a:cubicBezTo>
                    <a:cubicBezTo>
                      <a:pt x="164" y="216"/>
                      <a:pt x="150" y="215"/>
                      <a:pt x="135" y="213"/>
                    </a:cubicBezTo>
                    <a:cubicBezTo>
                      <a:pt x="123" y="214"/>
                      <a:pt x="119" y="218"/>
                      <a:pt x="108" y="220"/>
                    </a:cubicBezTo>
                    <a:cubicBezTo>
                      <a:pt x="105" y="234"/>
                      <a:pt x="110" y="216"/>
                      <a:pt x="102" y="228"/>
                    </a:cubicBezTo>
                    <a:cubicBezTo>
                      <a:pt x="100" y="231"/>
                      <a:pt x="101" y="235"/>
                      <a:pt x="99" y="238"/>
                    </a:cubicBezTo>
                    <a:cubicBezTo>
                      <a:pt x="102" y="245"/>
                      <a:pt x="106" y="246"/>
                      <a:pt x="113" y="247"/>
                    </a:cubicBezTo>
                    <a:cubicBezTo>
                      <a:pt x="124" y="246"/>
                      <a:pt x="133" y="244"/>
                      <a:pt x="144" y="241"/>
                    </a:cubicBezTo>
                    <a:cubicBezTo>
                      <a:pt x="153" y="236"/>
                      <a:pt x="163" y="240"/>
                      <a:pt x="171" y="234"/>
                    </a:cubicBezTo>
                    <a:cubicBezTo>
                      <a:pt x="184" y="236"/>
                      <a:pt x="187" y="248"/>
                      <a:pt x="200" y="250"/>
                    </a:cubicBezTo>
                    <a:cubicBezTo>
                      <a:pt x="204" y="257"/>
                      <a:pt x="207" y="255"/>
                      <a:pt x="213" y="259"/>
                    </a:cubicBezTo>
                    <a:cubicBezTo>
                      <a:pt x="206" y="262"/>
                      <a:pt x="204" y="262"/>
                      <a:pt x="203" y="270"/>
                    </a:cubicBezTo>
                    <a:cubicBezTo>
                      <a:pt x="205" y="285"/>
                      <a:pt x="219" y="282"/>
                      <a:pt x="233" y="283"/>
                    </a:cubicBezTo>
                    <a:cubicBezTo>
                      <a:pt x="238" y="285"/>
                      <a:pt x="242" y="286"/>
                      <a:pt x="246" y="289"/>
                    </a:cubicBezTo>
                    <a:cubicBezTo>
                      <a:pt x="249" y="295"/>
                      <a:pt x="250" y="297"/>
                      <a:pt x="257" y="298"/>
                    </a:cubicBezTo>
                    <a:cubicBezTo>
                      <a:pt x="266" y="303"/>
                      <a:pt x="277" y="305"/>
                      <a:pt x="287" y="307"/>
                    </a:cubicBezTo>
                    <a:cubicBezTo>
                      <a:pt x="297" y="306"/>
                      <a:pt x="314" y="302"/>
                      <a:pt x="297" y="295"/>
                    </a:cubicBezTo>
                    <a:cubicBezTo>
                      <a:pt x="295" y="286"/>
                      <a:pt x="291" y="284"/>
                      <a:pt x="284" y="279"/>
                    </a:cubicBezTo>
                    <a:cubicBezTo>
                      <a:pt x="281" y="274"/>
                      <a:pt x="277" y="272"/>
                      <a:pt x="273" y="267"/>
                    </a:cubicBezTo>
                    <a:cubicBezTo>
                      <a:pt x="271" y="258"/>
                      <a:pt x="276" y="259"/>
                      <a:pt x="284" y="261"/>
                    </a:cubicBezTo>
                    <a:cubicBezTo>
                      <a:pt x="290" y="265"/>
                      <a:pt x="295" y="270"/>
                      <a:pt x="302" y="271"/>
                    </a:cubicBezTo>
                    <a:cubicBezTo>
                      <a:pt x="307" y="277"/>
                      <a:pt x="321" y="284"/>
                      <a:pt x="329" y="286"/>
                    </a:cubicBezTo>
                    <a:cubicBezTo>
                      <a:pt x="340" y="284"/>
                      <a:pt x="333" y="281"/>
                      <a:pt x="338" y="273"/>
                    </a:cubicBezTo>
                    <a:cubicBezTo>
                      <a:pt x="342" y="267"/>
                      <a:pt x="352" y="270"/>
                      <a:pt x="359" y="270"/>
                    </a:cubicBezTo>
                    <a:cubicBezTo>
                      <a:pt x="360" y="264"/>
                      <a:pt x="360" y="260"/>
                      <a:pt x="357" y="255"/>
                    </a:cubicBezTo>
                    <a:cubicBezTo>
                      <a:pt x="355" y="245"/>
                      <a:pt x="356" y="230"/>
                      <a:pt x="345" y="228"/>
                    </a:cubicBezTo>
                    <a:cubicBezTo>
                      <a:pt x="342" y="226"/>
                      <a:pt x="338" y="226"/>
                      <a:pt x="336" y="223"/>
                    </a:cubicBezTo>
                    <a:cubicBezTo>
                      <a:pt x="332" y="218"/>
                      <a:pt x="331" y="210"/>
                      <a:pt x="327" y="204"/>
                    </a:cubicBezTo>
                    <a:cubicBezTo>
                      <a:pt x="333" y="190"/>
                      <a:pt x="324" y="207"/>
                      <a:pt x="335" y="198"/>
                    </a:cubicBezTo>
                    <a:cubicBezTo>
                      <a:pt x="340" y="194"/>
                      <a:pt x="332" y="191"/>
                      <a:pt x="348" y="189"/>
                    </a:cubicBezTo>
                    <a:cubicBezTo>
                      <a:pt x="356" y="186"/>
                      <a:pt x="355" y="191"/>
                      <a:pt x="362" y="195"/>
                    </a:cubicBezTo>
                    <a:cubicBezTo>
                      <a:pt x="366" y="201"/>
                      <a:pt x="365" y="203"/>
                      <a:pt x="371" y="208"/>
                    </a:cubicBezTo>
                    <a:cubicBezTo>
                      <a:pt x="373" y="217"/>
                      <a:pt x="377" y="218"/>
                      <a:pt x="384" y="223"/>
                    </a:cubicBezTo>
                    <a:cubicBezTo>
                      <a:pt x="385" y="225"/>
                      <a:pt x="385" y="228"/>
                      <a:pt x="387" y="228"/>
                    </a:cubicBezTo>
                    <a:cubicBezTo>
                      <a:pt x="392" y="229"/>
                      <a:pt x="401" y="225"/>
                      <a:pt x="401" y="225"/>
                    </a:cubicBezTo>
                    <a:cubicBezTo>
                      <a:pt x="402" y="218"/>
                      <a:pt x="406" y="211"/>
                      <a:pt x="410" y="205"/>
                    </a:cubicBezTo>
                    <a:cubicBezTo>
                      <a:pt x="421" y="207"/>
                      <a:pt x="430" y="208"/>
                      <a:pt x="440" y="202"/>
                    </a:cubicBezTo>
                    <a:cubicBezTo>
                      <a:pt x="442" y="187"/>
                      <a:pt x="444" y="190"/>
                      <a:pt x="461" y="189"/>
                    </a:cubicBezTo>
                    <a:cubicBezTo>
                      <a:pt x="462" y="184"/>
                      <a:pt x="464" y="180"/>
                      <a:pt x="465" y="175"/>
                    </a:cubicBezTo>
                    <a:cubicBezTo>
                      <a:pt x="455" y="168"/>
                      <a:pt x="447" y="164"/>
                      <a:pt x="435" y="162"/>
                    </a:cubicBezTo>
                    <a:cubicBezTo>
                      <a:pt x="430" y="158"/>
                      <a:pt x="426" y="157"/>
                      <a:pt x="419" y="156"/>
                    </a:cubicBezTo>
                    <a:cubicBezTo>
                      <a:pt x="414" y="153"/>
                      <a:pt x="411" y="151"/>
                      <a:pt x="405" y="150"/>
                    </a:cubicBezTo>
                    <a:cubicBezTo>
                      <a:pt x="397" y="146"/>
                      <a:pt x="389" y="143"/>
                      <a:pt x="381" y="141"/>
                    </a:cubicBezTo>
                    <a:cubicBezTo>
                      <a:pt x="376" y="137"/>
                      <a:pt x="372" y="136"/>
                      <a:pt x="366" y="135"/>
                    </a:cubicBezTo>
                    <a:cubicBezTo>
                      <a:pt x="363" y="134"/>
                      <a:pt x="358" y="135"/>
                      <a:pt x="357" y="132"/>
                    </a:cubicBezTo>
                    <a:cubicBezTo>
                      <a:pt x="353" y="123"/>
                      <a:pt x="376" y="124"/>
                      <a:pt x="383" y="123"/>
                    </a:cubicBezTo>
                    <a:cubicBezTo>
                      <a:pt x="388" y="121"/>
                      <a:pt x="393" y="120"/>
                      <a:pt x="398" y="118"/>
                    </a:cubicBezTo>
                    <a:cubicBezTo>
                      <a:pt x="400" y="109"/>
                      <a:pt x="396" y="107"/>
                      <a:pt x="387" y="105"/>
                    </a:cubicBezTo>
                    <a:cubicBezTo>
                      <a:pt x="394" y="103"/>
                      <a:pt x="398" y="104"/>
                      <a:pt x="399" y="97"/>
                    </a:cubicBezTo>
                    <a:cubicBezTo>
                      <a:pt x="393" y="88"/>
                      <a:pt x="388" y="93"/>
                      <a:pt x="378" y="94"/>
                    </a:cubicBezTo>
                    <a:cubicBezTo>
                      <a:pt x="379" y="91"/>
                      <a:pt x="384" y="91"/>
                      <a:pt x="384" y="88"/>
                    </a:cubicBezTo>
                    <a:cubicBezTo>
                      <a:pt x="385" y="82"/>
                      <a:pt x="368" y="80"/>
                      <a:pt x="365" y="79"/>
                    </a:cubicBezTo>
                    <a:cubicBezTo>
                      <a:pt x="360" y="72"/>
                      <a:pt x="357" y="69"/>
                      <a:pt x="350" y="64"/>
                    </a:cubicBezTo>
                    <a:cubicBezTo>
                      <a:pt x="349" y="63"/>
                      <a:pt x="346" y="55"/>
                      <a:pt x="345" y="55"/>
                    </a:cubicBezTo>
                    <a:cubicBezTo>
                      <a:pt x="339" y="53"/>
                      <a:pt x="321" y="60"/>
                      <a:pt x="315" y="61"/>
                    </a:cubicBezTo>
                    <a:cubicBezTo>
                      <a:pt x="313" y="52"/>
                      <a:pt x="311" y="50"/>
                      <a:pt x="303" y="45"/>
                    </a:cubicBezTo>
                    <a:cubicBezTo>
                      <a:pt x="300" y="30"/>
                      <a:pt x="287" y="33"/>
                      <a:pt x="273" y="31"/>
                    </a:cubicBezTo>
                    <a:cubicBezTo>
                      <a:pt x="280" y="30"/>
                      <a:pt x="281" y="27"/>
                      <a:pt x="287" y="30"/>
                    </a:cubicBezTo>
                    <a:cubicBezTo>
                      <a:pt x="290" y="29"/>
                      <a:pt x="294" y="30"/>
                      <a:pt x="297" y="28"/>
                    </a:cubicBezTo>
                    <a:cubicBezTo>
                      <a:pt x="309" y="22"/>
                      <a:pt x="280" y="10"/>
                      <a:pt x="276" y="9"/>
                    </a:cubicBezTo>
                    <a:cubicBezTo>
                      <a:pt x="263" y="2"/>
                      <a:pt x="233" y="7"/>
                      <a:pt x="222" y="7"/>
                    </a:cubicBezTo>
                    <a:cubicBezTo>
                      <a:pt x="221" y="14"/>
                      <a:pt x="227" y="18"/>
                      <a:pt x="230" y="25"/>
                    </a:cubicBezTo>
                    <a:cubicBezTo>
                      <a:pt x="232" y="33"/>
                      <a:pt x="235" y="30"/>
                      <a:pt x="242" y="33"/>
                    </a:cubicBezTo>
                    <a:cubicBezTo>
                      <a:pt x="250" y="31"/>
                      <a:pt x="265" y="32"/>
                      <a:pt x="251" y="39"/>
                    </a:cubicBezTo>
                    <a:cubicBezTo>
                      <a:pt x="246" y="46"/>
                      <a:pt x="247" y="48"/>
                      <a:pt x="237" y="49"/>
                    </a:cubicBezTo>
                    <a:cubicBezTo>
                      <a:pt x="227" y="48"/>
                      <a:pt x="226" y="44"/>
                      <a:pt x="218" y="40"/>
                    </a:cubicBezTo>
                    <a:cubicBezTo>
                      <a:pt x="213" y="42"/>
                      <a:pt x="209" y="45"/>
                      <a:pt x="204" y="48"/>
                    </a:cubicBezTo>
                    <a:cubicBezTo>
                      <a:pt x="193" y="45"/>
                      <a:pt x="199" y="37"/>
                      <a:pt x="207" y="36"/>
                    </a:cubicBezTo>
                    <a:cubicBezTo>
                      <a:pt x="213" y="34"/>
                      <a:pt x="215" y="32"/>
                      <a:pt x="218" y="27"/>
                    </a:cubicBezTo>
                    <a:cubicBezTo>
                      <a:pt x="220" y="19"/>
                      <a:pt x="219" y="14"/>
                      <a:pt x="215" y="7"/>
                    </a:cubicBezTo>
                    <a:cubicBezTo>
                      <a:pt x="201" y="9"/>
                      <a:pt x="188" y="11"/>
                      <a:pt x="174" y="13"/>
                    </a:cubicBezTo>
                    <a:cubicBezTo>
                      <a:pt x="166" y="17"/>
                      <a:pt x="154" y="17"/>
                      <a:pt x="144" y="19"/>
                    </a:cubicBezTo>
                    <a:cubicBezTo>
                      <a:pt x="138" y="22"/>
                      <a:pt x="132" y="25"/>
                      <a:pt x="126" y="27"/>
                    </a:cubicBezTo>
                    <a:cubicBezTo>
                      <a:pt x="122" y="33"/>
                      <a:pt x="122" y="36"/>
                      <a:pt x="114" y="37"/>
                    </a:cubicBezTo>
                    <a:cubicBezTo>
                      <a:pt x="109" y="45"/>
                      <a:pt x="102" y="48"/>
                      <a:pt x="113" y="54"/>
                    </a:cubicBezTo>
                    <a:cubicBezTo>
                      <a:pt x="110" y="63"/>
                      <a:pt x="110" y="64"/>
                      <a:pt x="101" y="61"/>
                    </a:cubicBezTo>
                    <a:cubicBezTo>
                      <a:pt x="98" y="58"/>
                      <a:pt x="95" y="48"/>
                      <a:pt x="96" y="43"/>
                    </a:cubicBezTo>
                    <a:cubicBezTo>
                      <a:pt x="97" y="38"/>
                      <a:pt x="98" y="32"/>
                      <a:pt x="105" y="28"/>
                    </a:cubicBezTo>
                    <a:cubicBezTo>
                      <a:pt x="114" y="21"/>
                      <a:pt x="125" y="20"/>
                      <a:pt x="137" y="18"/>
                    </a:cubicBezTo>
                    <a:cubicBezTo>
                      <a:pt x="145" y="14"/>
                      <a:pt x="146" y="12"/>
                      <a:pt x="153" y="7"/>
                    </a:cubicBezTo>
                    <a:cubicBezTo>
                      <a:pt x="143" y="0"/>
                      <a:pt x="131" y="5"/>
                      <a:pt x="120" y="7"/>
                    </a:cubicBezTo>
                    <a:cubicBezTo>
                      <a:pt x="114" y="10"/>
                      <a:pt x="108" y="12"/>
                      <a:pt x="102" y="13"/>
                    </a:cubicBezTo>
                    <a:cubicBezTo>
                      <a:pt x="95" y="16"/>
                      <a:pt x="86" y="18"/>
                      <a:pt x="78" y="19"/>
                    </a:cubicBezTo>
                    <a:cubicBezTo>
                      <a:pt x="72" y="22"/>
                      <a:pt x="69" y="24"/>
                      <a:pt x="62" y="25"/>
                    </a:cubicBezTo>
                    <a:cubicBezTo>
                      <a:pt x="57" y="27"/>
                      <a:pt x="55" y="33"/>
                      <a:pt x="50" y="34"/>
                    </a:cubicBezTo>
                    <a:cubicBezTo>
                      <a:pt x="42" y="36"/>
                      <a:pt x="46" y="35"/>
                      <a:pt x="38" y="37"/>
                    </a:cubicBezTo>
                    <a:cubicBezTo>
                      <a:pt x="33" y="40"/>
                      <a:pt x="29" y="47"/>
                      <a:pt x="24" y="49"/>
                    </a:cubicBezTo>
                    <a:cubicBezTo>
                      <a:pt x="21" y="52"/>
                      <a:pt x="17" y="52"/>
                      <a:pt x="17" y="55"/>
                    </a:cubicBezTo>
                    <a:cubicBezTo>
                      <a:pt x="17" y="58"/>
                      <a:pt x="18" y="67"/>
                      <a:pt x="23" y="69"/>
                    </a:cubicBezTo>
                    <a:cubicBezTo>
                      <a:pt x="33" y="66"/>
                      <a:pt x="38" y="66"/>
                      <a:pt x="50" y="67"/>
                    </a:cubicBezTo>
                    <a:cubicBezTo>
                      <a:pt x="52" y="76"/>
                      <a:pt x="49" y="76"/>
                      <a:pt x="41" y="75"/>
                    </a:cubicBezTo>
                    <a:cubicBezTo>
                      <a:pt x="32" y="71"/>
                      <a:pt x="24" y="67"/>
                      <a:pt x="12" y="75"/>
                    </a:cubicBezTo>
                    <a:cubicBezTo>
                      <a:pt x="0" y="83"/>
                      <a:pt x="20" y="90"/>
                      <a:pt x="23" y="91"/>
                    </a:cubicBezTo>
                    <a:cubicBezTo>
                      <a:pt x="27" y="93"/>
                      <a:pt x="32" y="94"/>
                      <a:pt x="36" y="96"/>
                    </a:cubicBezTo>
                    <a:cubicBezTo>
                      <a:pt x="51" y="94"/>
                      <a:pt x="62" y="95"/>
                      <a:pt x="77" y="97"/>
                    </a:cubicBezTo>
                    <a:cubicBezTo>
                      <a:pt x="85" y="93"/>
                      <a:pt x="92" y="95"/>
                      <a:pt x="101" y="97"/>
                    </a:cubicBezTo>
                    <a:cubicBezTo>
                      <a:pt x="108" y="101"/>
                      <a:pt x="110" y="98"/>
                      <a:pt x="113" y="106"/>
                    </a:cubicBezTo>
                    <a:cubicBezTo>
                      <a:pt x="128" y="105"/>
                      <a:pt x="122" y="101"/>
                      <a:pt x="134" y="99"/>
                    </a:cubicBezTo>
                    <a:cubicBezTo>
                      <a:pt x="142" y="100"/>
                      <a:pt x="147" y="103"/>
                      <a:pt x="153" y="108"/>
                    </a:cubicBezTo>
                    <a:cubicBezTo>
                      <a:pt x="164" y="104"/>
                      <a:pt x="176" y="102"/>
                      <a:pt x="188" y="100"/>
                    </a:cubicBezTo>
                    <a:cubicBezTo>
                      <a:pt x="192" y="92"/>
                      <a:pt x="191" y="90"/>
                      <a:pt x="201" y="91"/>
                    </a:cubicBezTo>
                    <a:cubicBezTo>
                      <a:pt x="209" y="96"/>
                      <a:pt x="211" y="104"/>
                      <a:pt x="219" y="108"/>
                    </a:cubicBezTo>
                    <a:cubicBezTo>
                      <a:pt x="223" y="113"/>
                      <a:pt x="223" y="117"/>
                      <a:pt x="230" y="118"/>
                    </a:cubicBezTo>
                    <a:cubicBezTo>
                      <a:pt x="232" y="127"/>
                      <a:pt x="219" y="124"/>
                      <a:pt x="212" y="129"/>
                    </a:cubicBezTo>
                    <a:cubicBezTo>
                      <a:pt x="219" y="130"/>
                      <a:pt x="220" y="127"/>
                      <a:pt x="227" y="126"/>
                    </a:cubicBezTo>
                    <a:cubicBezTo>
                      <a:pt x="234" y="127"/>
                      <a:pt x="239" y="129"/>
                      <a:pt x="246" y="130"/>
                    </a:cubicBezTo>
                    <a:cubicBezTo>
                      <a:pt x="254" y="135"/>
                      <a:pt x="258" y="145"/>
                      <a:pt x="266" y="151"/>
                    </a:cubicBezTo>
                    <a:cubicBezTo>
                      <a:pt x="269" y="167"/>
                      <a:pt x="245" y="178"/>
                      <a:pt x="231" y="178"/>
                    </a:cubicBezTo>
                    <a:cubicBezTo>
                      <a:pt x="231" y="178"/>
                      <a:pt x="243" y="178"/>
                      <a:pt x="243" y="178"/>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5" name="Freeform 32">
                <a:extLst>
                  <a:ext uri="{FF2B5EF4-FFF2-40B4-BE49-F238E27FC236}">
                    <a16:creationId xmlns:a16="http://schemas.microsoft.com/office/drawing/2014/main" id="{3BB1203E-8E06-8640-8E1F-BC895653475E}"/>
                  </a:ext>
                </a:extLst>
              </p:cNvPr>
              <p:cNvSpPr>
                <a:spLocks/>
              </p:cNvSpPr>
              <p:nvPr/>
            </p:nvSpPr>
            <p:spPr bwMode="auto">
              <a:xfrm>
                <a:off x="2646" y="2427"/>
                <a:ext cx="135" cy="81"/>
              </a:xfrm>
              <a:custGeom>
                <a:avLst/>
                <a:gdLst>
                  <a:gd name="T0" fmla="*/ 135 w 135"/>
                  <a:gd name="T1" fmla="*/ 60 h 81"/>
                  <a:gd name="T2" fmla="*/ 117 w 135"/>
                  <a:gd name="T3" fmla="*/ 57 h 81"/>
                  <a:gd name="T4" fmla="*/ 99 w 135"/>
                  <a:gd name="T5" fmla="*/ 32 h 81"/>
                  <a:gd name="T6" fmla="*/ 86 w 135"/>
                  <a:gd name="T7" fmla="*/ 23 h 81"/>
                  <a:gd name="T8" fmla="*/ 81 w 135"/>
                  <a:gd name="T9" fmla="*/ 21 h 81"/>
                  <a:gd name="T10" fmla="*/ 77 w 135"/>
                  <a:gd name="T11" fmla="*/ 23 h 81"/>
                  <a:gd name="T12" fmla="*/ 87 w 135"/>
                  <a:gd name="T13" fmla="*/ 12 h 81"/>
                  <a:gd name="T14" fmla="*/ 75 w 135"/>
                  <a:gd name="T15" fmla="*/ 6 h 81"/>
                  <a:gd name="T16" fmla="*/ 60 w 135"/>
                  <a:gd name="T17" fmla="*/ 20 h 81"/>
                  <a:gd name="T18" fmla="*/ 48 w 135"/>
                  <a:gd name="T19" fmla="*/ 26 h 81"/>
                  <a:gd name="T20" fmla="*/ 36 w 135"/>
                  <a:gd name="T21" fmla="*/ 35 h 81"/>
                  <a:gd name="T22" fmla="*/ 12 w 135"/>
                  <a:gd name="T23" fmla="*/ 60 h 81"/>
                  <a:gd name="T24" fmla="*/ 0 w 135"/>
                  <a:gd name="T25" fmla="*/ 69 h 81"/>
                  <a:gd name="T26" fmla="*/ 18 w 135"/>
                  <a:gd name="T27" fmla="*/ 68 h 81"/>
                  <a:gd name="T28" fmla="*/ 21 w 135"/>
                  <a:gd name="T29" fmla="*/ 75 h 81"/>
                  <a:gd name="T30" fmla="*/ 50 w 135"/>
                  <a:gd name="T31" fmla="*/ 74 h 81"/>
                  <a:gd name="T32" fmla="*/ 65 w 135"/>
                  <a:gd name="T33" fmla="*/ 68 h 81"/>
                  <a:gd name="T34" fmla="*/ 74 w 135"/>
                  <a:gd name="T35" fmla="*/ 65 h 81"/>
                  <a:gd name="T36" fmla="*/ 84 w 135"/>
                  <a:gd name="T37" fmla="*/ 53 h 81"/>
                  <a:gd name="T38" fmla="*/ 95 w 135"/>
                  <a:gd name="T39" fmla="*/ 68 h 81"/>
                  <a:gd name="T40" fmla="*/ 119 w 135"/>
                  <a:gd name="T41" fmla="*/ 74 h 81"/>
                  <a:gd name="T42" fmla="*/ 135 w 135"/>
                  <a:gd name="T43" fmla="*/ 6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5" h="81">
                    <a:moveTo>
                      <a:pt x="135" y="60"/>
                    </a:moveTo>
                    <a:cubicBezTo>
                      <a:pt x="129" y="56"/>
                      <a:pt x="124" y="56"/>
                      <a:pt x="117" y="57"/>
                    </a:cubicBezTo>
                    <a:cubicBezTo>
                      <a:pt x="125" y="42"/>
                      <a:pt x="113" y="34"/>
                      <a:pt x="99" y="32"/>
                    </a:cubicBezTo>
                    <a:cubicBezTo>
                      <a:pt x="97" y="24"/>
                      <a:pt x="94" y="24"/>
                      <a:pt x="86" y="23"/>
                    </a:cubicBezTo>
                    <a:cubicBezTo>
                      <a:pt x="84" y="22"/>
                      <a:pt x="83" y="21"/>
                      <a:pt x="81" y="21"/>
                    </a:cubicBezTo>
                    <a:cubicBezTo>
                      <a:pt x="80" y="21"/>
                      <a:pt x="78" y="24"/>
                      <a:pt x="77" y="23"/>
                    </a:cubicBezTo>
                    <a:cubicBezTo>
                      <a:pt x="73" y="19"/>
                      <a:pt x="85" y="13"/>
                      <a:pt x="87" y="12"/>
                    </a:cubicBezTo>
                    <a:cubicBezTo>
                      <a:pt x="93" y="0"/>
                      <a:pt x="82" y="5"/>
                      <a:pt x="75" y="6"/>
                    </a:cubicBezTo>
                    <a:cubicBezTo>
                      <a:pt x="67" y="10"/>
                      <a:pt x="66" y="16"/>
                      <a:pt x="60" y="20"/>
                    </a:cubicBezTo>
                    <a:cubicBezTo>
                      <a:pt x="56" y="23"/>
                      <a:pt x="48" y="26"/>
                      <a:pt x="48" y="26"/>
                    </a:cubicBezTo>
                    <a:cubicBezTo>
                      <a:pt x="44" y="31"/>
                      <a:pt x="41" y="32"/>
                      <a:pt x="36" y="35"/>
                    </a:cubicBezTo>
                    <a:cubicBezTo>
                      <a:pt x="27" y="47"/>
                      <a:pt x="29" y="57"/>
                      <a:pt x="12" y="60"/>
                    </a:cubicBezTo>
                    <a:cubicBezTo>
                      <a:pt x="7" y="62"/>
                      <a:pt x="5" y="66"/>
                      <a:pt x="0" y="69"/>
                    </a:cubicBezTo>
                    <a:cubicBezTo>
                      <a:pt x="7" y="72"/>
                      <a:pt x="11" y="69"/>
                      <a:pt x="18" y="68"/>
                    </a:cubicBezTo>
                    <a:cubicBezTo>
                      <a:pt x="27" y="65"/>
                      <a:pt x="25" y="70"/>
                      <a:pt x="21" y="75"/>
                    </a:cubicBezTo>
                    <a:cubicBezTo>
                      <a:pt x="31" y="81"/>
                      <a:pt x="40" y="76"/>
                      <a:pt x="50" y="74"/>
                    </a:cubicBezTo>
                    <a:cubicBezTo>
                      <a:pt x="55" y="71"/>
                      <a:pt x="59" y="69"/>
                      <a:pt x="65" y="68"/>
                    </a:cubicBezTo>
                    <a:cubicBezTo>
                      <a:pt x="68" y="67"/>
                      <a:pt x="71" y="67"/>
                      <a:pt x="74" y="65"/>
                    </a:cubicBezTo>
                    <a:cubicBezTo>
                      <a:pt x="78" y="62"/>
                      <a:pt x="80" y="56"/>
                      <a:pt x="84" y="53"/>
                    </a:cubicBezTo>
                    <a:cubicBezTo>
                      <a:pt x="92" y="55"/>
                      <a:pt x="90" y="62"/>
                      <a:pt x="95" y="68"/>
                    </a:cubicBezTo>
                    <a:cubicBezTo>
                      <a:pt x="99" y="74"/>
                      <a:pt x="114" y="73"/>
                      <a:pt x="119" y="74"/>
                    </a:cubicBezTo>
                    <a:cubicBezTo>
                      <a:pt x="133" y="72"/>
                      <a:pt x="135" y="73"/>
                      <a:pt x="135" y="6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6" name="Freeform 33">
                <a:extLst>
                  <a:ext uri="{FF2B5EF4-FFF2-40B4-BE49-F238E27FC236}">
                    <a16:creationId xmlns:a16="http://schemas.microsoft.com/office/drawing/2014/main" id="{E42BFF95-F3A0-CB4B-9746-3414EA070425}"/>
                  </a:ext>
                </a:extLst>
              </p:cNvPr>
              <p:cNvSpPr>
                <a:spLocks/>
              </p:cNvSpPr>
              <p:nvPr/>
            </p:nvSpPr>
            <p:spPr bwMode="auto">
              <a:xfrm>
                <a:off x="2686" y="2507"/>
                <a:ext cx="51" cy="31"/>
              </a:xfrm>
              <a:custGeom>
                <a:avLst/>
                <a:gdLst>
                  <a:gd name="T0" fmla="*/ 49 w 51"/>
                  <a:gd name="T1" fmla="*/ 3 h 31"/>
                  <a:gd name="T2" fmla="*/ 32 w 51"/>
                  <a:gd name="T3" fmla="*/ 1 h 31"/>
                  <a:gd name="T4" fmla="*/ 13 w 51"/>
                  <a:gd name="T5" fmla="*/ 7 h 31"/>
                  <a:gd name="T6" fmla="*/ 2 w 51"/>
                  <a:gd name="T7" fmla="*/ 18 h 31"/>
                  <a:gd name="T8" fmla="*/ 16 w 51"/>
                  <a:gd name="T9" fmla="*/ 21 h 31"/>
                  <a:gd name="T10" fmla="*/ 40 w 51"/>
                  <a:gd name="T11" fmla="*/ 15 h 31"/>
                  <a:gd name="T12" fmla="*/ 49 w 51"/>
                  <a:gd name="T13" fmla="*/ 10 h 31"/>
                  <a:gd name="T14" fmla="*/ 49 w 51"/>
                  <a:gd name="T15" fmla="*/ 3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1">
                    <a:moveTo>
                      <a:pt x="49" y="3"/>
                    </a:moveTo>
                    <a:cubicBezTo>
                      <a:pt x="43" y="0"/>
                      <a:pt x="39" y="0"/>
                      <a:pt x="32" y="1"/>
                    </a:cubicBezTo>
                    <a:cubicBezTo>
                      <a:pt x="26" y="4"/>
                      <a:pt x="19" y="6"/>
                      <a:pt x="13" y="7"/>
                    </a:cubicBezTo>
                    <a:cubicBezTo>
                      <a:pt x="5" y="10"/>
                      <a:pt x="9" y="14"/>
                      <a:pt x="2" y="18"/>
                    </a:cubicBezTo>
                    <a:cubicBezTo>
                      <a:pt x="0" y="31"/>
                      <a:pt x="9" y="22"/>
                      <a:pt x="16" y="21"/>
                    </a:cubicBezTo>
                    <a:cubicBezTo>
                      <a:pt x="23" y="18"/>
                      <a:pt x="32" y="17"/>
                      <a:pt x="40" y="15"/>
                    </a:cubicBezTo>
                    <a:cubicBezTo>
                      <a:pt x="41" y="14"/>
                      <a:pt x="49" y="11"/>
                      <a:pt x="49" y="10"/>
                    </a:cubicBezTo>
                    <a:cubicBezTo>
                      <a:pt x="51" y="1"/>
                      <a:pt x="41" y="6"/>
                      <a:pt x="49" y="3"/>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7" name="Freeform 34">
                <a:extLst>
                  <a:ext uri="{FF2B5EF4-FFF2-40B4-BE49-F238E27FC236}">
                    <a16:creationId xmlns:a16="http://schemas.microsoft.com/office/drawing/2014/main" id="{CB0BE310-F4BF-B548-8ACE-CBA500050032}"/>
                  </a:ext>
                </a:extLst>
              </p:cNvPr>
              <p:cNvSpPr>
                <a:spLocks/>
              </p:cNvSpPr>
              <p:nvPr/>
            </p:nvSpPr>
            <p:spPr bwMode="auto">
              <a:xfrm>
                <a:off x="2745" y="2522"/>
                <a:ext cx="35" cy="23"/>
              </a:xfrm>
              <a:custGeom>
                <a:avLst/>
                <a:gdLst>
                  <a:gd name="T0" fmla="*/ 27 w 35"/>
                  <a:gd name="T1" fmla="*/ 0 h 23"/>
                  <a:gd name="T2" fmla="*/ 8 w 35"/>
                  <a:gd name="T3" fmla="*/ 7 h 23"/>
                  <a:gd name="T4" fmla="*/ 11 w 35"/>
                  <a:gd name="T5" fmla="*/ 21 h 23"/>
                  <a:gd name="T6" fmla="*/ 32 w 35"/>
                  <a:gd name="T7" fmla="*/ 12 h 23"/>
                  <a:gd name="T8" fmla="*/ 27 w 35"/>
                  <a:gd name="T9" fmla="*/ 0 h 23"/>
                </a:gdLst>
                <a:ahLst/>
                <a:cxnLst>
                  <a:cxn ang="0">
                    <a:pos x="T0" y="T1"/>
                  </a:cxn>
                  <a:cxn ang="0">
                    <a:pos x="T2" y="T3"/>
                  </a:cxn>
                  <a:cxn ang="0">
                    <a:pos x="T4" y="T5"/>
                  </a:cxn>
                  <a:cxn ang="0">
                    <a:pos x="T6" y="T7"/>
                  </a:cxn>
                  <a:cxn ang="0">
                    <a:pos x="T8" y="T9"/>
                  </a:cxn>
                </a:cxnLst>
                <a:rect l="0" t="0" r="r" b="b"/>
                <a:pathLst>
                  <a:path w="35" h="23">
                    <a:moveTo>
                      <a:pt x="27" y="0"/>
                    </a:moveTo>
                    <a:cubicBezTo>
                      <a:pt x="34" y="10"/>
                      <a:pt x="13" y="7"/>
                      <a:pt x="8" y="7"/>
                    </a:cubicBezTo>
                    <a:cubicBezTo>
                      <a:pt x="5" y="13"/>
                      <a:pt x="0" y="23"/>
                      <a:pt x="11" y="21"/>
                    </a:cubicBezTo>
                    <a:cubicBezTo>
                      <a:pt x="18" y="16"/>
                      <a:pt x="28" y="21"/>
                      <a:pt x="32" y="12"/>
                    </a:cubicBezTo>
                    <a:cubicBezTo>
                      <a:pt x="33" y="2"/>
                      <a:pt x="35" y="5"/>
                      <a:pt x="27" y="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8" name="Freeform 35">
                <a:extLst>
                  <a:ext uri="{FF2B5EF4-FFF2-40B4-BE49-F238E27FC236}">
                    <a16:creationId xmlns:a16="http://schemas.microsoft.com/office/drawing/2014/main" id="{CBBB3E8B-061D-194B-9571-66B36C1C3DF7}"/>
                  </a:ext>
                </a:extLst>
              </p:cNvPr>
              <p:cNvSpPr>
                <a:spLocks/>
              </p:cNvSpPr>
              <p:nvPr/>
            </p:nvSpPr>
            <p:spPr bwMode="auto">
              <a:xfrm>
                <a:off x="2800" y="2490"/>
                <a:ext cx="40" cy="18"/>
              </a:xfrm>
              <a:custGeom>
                <a:avLst/>
                <a:gdLst>
                  <a:gd name="T0" fmla="*/ 32 w 40"/>
                  <a:gd name="T1" fmla="*/ 8 h 18"/>
                  <a:gd name="T2" fmla="*/ 19 w 40"/>
                  <a:gd name="T3" fmla="*/ 18 h 18"/>
                  <a:gd name="T4" fmla="*/ 29 w 40"/>
                  <a:gd name="T5" fmla="*/ 17 h 18"/>
                  <a:gd name="T6" fmla="*/ 32 w 40"/>
                  <a:gd name="T7" fmla="*/ 8 h 18"/>
                </a:gdLst>
                <a:ahLst/>
                <a:cxnLst>
                  <a:cxn ang="0">
                    <a:pos x="T0" y="T1"/>
                  </a:cxn>
                  <a:cxn ang="0">
                    <a:pos x="T2" y="T3"/>
                  </a:cxn>
                  <a:cxn ang="0">
                    <a:pos x="T4" y="T5"/>
                  </a:cxn>
                  <a:cxn ang="0">
                    <a:pos x="T6" y="T7"/>
                  </a:cxn>
                </a:cxnLst>
                <a:rect l="0" t="0" r="r" b="b"/>
                <a:pathLst>
                  <a:path w="40" h="18">
                    <a:moveTo>
                      <a:pt x="32" y="8"/>
                    </a:moveTo>
                    <a:cubicBezTo>
                      <a:pt x="17" y="0"/>
                      <a:pt x="0" y="15"/>
                      <a:pt x="19" y="18"/>
                    </a:cubicBezTo>
                    <a:cubicBezTo>
                      <a:pt x="22" y="18"/>
                      <a:pt x="26" y="18"/>
                      <a:pt x="29" y="17"/>
                    </a:cubicBezTo>
                    <a:cubicBezTo>
                      <a:pt x="40" y="12"/>
                      <a:pt x="23" y="8"/>
                      <a:pt x="32" y="8"/>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89" name="Freeform 36">
                <a:extLst>
                  <a:ext uri="{FF2B5EF4-FFF2-40B4-BE49-F238E27FC236}">
                    <a16:creationId xmlns:a16="http://schemas.microsoft.com/office/drawing/2014/main" id="{42C59696-AE7A-CB45-8E20-10E6B3BB4FE7}"/>
                  </a:ext>
                </a:extLst>
              </p:cNvPr>
              <p:cNvSpPr>
                <a:spLocks/>
              </p:cNvSpPr>
              <p:nvPr/>
            </p:nvSpPr>
            <p:spPr bwMode="auto">
              <a:xfrm>
                <a:off x="2837" y="2491"/>
                <a:ext cx="15" cy="13"/>
              </a:xfrm>
              <a:custGeom>
                <a:avLst/>
                <a:gdLst>
                  <a:gd name="T0" fmla="*/ 15 w 15"/>
                  <a:gd name="T1" fmla="*/ 9 h 13"/>
                  <a:gd name="T2" fmla="*/ 0 w 15"/>
                  <a:gd name="T3" fmla="*/ 4 h 13"/>
                  <a:gd name="T4" fmla="*/ 15 w 15"/>
                  <a:gd name="T5" fmla="*/ 9 h 13"/>
                </a:gdLst>
                <a:ahLst/>
                <a:cxnLst>
                  <a:cxn ang="0">
                    <a:pos x="T0" y="T1"/>
                  </a:cxn>
                  <a:cxn ang="0">
                    <a:pos x="T2" y="T3"/>
                  </a:cxn>
                  <a:cxn ang="0">
                    <a:pos x="T4" y="T5"/>
                  </a:cxn>
                </a:cxnLst>
                <a:rect l="0" t="0" r="r" b="b"/>
                <a:pathLst>
                  <a:path w="15" h="13">
                    <a:moveTo>
                      <a:pt x="15" y="9"/>
                    </a:moveTo>
                    <a:cubicBezTo>
                      <a:pt x="13" y="0"/>
                      <a:pt x="8" y="3"/>
                      <a:pt x="0" y="4"/>
                    </a:cubicBezTo>
                    <a:cubicBezTo>
                      <a:pt x="4" y="13"/>
                      <a:pt x="6" y="12"/>
                      <a:pt x="15" y="9"/>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0" name="Freeform 37">
                <a:extLst>
                  <a:ext uri="{FF2B5EF4-FFF2-40B4-BE49-F238E27FC236}">
                    <a16:creationId xmlns:a16="http://schemas.microsoft.com/office/drawing/2014/main" id="{AD91E4FC-EA7F-E646-950A-F90E98451B3D}"/>
                  </a:ext>
                </a:extLst>
              </p:cNvPr>
              <p:cNvSpPr>
                <a:spLocks/>
              </p:cNvSpPr>
              <p:nvPr/>
            </p:nvSpPr>
            <p:spPr bwMode="auto">
              <a:xfrm>
                <a:off x="2832" y="2476"/>
                <a:ext cx="9" cy="16"/>
              </a:xfrm>
              <a:custGeom>
                <a:avLst/>
                <a:gdLst>
                  <a:gd name="T0" fmla="*/ 9 w 9"/>
                  <a:gd name="T1" fmla="*/ 9 h 16"/>
                  <a:gd name="T2" fmla="*/ 0 w 9"/>
                  <a:gd name="T3" fmla="*/ 10 h 16"/>
                  <a:gd name="T4" fmla="*/ 9 w 9"/>
                  <a:gd name="T5" fmla="*/ 9 h 16"/>
                </a:gdLst>
                <a:ahLst/>
                <a:cxnLst>
                  <a:cxn ang="0">
                    <a:pos x="T0" y="T1"/>
                  </a:cxn>
                  <a:cxn ang="0">
                    <a:pos x="T2" y="T3"/>
                  </a:cxn>
                  <a:cxn ang="0">
                    <a:pos x="T4" y="T5"/>
                  </a:cxn>
                </a:cxnLst>
                <a:rect l="0" t="0" r="r" b="b"/>
                <a:pathLst>
                  <a:path w="9" h="16">
                    <a:moveTo>
                      <a:pt x="9" y="9"/>
                    </a:moveTo>
                    <a:cubicBezTo>
                      <a:pt x="7" y="0"/>
                      <a:pt x="3" y="4"/>
                      <a:pt x="0" y="10"/>
                    </a:cubicBezTo>
                    <a:cubicBezTo>
                      <a:pt x="2" y="11"/>
                      <a:pt x="9" y="16"/>
                      <a:pt x="9" y="9"/>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1" name="Freeform 38">
                <a:extLst>
                  <a:ext uri="{FF2B5EF4-FFF2-40B4-BE49-F238E27FC236}">
                    <a16:creationId xmlns:a16="http://schemas.microsoft.com/office/drawing/2014/main" id="{3D2B8A31-E6ED-9B4F-ADC0-29CA60FF4888}"/>
                  </a:ext>
                </a:extLst>
              </p:cNvPr>
              <p:cNvSpPr>
                <a:spLocks/>
              </p:cNvSpPr>
              <p:nvPr/>
            </p:nvSpPr>
            <p:spPr bwMode="auto">
              <a:xfrm>
                <a:off x="2554" y="2778"/>
                <a:ext cx="35" cy="18"/>
              </a:xfrm>
              <a:custGeom>
                <a:avLst/>
                <a:gdLst>
                  <a:gd name="T0" fmla="*/ 20 w 35"/>
                  <a:gd name="T1" fmla="*/ 0 h 18"/>
                  <a:gd name="T2" fmla="*/ 25 w 35"/>
                  <a:gd name="T3" fmla="*/ 15 h 18"/>
                  <a:gd name="T4" fmla="*/ 31 w 35"/>
                  <a:gd name="T5" fmla="*/ 6 h 18"/>
                  <a:gd name="T6" fmla="*/ 20 w 35"/>
                  <a:gd name="T7" fmla="*/ 0 h 18"/>
                </a:gdLst>
                <a:ahLst/>
                <a:cxnLst>
                  <a:cxn ang="0">
                    <a:pos x="T0" y="T1"/>
                  </a:cxn>
                  <a:cxn ang="0">
                    <a:pos x="T2" y="T3"/>
                  </a:cxn>
                  <a:cxn ang="0">
                    <a:pos x="T4" y="T5"/>
                  </a:cxn>
                  <a:cxn ang="0">
                    <a:pos x="T6" y="T7"/>
                  </a:cxn>
                </a:cxnLst>
                <a:rect l="0" t="0" r="r" b="b"/>
                <a:pathLst>
                  <a:path w="35" h="18">
                    <a:moveTo>
                      <a:pt x="20" y="0"/>
                    </a:moveTo>
                    <a:cubicBezTo>
                      <a:pt x="0" y="4"/>
                      <a:pt x="12" y="13"/>
                      <a:pt x="25" y="15"/>
                    </a:cubicBezTo>
                    <a:cubicBezTo>
                      <a:pt x="31" y="18"/>
                      <a:pt x="35" y="12"/>
                      <a:pt x="31" y="6"/>
                    </a:cubicBezTo>
                    <a:cubicBezTo>
                      <a:pt x="30" y="5"/>
                      <a:pt x="21" y="0"/>
                      <a:pt x="20" y="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2" name="Freeform 39">
                <a:extLst>
                  <a:ext uri="{FF2B5EF4-FFF2-40B4-BE49-F238E27FC236}">
                    <a16:creationId xmlns:a16="http://schemas.microsoft.com/office/drawing/2014/main" id="{05510602-AB9D-FC4F-B5A4-8C7723610B23}"/>
                  </a:ext>
                </a:extLst>
              </p:cNvPr>
              <p:cNvSpPr>
                <a:spLocks/>
              </p:cNvSpPr>
              <p:nvPr/>
            </p:nvSpPr>
            <p:spPr bwMode="auto">
              <a:xfrm>
                <a:off x="2651" y="2680"/>
                <a:ext cx="36" cy="23"/>
              </a:xfrm>
              <a:custGeom>
                <a:avLst/>
                <a:gdLst>
                  <a:gd name="T0" fmla="*/ 33 w 36"/>
                  <a:gd name="T1" fmla="*/ 10 h 23"/>
                  <a:gd name="T2" fmla="*/ 16 w 36"/>
                  <a:gd name="T3" fmla="*/ 4 h 23"/>
                  <a:gd name="T4" fmla="*/ 3 w 36"/>
                  <a:gd name="T5" fmla="*/ 11 h 23"/>
                  <a:gd name="T6" fmla="*/ 9 w 36"/>
                  <a:gd name="T7" fmla="*/ 23 h 23"/>
                  <a:gd name="T8" fmla="*/ 25 w 36"/>
                  <a:gd name="T9" fmla="*/ 16 h 23"/>
                  <a:gd name="T10" fmla="*/ 33 w 36"/>
                  <a:gd name="T11" fmla="*/ 10 h 23"/>
                </a:gdLst>
                <a:ahLst/>
                <a:cxnLst>
                  <a:cxn ang="0">
                    <a:pos x="T0" y="T1"/>
                  </a:cxn>
                  <a:cxn ang="0">
                    <a:pos x="T2" y="T3"/>
                  </a:cxn>
                  <a:cxn ang="0">
                    <a:pos x="T4" y="T5"/>
                  </a:cxn>
                  <a:cxn ang="0">
                    <a:pos x="T6" y="T7"/>
                  </a:cxn>
                  <a:cxn ang="0">
                    <a:pos x="T8" y="T9"/>
                  </a:cxn>
                  <a:cxn ang="0">
                    <a:pos x="T10" y="T11"/>
                  </a:cxn>
                </a:cxnLst>
                <a:rect l="0" t="0" r="r" b="b"/>
                <a:pathLst>
                  <a:path w="36" h="23">
                    <a:moveTo>
                      <a:pt x="33" y="10"/>
                    </a:moveTo>
                    <a:cubicBezTo>
                      <a:pt x="30" y="0"/>
                      <a:pt x="27" y="2"/>
                      <a:pt x="16" y="4"/>
                    </a:cubicBezTo>
                    <a:cubicBezTo>
                      <a:pt x="12" y="7"/>
                      <a:pt x="7" y="8"/>
                      <a:pt x="3" y="11"/>
                    </a:cubicBezTo>
                    <a:cubicBezTo>
                      <a:pt x="0" y="19"/>
                      <a:pt x="1" y="22"/>
                      <a:pt x="9" y="23"/>
                    </a:cubicBezTo>
                    <a:cubicBezTo>
                      <a:pt x="15" y="19"/>
                      <a:pt x="18" y="17"/>
                      <a:pt x="25" y="16"/>
                    </a:cubicBezTo>
                    <a:cubicBezTo>
                      <a:pt x="28" y="15"/>
                      <a:pt x="36" y="10"/>
                      <a:pt x="33" y="1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3" name="Freeform 40">
                <a:extLst>
                  <a:ext uri="{FF2B5EF4-FFF2-40B4-BE49-F238E27FC236}">
                    <a16:creationId xmlns:a16="http://schemas.microsoft.com/office/drawing/2014/main" id="{340098C1-3665-0D47-BE8A-3A89805785AB}"/>
                  </a:ext>
                </a:extLst>
              </p:cNvPr>
              <p:cNvSpPr>
                <a:spLocks/>
              </p:cNvSpPr>
              <p:nvPr/>
            </p:nvSpPr>
            <p:spPr bwMode="auto">
              <a:xfrm>
                <a:off x="2912" y="2372"/>
                <a:ext cx="55" cy="30"/>
              </a:xfrm>
              <a:custGeom>
                <a:avLst/>
                <a:gdLst>
                  <a:gd name="T0" fmla="*/ 45 w 55"/>
                  <a:gd name="T1" fmla="*/ 24 h 30"/>
                  <a:gd name="T2" fmla="*/ 55 w 55"/>
                  <a:gd name="T3" fmla="*/ 10 h 30"/>
                  <a:gd name="T4" fmla="*/ 40 w 55"/>
                  <a:gd name="T5" fmla="*/ 0 h 30"/>
                  <a:gd name="T6" fmla="*/ 16 w 55"/>
                  <a:gd name="T7" fmla="*/ 9 h 30"/>
                  <a:gd name="T8" fmla="*/ 3 w 55"/>
                  <a:gd name="T9" fmla="*/ 16 h 30"/>
                  <a:gd name="T10" fmla="*/ 7 w 55"/>
                  <a:gd name="T11" fmla="*/ 30 h 30"/>
                  <a:gd name="T12" fmla="*/ 39 w 55"/>
                  <a:gd name="T13" fmla="*/ 24 h 30"/>
                  <a:gd name="T14" fmla="*/ 45 w 55"/>
                  <a:gd name="T15" fmla="*/ 24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30">
                    <a:moveTo>
                      <a:pt x="45" y="24"/>
                    </a:moveTo>
                    <a:cubicBezTo>
                      <a:pt x="53" y="13"/>
                      <a:pt x="50" y="18"/>
                      <a:pt x="55" y="10"/>
                    </a:cubicBezTo>
                    <a:cubicBezTo>
                      <a:pt x="54" y="2"/>
                      <a:pt x="48" y="2"/>
                      <a:pt x="40" y="0"/>
                    </a:cubicBezTo>
                    <a:cubicBezTo>
                      <a:pt x="33" y="5"/>
                      <a:pt x="24" y="6"/>
                      <a:pt x="16" y="9"/>
                    </a:cubicBezTo>
                    <a:cubicBezTo>
                      <a:pt x="12" y="12"/>
                      <a:pt x="7" y="13"/>
                      <a:pt x="3" y="16"/>
                    </a:cubicBezTo>
                    <a:cubicBezTo>
                      <a:pt x="0" y="22"/>
                      <a:pt x="0" y="27"/>
                      <a:pt x="7" y="30"/>
                    </a:cubicBezTo>
                    <a:cubicBezTo>
                      <a:pt x="21" y="27"/>
                      <a:pt x="23" y="25"/>
                      <a:pt x="39" y="24"/>
                    </a:cubicBezTo>
                    <a:cubicBezTo>
                      <a:pt x="45" y="25"/>
                      <a:pt x="45" y="27"/>
                      <a:pt x="45" y="24"/>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4" name="Freeform 41">
                <a:extLst>
                  <a:ext uri="{FF2B5EF4-FFF2-40B4-BE49-F238E27FC236}">
                    <a16:creationId xmlns:a16="http://schemas.microsoft.com/office/drawing/2014/main" id="{155E2B40-373C-2748-B31E-189D8BE63BBD}"/>
                  </a:ext>
                </a:extLst>
              </p:cNvPr>
              <p:cNvSpPr>
                <a:spLocks/>
              </p:cNvSpPr>
              <p:nvPr/>
            </p:nvSpPr>
            <p:spPr bwMode="auto">
              <a:xfrm>
                <a:off x="2964" y="2375"/>
                <a:ext cx="35" cy="12"/>
              </a:xfrm>
              <a:custGeom>
                <a:avLst/>
                <a:gdLst>
                  <a:gd name="T0" fmla="*/ 15 w 35"/>
                  <a:gd name="T1" fmla="*/ 0 h 12"/>
                  <a:gd name="T2" fmla="*/ 12 w 35"/>
                  <a:gd name="T3" fmla="*/ 12 h 12"/>
                  <a:gd name="T4" fmla="*/ 35 w 35"/>
                  <a:gd name="T5" fmla="*/ 10 h 12"/>
                  <a:gd name="T6" fmla="*/ 15 w 35"/>
                  <a:gd name="T7" fmla="*/ 0 h 12"/>
                </a:gdLst>
                <a:ahLst/>
                <a:cxnLst>
                  <a:cxn ang="0">
                    <a:pos x="T0" y="T1"/>
                  </a:cxn>
                  <a:cxn ang="0">
                    <a:pos x="T2" y="T3"/>
                  </a:cxn>
                  <a:cxn ang="0">
                    <a:pos x="T4" y="T5"/>
                  </a:cxn>
                  <a:cxn ang="0">
                    <a:pos x="T6" y="T7"/>
                  </a:cxn>
                </a:cxnLst>
                <a:rect l="0" t="0" r="r" b="b"/>
                <a:pathLst>
                  <a:path w="35" h="12">
                    <a:moveTo>
                      <a:pt x="15" y="0"/>
                    </a:moveTo>
                    <a:cubicBezTo>
                      <a:pt x="9" y="4"/>
                      <a:pt x="0" y="6"/>
                      <a:pt x="12" y="12"/>
                    </a:cubicBezTo>
                    <a:cubicBezTo>
                      <a:pt x="19" y="9"/>
                      <a:pt x="27" y="11"/>
                      <a:pt x="35" y="10"/>
                    </a:cubicBezTo>
                    <a:cubicBezTo>
                      <a:pt x="29" y="2"/>
                      <a:pt x="21" y="6"/>
                      <a:pt x="15" y="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5" name="Freeform 42">
                <a:extLst>
                  <a:ext uri="{FF2B5EF4-FFF2-40B4-BE49-F238E27FC236}">
                    <a16:creationId xmlns:a16="http://schemas.microsoft.com/office/drawing/2014/main" id="{48885133-E7B1-6440-AD56-41710249EC6D}"/>
                  </a:ext>
                </a:extLst>
              </p:cNvPr>
              <p:cNvSpPr>
                <a:spLocks/>
              </p:cNvSpPr>
              <p:nvPr/>
            </p:nvSpPr>
            <p:spPr bwMode="auto">
              <a:xfrm>
                <a:off x="2933" y="2345"/>
                <a:ext cx="26" cy="8"/>
              </a:xfrm>
              <a:custGeom>
                <a:avLst/>
                <a:gdLst>
                  <a:gd name="T0" fmla="*/ 21 w 26"/>
                  <a:gd name="T1" fmla="*/ 0 h 8"/>
                  <a:gd name="T2" fmla="*/ 21 w 26"/>
                  <a:gd name="T3" fmla="*/ 6 h 8"/>
                  <a:gd name="T4" fmla="*/ 21 w 26"/>
                  <a:gd name="T5" fmla="*/ 0 h 8"/>
                </a:gdLst>
                <a:ahLst/>
                <a:cxnLst>
                  <a:cxn ang="0">
                    <a:pos x="T0" y="T1"/>
                  </a:cxn>
                  <a:cxn ang="0">
                    <a:pos x="T2" y="T3"/>
                  </a:cxn>
                  <a:cxn ang="0">
                    <a:pos x="T4" y="T5"/>
                  </a:cxn>
                </a:cxnLst>
                <a:rect l="0" t="0" r="r" b="b"/>
                <a:pathLst>
                  <a:path w="26" h="8">
                    <a:moveTo>
                      <a:pt x="21" y="0"/>
                    </a:moveTo>
                    <a:cubicBezTo>
                      <a:pt x="13" y="2"/>
                      <a:pt x="0" y="8"/>
                      <a:pt x="21" y="6"/>
                    </a:cubicBezTo>
                    <a:cubicBezTo>
                      <a:pt x="25" y="0"/>
                      <a:pt x="26" y="2"/>
                      <a:pt x="21" y="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6" name="Freeform 43">
                <a:extLst>
                  <a:ext uri="{FF2B5EF4-FFF2-40B4-BE49-F238E27FC236}">
                    <a16:creationId xmlns:a16="http://schemas.microsoft.com/office/drawing/2014/main" id="{40170A1A-B4B9-5F4E-B9FA-946FCD159537}"/>
                  </a:ext>
                </a:extLst>
              </p:cNvPr>
              <p:cNvSpPr>
                <a:spLocks/>
              </p:cNvSpPr>
              <p:nvPr/>
            </p:nvSpPr>
            <p:spPr bwMode="auto">
              <a:xfrm>
                <a:off x="2899" y="2336"/>
                <a:ext cx="41" cy="25"/>
              </a:xfrm>
              <a:custGeom>
                <a:avLst/>
                <a:gdLst>
                  <a:gd name="T0" fmla="*/ 4 w 41"/>
                  <a:gd name="T1" fmla="*/ 25 h 25"/>
                  <a:gd name="T2" fmla="*/ 17 w 41"/>
                  <a:gd name="T3" fmla="*/ 19 h 25"/>
                  <a:gd name="T4" fmla="*/ 38 w 41"/>
                  <a:gd name="T5" fmla="*/ 10 h 25"/>
                  <a:gd name="T6" fmla="*/ 32 w 41"/>
                  <a:gd name="T7" fmla="*/ 0 h 25"/>
                  <a:gd name="T8" fmla="*/ 11 w 41"/>
                  <a:gd name="T9" fmla="*/ 13 h 25"/>
                  <a:gd name="T10" fmla="*/ 4 w 41"/>
                  <a:gd name="T11" fmla="*/ 25 h 25"/>
                </a:gdLst>
                <a:ahLst/>
                <a:cxnLst>
                  <a:cxn ang="0">
                    <a:pos x="T0" y="T1"/>
                  </a:cxn>
                  <a:cxn ang="0">
                    <a:pos x="T2" y="T3"/>
                  </a:cxn>
                  <a:cxn ang="0">
                    <a:pos x="T4" y="T5"/>
                  </a:cxn>
                  <a:cxn ang="0">
                    <a:pos x="T6" y="T7"/>
                  </a:cxn>
                  <a:cxn ang="0">
                    <a:pos x="T8" y="T9"/>
                  </a:cxn>
                  <a:cxn ang="0">
                    <a:pos x="T10" y="T11"/>
                  </a:cxn>
                </a:cxnLst>
                <a:rect l="0" t="0" r="r" b="b"/>
                <a:pathLst>
                  <a:path w="41" h="25">
                    <a:moveTo>
                      <a:pt x="4" y="25"/>
                    </a:moveTo>
                    <a:cubicBezTo>
                      <a:pt x="8" y="22"/>
                      <a:pt x="12" y="21"/>
                      <a:pt x="17" y="19"/>
                    </a:cubicBezTo>
                    <a:cubicBezTo>
                      <a:pt x="20" y="12"/>
                      <a:pt x="38" y="10"/>
                      <a:pt x="38" y="10"/>
                    </a:cubicBezTo>
                    <a:cubicBezTo>
                      <a:pt x="41" y="3"/>
                      <a:pt x="39" y="1"/>
                      <a:pt x="32" y="0"/>
                    </a:cubicBezTo>
                    <a:cubicBezTo>
                      <a:pt x="21" y="2"/>
                      <a:pt x="20" y="11"/>
                      <a:pt x="11" y="13"/>
                    </a:cubicBezTo>
                    <a:cubicBezTo>
                      <a:pt x="0" y="18"/>
                      <a:pt x="8" y="21"/>
                      <a:pt x="4" y="25"/>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7" name="Freeform 44">
                <a:extLst>
                  <a:ext uri="{FF2B5EF4-FFF2-40B4-BE49-F238E27FC236}">
                    <a16:creationId xmlns:a16="http://schemas.microsoft.com/office/drawing/2014/main" id="{7AD79788-C66E-6D47-8482-1F795474C61A}"/>
                  </a:ext>
                </a:extLst>
              </p:cNvPr>
              <p:cNvSpPr>
                <a:spLocks/>
              </p:cNvSpPr>
              <p:nvPr/>
            </p:nvSpPr>
            <p:spPr bwMode="auto">
              <a:xfrm>
                <a:off x="2898" y="2361"/>
                <a:ext cx="9" cy="9"/>
              </a:xfrm>
              <a:custGeom>
                <a:avLst/>
                <a:gdLst>
                  <a:gd name="T0" fmla="*/ 0 w 9"/>
                  <a:gd name="T1" fmla="*/ 6 h 9"/>
                  <a:gd name="T2" fmla="*/ 8 w 9"/>
                  <a:gd name="T3" fmla="*/ 0 h 9"/>
                  <a:gd name="T4" fmla="*/ 0 w 9"/>
                  <a:gd name="T5" fmla="*/ 6 h 9"/>
                </a:gdLst>
                <a:ahLst/>
                <a:cxnLst>
                  <a:cxn ang="0">
                    <a:pos x="T0" y="T1"/>
                  </a:cxn>
                  <a:cxn ang="0">
                    <a:pos x="T2" y="T3"/>
                  </a:cxn>
                  <a:cxn ang="0">
                    <a:pos x="T4" y="T5"/>
                  </a:cxn>
                </a:cxnLst>
                <a:rect l="0" t="0" r="r" b="b"/>
                <a:pathLst>
                  <a:path w="9" h="9">
                    <a:moveTo>
                      <a:pt x="0" y="6"/>
                    </a:moveTo>
                    <a:cubicBezTo>
                      <a:pt x="7" y="9"/>
                      <a:pt x="9" y="8"/>
                      <a:pt x="8" y="0"/>
                    </a:cubicBezTo>
                    <a:cubicBezTo>
                      <a:pt x="1" y="3"/>
                      <a:pt x="4" y="1"/>
                      <a:pt x="0" y="6"/>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8" name="Freeform 45">
                <a:extLst>
                  <a:ext uri="{FF2B5EF4-FFF2-40B4-BE49-F238E27FC236}">
                    <a16:creationId xmlns:a16="http://schemas.microsoft.com/office/drawing/2014/main" id="{9251FA33-F98A-DC4D-B735-56D6F687EE76}"/>
                  </a:ext>
                </a:extLst>
              </p:cNvPr>
              <p:cNvSpPr>
                <a:spLocks/>
              </p:cNvSpPr>
              <p:nvPr/>
            </p:nvSpPr>
            <p:spPr bwMode="auto">
              <a:xfrm>
                <a:off x="2889" y="2369"/>
                <a:ext cx="11" cy="10"/>
              </a:xfrm>
              <a:custGeom>
                <a:avLst/>
                <a:gdLst>
                  <a:gd name="T0" fmla="*/ 0 w 11"/>
                  <a:gd name="T1" fmla="*/ 10 h 10"/>
                  <a:gd name="T2" fmla="*/ 0 w 11"/>
                  <a:gd name="T3" fmla="*/ 10 h 10"/>
                </a:gdLst>
                <a:ahLst/>
                <a:cxnLst>
                  <a:cxn ang="0">
                    <a:pos x="T0" y="T1"/>
                  </a:cxn>
                  <a:cxn ang="0">
                    <a:pos x="T2" y="T3"/>
                  </a:cxn>
                </a:cxnLst>
                <a:rect l="0" t="0" r="r" b="b"/>
                <a:pathLst>
                  <a:path w="11" h="10">
                    <a:moveTo>
                      <a:pt x="0" y="10"/>
                    </a:moveTo>
                    <a:cubicBezTo>
                      <a:pt x="11" y="8"/>
                      <a:pt x="0" y="0"/>
                      <a:pt x="0" y="1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99" name="Freeform 46">
                <a:extLst>
                  <a:ext uri="{FF2B5EF4-FFF2-40B4-BE49-F238E27FC236}">
                    <a16:creationId xmlns:a16="http://schemas.microsoft.com/office/drawing/2014/main" id="{753F4040-B49C-324C-87A0-DDA3ED275D5D}"/>
                  </a:ext>
                </a:extLst>
              </p:cNvPr>
              <p:cNvSpPr>
                <a:spLocks/>
              </p:cNvSpPr>
              <p:nvPr/>
            </p:nvSpPr>
            <p:spPr bwMode="auto">
              <a:xfrm>
                <a:off x="2199" y="2247"/>
                <a:ext cx="352" cy="129"/>
              </a:xfrm>
              <a:custGeom>
                <a:avLst/>
                <a:gdLst>
                  <a:gd name="T0" fmla="*/ 66 w 352"/>
                  <a:gd name="T1" fmla="*/ 20 h 129"/>
                  <a:gd name="T2" fmla="*/ 144 w 352"/>
                  <a:gd name="T3" fmla="*/ 2 h 129"/>
                  <a:gd name="T4" fmla="*/ 153 w 352"/>
                  <a:gd name="T5" fmla="*/ 8 h 129"/>
                  <a:gd name="T6" fmla="*/ 146 w 352"/>
                  <a:gd name="T7" fmla="*/ 23 h 129"/>
                  <a:gd name="T8" fmla="*/ 167 w 352"/>
                  <a:gd name="T9" fmla="*/ 20 h 129"/>
                  <a:gd name="T10" fmla="*/ 176 w 352"/>
                  <a:gd name="T11" fmla="*/ 9 h 129"/>
                  <a:gd name="T12" fmla="*/ 191 w 352"/>
                  <a:gd name="T13" fmla="*/ 12 h 129"/>
                  <a:gd name="T14" fmla="*/ 203 w 352"/>
                  <a:gd name="T15" fmla="*/ 26 h 129"/>
                  <a:gd name="T16" fmla="*/ 218 w 352"/>
                  <a:gd name="T17" fmla="*/ 15 h 129"/>
                  <a:gd name="T18" fmla="*/ 236 w 352"/>
                  <a:gd name="T19" fmla="*/ 17 h 129"/>
                  <a:gd name="T20" fmla="*/ 233 w 352"/>
                  <a:gd name="T21" fmla="*/ 30 h 129"/>
                  <a:gd name="T22" fmla="*/ 234 w 352"/>
                  <a:gd name="T23" fmla="*/ 44 h 129"/>
                  <a:gd name="T24" fmla="*/ 252 w 352"/>
                  <a:gd name="T25" fmla="*/ 33 h 129"/>
                  <a:gd name="T26" fmla="*/ 260 w 352"/>
                  <a:gd name="T27" fmla="*/ 14 h 129"/>
                  <a:gd name="T28" fmla="*/ 272 w 352"/>
                  <a:gd name="T29" fmla="*/ 5 h 129"/>
                  <a:gd name="T30" fmla="*/ 293 w 352"/>
                  <a:gd name="T31" fmla="*/ 9 h 129"/>
                  <a:gd name="T32" fmla="*/ 306 w 352"/>
                  <a:gd name="T33" fmla="*/ 14 h 129"/>
                  <a:gd name="T34" fmla="*/ 306 w 352"/>
                  <a:gd name="T35" fmla="*/ 0 h 129"/>
                  <a:gd name="T36" fmla="*/ 326 w 352"/>
                  <a:gd name="T37" fmla="*/ 9 h 129"/>
                  <a:gd name="T38" fmla="*/ 300 w 352"/>
                  <a:gd name="T39" fmla="*/ 26 h 129"/>
                  <a:gd name="T40" fmla="*/ 281 w 352"/>
                  <a:gd name="T41" fmla="*/ 59 h 129"/>
                  <a:gd name="T42" fmla="*/ 296 w 352"/>
                  <a:gd name="T43" fmla="*/ 75 h 129"/>
                  <a:gd name="T44" fmla="*/ 311 w 352"/>
                  <a:gd name="T45" fmla="*/ 81 h 129"/>
                  <a:gd name="T46" fmla="*/ 315 w 352"/>
                  <a:gd name="T47" fmla="*/ 92 h 129"/>
                  <a:gd name="T48" fmla="*/ 285 w 352"/>
                  <a:gd name="T49" fmla="*/ 93 h 129"/>
                  <a:gd name="T50" fmla="*/ 284 w 352"/>
                  <a:gd name="T51" fmla="*/ 107 h 129"/>
                  <a:gd name="T52" fmla="*/ 263 w 352"/>
                  <a:gd name="T53" fmla="*/ 116 h 129"/>
                  <a:gd name="T54" fmla="*/ 240 w 352"/>
                  <a:gd name="T55" fmla="*/ 117 h 129"/>
                  <a:gd name="T56" fmla="*/ 216 w 352"/>
                  <a:gd name="T57" fmla="*/ 113 h 129"/>
                  <a:gd name="T58" fmla="*/ 201 w 352"/>
                  <a:gd name="T59" fmla="*/ 107 h 129"/>
                  <a:gd name="T60" fmla="*/ 192 w 352"/>
                  <a:gd name="T61" fmla="*/ 104 h 129"/>
                  <a:gd name="T62" fmla="*/ 189 w 352"/>
                  <a:gd name="T63" fmla="*/ 101 h 129"/>
                  <a:gd name="T64" fmla="*/ 167 w 352"/>
                  <a:gd name="T65" fmla="*/ 108 h 129"/>
                  <a:gd name="T66" fmla="*/ 99 w 352"/>
                  <a:gd name="T67" fmla="*/ 119 h 129"/>
                  <a:gd name="T68" fmla="*/ 48 w 352"/>
                  <a:gd name="T69" fmla="*/ 122 h 129"/>
                  <a:gd name="T70" fmla="*/ 42 w 352"/>
                  <a:gd name="T71" fmla="*/ 104 h 129"/>
                  <a:gd name="T72" fmla="*/ 12 w 352"/>
                  <a:gd name="T73" fmla="*/ 98 h 129"/>
                  <a:gd name="T74" fmla="*/ 0 w 352"/>
                  <a:gd name="T75" fmla="*/ 90 h 129"/>
                  <a:gd name="T76" fmla="*/ 20 w 352"/>
                  <a:gd name="T77" fmla="*/ 80 h 129"/>
                  <a:gd name="T78" fmla="*/ 101 w 352"/>
                  <a:gd name="T79" fmla="*/ 84 h 129"/>
                  <a:gd name="T80" fmla="*/ 120 w 352"/>
                  <a:gd name="T81" fmla="*/ 80 h 129"/>
                  <a:gd name="T82" fmla="*/ 99 w 352"/>
                  <a:gd name="T83" fmla="*/ 68 h 129"/>
                  <a:gd name="T84" fmla="*/ 57 w 352"/>
                  <a:gd name="T85" fmla="*/ 72 h 129"/>
                  <a:gd name="T86" fmla="*/ 24 w 352"/>
                  <a:gd name="T87" fmla="*/ 71 h 129"/>
                  <a:gd name="T88" fmla="*/ 35 w 352"/>
                  <a:gd name="T89" fmla="*/ 59 h 129"/>
                  <a:gd name="T90" fmla="*/ 66 w 352"/>
                  <a:gd name="T91" fmla="*/ 54 h 129"/>
                  <a:gd name="T92" fmla="*/ 51 w 352"/>
                  <a:gd name="T93" fmla="*/ 47 h 129"/>
                  <a:gd name="T94" fmla="*/ 35 w 352"/>
                  <a:gd name="T95" fmla="*/ 39 h 129"/>
                  <a:gd name="T96" fmla="*/ 56 w 352"/>
                  <a:gd name="T97" fmla="*/ 33 h 129"/>
                  <a:gd name="T98" fmla="*/ 66 w 352"/>
                  <a:gd name="T99" fmla="*/ 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2" h="129">
                    <a:moveTo>
                      <a:pt x="66" y="20"/>
                    </a:moveTo>
                    <a:lnTo>
                      <a:pt x="144" y="2"/>
                    </a:lnTo>
                    <a:cubicBezTo>
                      <a:pt x="167" y="3"/>
                      <a:pt x="166" y="3"/>
                      <a:pt x="153" y="8"/>
                    </a:cubicBezTo>
                    <a:cubicBezTo>
                      <a:pt x="149" y="13"/>
                      <a:pt x="147" y="16"/>
                      <a:pt x="146" y="23"/>
                    </a:cubicBezTo>
                    <a:cubicBezTo>
                      <a:pt x="154" y="24"/>
                      <a:pt x="159" y="22"/>
                      <a:pt x="167" y="20"/>
                    </a:cubicBezTo>
                    <a:cubicBezTo>
                      <a:pt x="168" y="13"/>
                      <a:pt x="170" y="12"/>
                      <a:pt x="176" y="9"/>
                    </a:cubicBezTo>
                    <a:cubicBezTo>
                      <a:pt x="181" y="10"/>
                      <a:pt x="190" y="7"/>
                      <a:pt x="191" y="12"/>
                    </a:cubicBezTo>
                    <a:cubicBezTo>
                      <a:pt x="193" y="22"/>
                      <a:pt x="192" y="23"/>
                      <a:pt x="203" y="26"/>
                    </a:cubicBezTo>
                    <a:cubicBezTo>
                      <a:pt x="227" y="23"/>
                      <a:pt x="221" y="28"/>
                      <a:pt x="218" y="15"/>
                    </a:cubicBezTo>
                    <a:cubicBezTo>
                      <a:pt x="223" y="8"/>
                      <a:pt x="230" y="13"/>
                      <a:pt x="236" y="17"/>
                    </a:cubicBezTo>
                    <a:cubicBezTo>
                      <a:pt x="241" y="23"/>
                      <a:pt x="238" y="25"/>
                      <a:pt x="233" y="30"/>
                    </a:cubicBezTo>
                    <a:cubicBezTo>
                      <a:pt x="230" y="36"/>
                      <a:pt x="228" y="39"/>
                      <a:pt x="234" y="44"/>
                    </a:cubicBezTo>
                    <a:cubicBezTo>
                      <a:pt x="243" y="41"/>
                      <a:pt x="244" y="39"/>
                      <a:pt x="252" y="33"/>
                    </a:cubicBezTo>
                    <a:cubicBezTo>
                      <a:pt x="254" y="27"/>
                      <a:pt x="257" y="20"/>
                      <a:pt x="260" y="14"/>
                    </a:cubicBezTo>
                    <a:cubicBezTo>
                      <a:pt x="262" y="6"/>
                      <a:pt x="265" y="6"/>
                      <a:pt x="272" y="5"/>
                    </a:cubicBezTo>
                    <a:cubicBezTo>
                      <a:pt x="280" y="6"/>
                      <a:pt x="284" y="8"/>
                      <a:pt x="293" y="9"/>
                    </a:cubicBezTo>
                    <a:cubicBezTo>
                      <a:pt x="297" y="11"/>
                      <a:pt x="302" y="12"/>
                      <a:pt x="306" y="14"/>
                    </a:cubicBezTo>
                    <a:cubicBezTo>
                      <a:pt x="304" y="6"/>
                      <a:pt x="295" y="5"/>
                      <a:pt x="306" y="0"/>
                    </a:cubicBezTo>
                    <a:cubicBezTo>
                      <a:pt x="335" y="2"/>
                      <a:pt x="352" y="5"/>
                      <a:pt x="326" y="9"/>
                    </a:cubicBezTo>
                    <a:cubicBezTo>
                      <a:pt x="316" y="13"/>
                      <a:pt x="310" y="22"/>
                      <a:pt x="300" y="26"/>
                    </a:cubicBezTo>
                    <a:cubicBezTo>
                      <a:pt x="289" y="37"/>
                      <a:pt x="296" y="52"/>
                      <a:pt x="281" y="59"/>
                    </a:cubicBezTo>
                    <a:cubicBezTo>
                      <a:pt x="277" y="68"/>
                      <a:pt x="288" y="73"/>
                      <a:pt x="296" y="75"/>
                    </a:cubicBezTo>
                    <a:cubicBezTo>
                      <a:pt x="308" y="81"/>
                      <a:pt x="302" y="79"/>
                      <a:pt x="311" y="81"/>
                    </a:cubicBezTo>
                    <a:cubicBezTo>
                      <a:pt x="312" y="82"/>
                      <a:pt x="323" y="90"/>
                      <a:pt x="315" y="92"/>
                    </a:cubicBezTo>
                    <a:cubicBezTo>
                      <a:pt x="305" y="94"/>
                      <a:pt x="295" y="93"/>
                      <a:pt x="285" y="93"/>
                    </a:cubicBezTo>
                    <a:cubicBezTo>
                      <a:pt x="284" y="100"/>
                      <a:pt x="281" y="101"/>
                      <a:pt x="284" y="107"/>
                    </a:cubicBezTo>
                    <a:cubicBezTo>
                      <a:pt x="277" y="111"/>
                      <a:pt x="271" y="113"/>
                      <a:pt x="263" y="116"/>
                    </a:cubicBezTo>
                    <a:cubicBezTo>
                      <a:pt x="255" y="111"/>
                      <a:pt x="249" y="116"/>
                      <a:pt x="240" y="117"/>
                    </a:cubicBezTo>
                    <a:cubicBezTo>
                      <a:pt x="228" y="116"/>
                      <a:pt x="226" y="115"/>
                      <a:pt x="216" y="113"/>
                    </a:cubicBezTo>
                    <a:cubicBezTo>
                      <a:pt x="211" y="109"/>
                      <a:pt x="207" y="108"/>
                      <a:pt x="201" y="107"/>
                    </a:cubicBezTo>
                    <a:cubicBezTo>
                      <a:pt x="198" y="106"/>
                      <a:pt x="193" y="107"/>
                      <a:pt x="192" y="104"/>
                    </a:cubicBezTo>
                    <a:cubicBezTo>
                      <a:pt x="190" y="99"/>
                      <a:pt x="203" y="96"/>
                      <a:pt x="189" y="101"/>
                    </a:cubicBezTo>
                    <a:cubicBezTo>
                      <a:pt x="183" y="106"/>
                      <a:pt x="175" y="107"/>
                      <a:pt x="167" y="108"/>
                    </a:cubicBezTo>
                    <a:cubicBezTo>
                      <a:pt x="158" y="112"/>
                      <a:pt x="113" y="117"/>
                      <a:pt x="99" y="119"/>
                    </a:cubicBezTo>
                    <a:cubicBezTo>
                      <a:pt x="85" y="129"/>
                      <a:pt x="64" y="123"/>
                      <a:pt x="48" y="122"/>
                    </a:cubicBezTo>
                    <a:cubicBezTo>
                      <a:pt x="54" y="112"/>
                      <a:pt x="57" y="106"/>
                      <a:pt x="42" y="104"/>
                    </a:cubicBezTo>
                    <a:cubicBezTo>
                      <a:pt x="32" y="99"/>
                      <a:pt x="24" y="99"/>
                      <a:pt x="12" y="98"/>
                    </a:cubicBezTo>
                    <a:cubicBezTo>
                      <a:pt x="6" y="95"/>
                      <a:pt x="4" y="96"/>
                      <a:pt x="0" y="90"/>
                    </a:cubicBezTo>
                    <a:cubicBezTo>
                      <a:pt x="3" y="81"/>
                      <a:pt x="11" y="81"/>
                      <a:pt x="20" y="80"/>
                    </a:cubicBezTo>
                    <a:cubicBezTo>
                      <a:pt x="46" y="67"/>
                      <a:pt x="75" y="80"/>
                      <a:pt x="101" y="84"/>
                    </a:cubicBezTo>
                    <a:cubicBezTo>
                      <a:pt x="108" y="83"/>
                      <a:pt x="113" y="81"/>
                      <a:pt x="120" y="80"/>
                    </a:cubicBezTo>
                    <a:cubicBezTo>
                      <a:pt x="132" y="75"/>
                      <a:pt x="105" y="69"/>
                      <a:pt x="99" y="68"/>
                    </a:cubicBezTo>
                    <a:cubicBezTo>
                      <a:pt x="74" y="69"/>
                      <a:pt x="74" y="70"/>
                      <a:pt x="57" y="72"/>
                    </a:cubicBezTo>
                    <a:cubicBezTo>
                      <a:pt x="46" y="72"/>
                      <a:pt x="35" y="73"/>
                      <a:pt x="24" y="71"/>
                    </a:cubicBezTo>
                    <a:cubicBezTo>
                      <a:pt x="11" y="69"/>
                      <a:pt x="34" y="59"/>
                      <a:pt x="35" y="59"/>
                    </a:cubicBezTo>
                    <a:cubicBezTo>
                      <a:pt x="45" y="54"/>
                      <a:pt x="55" y="55"/>
                      <a:pt x="66" y="54"/>
                    </a:cubicBezTo>
                    <a:cubicBezTo>
                      <a:pt x="73" y="45"/>
                      <a:pt x="58" y="47"/>
                      <a:pt x="51" y="47"/>
                    </a:cubicBezTo>
                    <a:cubicBezTo>
                      <a:pt x="44" y="43"/>
                      <a:pt x="37" y="48"/>
                      <a:pt x="35" y="39"/>
                    </a:cubicBezTo>
                    <a:cubicBezTo>
                      <a:pt x="41" y="34"/>
                      <a:pt x="48" y="34"/>
                      <a:pt x="56" y="33"/>
                    </a:cubicBezTo>
                    <a:cubicBezTo>
                      <a:pt x="63" y="28"/>
                      <a:pt x="65" y="29"/>
                      <a:pt x="66" y="2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0" name="Freeform 47">
                <a:extLst>
                  <a:ext uri="{FF2B5EF4-FFF2-40B4-BE49-F238E27FC236}">
                    <a16:creationId xmlns:a16="http://schemas.microsoft.com/office/drawing/2014/main" id="{78133863-9B92-4A4D-A298-F50C9063B2CE}"/>
                  </a:ext>
                </a:extLst>
              </p:cNvPr>
              <p:cNvSpPr>
                <a:spLocks/>
              </p:cNvSpPr>
              <p:nvPr/>
            </p:nvSpPr>
            <p:spPr bwMode="auto">
              <a:xfrm>
                <a:off x="2104" y="2219"/>
                <a:ext cx="245" cy="90"/>
              </a:xfrm>
              <a:custGeom>
                <a:avLst/>
                <a:gdLst>
                  <a:gd name="T0" fmla="*/ 161 w 245"/>
                  <a:gd name="T1" fmla="*/ 48 h 90"/>
                  <a:gd name="T2" fmla="*/ 233 w 245"/>
                  <a:gd name="T3" fmla="*/ 31 h 90"/>
                  <a:gd name="T4" fmla="*/ 233 w 245"/>
                  <a:gd name="T5" fmla="*/ 16 h 90"/>
                  <a:gd name="T6" fmla="*/ 220 w 245"/>
                  <a:gd name="T7" fmla="*/ 12 h 90"/>
                  <a:gd name="T8" fmla="*/ 176 w 245"/>
                  <a:gd name="T9" fmla="*/ 6 h 90"/>
                  <a:gd name="T10" fmla="*/ 152 w 245"/>
                  <a:gd name="T11" fmla="*/ 4 h 90"/>
                  <a:gd name="T12" fmla="*/ 103 w 245"/>
                  <a:gd name="T13" fmla="*/ 10 h 90"/>
                  <a:gd name="T14" fmla="*/ 71 w 245"/>
                  <a:gd name="T15" fmla="*/ 36 h 90"/>
                  <a:gd name="T16" fmla="*/ 47 w 245"/>
                  <a:gd name="T17" fmla="*/ 43 h 90"/>
                  <a:gd name="T18" fmla="*/ 5 w 245"/>
                  <a:gd name="T19" fmla="*/ 58 h 90"/>
                  <a:gd name="T20" fmla="*/ 17 w 245"/>
                  <a:gd name="T21" fmla="*/ 70 h 90"/>
                  <a:gd name="T22" fmla="*/ 35 w 245"/>
                  <a:gd name="T23" fmla="*/ 90 h 90"/>
                  <a:gd name="T24" fmla="*/ 64 w 245"/>
                  <a:gd name="T25" fmla="*/ 82 h 90"/>
                  <a:gd name="T26" fmla="*/ 82 w 245"/>
                  <a:gd name="T27" fmla="*/ 75 h 90"/>
                  <a:gd name="T28" fmla="*/ 97 w 245"/>
                  <a:gd name="T29" fmla="*/ 70 h 90"/>
                  <a:gd name="T30" fmla="*/ 124 w 245"/>
                  <a:gd name="T31" fmla="*/ 61 h 90"/>
                  <a:gd name="T32" fmla="*/ 151 w 245"/>
                  <a:gd name="T33" fmla="*/ 49 h 90"/>
                  <a:gd name="T34" fmla="*/ 161 w 245"/>
                  <a:gd name="T35" fmla="*/ 4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90">
                    <a:moveTo>
                      <a:pt x="161" y="48"/>
                    </a:moveTo>
                    <a:cubicBezTo>
                      <a:pt x="173" y="47"/>
                      <a:pt x="221" y="36"/>
                      <a:pt x="233" y="31"/>
                    </a:cubicBezTo>
                    <a:cubicBezTo>
                      <a:pt x="245" y="26"/>
                      <a:pt x="235" y="19"/>
                      <a:pt x="233" y="16"/>
                    </a:cubicBezTo>
                    <a:cubicBezTo>
                      <a:pt x="228" y="3"/>
                      <a:pt x="233" y="10"/>
                      <a:pt x="220" y="12"/>
                    </a:cubicBezTo>
                    <a:cubicBezTo>
                      <a:pt x="202" y="11"/>
                      <a:pt x="192" y="9"/>
                      <a:pt x="176" y="6"/>
                    </a:cubicBezTo>
                    <a:cubicBezTo>
                      <a:pt x="167" y="0"/>
                      <a:pt x="162" y="2"/>
                      <a:pt x="152" y="4"/>
                    </a:cubicBezTo>
                    <a:cubicBezTo>
                      <a:pt x="139" y="10"/>
                      <a:pt x="115" y="10"/>
                      <a:pt x="103" y="10"/>
                    </a:cubicBezTo>
                    <a:cubicBezTo>
                      <a:pt x="89" y="24"/>
                      <a:pt x="96" y="31"/>
                      <a:pt x="71" y="36"/>
                    </a:cubicBezTo>
                    <a:cubicBezTo>
                      <a:pt x="64" y="41"/>
                      <a:pt x="56" y="42"/>
                      <a:pt x="47" y="43"/>
                    </a:cubicBezTo>
                    <a:cubicBezTo>
                      <a:pt x="33" y="50"/>
                      <a:pt x="20" y="55"/>
                      <a:pt x="5" y="58"/>
                    </a:cubicBezTo>
                    <a:cubicBezTo>
                      <a:pt x="0" y="66"/>
                      <a:pt x="9" y="69"/>
                      <a:pt x="17" y="70"/>
                    </a:cubicBezTo>
                    <a:cubicBezTo>
                      <a:pt x="29" y="75"/>
                      <a:pt x="25" y="85"/>
                      <a:pt x="35" y="90"/>
                    </a:cubicBezTo>
                    <a:cubicBezTo>
                      <a:pt x="46" y="86"/>
                      <a:pt x="51" y="84"/>
                      <a:pt x="64" y="82"/>
                    </a:cubicBezTo>
                    <a:cubicBezTo>
                      <a:pt x="69" y="78"/>
                      <a:pt x="76" y="76"/>
                      <a:pt x="82" y="75"/>
                    </a:cubicBezTo>
                    <a:cubicBezTo>
                      <a:pt x="87" y="73"/>
                      <a:pt x="92" y="72"/>
                      <a:pt x="97" y="70"/>
                    </a:cubicBezTo>
                    <a:cubicBezTo>
                      <a:pt x="105" y="64"/>
                      <a:pt x="115" y="64"/>
                      <a:pt x="124" y="61"/>
                    </a:cubicBezTo>
                    <a:cubicBezTo>
                      <a:pt x="131" y="56"/>
                      <a:pt x="143" y="49"/>
                      <a:pt x="151" y="49"/>
                    </a:cubicBezTo>
                    <a:cubicBezTo>
                      <a:pt x="151" y="49"/>
                      <a:pt x="161" y="48"/>
                      <a:pt x="161" y="48"/>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1" name="Freeform 48">
                <a:extLst>
                  <a:ext uri="{FF2B5EF4-FFF2-40B4-BE49-F238E27FC236}">
                    <a16:creationId xmlns:a16="http://schemas.microsoft.com/office/drawing/2014/main" id="{B9E0FA49-5121-1C46-8887-1F380F79EDCE}"/>
                  </a:ext>
                </a:extLst>
              </p:cNvPr>
              <p:cNvSpPr>
                <a:spLocks/>
              </p:cNvSpPr>
              <p:nvPr/>
            </p:nvSpPr>
            <p:spPr bwMode="auto">
              <a:xfrm>
                <a:off x="2292" y="2153"/>
                <a:ext cx="169" cy="40"/>
              </a:xfrm>
              <a:custGeom>
                <a:avLst/>
                <a:gdLst>
                  <a:gd name="T0" fmla="*/ 119 w 169"/>
                  <a:gd name="T1" fmla="*/ 28 h 40"/>
                  <a:gd name="T2" fmla="*/ 134 w 169"/>
                  <a:gd name="T3" fmla="*/ 21 h 40"/>
                  <a:gd name="T4" fmla="*/ 149 w 169"/>
                  <a:gd name="T5" fmla="*/ 19 h 40"/>
                  <a:gd name="T6" fmla="*/ 165 w 169"/>
                  <a:gd name="T7" fmla="*/ 13 h 40"/>
                  <a:gd name="T8" fmla="*/ 165 w 169"/>
                  <a:gd name="T9" fmla="*/ 0 h 40"/>
                  <a:gd name="T10" fmla="*/ 135 w 169"/>
                  <a:gd name="T11" fmla="*/ 4 h 40"/>
                  <a:gd name="T12" fmla="*/ 93 w 169"/>
                  <a:gd name="T13" fmla="*/ 10 h 40"/>
                  <a:gd name="T14" fmla="*/ 77 w 169"/>
                  <a:gd name="T15" fmla="*/ 16 h 40"/>
                  <a:gd name="T16" fmla="*/ 51 w 169"/>
                  <a:gd name="T17" fmla="*/ 25 h 40"/>
                  <a:gd name="T18" fmla="*/ 11 w 169"/>
                  <a:gd name="T19" fmla="*/ 31 h 40"/>
                  <a:gd name="T20" fmla="*/ 23 w 169"/>
                  <a:gd name="T21" fmla="*/ 40 h 40"/>
                  <a:gd name="T22" fmla="*/ 47 w 169"/>
                  <a:gd name="T23" fmla="*/ 36 h 40"/>
                  <a:gd name="T24" fmla="*/ 74 w 169"/>
                  <a:gd name="T25" fmla="*/ 36 h 40"/>
                  <a:gd name="T26" fmla="*/ 96 w 169"/>
                  <a:gd name="T27" fmla="*/ 30 h 40"/>
                  <a:gd name="T28" fmla="*/ 119 w 169"/>
                  <a:gd name="T29" fmla="*/ 31 h 40"/>
                  <a:gd name="T30" fmla="*/ 119 w 169"/>
                  <a:gd name="T3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 h="40">
                    <a:moveTo>
                      <a:pt x="119" y="28"/>
                    </a:moveTo>
                    <a:cubicBezTo>
                      <a:pt x="124" y="24"/>
                      <a:pt x="127" y="22"/>
                      <a:pt x="134" y="21"/>
                    </a:cubicBezTo>
                    <a:cubicBezTo>
                      <a:pt x="140" y="18"/>
                      <a:pt x="143" y="18"/>
                      <a:pt x="149" y="19"/>
                    </a:cubicBezTo>
                    <a:cubicBezTo>
                      <a:pt x="156" y="18"/>
                      <a:pt x="160" y="17"/>
                      <a:pt x="165" y="13"/>
                    </a:cubicBezTo>
                    <a:cubicBezTo>
                      <a:pt x="168" y="7"/>
                      <a:pt x="169" y="5"/>
                      <a:pt x="165" y="0"/>
                    </a:cubicBezTo>
                    <a:cubicBezTo>
                      <a:pt x="153" y="2"/>
                      <a:pt x="151" y="3"/>
                      <a:pt x="135" y="4"/>
                    </a:cubicBezTo>
                    <a:cubicBezTo>
                      <a:pt x="121" y="6"/>
                      <a:pt x="107" y="7"/>
                      <a:pt x="93" y="10"/>
                    </a:cubicBezTo>
                    <a:cubicBezTo>
                      <a:pt x="88" y="14"/>
                      <a:pt x="83" y="15"/>
                      <a:pt x="77" y="16"/>
                    </a:cubicBezTo>
                    <a:cubicBezTo>
                      <a:pt x="69" y="19"/>
                      <a:pt x="60" y="24"/>
                      <a:pt x="51" y="25"/>
                    </a:cubicBezTo>
                    <a:cubicBezTo>
                      <a:pt x="41" y="30"/>
                      <a:pt x="23" y="30"/>
                      <a:pt x="11" y="31"/>
                    </a:cubicBezTo>
                    <a:cubicBezTo>
                      <a:pt x="0" y="36"/>
                      <a:pt x="18" y="39"/>
                      <a:pt x="23" y="40"/>
                    </a:cubicBezTo>
                    <a:cubicBezTo>
                      <a:pt x="32" y="39"/>
                      <a:pt x="38" y="37"/>
                      <a:pt x="47" y="36"/>
                    </a:cubicBezTo>
                    <a:cubicBezTo>
                      <a:pt x="57" y="38"/>
                      <a:pt x="63" y="38"/>
                      <a:pt x="74" y="36"/>
                    </a:cubicBezTo>
                    <a:cubicBezTo>
                      <a:pt x="82" y="30"/>
                      <a:pt x="85" y="31"/>
                      <a:pt x="96" y="30"/>
                    </a:cubicBezTo>
                    <a:cubicBezTo>
                      <a:pt x="106" y="32"/>
                      <a:pt x="108" y="33"/>
                      <a:pt x="119" y="31"/>
                    </a:cubicBezTo>
                    <a:cubicBezTo>
                      <a:pt x="124" y="27"/>
                      <a:pt x="125" y="28"/>
                      <a:pt x="119" y="28"/>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2" name="Freeform 49">
                <a:extLst>
                  <a:ext uri="{FF2B5EF4-FFF2-40B4-BE49-F238E27FC236}">
                    <a16:creationId xmlns:a16="http://schemas.microsoft.com/office/drawing/2014/main" id="{99AF07DB-37AC-F643-84F3-3D5B020997F9}"/>
                  </a:ext>
                </a:extLst>
              </p:cNvPr>
              <p:cNvSpPr>
                <a:spLocks/>
              </p:cNvSpPr>
              <p:nvPr/>
            </p:nvSpPr>
            <p:spPr bwMode="auto">
              <a:xfrm>
                <a:off x="2361" y="2171"/>
                <a:ext cx="231" cy="61"/>
              </a:xfrm>
              <a:custGeom>
                <a:avLst/>
                <a:gdLst>
                  <a:gd name="T0" fmla="*/ 6 w 231"/>
                  <a:gd name="T1" fmla="*/ 34 h 61"/>
                  <a:gd name="T2" fmla="*/ 23 w 231"/>
                  <a:gd name="T3" fmla="*/ 39 h 61"/>
                  <a:gd name="T4" fmla="*/ 78 w 231"/>
                  <a:gd name="T5" fmla="*/ 37 h 61"/>
                  <a:gd name="T6" fmla="*/ 60 w 231"/>
                  <a:gd name="T7" fmla="*/ 43 h 61"/>
                  <a:gd name="T8" fmla="*/ 47 w 231"/>
                  <a:gd name="T9" fmla="*/ 51 h 61"/>
                  <a:gd name="T10" fmla="*/ 74 w 231"/>
                  <a:gd name="T11" fmla="*/ 54 h 61"/>
                  <a:gd name="T12" fmla="*/ 104 w 231"/>
                  <a:gd name="T13" fmla="*/ 49 h 61"/>
                  <a:gd name="T14" fmla="*/ 128 w 231"/>
                  <a:gd name="T15" fmla="*/ 42 h 61"/>
                  <a:gd name="T16" fmla="*/ 185 w 231"/>
                  <a:gd name="T17" fmla="*/ 45 h 61"/>
                  <a:gd name="T18" fmla="*/ 215 w 231"/>
                  <a:gd name="T19" fmla="*/ 36 h 61"/>
                  <a:gd name="T20" fmla="*/ 231 w 231"/>
                  <a:gd name="T21" fmla="*/ 28 h 61"/>
                  <a:gd name="T22" fmla="*/ 198 w 231"/>
                  <a:gd name="T23" fmla="*/ 18 h 61"/>
                  <a:gd name="T24" fmla="*/ 192 w 231"/>
                  <a:gd name="T25" fmla="*/ 0 h 61"/>
                  <a:gd name="T26" fmla="*/ 171 w 231"/>
                  <a:gd name="T27" fmla="*/ 9 h 61"/>
                  <a:gd name="T28" fmla="*/ 155 w 231"/>
                  <a:gd name="T29" fmla="*/ 30 h 61"/>
                  <a:gd name="T30" fmla="*/ 117 w 231"/>
                  <a:gd name="T31" fmla="*/ 21 h 61"/>
                  <a:gd name="T32" fmla="*/ 95 w 231"/>
                  <a:gd name="T33" fmla="*/ 12 h 61"/>
                  <a:gd name="T34" fmla="*/ 60 w 231"/>
                  <a:gd name="T35" fmla="*/ 13 h 61"/>
                  <a:gd name="T36" fmla="*/ 56 w 231"/>
                  <a:gd name="T37" fmla="*/ 15 h 61"/>
                  <a:gd name="T38" fmla="*/ 41 w 231"/>
                  <a:gd name="T39" fmla="*/ 16 h 61"/>
                  <a:gd name="T40" fmla="*/ 38 w 231"/>
                  <a:gd name="T41" fmla="*/ 21 h 61"/>
                  <a:gd name="T42" fmla="*/ 33 w 231"/>
                  <a:gd name="T43" fmla="*/ 22 h 61"/>
                  <a:gd name="T44" fmla="*/ 9 w 231"/>
                  <a:gd name="T45" fmla="*/ 27 h 61"/>
                  <a:gd name="T46" fmla="*/ 6 w 231"/>
                  <a:gd name="T47"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1" h="61">
                    <a:moveTo>
                      <a:pt x="6" y="34"/>
                    </a:moveTo>
                    <a:cubicBezTo>
                      <a:pt x="12" y="36"/>
                      <a:pt x="17" y="37"/>
                      <a:pt x="23" y="39"/>
                    </a:cubicBezTo>
                    <a:cubicBezTo>
                      <a:pt x="40" y="38"/>
                      <a:pt x="60" y="35"/>
                      <a:pt x="78" y="37"/>
                    </a:cubicBezTo>
                    <a:cubicBezTo>
                      <a:pt x="72" y="41"/>
                      <a:pt x="67" y="42"/>
                      <a:pt x="60" y="43"/>
                    </a:cubicBezTo>
                    <a:cubicBezTo>
                      <a:pt x="56" y="46"/>
                      <a:pt x="51" y="48"/>
                      <a:pt x="47" y="51"/>
                    </a:cubicBezTo>
                    <a:cubicBezTo>
                      <a:pt x="54" y="61"/>
                      <a:pt x="64" y="55"/>
                      <a:pt x="74" y="54"/>
                    </a:cubicBezTo>
                    <a:cubicBezTo>
                      <a:pt x="82" y="50"/>
                      <a:pt x="95" y="50"/>
                      <a:pt x="104" y="49"/>
                    </a:cubicBezTo>
                    <a:cubicBezTo>
                      <a:pt x="113" y="42"/>
                      <a:pt x="115" y="43"/>
                      <a:pt x="128" y="42"/>
                    </a:cubicBezTo>
                    <a:cubicBezTo>
                      <a:pt x="141" y="32"/>
                      <a:pt x="169" y="43"/>
                      <a:pt x="185" y="45"/>
                    </a:cubicBezTo>
                    <a:cubicBezTo>
                      <a:pt x="196" y="43"/>
                      <a:pt x="205" y="38"/>
                      <a:pt x="215" y="36"/>
                    </a:cubicBezTo>
                    <a:cubicBezTo>
                      <a:pt x="222" y="32"/>
                      <a:pt x="227" y="35"/>
                      <a:pt x="231" y="28"/>
                    </a:cubicBezTo>
                    <a:cubicBezTo>
                      <a:pt x="228" y="12"/>
                      <a:pt x="213" y="19"/>
                      <a:pt x="198" y="18"/>
                    </a:cubicBezTo>
                    <a:cubicBezTo>
                      <a:pt x="204" y="7"/>
                      <a:pt x="205" y="2"/>
                      <a:pt x="192" y="0"/>
                    </a:cubicBezTo>
                    <a:cubicBezTo>
                      <a:pt x="186" y="6"/>
                      <a:pt x="179" y="6"/>
                      <a:pt x="171" y="9"/>
                    </a:cubicBezTo>
                    <a:cubicBezTo>
                      <a:pt x="164" y="19"/>
                      <a:pt x="165" y="22"/>
                      <a:pt x="155" y="30"/>
                    </a:cubicBezTo>
                    <a:cubicBezTo>
                      <a:pt x="141" y="29"/>
                      <a:pt x="126" y="32"/>
                      <a:pt x="117" y="21"/>
                    </a:cubicBezTo>
                    <a:cubicBezTo>
                      <a:pt x="115" y="12"/>
                      <a:pt x="103" y="13"/>
                      <a:pt x="95" y="12"/>
                    </a:cubicBezTo>
                    <a:cubicBezTo>
                      <a:pt x="84" y="7"/>
                      <a:pt x="72" y="11"/>
                      <a:pt x="60" y="13"/>
                    </a:cubicBezTo>
                    <a:cubicBezTo>
                      <a:pt x="59" y="14"/>
                      <a:pt x="57" y="15"/>
                      <a:pt x="56" y="15"/>
                    </a:cubicBezTo>
                    <a:cubicBezTo>
                      <a:pt x="51" y="16"/>
                      <a:pt x="46" y="14"/>
                      <a:pt x="41" y="16"/>
                    </a:cubicBezTo>
                    <a:cubicBezTo>
                      <a:pt x="39" y="17"/>
                      <a:pt x="40" y="20"/>
                      <a:pt x="38" y="21"/>
                    </a:cubicBezTo>
                    <a:cubicBezTo>
                      <a:pt x="37" y="22"/>
                      <a:pt x="35" y="22"/>
                      <a:pt x="33" y="22"/>
                    </a:cubicBezTo>
                    <a:cubicBezTo>
                      <a:pt x="25" y="26"/>
                      <a:pt x="18" y="26"/>
                      <a:pt x="9" y="27"/>
                    </a:cubicBezTo>
                    <a:cubicBezTo>
                      <a:pt x="0" y="34"/>
                      <a:pt x="12" y="34"/>
                      <a:pt x="6" y="34"/>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3" name="Freeform 50">
                <a:extLst>
                  <a:ext uri="{FF2B5EF4-FFF2-40B4-BE49-F238E27FC236}">
                    <a16:creationId xmlns:a16="http://schemas.microsoft.com/office/drawing/2014/main" id="{A8F4AB8E-035C-2D4E-8A5B-7823BE72A3A7}"/>
                  </a:ext>
                </a:extLst>
              </p:cNvPr>
              <p:cNvSpPr>
                <a:spLocks/>
              </p:cNvSpPr>
              <p:nvPr/>
            </p:nvSpPr>
            <p:spPr bwMode="auto">
              <a:xfrm>
                <a:off x="2346" y="2187"/>
                <a:ext cx="38" cy="14"/>
              </a:xfrm>
              <a:custGeom>
                <a:avLst/>
                <a:gdLst>
                  <a:gd name="T0" fmla="*/ 0 w 38"/>
                  <a:gd name="T1" fmla="*/ 11 h 14"/>
                  <a:gd name="T2" fmla="*/ 23 w 38"/>
                  <a:gd name="T3" fmla="*/ 5 h 14"/>
                  <a:gd name="T4" fmla="*/ 38 w 38"/>
                  <a:gd name="T5" fmla="*/ 0 h 14"/>
                  <a:gd name="T6" fmla="*/ 18 w 38"/>
                  <a:gd name="T7" fmla="*/ 9 h 14"/>
                  <a:gd name="T8" fmla="*/ 5 w 38"/>
                  <a:gd name="T9" fmla="*/ 14 h 14"/>
                  <a:gd name="T10" fmla="*/ 0 w 38"/>
                  <a:gd name="T11" fmla="*/ 11 h 14"/>
                </a:gdLst>
                <a:ahLst/>
                <a:cxnLst>
                  <a:cxn ang="0">
                    <a:pos x="T0" y="T1"/>
                  </a:cxn>
                  <a:cxn ang="0">
                    <a:pos x="T2" y="T3"/>
                  </a:cxn>
                  <a:cxn ang="0">
                    <a:pos x="T4" y="T5"/>
                  </a:cxn>
                  <a:cxn ang="0">
                    <a:pos x="T6" y="T7"/>
                  </a:cxn>
                  <a:cxn ang="0">
                    <a:pos x="T8" y="T9"/>
                  </a:cxn>
                  <a:cxn ang="0">
                    <a:pos x="T10" y="T11"/>
                  </a:cxn>
                </a:cxnLst>
                <a:rect l="0" t="0" r="r" b="b"/>
                <a:pathLst>
                  <a:path w="38" h="14">
                    <a:moveTo>
                      <a:pt x="0" y="11"/>
                    </a:moveTo>
                    <a:cubicBezTo>
                      <a:pt x="7" y="8"/>
                      <a:pt x="15" y="6"/>
                      <a:pt x="23" y="5"/>
                    </a:cubicBezTo>
                    <a:cubicBezTo>
                      <a:pt x="28" y="3"/>
                      <a:pt x="33" y="2"/>
                      <a:pt x="38" y="0"/>
                    </a:cubicBezTo>
                    <a:cubicBezTo>
                      <a:pt x="34" y="7"/>
                      <a:pt x="26" y="8"/>
                      <a:pt x="18" y="9"/>
                    </a:cubicBezTo>
                    <a:cubicBezTo>
                      <a:pt x="14" y="11"/>
                      <a:pt x="9" y="12"/>
                      <a:pt x="5" y="14"/>
                    </a:cubicBezTo>
                    <a:cubicBezTo>
                      <a:pt x="3" y="13"/>
                      <a:pt x="0" y="11"/>
                      <a:pt x="0" y="11"/>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4" name="Freeform 51">
                <a:extLst>
                  <a:ext uri="{FF2B5EF4-FFF2-40B4-BE49-F238E27FC236}">
                    <a16:creationId xmlns:a16="http://schemas.microsoft.com/office/drawing/2014/main" id="{C56B85AD-868B-6746-AC8F-DAFD1851DAF4}"/>
                  </a:ext>
                </a:extLst>
              </p:cNvPr>
              <p:cNvSpPr>
                <a:spLocks/>
              </p:cNvSpPr>
              <p:nvPr/>
            </p:nvSpPr>
            <p:spPr bwMode="auto">
              <a:xfrm>
                <a:off x="2520" y="2129"/>
                <a:ext cx="95" cy="38"/>
              </a:xfrm>
              <a:custGeom>
                <a:avLst/>
                <a:gdLst>
                  <a:gd name="T0" fmla="*/ 5 w 95"/>
                  <a:gd name="T1" fmla="*/ 31 h 38"/>
                  <a:gd name="T2" fmla="*/ 9 w 95"/>
                  <a:gd name="T3" fmla="*/ 13 h 38"/>
                  <a:gd name="T4" fmla="*/ 41 w 95"/>
                  <a:gd name="T5" fmla="*/ 15 h 38"/>
                  <a:gd name="T6" fmla="*/ 32 w 95"/>
                  <a:gd name="T7" fmla="*/ 6 h 38"/>
                  <a:gd name="T8" fmla="*/ 74 w 95"/>
                  <a:gd name="T9" fmla="*/ 0 h 38"/>
                  <a:gd name="T10" fmla="*/ 95 w 95"/>
                  <a:gd name="T11" fmla="*/ 7 h 38"/>
                  <a:gd name="T12" fmla="*/ 66 w 95"/>
                  <a:gd name="T13" fmla="*/ 16 h 38"/>
                  <a:gd name="T14" fmla="*/ 45 w 95"/>
                  <a:gd name="T15" fmla="*/ 22 h 38"/>
                  <a:gd name="T16" fmla="*/ 27 w 95"/>
                  <a:gd name="T17" fmla="*/ 31 h 38"/>
                  <a:gd name="T18" fmla="*/ 5 w 95"/>
                  <a:gd name="T19"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8">
                    <a:moveTo>
                      <a:pt x="5" y="31"/>
                    </a:moveTo>
                    <a:cubicBezTo>
                      <a:pt x="0" y="24"/>
                      <a:pt x="3" y="18"/>
                      <a:pt x="9" y="13"/>
                    </a:cubicBezTo>
                    <a:cubicBezTo>
                      <a:pt x="31" y="17"/>
                      <a:pt x="20" y="16"/>
                      <a:pt x="41" y="15"/>
                    </a:cubicBezTo>
                    <a:cubicBezTo>
                      <a:pt x="43" y="7"/>
                      <a:pt x="38" y="10"/>
                      <a:pt x="32" y="6"/>
                    </a:cubicBezTo>
                    <a:cubicBezTo>
                      <a:pt x="46" y="3"/>
                      <a:pt x="74" y="0"/>
                      <a:pt x="74" y="0"/>
                    </a:cubicBezTo>
                    <a:cubicBezTo>
                      <a:pt x="82" y="1"/>
                      <a:pt x="87" y="5"/>
                      <a:pt x="95" y="7"/>
                    </a:cubicBezTo>
                    <a:cubicBezTo>
                      <a:pt x="86" y="10"/>
                      <a:pt x="75" y="14"/>
                      <a:pt x="66" y="16"/>
                    </a:cubicBezTo>
                    <a:cubicBezTo>
                      <a:pt x="60" y="19"/>
                      <a:pt x="52" y="21"/>
                      <a:pt x="45" y="22"/>
                    </a:cubicBezTo>
                    <a:cubicBezTo>
                      <a:pt x="43" y="30"/>
                      <a:pt x="34" y="30"/>
                      <a:pt x="27" y="31"/>
                    </a:cubicBezTo>
                    <a:cubicBezTo>
                      <a:pt x="21" y="34"/>
                      <a:pt x="9" y="38"/>
                      <a:pt x="5" y="31"/>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5" name="Freeform 52">
                <a:extLst>
                  <a:ext uri="{FF2B5EF4-FFF2-40B4-BE49-F238E27FC236}">
                    <a16:creationId xmlns:a16="http://schemas.microsoft.com/office/drawing/2014/main" id="{180FCC6A-74AD-6040-BBF1-A59EFD80E3FA}"/>
                  </a:ext>
                </a:extLst>
              </p:cNvPr>
              <p:cNvSpPr>
                <a:spLocks/>
              </p:cNvSpPr>
              <p:nvPr/>
            </p:nvSpPr>
            <p:spPr bwMode="auto">
              <a:xfrm>
                <a:off x="2459" y="2165"/>
                <a:ext cx="27" cy="12"/>
              </a:xfrm>
              <a:custGeom>
                <a:avLst/>
                <a:gdLst>
                  <a:gd name="T0" fmla="*/ 27 w 27"/>
                  <a:gd name="T1" fmla="*/ 6 h 12"/>
                  <a:gd name="T2" fmla="*/ 10 w 27"/>
                  <a:gd name="T3" fmla="*/ 0 h 12"/>
                  <a:gd name="T4" fmla="*/ 10 w 27"/>
                  <a:gd name="T5" fmla="*/ 12 h 12"/>
                  <a:gd name="T6" fmla="*/ 27 w 27"/>
                  <a:gd name="T7" fmla="*/ 6 h 12"/>
                </a:gdLst>
                <a:ahLst/>
                <a:cxnLst>
                  <a:cxn ang="0">
                    <a:pos x="T0" y="T1"/>
                  </a:cxn>
                  <a:cxn ang="0">
                    <a:pos x="T2" y="T3"/>
                  </a:cxn>
                  <a:cxn ang="0">
                    <a:pos x="T4" y="T5"/>
                  </a:cxn>
                  <a:cxn ang="0">
                    <a:pos x="T6" y="T7"/>
                  </a:cxn>
                </a:cxnLst>
                <a:rect l="0" t="0" r="r" b="b"/>
                <a:pathLst>
                  <a:path w="27" h="12">
                    <a:moveTo>
                      <a:pt x="27" y="6"/>
                    </a:moveTo>
                    <a:cubicBezTo>
                      <a:pt x="20" y="2"/>
                      <a:pt x="18" y="1"/>
                      <a:pt x="10" y="0"/>
                    </a:cubicBezTo>
                    <a:cubicBezTo>
                      <a:pt x="0" y="2"/>
                      <a:pt x="2" y="8"/>
                      <a:pt x="10" y="12"/>
                    </a:cubicBezTo>
                    <a:cubicBezTo>
                      <a:pt x="17" y="11"/>
                      <a:pt x="22" y="6"/>
                      <a:pt x="27" y="6"/>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6" name="Freeform 53">
                <a:extLst>
                  <a:ext uri="{FF2B5EF4-FFF2-40B4-BE49-F238E27FC236}">
                    <a16:creationId xmlns:a16="http://schemas.microsoft.com/office/drawing/2014/main" id="{7492B1E9-57A3-A642-80B2-6A89C9EAE6C1}"/>
                  </a:ext>
                </a:extLst>
              </p:cNvPr>
              <p:cNvSpPr>
                <a:spLocks/>
              </p:cNvSpPr>
              <p:nvPr/>
            </p:nvSpPr>
            <p:spPr bwMode="auto">
              <a:xfrm>
                <a:off x="2555" y="2231"/>
                <a:ext cx="133" cy="75"/>
              </a:xfrm>
              <a:custGeom>
                <a:avLst/>
                <a:gdLst>
                  <a:gd name="T0" fmla="*/ 31 w 133"/>
                  <a:gd name="T1" fmla="*/ 66 h 75"/>
                  <a:gd name="T2" fmla="*/ 0 w 133"/>
                  <a:gd name="T3" fmla="*/ 40 h 75"/>
                  <a:gd name="T4" fmla="*/ 15 w 133"/>
                  <a:gd name="T5" fmla="*/ 31 h 75"/>
                  <a:gd name="T6" fmla="*/ 39 w 133"/>
                  <a:gd name="T7" fmla="*/ 37 h 75"/>
                  <a:gd name="T8" fmla="*/ 52 w 133"/>
                  <a:gd name="T9" fmla="*/ 28 h 75"/>
                  <a:gd name="T10" fmla="*/ 43 w 133"/>
                  <a:gd name="T11" fmla="*/ 18 h 75"/>
                  <a:gd name="T12" fmla="*/ 96 w 133"/>
                  <a:gd name="T13" fmla="*/ 6 h 75"/>
                  <a:gd name="T14" fmla="*/ 123 w 133"/>
                  <a:gd name="T15" fmla="*/ 6 h 75"/>
                  <a:gd name="T16" fmla="*/ 100 w 133"/>
                  <a:gd name="T17" fmla="*/ 24 h 75"/>
                  <a:gd name="T18" fmla="*/ 102 w 133"/>
                  <a:gd name="T19" fmla="*/ 40 h 75"/>
                  <a:gd name="T20" fmla="*/ 90 w 133"/>
                  <a:gd name="T21" fmla="*/ 55 h 75"/>
                  <a:gd name="T22" fmla="*/ 51 w 133"/>
                  <a:gd name="T23" fmla="*/ 63 h 75"/>
                  <a:gd name="T24" fmla="*/ 31 w 133"/>
                  <a:gd name="T25"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 h="75">
                    <a:moveTo>
                      <a:pt x="31" y="66"/>
                    </a:moveTo>
                    <a:cubicBezTo>
                      <a:pt x="29" y="54"/>
                      <a:pt x="11" y="45"/>
                      <a:pt x="0" y="40"/>
                    </a:cubicBezTo>
                    <a:cubicBezTo>
                      <a:pt x="2" y="31"/>
                      <a:pt x="6" y="33"/>
                      <a:pt x="15" y="31"/>
                    </a:cubicBezTo>
                    <a:cubicBezTo>
                      <a:pt x="23" y="33"/>
                      <a:pt x="31" y="36"/>
                      <a:pt x="39" y="37"/>
                    </a:cubicBezTo>
                    <a:cubicBezTo>
                      <a:pt x="47" y="36"/>
                      <a:pt x="46" y="32"/>
                      <a:pt x="52" y="28"/>
                    </a:cubicBezTo>
                    <a:cubicBezTo>
                      <a:pt x="49" y="24"/>
                      <a:pt x="45" y="23"/>
                      <a:pt x="43" y="18"/>
                    </a:cubicBezTo>
                    <a:cubicBezTo>
                      <a:pt x="61" y="7"/>
                      <a:pt x="73" y="7"/>
                      <a:pt x="96" y="6"/>
                    </a:cubicBezTo>
                    <a:cubicBezTo>
                      <a:pt x="104" y="0"/>
                      <a:pt x="114" y="2"/>
                      <a:pt x="123" y="6"/>
                    </a:cubicBezTo>
                    <a:cubicBezTo>
                      <a:pt x="133" y="20"/>
                      <a:pt x="107" y="23"/>
                      <a:pt x="100" y="24"/>
                    </a:cubicBezTo>
                    <a:cubicBezTo>
                      <a:pt x="99" y="30"/>
                      <a:pt x="99" y="34"/>
                      <a:pt x="102" y="40"/>
                    </a:cubicBezTo>
                    <a:cubicBezTo>
                      <a:pt x="104" y="49"/>
                      <a:pt x="96" y="50"/>
                      <a:pt x="90" y="55"/>
                    </a:cubicBezTo>
                    <a:cubicBezTo>
                      <a:pt x="82" y="69"/>
                      <a:pt x="64" y="56"/>
                      <a:pt x="51" y="63"/>
                    </a:cubicBezTo>
                    <a:cubicBezTo>
                      <a:pt x="47" y="71"/>
                      <a:pt x="37" y="75"/>
                      <a:pt x="31" y="66"/>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7" name="Freeform 54">
                <a:extLst>
                  <a:ext uri="{FF2B5EF4-FFF2-40B4-BE49-F238E27FC236}">
                    <a16:creationId xmlns:a16="http://schemas.microsoft.com/office/drawing/2014/main" id="{5176153F-6E89-E541-885F-805B8101213C}"/>
                  </a:ext>
                </a:extLst>
              </p:cNvPr>
              <p:cNvSpPr>
                <a:spLocks/>
              </p:cNvSpPr>
              <p:nvPr/>
            </p:nvSpPr>
            <p:spPr bwMode="auto">
              <a:xfrm>
                <a:off x="2637" y="2153"/>
                <a:ext cx="18" cy="15"/>
              </a:xfrm>
              <a:custGeom>
                <a:avLst/>
                <a:gdLst>
                  <a:gd name="T0" fmla="*/ 18 w 18"/>
                  <a:gd name="T1" fmla="*/ 12 h 15"/>
                  <a:gd name="T2" fmla="*/ 0 w 18"/>
                  <a:gd name="T3" fmla="*/ 7 h 15"/>
                  <a:gd name="T4" fmla="*/ 14 w 18"/>
                  <a:gd name="T5" fmla="*/ 1 h 15"/>
                  <a:gd name="T6" fmla="*/ 18 w 18"/>
                  <a:gd name="T7" fmla="*/ 12 h 15"/>
                </a:gdLst>
                <a:ahLst/>
                <a:cxnLst>
                  <a:cxn ang="0">
                    <a:pos x="T0" y="T1"/>
                  </a:cxn>
                  <a:cxn ang="0">
                    <a:pos x="T2" y="T3"/>
                  </a:cxn>
                  <a:cxn ang="0">
                    <a:pos x="T4" y="T5"/>
                  </a:cxn>
                  <a:cxn ang="0">
                    <a:pos x="T6" y="T7"/>
                  </a:cxn>
                </a:cxnLst>
                <a:rect l="0" t="0" r="r" b="b"/>
                <a:pathLst>
                  <a:path w="18" h="15">
                    <a:moveTo>
                      <a:pt x="18" y="12"/>
                    </a:moveTo>
                    <a:cubicBezTo>
                      <a:pt x="10" y="13"/>
                      <a:pt x="5" y="15"/>
                      <a:pt x="0" y="7"/>
                    </a:cubicBezTo>
                    <a:cubicBezTo>
                      <a:pt x="5" y="1"/>
                      <a:pt x="6" y="0"/>
                      <a:pt x="14" y="1"/>
                    </a:cubicBezTo>
                    <a:cubicBezTo>
                      <a:pt x="15" y="5"/>
                      <a:pt x="16" y="8"/>
                      <a:pt x="18" y="12"/>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8" name="Freeform 55">
                <a:extLst>
                  <a:ext uri="{FF2B5EF4-FFF2-40B4-BE49-F238E27FC236}">
                    <a16:creationId xmlns:a16="http://schemas.microsoft.com/office/drawing/2014/main" id="{397E3FC3-8229-CC49-9222-0FAAE3957B94}"/>
                  </a:ext>
                </a:extLst>
              </p:cNvPr>
              <p:cNvSpPr>
                <a:spLocks/>
              </p:cNvSpPr>
              <p:nvPr/>
            </p:nvSpPr>
            <p:spPr bwMode="auto">
              <a:xfrm>
                <a:off x="2621" y="2171"/>
                <a:ext cx="121" cy="50"/>
              </a:xfrm>
              <a:custGeom>
                <a:avLst/>
                <a:gdLst>
                  <a:gd name="T0" fmla="*/ 16 w 121"/>
                  <a:gd name="T1" fmla="*/ 28 h 50"/>
                  <a:gd name="T2" fmla="*/ 1 w 121"/>
                  <a:gd name="T3" fmla="*/ 22 h 50"/>
                  <a:gd name="T4" fmla="*/ 7 w 121"/>
                  <a:gd name="T5" fmla="*/ 9 h 50"/>
                  <a:gd name="T6" fmla="*/ 24 w 121"/>
                  <a:gd name="T7" fmla="*/ 10 h 50"/>
                  <a:gd name="T8" fmla="*/ 36 w 121"/>
                  <a:gd name="T9" fmla="*/ 19 h 50"/>
                  <a:gd name="T10" fmla="*/ 52 w 121"/>
                  <a:gd name="T11" fmla="*/ 13 h 50"/>
                  <a:gd name="T12" fmla="*/ 66 w 121"/>
                  <a:gd name="T13" fmla="*/ 18 h 50"/>
                  <a:gd name="T14" fmla="*/ 84 w 121"/>
                  <a:gd name="T15" fmla="*/ 3 h 50"/>
                  <a:gd name="T16" fmla="*/ 105 w 121"/>
                  <a:gd name="T17" fmla="*/ 4 h 50"/>
                  <a:gd name="T18" fmla="*/ 121 w 121"/>
                  <a:gd name="T19" fmla="*/ 10 h 50"/>
                  <a:gd name="T20" fmla="*/ 106 w 121"/>
                  <a:gd name="T21" fmla="*/ 22 h 50"/>
                  <a:gd name="T22" fmla="*/ 85 w 121"/>
                  <a:gd name="T23" fmla="*/ 36 h 50"/>
                  <a:gd name="T24" fmla="*/ 42 w 121"/>
                  <a:gd name="T25" fmla="*/ 40 h 50"/>
                  <a:gd name="T26" fmla="*/ 31 w 121"/>
                  <a:gd name="T27" fmla="*/ 27 h 50"/>
                  <a:gd name="T28" fmla="*/ 16 w 121"/>
                  <a:gd name="T29" fmla="*/ 2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50">
                    <a:moveTo>
                      <a:pt x="16" y="28"/>
                    </a:moveTo>
                    <a:cubicBezTo>
                      <a:pt x="10" y="27"/>
                      <a:pt x="7" y="25"/>
                      <a:pt x="1" y="22"/>
                    </a:cubicBezTo>
                    <a:cubicBezTo>
                      <a:pt x="0" y="14"/>
                      <a:pt x="1" y="13"/>
                      <a:pt x="7" y="9"/>
                    </a:cubicBezTo>
                    <a:cubicBezTo>
                      <a:pt x="13" y="9"/>
                      <a:pt x="18" y="9"/>
                      <a:pt x="24" y="10"/>
                    </a:cubicBezTo>
                    <a:cubicBezTo>
                      <a:pt x="31" y="11"/>
                      <a:pt x="27" y="18"/>
                      <a:pt x="36" y="19"/>
                    </a:cubicBezTo>
                    <a:cubicBezTo>
                      <a:pt x="44" y="25"/>
                      <a:pt x="45" y="16"/>
                      <a:pt x="52" y="13"/>
                    </a:cubicBezTo>
                    <a:cubicBezTo>
                      <a:pt x="59" y="16"/>
                      <a:pt x="58" y="19"/>
                      <a:pt x="66" y="18"/>
                    </a:cubicBezTo>
                    <a:cubicBezTo>
                      <a:pt x="74" y="14"/>
                      <a:pt x="74" y="5"/>
                      <a:pt x="84" y="3"/>
                    </a:cubicBezTo>
                    <a:cubicBezTo>
                      <a:pt x="90" y="0"/>
                      <a:pt x="105" y="4"/>
                      <a:pt x="105" y="4"/>
                    </a:cubicBezTo>
                    <a:cubicBezTo>
                      <a:pt x="117" y="10"/>
                      <a:pt x="111" y="8"/>
                      <a:pt x="121" y="10"/>
                    </a:cubicBezTo>
                    <a:cubicBezTo>
                      <a:pt x="120" y="17"/>
                      <a:pt x="113" y="21"/>
                      <a:pt x="106" y="22"/>
                    </a:cubicBezTo>
                    <a:cubicBezTo>
                      <a:pt x="97" y="26"/>
                      <a:pt x="94" y="31"/>
                      <a:pt x="85" y="36"/>
                    </a:cubicBezTo>
                    <a:cubicBezTo>
                      <a:pt x="75" y="50"/>
                      <a:pt x="62" y="41"/>
                      <a:pt x="42" y="40"/>
                    </a:cubicBezTo>
                    <a:cubicBezTo>
                      <a:pt x="44" y="31"/>
                      <a:pt x="40" y="29"/>
                      <a:pt x="31" y="27"/>
                    </a:cubicBezTo>
                    <a:cubicBezTo>
                      <a:pt x="19" y="28"/>
                      <a:pt x="24" y="28"/>
                      <a:pt x="16" y="28"/>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09" name="Freeform 56">
                <a:extLst>
                  <a:ext uri="{FF2B5EF4-FFF2-40B4-BE49-F238E27FC236}">
                    <a16:creationId xmlns:a16="http://schemas.microsoft.com/office/drawing/2014/main" id="{6C97A382-75F7-854B-8E22-D75A9405C754}"/>
                  </a:ext>
                </a:extLst>
              </p:cNvPr>
              <p:cNvSpPr>
                <a:spLocks/>
              </p:cNvSpPr>
              <p:nvPr/>
            </p:nvSpPr>
            <p:spPr bwMode="auto">
              <a:xfrm>
                <a:off x="2583" y="2201"/>
                <a:ext cx="28" cy="13"/>
              </a:xfrm>
              <a:custGeom>
                <a:avLst/>
                <a:gdLst>
                  <a:gd name="T0" fmla="*/ 12 w 28"/>
                  <a:gd name="T1" fmla="*/ 13 h 13"/>
                  <a:gd name="T2" fmla="*/ 3 w 28"/>
                  <a:gd name="T3" fmla="*/ 9 h 13"/>
                  <a:gd name="T4" fmla="*/ 14 w 28"/>
                  <a:gd name="T5" fmla="*/ 0 h 13"/>
                  <a:gd name="T6" fmla="*/ 12 w 28"/>
                  <a:gd name="T7" fmla="*/ 13 h 13"/>
                </a:gdLst>
                <a:ahLst/>
                <a:cxnLst>
                  <a:cxn ang="0">
                    <a:pos x="T0" y="T1"/>
                  </a:cxn>
                  <a:cxn ang="0">
                    <a:pos x="T2" y="T3"/>
                  </a:cxn>
                  <a:cxn ang="0">
                    <a:pos x="T4" y="T5"/>
                  </a:cxn>
                  <a:cxn ang="0">
                    <a:pos x="T6" y="T7"/>
                  </a:cxn>
                </a:cxnLst>
                <a:rect l="0" t="0" r="r" b="b"/>
                <a:pathLst>
                  <a:path w="28" h="13">
                    <a:moveTo>
                      <a:pt x="12" y="13"/>
                    </a:moveTo>
                    <a:cubicBezTo>
                      <a:pt x="9" y="11"/>
                      <a:pt x="4" y="12"/>
                      <a:pt x="3" y="9"/>
                    </a:cubicBezTo>
                    <a:cubicBezTo>
                      <a:pt x="0" y="3"/>
                      <a:pt x="11" y="1"/>
                      <a:pt x="14" y="0"/>
                    </a:cubicBezTo>
                    <a:cubicBezTo>
                      <a:pt x="28" y="2"/>
                      <a:pt x="20" y="9"/>
                      <a:pt x="12" y="1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0" name="Freeform 57">
                <a:extLst>
                  <a:ext uri="{FF2B5EF4-FFF2-40B4-BE49-F238E27FC236}">
                    <a16:creationId xmlns:a16="http://schemas.microsoft.com/office/drawing/2014/main" id="{12C0B11F-7D96-B747-84CD-274339DBE542}"/>
                  </a:ext>
                </a:extLst>
              </p:cNvPr>
              <p:cNvSpPr>
                <a:spLocks/>
              </p:cNvSpPr>
              <p:nvPr/>
            </p:nvSpPr>
            <p:spPr bwMode="auto">
              <a:xfrm>
                <a:off x="2724" y="2195"/>
                <a:ext cx="61" cy="28"/>
              </a:xfrm>
              <a:custGeom>
                <a:avLst/>
                <a:gdLst>
                  <a:gd name="T0" fmla="*/ 39 w 61"/>
                  <a:gd name="T1" fmla="*/ 27 h 28"/>
                  <a:gd name="T2" fmla="*/ 14 w 61"/>
                  <a:gd name="T3" fmla="*/ 21 h 28"/>
                  <a:gd name="T4" fmla="*/ 0 w 61"/>
                  <a:gd name="T5" fmla="*/ 13 h 28"/>
                  <a:gd name="T6" fmla="*/ 20 w 61"/>
                  <a:gd name="T7" fmla="*/ 6 h 28"/>
                  <a:gd name="T8" fmla="*/ 38 w 61"/>
                  <a:gd name="T9" fmla="*/ 0 h 28"/>
                  <a:gd name="T10" fmla="*/ 53 w 61"/>
                  <a:gd name="T11" fmla="*/ 4 h 28"/>
                  <a:gd name="T12" fmla="*/ 39 w 61"/>
                  <a:gd name="T13" fmla="*/ 25 h 28"/>
                  <a:gd name="T14" fmla="*/ 39 w 61"/>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8">
                    <a:moveTo>
                      <a:pt x="39" y="27"/>
                    </a:moveTo>
                    <a:cubicBezTo>
                      <a:pt x="30" y="25"/>
                      <a:pt x="22" y="22"/>
                      <a:pt x="14" y="21"/>
                    </a:cubicBezTo>
                    <a:cubicBezTo>
                      <a:pt x="7" y="18"/>
                      <a:pt x="4" y="20"/>
                      <a:pt x="0" y="13"/>
                    </a:cubicBezTo>
                    <a:cubicBezTo>
                      <a:pt x="6" y="9"/>
                      <a:pt x="13" y="7"/>
                      <a:pt x="20" y="6"/>
                    </a:cubicBezTo>
                    <a:cubicBezTo>
                      <a:pt x="26" y="3"/>
                      <a:pt x="32" y="1"/>
                      <a:pt x="38" y="0"/>
                    </a:cubicBezTo>
                    <a:cubicBezTo>
                      <a:pt x="43" y="1"/>
                      <a:pt x="48" y="3"/>
                      <a:pt x="53" y="4"/>
                    </a:cubicBezTo>
                    <a:cubicBezTo>
                      <a:pt x="61" y="17"/>
                      <a:pt x="51" y="23"/>
                      <a:pt x="39" y="25"/>
                    </a:cubicBezTo>
                    <a:cubicBezTo>
                      <a:pt x="34" y="28"/>
                      <a:pt x="34" y="27"/>
                      <a:pt x="39" y="27"/>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1" name="Freeform 58">
                <a:extLst>
                  <a:ext uri="{FF2B5EF4-FFF2-40B4-BE49-F238E27FC236}">
                    <a16:creationId xmlns:a16="http://schemas.microsoft.com/office/drawing/2014/main" id="{3053153B-41FD-7E47-8BD9-7681D5D54529}"/>
                  </a:ext>
                </a:extLst>
              </p:cNvPr>
              <p:cNvSpPr>
                <a:spLocks/>
              </p:cNvSpPr>
              <p:nvPr/>
            </p:nvSpPr>
            <p:spPr bwMode="auto">
              <a:xfrm>
                <a:off x="2692" y="2117"/>
                <a:ext cx="74" cy="38"/>
              </a:xfrm>
              <a:custGeom>
                <a:avLst/>
                <a:gdLst>
                  <a:gd name="T0" fmla="*/ 55 w 74"/>
                  <a:gd name="T1" fmla="*/ 27 h 38"/>
                  <a:gd name="T2" fmla="*/ 41 w 74"/>
                  <a:gd name="T3" fmla="*/ 21 h 38"/>
                  <a:gd name="T4" fmla="*/ 23 w 74"/>
                  <a:gd name="T5" fmla="*/ 25 h 38"/>
                  <a:gd name="T6" fmla="*/ 4 w 74"/>
                  <a:gd name="T7" fmla="*/ 13 h 38"/>
                  <a:gd name="T8" fmla="*/ 13 w 74"/>
                  <a:gd name="T9" fmla="*/ 0 h 38"/>
                  <a:gd name="T10" fmla="*/ 55 w 74"/>
                  <a:gd name="T11" fmla="*/ 7 h 38"/>
                  <a:gd name="T12" fmla="*/ 70 w 74"/>
                  <a:gd name="T13" fmla="*/ 15 h 38"/>
                  <a:gd name="T14" fmla="*/ 74 w 74"/>
                  <a:gd name="T15" fmla="*/ 30 h 38"/>
                  <a:gd name="T16" fmla="*/ 55 w 74"/>
                  <a:gd name="T1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8">
                    <a:moveTo>
                      <a:pt x="55" y="27"/>
                    </a:moveTo>
                    <a:cubicBezTo>
                      <a:pt x="50" y="24"/>
                      <a:pt x="47" y="22"/>
                      <a:pt x="41" y="21"/>
                    </a:cubicBezTo>
                    <a:cubicBezTo>
                      <a:pt x="34" y="22"/>
                      <a:pt x="30" y="24"/>
                      <a:pt x="23" y="25"/>
                    </a:cubicBezTo>
                    <a:cubicBezTo>
                      <a:pt x="15" y="24"/>
                      <a:pt x="10" y="18"/>
                      <a:pt x="4" y="13"/>
                    </a:cubicBezTo>
                    <a:cubicBezTo>
                      <a:pt x="0" y="5"/>
                      <a:pt x="6" y="1"/>
                      <a:pt x="13" y="0"/>
                    </a:cubicBezTo>
                    <a:cubicBezTo>
                      <a:pt x="28" y="3"/>
                      <a:pt x="38" y="6"/>
                      <a:pt x="55" y="7"/>
                    </a:cubicBezTo>
                    <a:cubicBezTo>
                      <a:pt x="62" y="10"/>
                      <a:pt x="66" y="8"/>
                      <a:pt x="70" y="15"/>
                    </a:cubicBezTo>
                    <a:cubicBezTo>
                      <a:pt x="71" y="20"/>
                      <a:pt x="73" y="25"/>
                      <a:pt x="74" y="30"/>
                    </a:cubicBezTo>
                    <a:cubicBezTo>
                      <a:pt x="68" y="38"/>
                      <a:pt x="49" y="29"/>
                      <a:pt x="55" y="27"/>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2" name="Freeform 59">
                <a:extLst>
                  <a:ext uri="{FF2B5EF4-FFF2-40B4-BE49-F238E27FC236}">
                    <a16:creationId xmlns:a16="http://schemas.microsoft.com/office/drawing/2014/main" id="{195DC63D-AA1C-564C-B5CB-A0228ED5CBA6}"/>
                  </a:ext>
                </a:extLst>
              </p:cNvPr>
              <p:cNvSpPr>
                <a:spLocks/>
              </p:cNvSpPr>
              <p:nvPr/>
            </p:nvSpPr>
            <p:spPr bwMode="auto">
              <a:xfrm>
                <a:off x="2790" y="2130"/>
                <a:ext cx="48" cy="29"/>
              </a:xfrm>
              <a:custGeom>
                <a:avLst/>
                <a:gdLst>
                  <a:gd name="T0" fmla="*/ 26 w 48"/>
                  <a:gd name="T1" fmla="*/ 24 h 29"/>
                  <a:gd name="T2" fmla="*/ 8 w 48"/>
                  <a:gd name="T3" fmla="*/ 18 h 29"/>
                  <a:gd name="T4" fmla="*/ 17 w 48"/>
                  <a:gd name="T5" fmla="*/ 0 h 29"/>
                  <a:gd name="T6" fmla="*/ 42 w 48"/>
                  <a:gd name="T7" fmla="*/ 6 h 29"/>
                  <a:gd name="T8" fmla="*/ 45 w 48"/>
                  <a:gd name="T9" fmla="*/ 29 h 29"/>
                  <a:gd name="T10" fmla="*/ 26 w 48"/>
                  <a:gd name="T11" fmla="*/ 24 h 29"/>
                </a:gdLst>
                <a:ahLst/>
                <a:cxnLst>
                  <a:cxn ang="0">
                    <a:pos x="T0" y="T1"/>
                  </a:cxn>
                  <a:cxn ang="0">
                    <a:pos x="T2" y="T3"/>
                  </a:cxn>
                  <a:cxn ang="0">
                    <a:pos x="T4" y="T5"/>
                  </a:cxn>
                  <a:cxn ang="0">
                    <a:pos x="T6" y="T7"/>
                  </a:cxn>
                  <a:cxn ang="0">
                    <a:pos x="T8" y="T9"/>
                  </a:cxn>
                  <a:cxn ang="0">
                    <a:pos x="T10" y="T11"/>
                  </a:cxn>
                </a:cxnLst>
                <a:rect l="0" t="0" r="r" b="b"/>
                <a:pathLst>
                  <a:path w="48" h="29">
                    <a:moveTo>
                      <a:pt x="26" y="24"/>
                    </a:moveTo>
                    <a:cubicBezTo>
                      <a:pt x="20" y="23"/>
                      <a:pt x="8" y="18"/>
                      <a:pt x="8" y="18"/>
                    </a:cubicBezTo>
                    <a:cubicBezTo>
                      <a:pt x="0" y="8"/>
                      <a:pt x="7" y="2"/>
                      <a:pt x="17" y="0"/>
                    </a:cubicBezTo>
                    <a:cubicBezTo>
                      <a:pt x="26" y="1"/>
                      <a:pt x="35" y="1"/>
                      <a:pt x="42" y="6"/>
                    </a:cubicBezTo>
                    <a:cubicBezTo>
                      <a:pt x="48" y="16"/>
                      <a:pt x="47" y="15"/>
                      <a:pt x="45" y="29"/>
                    </a:cubicBezTo>
                    <a:cubicBezTo>
                      <a:pt x="39" y="28"/>
                      <a:pt x="33" y="24"/>
                      <a:pt x="26" y="24"/>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3" name="Freeform 60">
                <a:extLst>
                  <a:ext uri="{FF2B5EF4-FFF2-40B4-BE49-F238E27FC236}">
                    <a16:creationId xmlns:a16="http://schemas.microsoft.com/office/drawing/2014/main" id="{FB7D95F1-1362-4C41-AF34-6E684BBCC0D6}"/>
                  </a:ext>
                </a:extLst>
              </p:cNvPr>
              <p:cNvSpPr>
                <a:spLocks/>
              </p:cNvSpPr>
              <p:nvPr/>
            </p:nvSpPr>
            <p:spPr bwMode="auto">
              <a:xfrm>
                <a:off x="2804" y="2098"/>
                <a:ext cx="29" cy="11"/>
              </a:xfrm>
              <a:custGeom>
                <a:avLst/>
                <a:gdLst>
                  <a:gd name="T0" fmla="*/ 24 w 29"/>
                  <a:gd name="T1" fmla="*/ 11 h 11"/>
                  <a:gd name="T2" fmla="*/ 13 w 29"/>
                  <a:gd name="T3" fmla="*/ 1 h 11"/>
                  <a:gd name="T4" fmla="*/ 24 w 29"/>
                  <a:gd name="T5" fmla="*/ 11 h 11"/>
                </a:gdLst>
                <a:ahLst/>
                <a:cxnLst>
                  <a:cxn ang="0">
                    <a:pos x="T0" y="T1"/>
                  </a:cxn>
                  <a:cxn ang="0">
                    <a:pos x="T2" y="T3"/>
                  </a:cxn>
                  <a:cxn ang="0">
                    <a:pos x="T4" y="T5"/>
                  </a:cxn>
                </a:cxnLst>
                <a:rect l="0" t="0" r="r" b="b"/>
                <a:pathLst>
                  <a:path w="29" h="11">
                    <a:moveTo>
                      <a:pt x="24" y="11"/>
                    </a:moveTo>
                    <a:cubicBezTo>
                      <a:pt x="15" y="10"/>
                      <a:pt x="0" y="10"/>
                      <a:pt x="13" y="1"/>
                    </a:cubicBezTo>
                    <a:cubicBezTo>
                      <a:pt x="29" y="2"/>
                      <a:pt x="24" y="0"/>
                      <a:pt x="24" y="11"/>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4" name="Freeform 61">
                <a:extLst>
                  <a:ext uri="{FF2B5EF4-FFF2-40B4-BE49-F238E27FC236}">
                    <a16:creationId xmlns:a16="http://schemas.microsoft.com/office/drawing/2014/main" id="{C5129A38-950E-AA49-AF77-2A53DB955B5D}"/>
                  </a:ext>
                </a:extLst>
              </p:cNvPr>
              <p:cNvSpPr>
                <a:spLocks/>
              </p:cNvSpPr>
              <p:nvPr/>
            </p:nvSpPr>
            <p:spPr bwMode="auto">
              <a:xfrm>
                <a:off x="2773" y="2165"/>
                <a:ext cx="254" cy="64"/>
              </a:xfrm>
              <a:custGeom>
                <a:avLst/>
                <a:gdLst>
                  <a:gd name="T0" fmla="*/ 37 w 254"/>
                  <a:gd name="T1" fmla="*/ 15 h 64"/>
                  <a:gd name="T2" fmla="*/ 17 w 254"/>
                  <a:gd name="T3" fmla="*/ 19 h 64"/>
                  <a:gd name="T4" fmla="*/ 2 w 254"/>
                  <a:gd name="T5" fmla="*/ 16 h 64"/>
                  <a:gd name="T6" fmla="*/ 13 w 254"/>
                  <a:gd name="T7" fmla="*/ 0 h 64"/>
                  <a:gd name="T8" fmla="*/ 47 w 254"/>
                  <a:gd name="T9" fmla="*/ 4 h 64"/>
                  <a:gd name="T10" fmla="*/ 86 w 254"/>
                  <a:gd name="T11" fmla="*/ 13 h 64"/>
                  <a:gd name="T12" fmla="*/ 94 w 254"/>
                  <a:gd name="T13" fmla="*/ 28 h 64"/>
                  <a:gd name="T14" fmla="*/ 118 w 254"/>
                  <a:gd name="T15" fmla="*/ 37 h 64"/>
                  <a:gd name="T16" fmla="*/ 134 w 254"/>
                  <a:gd name="T17" fmla="*/ 37 h 64"/>
                  <a:gd name="T18" fmla="*/ 152 w 254"/>
                  <a:gd name="T19" fmla="*/ 39 h 64"/>
                  <a:gd name="T20" fmla="*/ 191 w 254"/>
                  <a:gd name="T21" fmla="*/ 33 h 64"/>
                  <a:gd name="T22" fmla="*/ 233 w 254"/>
                  <a:gd name="T23" fmla="*/ 31 h 64"/>
                  <a:gd name="T24" fmla="*/ 251 w 254"/>
                  <a:gd name="T25" fmla="*/ 36 h 64"/>
                  <a:gd name="T26" fmla="*/ 239 w 254"/>
                  <a:gd name="T27" fmla="*/ 49 h 64"/>
                  <a:gd name="T28" fmla="*/ 193 w 254"/>
                  <a:gd name="T29" fmla="*/ 57 h 64"/>
                  <a:gd name="T30" fmla="*/ 152 w 254"/>
                  <a:gd name="T31" fmla="*/ 58 h 64"/>
                  <a:gd name="T32" fmla="*/ 115 w 254"/>
                  <a:gd name="T33" fmla="*/ 60 h 64"/>
                  <a:gd name="T34" fmla="*/ 88 w 254"/>
                  <a:gd name="T35" fmla="*/ 55 h 64"/>
                  <a:gd name="T36" fmla="*/ 50 w 254"/>
                  <a:gd name="T37" fmla="*/ 61 h 64"/>
                  <a:gd name="T38" fmla="*/ 28 w 254"/>
                  <a:gd name="T39" fmla="*/ 54 h 64"/>
                  <a:gd name="T40" fmla="*/ 43 w 254"/>
                  <a:gd name="T41" fmla="*/ 36 h 64"/>
                  <a:gd name="T42" fmla="*/ 52 w 254"/>
                  <a:gd name="T43" fmla="*/ 25 h 64"/>
                  <a:gd name="T44" fmla="*/ 37 w 254"/>
                  <a:gd name="T45"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4" h="64">
                    <a:moveTo>
                      <a:pt x="37" y="15"/>
                    </a:moveTo>
                    <a:cubicBezTo>
                      <a:pt x="29" y="17"/>
                      <a:pt x="26" y="18"/>
                      <a:pt x="17" y="19"/>
                    </a:cubicBezTo>
                    <a:cubicBezTo>
                      <a:pt x="9" y="22"/>
                      <a:pt x="9" y="19"/>
                      <a:pt x="2" y="16"/>
                    </a:cubicBezTo>
                    <a:cubicBezTo>
                      <a:pt x="0" y="5"/>
                      <a:pt x="2" y="2"/>
                      <a:pt x="13" y="0"/>
                    </a:cubicBezTo>
                    <a:cubicBezTo>
                      <a:pt x="25" y="1"/>
                      <a:pt x="35" y="3"/>
                      <a:pt x="47" y="4"/>
                    </a:cubicBezTo>
                    <a:cubicBezTo>
                      <a:pt x="63" y="13"/>
                      <a:pt x="62" y="12"/>
                      <a:pt x="86" y="13"/>
                    </a:cubicBezTo>
                    <a:cubicBezTo>
                      <a:pt x="98" y="17"/>
                      <a:pt x="88" y="12"/>
                      <a:pt x="94" y="28"/>
                    </a:cubicBezTo>
                    <a:cubicBezTo>
                      <a:pt x="97" y="35"/>
                      <a:pt x="111" y="36"/>
                      <a:pt x="118" y="37"/>
                    </a:cubicBezTo>
                    <a:cubicBezTo>
                      <a:pt x="124" y="40"/>
                      <a:pt x="127" y="36"/>
                      <a:pt x="134" y="37"/>
                    </a:cubicBezTo>
                    <a:cubicBezTo>
                      <a:pt x="141" y="40"/>
                      <a:pt x="145" y="40"/>
                      <a:pt x="152" y="39"/>
                    </a:cubicBezTo>
                    <a:cubicBezTo>
                      <a:pt x="164" y="34"/>
                      <a:pt x="178" y="34"/>
                      <a:pt x="191" y="33"/>
                    </a:cubicBezTo>
                    <a:cubicBezTo>
                      <a:pt x="204" y="28"/>
                      <a:pt x="219" y="30"/>
                      <a:pt x="233" y="31"/>
                    </a:cubicBezTo>
                    <a:cubicBezTo>
                      <a:pt x="239" y="33"/>
                      <a:pt x="245" y="34"/>
                      <a:pt x="251" y="36"/>
                    </a:cubicBezTo>
                    <a:cubicBezTo>
                      <a:pt x="254" y="42"/>
                      <a:pt x="245" y="48"/>
                      <a:pt x="239" y="49"/>
                    </a:cubicBezTo>
                    <a:cubicBezTo>
                      <a:pt x="226" y="56"/>
                      <a:pt x="207" y="56"/>
                      <a:pt x="193" y="57"/>
                    </a:cubicBezTo>
                    <a:cubicBezTo>
                      <a:pt x="179" y="54"/>
                      <a:pt x="166" y="56"/>
                      <a:pt x="152" y="58"/>
                    </a:cubicBezTo>
                    <a:cubicBezTo>
                      <a:pt x="140" y="64"/>
                      <a:pt x="130" y="61"/>
                      <a:pt x="115" y="60"/>
                    </a:cubicBezTo>
                    <a:cubicBezTo>
                      <a:pt x="106" y="58"/>
                      <a:pt x="88" y="55"/>
                      <a:pt x="88" y="55"/>
                    </a:cubicBezTo>
                    <a:cubicBezTo>
                      <a:pt x="72" y="56"/>
                      <a:pt x="64" y="58"/>
                      <a:pt x="50" y="61"/>
                    </a:cubicBezTo>
                    <a:cubicBezTo>
                      <a:pt x="44" y="53"/>
                      <a:pt x="40" y="55"/>
                      <a:pt x="28" y="54"/>
                    </a:cubicBezTo>
                    <a:cubicBezTo>
                      <a:pt x="23" y="41"/>
                      <a:pt x="33" y="38"/>
                      <a:pt x="43" y="36"/>
                    </a:cubicBezTo>
                    <a:cubicBezTo>
                      <a:pt x="48" y="33"/>
                      <a:pt x="50" y="31"/>
                      <a:pt x="52" y="25"/>
                    </a:cubicBezTo>
                    <a:cubicBezTo>
                      <a:pt x="48" y="18"/>
                      <a:pt x="45" y="18"/>
                      <a:pt x="37" y="15"/>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5" name="Freeform 62">
                <a:extLst>
                  <a:ext uri="{FF2B5EF4-FFF2-40B4-BE49-F238E27FC236}">
                    <a16:creationId xmlns:a16="http://schemas.microsoft.com/office/drawing/2014/main" id="{A278A457-4338-B84E-80E3-3F8140279FD2}"/>
                  </a:ext>
                </a:extLst>
              </p:cNvPr>
              <p:cNvSpPr>
                <a:spLocks/>
              </p:cNvSpPr>
              <p:nvPr/>
            </p:nvSpPr>
            <p:spPr bwMode="auto">
              <a:xfrm>
                <a:off x="2867" y="2042"/>
                <a:ext cx="618" cy="146"/>
              </a:xfrm>
              <a:custGeom>
                <a:avLst/>
                <a:gdLst>
                  <a:gd name="T0" fmla="*/ 48 w 618"/>
                  <a:gd name="T1" fmla="*/ 138 h 146"/>
                  <a:gd name="T2" fmla="*/ 90 w 618"/>
                  <a:gd name="T3" fmla="*/ 138 h 146"/>
                  <a:gd name="T4" fmla="*/ 157 w 618"/>
                  <a:gd name="T5" fmla="*/ 138 h 146"/>
                  <a:gd name="T6" fmla="*/ 178 w 618"/>
                  <a:gd name="T7" fmla="*/ 145 h 146"/>
                  <a:gd name="T8" fmla="*/ 198 w 618"/>
                  <a:gd name="T9" fmla="*/ 141 h 146"/>
                  <a:gd name="T10" fmla="*/ 220 w 618"/>
                  <a:gd name="T11" fmla="*/ 135 h 146"/>
                  <a:gd name="T12" fmla="*/ 213 w 618"/>
                  <a:gd name="T13" fmla="*/ 124 h 146"/>
                  <a:gd name="T14" fmla="*/ 226 w 618"/>
                  <a:gd name="T15" fmla="*/ 114 h 146"/>
                  <a:gd name="T16" fmla="*/ 249 w 618"/>
                  <a:gd name="T17" fmla="*/ 111 h 146"/>
                  <a:gd name="T18" fmla="*/ 285 w 618"/>
                  <a:gd name="T19" fmla="*/ 102 h 146"/>
                  <a:gd name="T20" fmla="*/ 315 w 618"/>
                  <a:gd name="T21" fmla="*/ 96 h 146"/>
                  <a:gd name="T22" fmla="*/ 325 w 618"/>
                  <a:gd name="T23" fmla="*/ 85 h 146"/>
                  <a:gd name="T24" fmla="*/ 330 w 618"/>
                  <a:gd name="T25" fmla="*/ 73 h 146"/>
                  <a:gd name="T26" fmla="*/ 354 w 618"/>
                  <a:gd name="T27" fmla="*/ 78 h 146"/>
                  <a:gd name="T28" fmla="*/ 384 w 618"/>
                  <a:gd name="T29" fmla="*/ 72 h 146"/>
                  <a:gd name="T30" fmla="*/ 417 w 618"/>
                  <a:gd name="T31" fmla="*/ 63 h 146"/>
                  <a:gd name="T32" fmla="*/ 451 w 618"/>
                  <a:gd name="T33" fmla="*/ 51 h 146"/>
                  <a:gd name="T34" fmla="*/ 522 w 618"/>
                  <a:gd name="T35" fmla="*/ 42 h 146"/>
                  <a:gd name="T36" fmla="*/ 558 w 618"/>
                  <a:gd name="T37" fmla="*/ 34 h 146"/>
                  <a:gd name="T38" fmla="*/ 606 w 618"/>
                  <a:gd name="T39" fmla="*/ 24 h 146"/>
                  <a:gd name="T40" fmla="*/ 592 w 618"/>
                  <a:gd name="T41" fmla="*/ 9 h 146"/>
                  <a:gd name="T42" fmla="*/ 529 w 618"/>
                  <a:gd name="T43" fmla="*/ 3 h 146"/>
                  <a:gd name="T44" fmla="*/ 387 w 618"/>
                  <a:gd name="T45" fmla="*/ 7 h 146"/>
                  <a:gd name="T46" fmla="*/ 285 w 618"/>
                  <a:gd name="T47" fmla="*/ 12 h 146"/>
                  <a:gd name="T48" fmla="*/ 274 w 618"/>
                  <a:gd name="T49" fmla="*/ 22 h 146"/>
                  <a:gd name="T50" fmla="*/ 247 w 618"/>
                  <a:gd name="T51" fmla="*/ 18 h 146"/>
                  <a:gd name="T52" fmla="*/ 223 w 618"/>
                  <a:gd name="T53" fmla="*/ 19 h 146"/>
                  <a:gd name="T54" fmla="*/ 168 w 618"/>
                  <a:gd name="T55" fmla="*/ 25 h 146"/>
                  <a:gd name="T56" fmla="*/ 129 w 618"/>
                  <a:gd name="T57" fmla="*/ 27 h 146"/>
                  <a:gd name="T58" fmla="*/ 124 w 618"/>
                  <a:gd name="T59" fmla="*/ 28 h 146"/>
                  <a:gd name="T60" fmla="*/ 135 w 618"/>
                  <a:gd name="T61" fmla="*/ 31 h 146"/>
                  <a:gd name="T62" fmla="*/ 153 w 618"/>
                  <a:gd name="T63" fmla="*/ 46 h 146"/>
                  <a:gd name="T64" fmla="*/ 189 w 618"/>
                  <a:gd name="T65" fmla="*/ 51 h 146"/>
                  <a:gd name="T66" fmla="*/ 243 w 618"/>
                  <a:gd name="T67" fmla="*/ 45 h 146"/>
                  <a:gd name="T68" fmla="*/ 253 w 618"/>
                  <a:gd name="T69" fmla="*/ 49 h 146"/>
                  <a:gd name="T70" fmla="*/ 226 w 618"/>
                  <a:gd name="T71" fmla="*/ 55 h 146"/>
                  <a:gd name="T72" fmla="*/ 168 w 618"/>
                  <a:gd name="T73" fmla="*/ 58 h 146"/>
                  <a:gd name="T74" fmla="*/ 160 w 618"/>
                  <a:gd name="T75" fmla="*/ 70 h 146"/>
                  <a:gd name="T76" fmla="*/ 151 w 618"/>
                  <a:gd name="T77" fmla="*/ 61 h 146"/>
                  <a:gd name="T78" fmla="*/ 136 w 618"/>
                  <a:gd name="T79" fmla="*/ 54 h 146"/>
                  <a:gd name="T80" fmla="*/ 109 w 618"/>
                  <a:gd name="T81" fmla="*/ 48 h 146"/>
                  <a:gd name="T82" fmla="*/ 75 w 618"/>
                  <a:gd name="T83" fmla="*/ 34 h 146"/>
                  <a:gd name="T84" fmla="*/ 43 w 618"/>
                  <a:gd name="T85" fmla="*/ 40 h 146"/>
                  <a:gd name="T86" fmla="*/ 15 w 618"/>
                  <a:gd name="T87" fmla="*/ 55 h 146"/>
                  <a:gd name="T88" fmla="*/ 0 w 618"/>
                  <a:gd name="T89" fmla="*/ 61 h 146"/>
                  <a:gd name="T90" fmla="*/ 46 w 618"/>
                  <a:gd name="T91" fmla="*/ 75 h 146"/>
                  <a:gd name="T92" fmla="*/ 12 w 618"/>
                  <a:gd name="T93" fmla="*/ 82 h 146"/>
                  <a:gd name="T94" fmla="*/ 24 w 618"/>
                  <a:gd name="T95" fmla="*/ 94 h 146"/>
                  <a:gd name="T96" fmla="*/ 43 w 618"/>
                  <a:gd name="T97" fmla="*/ 102 h 146"/>
                  <a:gd name="T98" fmla="*/ 72 w 618"/>
                  <a:gd name="T99" fmla="*/ 96 h 146"/>
                  <a:gd name="T100" fmla="*/ 88 w 618"/>
                  <a:gd name="T101" fmla="*/ 91 h 146"/>
                  <a:gd name="T102" fmla="*/ 103 w 618"/>
                  <a:gd name="T103" fmla="*/ 88 h 146"/>
                  <a:gd name="T104" fmla="*/ 108 w 618"/>
                  <a:gd name="T105" fmla="*/ 87 h 146"/>
                  <a:gd name="T106" fmla="*/ 102 w 618"/>
                  <a:gd name="T107" fmla="*/ 99 h 146"/>
                  <a:gd name="T108" fmla="*/ 126 w 618"/>
                  <a:gd name="T109" fmla="*/ 106 h 146"/>
                  <a:gd name="T110" fmla="*/ 124 w 618"/>
                  <a:gd name="T111" fmla="*/ 118 h 146"/>
                  <a:gd name="T112" fmla="*/ 103 w 618"/>
                  <a:gd name="T113" fmla="*/ 111 h 146"/>
                  <a:gd name="T114" fmla="*/ 73 w 618"/>
                  <a:gd name="T115" fmla="*/ 112 h 146"/>
                  <a:gd name="T116" fmla="*/ 39 w 618"/>
                  <a:gd name="T117" fmla="*/ 127 h 146"/>
                  <a:gd name="T118" fmla="*/ 6 w 618"/>
                  <a:gd name="T119" fmla="*/ 133 h 146"/>
                  <a:gd name="T120" fmla="*/ 48 w 618"/>
                  <a:gd name="T121"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8" h="146">
                    <a:moveTo>
                      <a:pt x="48" y="138"/>
                    </a:moveTo>
                    <a:cubicBezTo>
                      <a:pt x="59" y="132"/>
                      <a:pt x="77" y="140"/>
                      <a:pt x="90" y="138"/>
                    </a:cubicBezTo>
                    <a:cubicBezTo>
                      <a:pt x="120" y="141"/>
                      <a:pt x="124" y="137"/>
                      <a:pt x="157" y="138"/>
                    </a:cubicBezTo>
                    <a:cubicBezTo>
                      <a:pt x="163" y="146"/>
                      <a:pt x="168" y="144"/>
                      <a:pt x="178" y="145"/>
                    </a:cubicBezTo>
                    <a:cubicBezTo>
                      <a:pt x="185" y="144"/>
                      <a:pt x="191" y="142"/>
                      <a:pt x="198" y="141"/>
                    </a:cubicBezTo>
                    <a:cubicBezTo>
                      <a:pt x="207" y="136"/>
                      <a:pt x="208" y="136"/>
                      <a:pt x="220" y="135"/>
                    </a:cubicBezTo>
                    <a:cubicBezTo>
                      <a:pt x="233" y="127"/>
                      <a:pt x="221" y="126"/>
                      <a:pt x="213" y="124"/>
                    </a:cubicBezTo>
                    <a:cubicBezTo>
                      <a:pt x="214" y="115"/>
                      <a:pt x="217" y="115"/>
                      <a:pt x="226" y="114"/>
                    </a:cubicBezTo>
                    <a:cubicBezTo>
                      <a:pt x="233" y="110"/>
                      <a:pt x="241" y="112"/>
                      <a:pt x="249" y="111"/>
                    </a:cubicBezTo>
                    <a:cubicBezTo>
                      <a:pt x="255" y="101"/>
                      <a:pt x="275" y="103"/>
                      <a:pt x="285" y="102"/>
                    </a:cubicBezTo>
                    <a:cubicBezTo>
                      <a:pt x="298" y="96"/>
                      <a:pt x="295" y="97"/>
                      <a:pt x="315" y="96"/>
                    </a:cubicBezTo>
                    <a:cubicBezTo>
                      <a:pt x="320" y="93"/>
                      <a:pt x="322" y="90"/>
                      <a:pt x="325" y="85"/>
                    </a:cubicBezTo>
                    <a:cubicBezTo>
                      <a:pt x="320" y="78"/>
                      <a:pt x="323" y="75"/>
                      <a:pt x="330" y="73"/>
                    </a:cubicBezTo>
                    <a:cubicBezTo>
                      <a:pt x="338" y="75"/>
                      <a:pt x="346" y="75"/>
                      <a:pt x="354" y="78"/>
                    </a:cubicBezTo>
                    <a:cubicBezTo>
                      <a:pt x="368" y="73"/>
                      <a:pt x="362" y="73"/>
                      <a:pt x="384" y="72"/>
                    </a:cubicBezTo>
                    <a:cubicBezTo>
                      <a:pt x="394" y="67"/>
                      <a:pt x="406" y="65"/>
                      <a:pt x="417" y="63"/>
                    </a:cubicBezTo>
                    <a:cubicBezTo>
                      <a:pt x="430" y="56"/>
                      <a:pt x="434" y="52"/>
                      <a:pt x="451" y="51"/>
                    </a:cubicBezTo>
                    <a:cubicBezTo>
                      <a:pt x="472" y="39"/>
                      <a:pt x="499" y="43"/>
                      <a:pt x="522" y="42"/>
                    </a:cubicBezTo>
                    <a:cubicBezTo>
                      <a:pt x="534" y="36"/>
                      <a:pt x="544" y="35"/>
                      <a:pt x="558" y="34"/>
                    </a:cubicBezTo>
                    <a:cubicBezTo>
                      <a:pt x="569" y="26"/>
                      <a:pt x="592" y="25"/>
                      <a:pt x="606" y="24"/>
                    </a:cubicBezTo>
                    <a:cubicBezTo>
                      <a:pt x="618" y="18"/>
                      <a:pt x="597" y="10"/>
                      <a:pt x="592" y="9"/>
                    </a:cubicBezTo>
                    <a:cubicBezTo>
                      <a:pt x="574" y="0"/>
                      <a:pt x="546" y="3"/>
                      <a:pt x="529" y="3"/>
                    </a:cubicBezTo>
                    <a:cubicBezTo>
                      <a:pt x="483" y="11"/>
                      <a:pt x="434" y="5"/>
                      <a:pt x="387" y="7"/>
                    </a:cubicBezTo>
                    <a:cubicBezTo>
                      <a:pt x="356" y="9"/>
                      <a:pt x="309" y="0"/>
                      <a:pt x="285" y="12"/>
                    </a:cubicBezTo>
                    <a:cubicBezTo>
                      <a:pt x="282" y="17"/>
                      <a:pt x="279" y="19"/>
                      <a:pt x="274" y="22"/>
                    </a:cubicBezTo>
                    <a:cubicBezTo>
                      <a:pt x="265" y="21"/>
                      <a:pt x="256" y="19"/>
                      <a:pt x="247" y="18"/>
                    </a:cubicBezTo>
                    <a:cubicBezTo>
                      <a:pt x="239" y="14"/>
                      <a:pt x="231" y="17"/>
                      <a:pt x="223" y="19"/>
                    </a:cubicBezTo>
                    <a:cubicBezTo>
                      <a:pt x="205" y="28"/>
                      <a:pt x="189" y="24"/>
                      <a:pt x="168" y="25"/>
                    </a:cubicBezTo>
                    <a:cubicBezTo>
                      <a:pt x="155" y="26"/>
                      <a:pt x="142" y="26"/>
                      <a:pt x="129" y="27"/>
                    </a:cubicBezTo>
                    <a:cubicBezTo>
                      <a:pt x="127" y="27"/>
                      <a:pt x="124" y="26"/>
                      <a:pt x="124" y="28"/>
                    </a:cubicBezTo>
                    <a:cubicBezTo>
                      <a:pt x="124" y="32"/>
                      <a:pt x="131" y="30"/>
                      <a:pt x="135" y="31"/>
                    </a:cubicBezTo>
                    <a:cubicBezTo>
                      <a:pt x="144" y="38"/>
                      <a:pt x="140" y="44"/>
                      <a:pt x="153" y="46"/>
                    </a:cubicBezTo>
                    <a:cubicBezTo>
                      <a:pt x="164" y="52"/>
                      <a:pt x="177" y="50"/>
                      <a:pt x="189" y="51"/>
                    </a:cubicBezTo>
                    <a:cubicBezTo>
                      <a:pt x="209" y="50"/>
                      <a:pt x="224" y="47"/>
                      <a:pt x="243" y="45"/>
                    </a:cubicBezTo>
                    <a:cubicBezTo>
                      <a:pt x="253" y="47"/>
                      <a:pt x="275" y="45"/>
                      <a:pt x="253" y="49"/>
                    </a:cubicBezTo>
                    <a:cubicBezTo>
                      <a:pt x="245" y="53"/>
                      <a:pt x="235" y="53"/>
                      <a:pt x="226" y="55"/>
                    </a:cubicBezTo>
                    <a:cubicBezTo>
                      <a:pt x="205" y="66"/>
                      <a:pt x="239" y="49"/>
                      <a:pt x="168" y="58"/>
                    </a:cubicBezTo>
                    <a:cubicBezTo>
                      <a:pt x="165" y="58"/>
                      <a:pt x="167" y="69"/>
                      <a:pt x="160" y="70"/>
                    </a:cubicBezTo>
                    <a:cubicBezTo>
                      <a:pt x="143" y="69"/>
                      <a:pt x="139" y="70"/>
                      <a:pt x="151" y="61"/>
                    </a:cubicBezTo>
                    <a:cubicBezTo>
                      <a:pt x="147" y="55"/>
                      <a:pt x="143" y="55"/>
                      <a:pt x="136" y="54"/>
                    </a:cubicBezTo>
                    <a:cubicBezTo>
                      <a:pt x="128" y="50"/>
                      <a:pt x="109" y="48"/>
                      <a:pt x="109" y="48"/>
                    </a:cubicBezTo>
                    <a:cubicBezTo>
                      <a:pt x="106" y="32"/>
                      <a:pt x="90" y="35"/>
                      <a:pt x="75" y="34"/>
                    </a:cubicBezTo>
                    <a:cubicBezTo>
                      <a:pt x="64" y="36"/>
                      <a:pt x="54" y="38"/>
                      <a:pt x="43" y="40"/>
                    </a:cubicBezTo>
                    <a:cubicBezTo>
                      <a:pt x="35" y="46"/>
                      <a:pt x="25" y="53"/>
                      <a:pt x="15" y="55"/>
                    </a:cubicBezTo>
                    <a:cubicBezTo>
                      <a:pt x="9" y="57"/>
                      <a:pt x="5" y="57"/>
                      <a:pt x="0" y="61"/>
                    </a:cubicBezTo>
                    <a:cubicBezTo>
                      <a:pt x="5" y="86"/>
                      <a:pt x="4" y="73"/>
                      <a:pt x="46" y="75"/>
                    </a:cubicBezTo>
                    <a:cubicBezTo>
                      <a:pt x="36" y="82"/>
                      <a:pt x="23" y="80"/>
                      <a:pt x="12" y="82"/>
                    </a:cubicBezTo>
                    <a:cubicBezTo>
                      <a:pt x="8" y="92"/>
                      <a:pt x="16" y="92"/>
                      <a:pt x="24" y="94"/>
                    </a:cubicBezTo>
                    <a:cubicBezTo>
                      <a:pt x="30" y="97"/>
                      <a:pt x="43" y="102"/>
                      <a:pt x="43" y="102"/>
                    </a:cubicBezTo>
                    <a:cubicBezTo>
                      <a:pt x="57" y="97"/>
                      <a:pt x="50" y="97"/>
                      <a:pt x="72" y="96"/>
                    </a:cubicBezTo>
                    <a:cubicBezTo>
                      <a:pt x="77" y="94"/>
                      <a:pt x="83" y="92"/>
                      <a:pt x="88" y="91"/>
                    </a:cubicBezTo>
                    <a:cubicBezTo>
                      <a:pt x="93" y="90"/>
                      <a:pt x="98" y="89"/>
                      <a:pt x="103" y="88"/>
                    </a:cubicBezTo>
                    <a:cubicBezTo>
                      <a:pt x="105" y="88"/>
                      <a:pt x="108" y="87"/>
                      <a:pt x="108" y="87"/>
                    </a:cubicBezTo>
                    <a:cubicBezTo>
                      <a:pt x="122" y="89"/>
                      <a:pt x="107" y="95"/>
                      <a:pt x="102" y="99"/>
                    </a:cubicBezTo>
                    <a:cubicBezTo>
                      <a:pt x="108" y="104"/>
                      <a:pt x="118" y="105"/>
                      <a:pt x="126" y="106"/>
                    </a:cubicBezTo>
                    <a:cubicBezTo>
                      <a:pt x="134" y="110"/>
                      <a:pt x="133" y="116"/>
                      <a:pt x="124" y="118"/>
                    </a:cubicBezTo>
                    <a:cubicBezTo>
                      <a:pt x="113" y="117"/>
                      <a:pt x="112" y="113"/>
                      <a:pt x="103" y="111"/>
                    </a:cubicBezTo>
                    <a:cubicBezTo>
                      <a:pt x="94" y="106"/>
                      <a:pt x="83" y="110"/>
                      <a:pt x="73" y="112"/>
                    </a:cubicBezTo>
                    <a:cubicBezTo>
                      <a:pt x="80" y="129"/>
                      <a:pt x="45" y="127"/>
                      <a:pt x="39" y="127"/>
                    </a:cubicBezTo>
                    <a:cubicBezTo>
                      <a:pt x="28" y="131"/>
                      <a:pt x="17" y="132"/>
                      <a:pt x="6" y="133"/>
                    </a:cubicBezTo>
                    <a:cubicBezTo>
                      <a:pt x="17" y="138"/>
                      <a:pt x="69" y="143"/>
                      <a:pt x="48" y="138"/>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16" name="Freeform 63">
                <a:extLst>
                  <a:ext uri="{FF2B5EF4-FFF2-40B4-BE49-F238E27FC236}">
                    <a16:creationId xmlns:a16="http://schemas.microsoft.com/office/drawing/2014/main" id="{B14AC474-5D00-7443-864F-CF4CCF602C44}"/>
                  </a:ext>
                </a:extLst>
              </p:cNvPr>
              <p:cNvSpPr>
                <a:spLocks/>
              </p:cNvSpPr>
              <p:nvPr/>
            </p:nvSpPr>
            <p:spPr bwMode="auto">
              <a:xfrm>
                <a:off x="2879" y="2151"/>
                <a:ext cx="29" cy="15"/>
              </a:xfrm>
              <a:custGeom>
                <a:avLst/>
                <a:gdLst>
                  <a:gd name="T0" fmla="*/ 3 w 29"/>
                  <a:gd name="T1" fmla="*/ 8 h 15"/>
                  <a:gd name="T2" fmla="*/ 13 w 29"/>
                  <a:gd name="T3" fmla="*/ 0 h 15"/>
                  <a:gd name="T4" fmla="*/ 10 w 29"/>
                  <a:gd name="T5" fmla="*/ 15 h 15"/>
                  <a:gd name="T6" fmla="*/ 0 w 29"/>
                  <a:gd name="T7" fmla="*/ 12 h 15"/>
                  <a:gd name="T8" fmla="*/ 3 w 29"/>
                  <a:gd name="T9" fmla="*/ 8 h 15"/>
                </a:gdLst>
                <a:ahLst/>
                <a:cxnLst>
                  <a:cxn ang="0">
                    <a:pos x="T0" y="T1"/>
                  </a:cxn>
                  <a:cxn ang="0">
                    <a:pos x="T2" y="T3"/>
                  </a:cxn>
                  <a:cxn ang="0">
                    <a:pos x="T4" y="T5"/>
                  </a:cxn>
                  <a:cxn ang="0">
                    <a:pos x="T6" y="T7"/>
                  </a:cxn>
                  <a:cxn ang="0">
                    <a:pos x="T8" y="T9"/>
                  </a:cxn>
                </a:cxnLst>
                <a:rect l="0" t="0" r="r" b="b"/>
                <a:pathLst>
                  <a:path w="29" h="15">
                    <a:moveTo>
                      <a:pt x="3" y="8"/>
                    </a:moveTo>
                    <a:cubicBezTo>
                      <a:pt x="4" y="1"/>
                      <a:pt x="7" y="3"/>
                      <a:pt x="13" y="0"/>
                    </a:cubicBezTo>
                    <a:cubicBezTo>
                      <a:pt x="29" y="4"/>
                      <a:pt x="23" y="13"/>
                      <a:pt x="10" y="15"/>
                    </a:cubicBezTo>
                    <a:cubicBezTo>
                      <a:pt x="10" y="15"/>
                      <a:pt x="0" y="14"/>
                      <a:pt x="0" y="12"/>
                    </a:cubicBezTo>
                    <a:cubicBezTo>
                      <a:pt x="0" y="10"/>
                      <a:pt x="3" y="8"/>
                      <a:pt x="3" y="8"/>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grpSp>
        <p:sp>
          <p:nvSpPr>
            <p:cNvPr id="31" name="Freeform 64">
              <a:extLst>
                <a:ext uri="{FF2B5EF4-FFF2-40B4-BE49-F238E27FC236}">
                  <a16:creationId xmlns:a16="http://schemas.microsoft.com/office/drawing/2014/main" id="{7B8B7980-5959-9340-92AC-DEAEEF5E84B4}"/>
                </a:ext>
              </a:extLst>
            </p:cNvPr>
            <p:cNvSpPr>
              <a:spLocks/>
            </p:cNvSpPr>
            <p:nvPr/>
          </p:nvSpPr>
          <p:spPr bwMode="auto">
            <a:xfrm>
              <a:off x="3702" y="2250"/>
              <a:ext cx="29" cy="29"/>
            </a:xfrm>
            <a:custGeom>
              <a:avLst/>
              <a:gdLst>
                <a:gd name="T0" fmla="*/ 35 w 44"/>
                <a:gd name="T1" fmla="*/ 6 h 45"/>
                <a:gd name="T2" fmla="*/ 17 w 44"/>
                <a:gd name="T3" fmla="*/ 0 h 45"/>
                <a:gd name="T4" fmla="*/ 2 w 44"/>
                <a:gd name="T5" fmla="*/ 7 h 45"/>
                <a:gd name="T6" fmla="*/ 0 w 44"/>
                <a:gd name="T7" fmla="*/ 28 h 45"/>
                <a:gd name="T8" fmla="*/ 20 w 44"/>
                <a:gd name="T9" fmla="*/ 30 h 45"/>
                <a:gd name="T10" fmla="*/ 23 w 44"/>
                <a:gd name="T11" fmla="*/ 45 h 45"/>
                <a:gd name="T12" fmla="*/ 44 w 44"/>
                <a:gd name="T13" fmla="*/ 45 h 45"/>
                <a:gd name="T14" fmla="*/ 39 w 44"/>
                <a:gd name="T15" fmla="*/ 28 h 45"/>
                <a:gd name="T16" fmla="*/ 30 w 44"/>
                <a:gd name="T17" fmla="*/ 18 h 45"/>
                <a:gd name="T18" fmla="*/ 35 w 44"/>
                <a:gd name="T19"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35" y="6"/>
                  </a:moveTo>
                  <a:lnTo>
                    <a:pt x="17" y="0"/>
                  </a:lnTo>
                  <a:lnTo>
                    <a:pt x="2" y="7"/>
                  </a:lnTo>
                  <a:lnTo>
                    <a:pt x="0" y="28"/>
                  </a:lnTo>
                  <a:lnTo>
                    <a:pt x="20" y="30"/>
                  </a:lnTo>
                  <a:lnTo>
                    <a:pt x="23" y="45"/>
                  </a:lnTo>
                  <a:lnTo>
                    <a:pt x="44" y="45"/>
                  </a:lnTo>
                  <a:lnTo>
                    <a:pt x="39" y="28"/>
                  </a:lnTo>
                  <a:lnTo>
                    <a:pt x="30" y="18"/>
                  </a:lnTo>
                  <a:lnTo>
                    <a:pt x="35" y="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2" name="Freeform 65">
              <a:extLst>
                <a:ext uri="{FF2B5EF4-FFF2-40B4-BE49-F238E27FC236}">
                  <a16:creationId xmlns:a16="http://schemas.microsoft.com/office/drawing/2014/main" id="{3AFDDB6B-71DF-D848-9CC3-2CB8B85AC3BA}"/>
                </a:ext>
              </a:extLst>
            </p:cNvPr>
            <p:cNvSpPr>
              <a:spLocks/>
            </p:cNvSpPr>
            <p:nvPr/>
          </p:nvSpPr>
          <p:spPr bwMode="auto">
            <a:xfrm>
              <a:off x="4644" y="2706"/>
              <a:ext cx="84" cy="122"/>
            </a:xfrm>
            <a:custGeom>
              <a:avLst/>
              <a:gdLst>
                <a:gd name="T0" fmla="*/ 57 w 127"/>
                <a:gd name="T1" fmla="*/ 15 h 185"/>
                <a:gd name="T2" fmla="*/ 51 w 127"/>
                <a:gd name="T3" fmla="*/ 32 h 185"/>
                <a:gd name="T4" fmla="*/ 36 w 127"/>
                <a:gd name="T5" fmla="*/ 26 h 185"/>
                <a:gd name="T6" fmla="*/ 30 w 127"/>
                <a:gd name="T7" fmla="*/ 36 h 185"/>
                <a:gd name="T8" fmla="*/ 28 w 127"/>
                <a:gd name="T9" fmla="*/ 15 h 185"/>
                <a:gd name="T10" fmla="*/ 9 w 127"/>
                <a:gd name="T11" fmla="*/ 0 h 185"/>
                <a:gd name="T12" fmla="*/ 0 w 127"/>
                <a:gd name="T13" fmla="*/ 5 h 185"/>
                <a:gd name="T14" fmla="*/ 9 w 127"/>
                <a:gd name="T15" fmla="*/ 23 h 185"/>
                <a:gd name="T16" fmla="*/ 1 w 127"/>
                <a:gd name="T17" fmla="*/ 42 h 185"/>
                <a:gd name="T18" fmla="*/ 12 w 127"/>
                <a:gd name="T19" fmla="*/ 51 h 185"/>
                <a:gd name="T20" fmla="*/ 27 w 127"/>
                <a:gd name="T21" fmla="*/ 89 h 185"/>
                <a:gd name="T22" fmla="*/ 34 w 127"/>
                <a:gd name="T23" fmla="*/ 101 h 185"/>
                <a:gd name="T24" fmla="*/ 40 w 127"/>
                <a:gd name="T25" fmla="*/ 116 h 185"/>
                <a:gd name="T26" fmla="*/ 63 w 127"/>
                <a:gd name="T27" fmla="*/ 138 h 185"/>
                <a:gd name="T28" fmla="*/ 76 w 127"/>
                <a:gd name="T29" fmla="*/ 150 h 185"/>
                <a:gd name="T30" fmla="*/ 97 w 127"/>
                <a:gd name="T31" fmla="*/ 165 h 185"/>
                <a:gd name="T32" fmla="*/ 121 w 127"/>
                <a:gd name="T33" fmla="*/ 185 h 185"/>
                <a:gd name="T34" fmla="*/ 115 w 127"/>
                <a:gd name="T35" fmla="*/ 165 h 185"/>
                <a:gd name="T36" fmla="*/ 109 w 127"/>
                <a:gd name="T37" fmla="*/ 134 h 185"/>
                <a:gd name="T38" fmla="*/ 100 w 127"/>
                <a:gd name="T39" fmla="*/ 123 h 185"/>
                <a:gd name="T40" fmla="*/ 97 w 127"/>
                <a:gd name="T41" fmla="*/ 101 h 185"/>
                <a:gd name="T42" fmla="*/ 96 w 127"/>
                <a:gd name="T43" fmla="*/ 60 h 185"/>
                <a:gd name="T44" fmla="*/ 57 w 127"/>
                <a:gd name="T45" fmla="*/ 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185">
                  <a:moveTo>
                    <a:pt x="57" y="15"/>
                  </a:moveTo>
                  <a:lnTo>
                    <a:pt x="51" y="32"/>
                  </a:lnTo>
                  <a:lnTo>
                    <a:pt x="36" y="26"/>
                  </a:lnTo>
                  <a:lnTo>
                    <a:pt x="30" y="36"/>
                  </a:lnTo>
                  <a:lnTo>
                    <a:pt x="28" y="15"/>
                  </a:lnTo>
                  <a:lnTo>
                    <a:pt x="9" y="0"/>
                  </a:lnTo>
                  <a:lnTo>
                    <a:pt x="0" y="5"/>
                  </a:lnTo>
                  <a:cubicBezTo>
                    <a:pt x="3" y="13"/>
                    <a:pt x="5" y="16"/>
                    <a:pt x="9" y="23"/>
                  </a:cubicBezTo>
                  <a:cubicBezTo>
                    <a:pt x="7" y="32"/>
                    <a:pt x="5" y="34"/>
                    <a:pt x="1" y="42"/>
                  </a:cubicBezTo>
                  <a:cubicBezTo>
                    <a:pt x="7" y="44"/>
                    <a:pt x="9" y="46"/>
                    <a:pt x="12" y="51"/>
                  </a:cubicBezTo>
                  <a:cubicBezTo>
                    <a:pt x="13" y="63"/>
                    <a:pt x="20" y="78"/>
                    <a:pt x="27" y="89"/>
                  </a:cubicBezTo>
                  <a:cubicBezTo>
                    <a:pt x="28" y="96"/>
                    <a:pt x="28" y="98"/>
                    <a:pt x="34" y="101"/>
                  </a:cubicBezTo>
                  <a:cubicBezTo>
                    <a:pt x="38" y="106"/>
                    <a:pt x="38" y="110"/>
                    <a:pt x="40" y="116"/>
                  </a:cubicBezTo>
                  <a:cubicBezTo>
                    <a:pt x="44" y="126"/>
                    <a:pt x="54" y="133"/>
                    <a:pt x="63" y="138"/>
                  </a:cubicBezTo>
                  <a:cubicBezTo>
                    <a:pt x="67" y="143"/>
                    <a:pt x="76" y="150"/>
                    <a:pt x="76" y="150"/>
                  </a:cubicBezTo>
                  <a:cubicBezTo>
                    <a:pt x="80" y="157"/>
                    <a:pt x="90" y="160"/>
                    <a:pt x="97" y="165"/>
                  </a:cubicBezTo>
                  <a:cubicBezTo>
                    <a:pt x="103" y="175"/>
                    <a:pt x="112" y="178"/>
                    <a:pt x="121" y="185"/>
                  </a:cubicBezTo>
                  <a:cubicBezTo>
                    <a:pt x="127" y="174"/>
                    <a:pt x="126" y="171"/>
                    <a:pt x="115" y="165"/>
                  </a:cubicBezTo>
                  <a:cubicBezTo>
                    <a:pt x="113" y="154"/>
                    <a:pt x="116" y="143"/>
                    <a:pt x="109" y="134"/>
                  </a:cubicBezTo>
                  <a:cubicBezTo>
                    <a:pt x="108" y="127"/>
                    <a:pt x="106" y="126"/>
                    <a:pt x="100" y="123"/>
                  </a:cubicBezTo>
                  <a:cubicBezTo>
                    <a:pt x="94" y="115"/>
                    <a:pt x="96" y="111"/>
                    <a:pt x="97" y="101"/>
                  </a:cubicBezTo>
                  <a:cubicBezTo>
                    <a:pt x="97" y="87"/>
                    <a:pt x="97" y="74"/>
                    <a:pt x="96" y="60"/>
                  </a:cubicBezTo>
                  <a:cubicBezTo>
                    <a:pt x="95" y="39"/>
                    <a:pt x="72" y="25"/>
                    <a:pt x="57" y="15"/>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3" name="Freeform 66">
              <a:extLst>
                <a:ext uri="{FF2B5EF4-FFF2-40B4-BE49-F238E27FC236}">
                  <a16:creationId xmlns:a16="http://schemas.microsoft.com/office/drawing/2014/main" id="{03ABAB61-4BDB-8F4E-8198-F22C64B1F66D}"/>
                </a:ext>
              </a:extLst>
            </p:cNvPr>
            <p:cNvSpPr>
              <a:spLocks/>
            </p:cNvSpPr>
            <p:nvPr/>
          </p:nvSpPr>
          <p:spPr bwMode="auto">
            <a:xfrm>
              <a:off x="3936" y="2106"/>
              <a:ext cx="260" cy="273"/>
            </a:xfrm>
            <a:custGeom>
              <a:avLst/>
              <a:gdLst>
                <a:gd name="T0" fmla="*/ 339 w 393"/>
                <a:gd name="T1" fmla="*/ 21 h 412"/>
                <a:gd name="T2" fmla="*/ 370 w 393"/>
                <a:gd name="T3" fmla="*/ 54 h 412"/>
                <a:gd name="T4" fmla="*/ 369 w 393"/>
                <a:gd name="T5" fmla="*/ 76 h 412"/>
                <a:gd name="T6" fmla="*/ 303 w 393"/>
                <a:gd name="T7" fmla="*/ 78 h 412"/>
                <a:gd name="T8" fmla="*/ 319 w 393"/>
                <a:gd name="T9" fmla="*/ 130 h 412"/>
                <a:gd name="T10" fmla="*/ 333 w 393"/>
                <a:gd name="T11" fmla="*/ 163 h 412"/>
                <a:gd name="T12" fmla="*/ 325 w 393"/>
                <a:gd name="T13" fmla="*/ 216 h 412"/>
                <a:gd name="T14" fmla="*/ 292 w 393"/>
                <a:gd name="T15" fmla="*/ 262 h 412"/>
                <a:gd name="T16" fmla="*/ 259 w 393"/>
                <a:gd name="T17" fmla="*/ 288 h 412"/>
                <a:gd name="T18" fmla="*/ 238 w 393"/>
                <a:gd name="T19" fmla="*/ 289 h 412"/>
                <a:gd name="T20" fmla="*/ 247 w 393"/>
                <a:gd name="T21" fmla="*/ 324 h 412"/>
                <a:gd name="T22" fmla="*/ 279 w 393"/>
                <a:gd name="T23" fmla="*/ 382 h 412"/>
                <a:gd name="T24" fmla="*/ 225 w 393"/>
                <a:gd name="T25" fmla="*/ 390 h 412"/>
                <a:gd name="T26" fmla="*/ 184 w 393"/>
                <a:gd name="T27" fmla="*/ 381 h 412"/>
                <a:gd name="T28" fmla="*/ 139 w 393"/>
                <a:gd name="T29" fmla="*/ 349 h 412"/>
                <a:gd name="T30" fmla="*/ 85 w 393"/>
                <a:gd name="T31" fmla="*/ 357 h 412"/>
                <a:gd name="T32" fmla="*/ 34 w 393"/>
                <a:gd name="T33" fmla="*/ 360 h 412"/>
                <a:gd name="T34" fmla="*/ 57 w 393"/>
                <a:gd name="T35" fmla="*/ 315 h 412"/>
                <a:gd name="T36" fmla="*/ 70 w 393"/>
                <a:gd name="T37" fmla="*/ 297 h 412"/>
                <a:gd name="T38" fmla="*/ 55 w 393"/>
                <a:gd name="T39" fmla="*/ 279 h 412"/>
                <a:gd name="T40" fmla="*/ 27 w 393"/>
                <a:gd name="T41" fmla="*/ 261 h 412"/>
                <a:gd name="T42" fmla="*/ 19 w 393"/>
                <a:gd name="T43" fmla="*/ 226 h 412"/>
                <a:gd name="T44" fmla="*/ 96 w 393"/>
                <a:gd name="T45" fmla="*/ 232 h 412"/>
                <a:gd name="T46" fmla="*/ 132 w 393"/>
                <a:gd name="T47" fmla="*/ 190 h 412"/>
                <a:gd name="T48" fmla="*/ 162 w 393"/>
                <a:gd name="T49" fmla="*/ 180 h 412"/>
                <a:gd name="T50" fmla="*/ 196 w 393"/>
                <a:gd name="T51" fmla="*/ 171 h 412"/>
                <a:gd name="T52" fmla="*/ 199 w 393"/>
                <a:gd name="T53" fmla="*/ 132 h 412"/>
                <a:gd name="T54" fmla="*/ 202 w 393"/>
                <a:gd name="T55" fmla="*/ 99 h 412"/>
                <a:gd name="T56" fmla="*/ 234 w 393"/>
                <a:gd name="T57" fmla="*/ 90 h 412"/>
                <a:gd name="T58" fmla="*/ 240 w 393"/>
                <a:gd name="T59" fmla="*/ 69 h 412"/>
                <a:gd name="T60" fmla="*/ 225 w 393"/>
                <a:gd name="T61" fmla="*/ 36 h 412"/>
                <a:gd name="T62" fmla="*/ 291 w 393"/>
                <a:gd name="T63" fmla="*/ 18 h 412"/>
                <a:gd name="T64" fmla="*/ 310 w 393"/>
                <a:gd name="T6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412">
                  <a:moveTo>
                    <a:pt x="310" y="0"/>
                  </a:moveTo>
                  <a:lnTo>
                    <a:pt x="339" y="21"/>
                  </a:lnTo>
                  <a:lnTo>
                    <a:pt x="339" y="39"/>
                  </a:lnTo>
                  <a:lnTo>
                    <a:pt x="370" y="54"/>
                  </a:lnTo>
                  <a:lnTo>
                    <a:pt x="393" y="52"/>
                  </a:lnTo>
                  <a:lnTo>
                    <a:pt x="369" y="76"/>
                  </a:lnTo>
                  <a:lnTo>
                    <a:pt x="346" y="85"/>
                  </a:lnTo>
                  <a:lnTo>
                    <a:pt x="303" y="78"/>
                  </a:lnTo>
                  <a:lnTo>
                    <a:pt x="298" y="94"/>
                  </a:lnTo>
                  <a:lnTo>
                    <a:pt x="319" y="130"/>
                  </a:lnTo>
                  <a:lnTo>
                    <a:pt x="354" y="156"/>
                  </a:lnTo>
                  <a:lnTo>
                    <a:pt x="333" y="163"/>
                  </a:lnTo>
                  <a:lnTo>
                    <a:pt x="334" y="193"/>
                  </a:lnTo>
                  <a:lnTo>
                    <a:pt x="325" y="216"/>
                  </a:lnTo>
                  <a:lnTo>
                    <a:pt x="307" y="247"/>
                  </a:lnTo>
                  <a:lnTo>
                    <a:pt x="292" y="262"/>
                  </a:lnTo>
                  <a:lnTo>
                    <a:pt x="282" y="283"/>
                  </a:lnTo>
                  <a:lnTo>
                    <a:pt x="259" y="288"/>
                  </a:lnTo>
                  <a:lnTo>
                    <a:pt x="250" y="274"/>
                  </a:lnTo>
                  <a:lnTo>
                    <a:pt x="238" y="289"/>
                  </a:lnTo>
                  <a:lnTo>
                    <a:pt x="228" y="309"/>
                  </a:lnTo>
                  <a:lnTo>
                    <a:pt x="247" y="324"/>
                  </a:lnTo>
                  <a:lnTo>
                    <a:pt x="262" y="352"/>
                  </a:lnTo>
                  <a:lnTo>
                    <a:pt x="279" y="382"/>
                  </a:lnTo>
                  <a:lnTo>
                    <a:pt x="264" y="391"/>
                  </a:lnTo>
                  <a:lnTo>
                    <a:pt x="225" y="390"/>
                  </a:lnTo>
                  <a:lnTo>
                    <a:pt x="207" y="412"/>
                  </a:lnTo>
                  <a:lnTo>
                    <a:pt x="184" y="381"/>
                  </a:lnTo>
                  <a:lnTo>
                    <a:pt x="166" y="355"/>
                  </a:lnTo>
                  <a:lnTo>
                    <a:pt x="139" y="349"/>
                  </a:lnTo>
                  <a:lnTo>
                    <a:pt x="112" y="360"/>
                  </a:lnTo>
                  <a:lnTo>
                    <a:pt x="85" y="357"/>
                  </a:lnTo>
                  <a:lnTo>
                    <a:pt x="63" y="360"/>
                  </a:lnTo>
                  <a:lnTo>
                    <a:pt x="34" y="360"/>
                  </a:lnTo>
                  <a:lnTo>
                    <a:pt x="40" y="328"/>
                  </a:lnTo>
                  <a:lnTo>
                    <a:pt x="57" y="315"/>
                  </a:lnTo>
                  <a:lnTo>
                    <a:pt x="75" y="310"/>
                  </a:lnTo>
                  <a:lnTo>
                    <a:pt x="70" y="297"/>
                  </a:lnTo>
                  <a:lnTo>
                    <a:pt x="60" y="298"/>
                  </a:lnTo>
                  <a:lnTo>
                    <a:pt x="55" y="279"/>
                  </a:lnTo>
                  <a:lnTo>
                    <a:pt x="48" y="262"/>
                  </a:lnTo>
                  <a:lnTo>
                    <a:pt x="27" y="261"/>
                  </a:lnTo>
                  <a:lnTo>
                    <a:pt x="0" y="226"/>
                  </a:lnTo>
                  <a:lnTo>
                    <a:pt x="19" y="226"/>
                  </a:lnTo>
                  <a:lnTo>
                    <a:pt x="58" y="237"/>
                  </a:lnTo>
                  <a:lnTo>
                    <a:pt x="96" y="232"/>
                  </a:lnTo>
                  <a:lnTo>
                    <a:pt x="135" y="220"/>
                  </a:lnTo>
                  <a:lnTo>
                    <a:pt x="132" y="190"/>
                  </a:lnTo>
                  <a:lnTo>
                    <a:pt x="145" y="178"/>
                  </a:lnTo>
                  <a:lnTo>
                    <a:pt x="162" y="180"/>
                  </a:lnTo>
                  <a:lnTo>
                    <a:pt x="183" y="163"/>
                  </a:lnTo>
                  <a:lnTo>
                    <a:pt x="196" y="171"/>
                  </a:lnTo>
                  <a:lnTo>
                    <a:pt x="204" y="162"/>
                  </a:lnTo>
                  <a:lnTo>
                    <a:pt x="199" y="132"/>
                  </a:lnTo>
                  <a:lnTo>
                    <a:pt x="222" y="118"/>
                  </a:lnTo>
                  <a:lnTo>
                    <a:pt x="202" y="99"/>
                  </a:lnTo>
                  <a:lnTo>
                    <a:pt x="226" y="100"/>
                  </a:lnTo>
                  <a:lnTo>
                    <a:pt x="234" y="90"/>
                  </a:lnTo>
                  <a:lnTo>
                    <a:pt x="228" y="81"/>
                  </a:lnTo>
                  <a:lnTo>
                    <a:pt x="240" y="69"/>
                  </a:lnTo>
                  <a:lnTo>
                    <a:pt x="237" y="49"/>
                  </a:lnTo>
                  <a:lnTo>
                    <a:pt x="225" y="36"/>
                  </a:lnTo>
                  <a:lnTo>
                    <a:pt x="253" y="18"/>
                  </a:lnTo>
                  <a:lnTo>
                    <a:pt x="291" y="18"/>
                  </a:lnTo>
                  <a:lnTo>
                    <a:pt x="300" y="10"/>
                  </a:lnTo>
                  <a:lnTo>
                    <a:pt x="310" y="0"/>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4" name="Freeform 67">
              <a:extLst>
                <a:ext uri="{FF2B5EF4-FFF2-40B4-BE49-F238E27FC236}">
                  <a16:creationId xmlns:a16="http://schemas.microsoft.com/office/drawing/2014/main" id="{C13FE2F0-CC12-1D41-94E3-37CC10F7A852}"/>
                </a:ext>
              </a:extLst>
            </p:cNvPr>
            <p:cNvSpPr>
              <a:spLocks/>
            </p:cNvSpPr>
            <p:nvPr/>
          </p:nvSpPr>
          <p:spPr bwMode="auto">
            <a:xfrm>
              <a:off x="3795" y="2327"/>
              <a:ext cx="77" cy="66"/>
            </a:xfrm>
            <a:custGeom>
              <a:avLst/>
              <a:gdLst>
                <a:gd name="T0" fmla="*/ 89 w 116"/>
                <a:gd name="T1" fmla="*/ 99 h 99"/>
                <a:gd name="T2" fmla="*/ 21 w 116"/>
                <a:gd name="T3" fmla="*/ 96 h 99"/>
                <a:gd name="T4" fmla="*/ 0 w 116"/>
                <a:gd name="T5" fmla="*/ 61 h 99"/>
                <a:gd name="T6" fmla="*/ 18 w 116"/>
                <a:gd name="T7" fmla="*/ 57 h 99"/>
                <a:gd name="T8" fmla="*/ 60 w 116"/>
                <a:gd name="T9" fmla="*/ 60 h 99"/>
                <a:gd name="T10" fmla="*/ 72 w 116"/>
                <a:gd name="T11" fmla="*/ 39 h 99"/>
                <a:gd name="T12" fmla="*/ 83 w 116"/>
                <a:gd name="T13" fmla="*/ 22 h 99"/>
                <a:gd name="T14" fmla="*/ 108 w 116"/>
                <a:gd name="T15" fmla="*/ 0 h 99"/>
                <a:gd name="T16" fmla="*/ 116 w 116"/>
                <a:gd name="T17" fmla="*/ 30 h 99"/>
                <a:gd name="T18" fmla="*/ 105 w 116"/>
                <a:gd name="T19" fmla="*/ 39 h 99"/>
                <a:gd name="T20" fmla="*/ 104 w 116"/>
                <a:gd name="T21" fmla="*/ 57 h 99"/>
                <a:gd name="T22" fmla="*/ 96 w 116"/>
                <a:gd name="T23" fmla="*/ 72 h 99"/>
                <a:gd name="T24" fmla="*/ 89 w 116"/>
                <a:gd name="T2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99">
                  <a:moveTo>
                    <a:pt x="89" y="99"/>
                  </a:moveTo>
                  <a:lnTo>
                    <a:pt x="21" y="96"/>
                  </a:lnTo>
                  <a:lnTo>
                    <a:pt x="0" y="61"/>
                  </a:lnTo>
                  <a:lnTo>
                    <a:pt x="18" y="57"/>
                  </a:lnTo>
                  <a:lnTo>
                    <a:pt x="60" y="60"/>
                  </a:lnTo>
                  <a:lnTo>
                    <a:pt x="72" y="39"/>
                  </a:lnTo>
                  <a:lnTo>
                    <a:pt x="83" y="22"/>
                  </a:lnTo>
                  <a:lnTo>
                    <a:pt x="108" y="0"/>
                  </a:lnTo>
                  <a:lnTo>
                    <a:pt x="116" y="30"/>
                  </a:lnTo>
                  <a:lnTo>
                    <a:pt x="105" y="39"/>
                  </a:lnTo>
                  <a:lnTo>
                    <a:pt x="104" y="57"/>
                  </a:lnTo>
                  <a:lnTo>
                    <a:pt x="96" y="72"/>
                  </a:lnTo>
                  <a:lnTo>
                    <a:pt x="89" y="99"/>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5" name="Freeform 68">
              <a:extLst>
                <a:ext uri="{FF2B5EF4-FFF2-40B4-BE49-F238E27FC236}">
                  <a16:creationId xmlns:a16="http://schemas.microsoft.com/office/drawing/2014/main" id="{999E9146-E91D-5A4D-B573-8C1D234673B8}"/>
                </a:ext>
              </a:extLst>
            </p:cNvPr>
            <p:cNvSpPr>
              <a:spLocks/>
            </p:cNvSpPr>
            <p:nvPr/>
          </p:nvSpPr>
          <p:spPr bwMode="auto">
            <a:xfrm>
              <a:off x="3651" y="2465"/>
              <a:ext cx="177" cy="125"/>
            </a:xfrm>
            <a:custGeom>
              <a:avLst/>
              <a:gdLst>
                <a:gd name="T0" fmla="*/ 0 w 267"/>
                <a:gd name="T1" fmla="*/ 78 h 189"/>
                <a:gd name="T2" fmla="*/ 3 w 267"/>
                <a:gd name="T3" fmla="*/ 108 h 189"/>
                <a:gd name="T4" fmla="*/ 7 w 267"/>
                <a:gd name="T5" fmla="*/ 144 h 189"/>
                <a:gd name="T6" fmla="*/ 21 w 267"/>
                <a:gd name="T7" fmla="*/ 162 h 189"/>
                <a:gd name="T8" fmla="*/ 16 w 267"/>
                <a:gd name="T9" fmla="*/ 174 h 189"/>
                <a:gd name="T10" fmla="*/ 24 w 267"/>
                <a:gd name="T11" fmla="*/ 186 h 189"/>
                <a:gd name="T12" fmla="*/ 48 w 267"/>
                <a:gd name="T13" fmla="*/ 189 h 189"/>
                <a:gd name="T14" fmla="*/ 66 w 267"/>
                <a:gd name="T15" fmla="*/ 179 h 189"/>
                <a:gd name="T16" fmla="*/ 76 w 267"/>
                <a:gd name="T17" fmla="*/ 167 h 189"/>
                <a:gd name="T18" fmla="*/ 99 w 267"/>
                <a:gd name="T19" fmla="*/ 167 h 189"/>
                <a:gd name="T20" fmla="*/ 124 w 267"/>
                <a:gd name="T21" fmla="*/ 158 h 189"/>
                <a:gd name="T22" fmla="*/ 141 w 267"/>
                <a:gd name="T23" fmla="*/ 146 h 189"/>
                <a:gd name="T24" fmla="*/ 157 w 267"/>
                <a:gd name="T25" fmla="*/ 149 h 189"/>
                <a:gd name="T26" fmla="*/ 163 w 267"/>
                <a:gd name="T27" fmla="*/ 135 h 189"/>
                <a:gd name="T28" fmla="*/ 204 w 267"/>
                <a:gd name="T29" fmla="*/ 117 h 189"/>
                <a:gd name="T30" fmla="*/ 219 w 267"/>
                <a:gd name="T31" fmla="*/ 116 h 189"/>
                <a:gd name="T32" fmla="*/ 247 w 267"/>
                <a:gd name="T33" fmla="*/ 102 h 189"/>
                <a:gd name="T34" fmla="*/ 246 w 267"/>
                <a:gd name="T35" fmla="*/ 83 h 189"/>
                <a:gd name="T36" fmla="*/ 267 w 267"/>
                <a:gd name="T37" fmla="*/ 69 h 189"/>
                <a:gd name="T38" fmla="*/ 234 w 267"/>
                <a:gd name="T39" fmla="*/ 0 h 189"/>
                <a:gd name="T40" fmla="*/ 205 w 267"/>
                <a:gd name="T41" fmla="*/ 8 h 189"/>
                <a:gd name="T42" fmla="*/ 163 w 267"/>
                <a:gd name="T43" fmla="*/ 8 h 189"/>
                <a:gd name="T44" fmla="*/ 136 w 267"/>
                <a:gd name="T45" fmla="*/ 26 h 189"/>
                <a:gd name="T46" fmla="*/ 112 w 267"/>
                <a:gd name="T47" fmla="*/ 62 h 189"/>
                <a:gd name="T48" fmla="*/ 102 w 267"/>
                <a:gd name="T49" fmla="*/ 48 h 189"/>
                <a:gd name="T50" fmla="*/ 79 w 267"/>
                <a:gd name="T51" fmla="*/ 57 h 189"/>
                <a:gd name="T52" fmla="*/ 54 w 267"/>
                <a:gd name="T53" fmla="*/ 44 h 189"/>
                <a:gd name="T54" fmla="*/ 25 w 267"/>
                <a:gd name="T55" fmla="*/ 51 h 189"/>
                <a:gd name="T56" fmla="*/ 16 w 267"/>
                <a:gd name="T57" fmla="*/ 45 h 189"/>
                <a:gd name="T58" fmla="*/ 9 w 267"/>
                <a:gd name="T59" fmla="*/ 53 h 189"/>
                <a:gd name="T60" fmla="*/ 12 w 267"/>
                <a:gd name="T61" fmla="*/ 69 h 189"/>
                <a:gd name="T62" fmla="*/ 0 w 267"/>
                <a:gd name="T63" fmla="*/ 7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89">
                  <a:moveTo>
                    <a:pt x="0" y="78"/>
                  </a:moveTo>
                  <a:lnTo>
                    <a:pt x="3" y="108"/>
                  </a:lnTo>
                  <a:lnTo>
                    <a:pt x="7" y="144"/>
                  </a:lnTo>
                  <a:lnTo>
                    <a:pt x="21" y="162"/>
                  </a:lnTo>
                  <a:lnTo>
                    <a:pt x="16" y="174"/>
                  </a:lnTo>
                  <a:lnTo>
                    <a:pt x="24" y="186"/>
                  </a:lnTo>
                  <a:lnTo>
                    <a:pt x="48" y="189"/>
                  </a:lnTo>
                  <a:lnTo>
                    <a:pt x="66" y="179"/>
                  </a:lnTo>
                  <a:lnTo>
                    <a:pt x="76" y="167"/>
                  </a:lnTo>
                  <a:lnTo>
                    <a:pt x="99" y="167"/>
                  </a:lnTo>
                  <a:lnTo>
                    <a:pt x="124" y="158"/>
                  </a:lnTo>
                  <a:lnTo>
                    <a:pt x="141" y="146"/>
                  </a:lnTo>
                  <a:lnTo>
                    <a:pt x="157" y="149"/>
                  </a:lnTo>
                  <a:lnTo>
                    <a:pt x="163" y="135"/>
                  </a:lnTo>
                  <a:lnTo>
                    <a:pt x="204" y="117"/>
                  </a:lnTo>
                  <a:lnTo>
                    <a:pt x="219" y="116"/>
                  </a:lnTo>
                  <a:lnTo>
                    <a:pt x="247" y="102"/>
                  </a:lnTo>
                  <a:lnTo>
                    <a:pt x="246" y="83"/>
                  </a:lnTo>
                  <a:lnTo>
                    <a:pt x="267" y="69"/>
                  </a:lnTo>
                  <a:lnTo>
                    <a:pt x="234" y="0"/>
                  </a:lnTo>
                  <a:lnTo>
                    <a:pt x="205" y="8"/>
                  </a:lnTo>
                  <a:lnTo>
                    <a:pt x="163" y="8"/>
                  </a:lnTo>
                  <a:lnTo>
                    <a:pt x="136" y="26"/>
                  </a:lnTo>
                  <a:lnTo>
                    <a:pt x="112" y="62"/>
                  </a:lnTo>
                  <a:lnTo>
                    <a:pt x="102" y="48"/>
                  </a:lnTo>
                  <a:lnTo>
                    <a:pt x="79" y="57"/>
                  </a:lnTo>
                  <a:lnTo>
                    <a:pt x="54" y="44"/>
                  </a:lnTo>
                  <a:lnTo>
                    <a:pt x="25" y="51"/>
                  </a:lnTo>
                  <a:lnTo>
                    <a:pt x="16" y="45"/>
                  </a:lnTo>
                  <a:lnTo>
                    <a:pt x="9" y="53"/>
                  </a:lnTo>
                  <a:lnTo>
                    <a:pt x="12" y="69"/>
                  </a:lnTo>
                  <a:lnTo>
                    <a:pt x="0" y="78"/>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6" name="Freeform 69">
              <a:extLst>
                <a:ext uri="{FF2B5EF4-FFF2-40B4-BE49-F238E27FC236}">
                  <a16:creationId xmlns:a16="http://schemas.microsoft.com/office/drawing/2014/main" id="{B42C8CC1-B72F-9447-9A5C-D5B0BE23A0F6}"/>
                </a:ext>
              </a:extLst>
            </p:cNvPr>
            <p:cNvSpPr>
              <a:spLocks/>
            </p:cNvSpPr>
            <p:nvPr/>
          </p:nvSpPr>
          <p:spPr bwMode="auto">
            <a:xfrm>
              <a:off x="3804" y="2347"/>
              <a:ext cx="130" cy="164"/>
            </a:xfrm>
            <a:custGeom>
              <a:avLst/>
              <a:gdLst>
                <a:gd name="T0" fmla="*/ 102 w 196"/>
                <a:gd name="T1" fmla="*/ 0 h 247"/>
                <a:gd name="T2" fmla="*/ 91 w 196"/>
                <a:gd name="T3" fmla="*/ 9 h 247"/>
                <a:gd name="T4" fmla="*/ 90 w 196"/>
                <a:gd name="T5" fmla="*/ 27 h 247"/>
                <a:gd name="T6" fmla="*/ 79 w 196"/>
                <a:gd name="T7" fmla="*/ 45 h 247"/>
                <a:gd name="T8" fmla="*/ 73 w 196"/>
                <a:gd name="T9" fmla="*/ 70 h 247"/>
                <a:gd name="T10" fmla="*/ 91 w 196"/>
                <a:gd name="T11" fmla="*/ 88 h 247"/>
                <a:gd name="T12" fmla="*/ 75 w 196"/>
                <a:gd name="T13" fmla="*/ 153 h 247"/>
                <a:gd name="T14" fmla="*/ 0 w 196"/>
                <a:gd name="T15" fmla="*/ 180 h 247"/>
                <a:gd name="T16" fmla="*/ 37 w 196"/>
                <a:gd name="T17" fmla="*/ 247 h 247"/>
                <a:gd name="T18" fmla="*/ 64 w 196"/>
                <a:gd name="T19" fmla="*/ 235 h 247"/>
                <a:gd name="T20" fmla="*/ 82 w 196"/>
                <a:gd name="T21" fmla="*/ 240 h 247"/>
                <a:gd name="T22" fmla="*/ 111 w 196"/>
                <a:gd name="T23" fmla="*/ 213 h 247"/>
                <a:gd name="T24" fmla="*/ 141 w 196"/>
                <a:gd name="T25" fmla="*/ 186 h 247"/>
                <a:gd name="T26" fmla="*/ 156 w 196"/>
                <a:gd name="T27" fmla="*/ 180 h 247"/>
                <a:gd name="T28" fmla="*/ 157 w 196"/>
                <a:gd name="T29" fmla="*/ 139 h 247"/>
                <a:gd name="T30" fmla="*/ 183 w 196"/>
                <a:gd name="T31" fmla="*/ 117 h 247"/>
                <a:gd name="T32" fmla="*/ 192 w 196"/>
                <a:gd name="T33" fmla="*/ 96 h 247"/>
                <a:gd name="T34" fmla="*/ 178 w 196"/>
                <a:gd name="T35" fmla="*/ 69 h 247"/>
                <a:gd name="T36" fmla="*/ 153 w 196"/>
                <a:gd name="T37" fmla="*/ 39 h 247"/>
                <a:gd name="T38" fmla="*/ 121 w 196"/>
                <a:gd name="T39" fmla="*/ 34 h 247"/>
                <a:gd name="T40" fmla="*/ 102 w 196"/>
                <a:gd name="T4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247">
                  <a:moveTo>
                    <a:pt x="102" y="0"/>
                  </a:moveTo>
                  <a:lnTo>
                    <a:pt x="91" y="9"/>
                  </a:lnTo>
                  <a:lnTo>
                    <a:pt x="90" y="27"/>
                  </a:lnTo>
                  <a:lnTo>
                    <a:pt x="79" y="45"/>
                  </a:lnTo>
                  <a:lnTo>
                    <a:pt x="73" y="70"/>
                  </a:lnTo>
                  <a:lnTo>
                    <a:pt x="91" y="88"/>
                  </a:lnTo>
                  <a:lnTo>
                    <a:pt x="75" y="153"/>
                  </a:lnTo>
                  <a:lnTo>
                    <a:pt x="0" y="180"/>
                  </a:lnTo>
                  <a:lnTo>
                    <a:pt x="37" y="247"/>
                  </a:lnTo>
                  <a:cubicBezTo>
                    <a:pt x="50" y="244"/>
                    <a:pt x="53" y="240"/>
                    <a:pt x="64" y="235"/>
                  </a:cubicBezTo>
                  <a:cubicBezTo>
                    <a:pt x="70" y="237"/>
                    <a:pt x="76" y="237"/>
                    <a:pt x="82" y="240"/>
                  </a:cubicBezTo>
                  <a:cubicBezTo>
                    <a:pt x="96" y="232"/>
                    <a:pt x="89" y="217"/>
                    <a:pt x="111" y="213"/>
                  </a:cubicBezTo>
                  <a:cubicBezTo>
                    <a:pt x="125" y="206"/>
                    <a:pt x="122" y="189"/>
                    <a:pt x="141" y="186"/>
                  </a:cubicBezTo>
                  <a:cubicBezTo>
                    <a:pt x="146" y="183"/>
                    <a:pt x="151" y="183"/>
                    <a:pt x="156" y="180"/>
                  </a:cubicBezTo>
                  <a:cubicBezTo>
                    <a:pt x="155" y="170"/>
                    <a:pt x="151" y="149"/>
                    <a:pt x="157" y="139"/>
                  </a:cubicBezTo>
                  <a:cubicBezTo>
                    <a:pt x="162" y="131"/>
                    <a:pt x="176" y="126"/>
                    <a:pt x="183" y="117"/>
                  </a:cubicBezTo>
                  <a:cubicBezTo>
                    <a:pt x="184" y="110"/>
                    <a:pt x="192" y="96"/>
                    <a:pt x="192" y="96"/>
                  </a:cubicBezTo>
                  <a:cubicBezTo>
                    <a:pt x="195" y="81"/>
                    <a:pt x="196" y="72"/>
                    <a:pt x="178" y="69"/>
                  </a:cubicBezTo>
                  <a:cubicBezTo>
                    <a:pt x="162" y="61"/>
                    <a:pt x="173" y="42"/>
                    <a:pt x="153" y="39"/>
                  </a:cubicBezTo>
                  <a:cubicBezTo>
                    <a:pt x="143" y="35"/>
                    <a:pt x="131" y="38"/>
                    <a:pt x="121" y="34"/>
                  </a:cubicBezTo>
                  <a:cubicBezTo>
                    <a:pt x="114" y="24"/>
                    <a:pt x="104" y="12"/>
                    <a:pt x="102" y="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7" name="Freeform 70">
              <a:extLst>
                <a:ext uri="{FF2B5EF4-FFF2-40B4-BE49-F238E27FC236}">
                  <a16:creationId xmlns:a16="http://schemas.microsoft.com/office/drawing/2014/main" id="{DE25F427-0EC3-0640-89C8-D77111592442}"/>
                </a:ext>
              </a:extLst>
            </p:cNvPr>
            <p:cNvSpPr>
              <a:spLocks/>
            </p:cNvSpPr>
            <p:nvPr/>
          </p:nvSpPr>
          <p:spPr bwMode="auto">
            <a:xfrm>
              <a:off x="3769" y="2317"/>
              <a:ext cx="12" cy="12"/>
            </a:xfrm>
            <a:custGeom>
              <a:avLst/>
              <a:gdLst>
                <a:gd name="T0" fmla="*/ 2 w 18"/>
                <a:gd name="T1" fmla="*/ 4 h 18"/>
                <a:gd name="T2" fmla="*/ 6 w 18"/>
                <a:gd name="T3" fmla="*/ 18 h 18"/>
                <a:gd name="T4" fmla="*/ 18 w 18"/>
                <a:gd name="T5" fmla="*/ 10 h 18"/>
                <a:gd name="T6" fmla="*/ 2 w 18"/>
                <a:gd name="T7" fmla="*/ 4 h 18"/>
              </a:gdLst>
              <a:ahLst/>
              <a:cxnLst>
                <a:cxn ang="0">
                  <a:pos x="T0" y="T1"/>
                </a:cxn>
                <a:cxn ang="0">
                  <a:pos x="T2" y="T3"/>
                </a:cxn>
                <a:cxn ang="0">
                  <a:pos x="T4" y="T5"/>
                </a:cxn>
                <a:cxn ang="0">
                  <a:pos x="T6" y="T7"/>
                </a:cxn>
              </a:cxnLst>
              <a:rect l="0" t="0" r="r" b="b"/>
              <a:pathLst>
                <a:path w="18" h="18">
                  <a:moveTo>
                    <a:pt x="2" y="4"/>
                  </a:moveTo>
                  <a:cubicBezTo>
                    <a:pt x="3" y="11"/>
                    <a:pt x="0" y="14"/>
                    <a:pt x="6" y="18"/>
                  </a:cubicBezTo>
                  <a:cubicBezTo>
                    <a:pt x="13" y="15"/>
                    <a:pt x="16" y="18"/>
                    <a:pt x="18" y="10"/>
                  </a:cubicBezTo>
                  <a:cubicBezTo>
                    <a:pt x="15" y="7"/>
                    <a:pt x="6" y="0"/>
                    <a:pt x="2" y="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8" name="Freeform 71">
              <a:extLst>
                <a:ext uri="{FF2B5EF4-FFF2-40B4-BE49-F238E27FC236}">
                  <a16:creationId xmlns:a16="http://schemas.microsoft.com/office/drawing/2014/main" id="{1DE295FA-9A4C-F54A-B590-83AD0ED8FFB3}"/>
                </a:ext>
              </a:extLst>
            </p:cNvPr>
            <p:cNvSpPr>
              <a:spLocks/>
            </p:cNvSpPr>
            <p:nvPr/>
          </p:nvSpPr>
          <p:spPr bwMode="auto">
            <a:xfrm>
              <a:off x="4814" y="2697"/>
              <a:ext cx="164" cy="125"/>
            </a:xfrm>
            <a:custGeom>
              <a:avLst/>
              <a:gdLst>
                <a:gd name="T0" fmla="*/ 2 w 248"/>
                <a:gd name="T1" fmla="*/ 151 h 189"/>
                <a:gd name="T2" fmla="*/ 8 w 248"/>
                <a:gd name="T3" fmla="*/ 159 h 189"/>
                <a:gd name="T4" fmla="*/ 25 w 248"/>
                <a:gd name="T5" fmla="*/ 165 h 189"/>
                <a:gd name="T6" fmla="*/ 40 w 248"/>
                <a:gd name="T7" fmla="*/ 157 h 189"/>
                <a:gd name="T8" fmla="*/ 61 w 248"/>
                <a:gd name="T9" fmla="*/ 129 h 189"/>
                <a:gd name="T10" fmla="*/ 79 w 248"/>
                <a:gd name="T11" fmla="*/ 123 h 189"/>
                <a:gd name="T12" fmla="*/ 92 w 248"/>
                <a:gd name="T13" fmla="*/ 115 h 189"/>
                <a:gd name="T14" fmla="*/ 103 w 248"/>
                <a:gd name="T15" fmla="*/ 91 h 189"/>
                <a:gd name="T16" fmla="*/ 118 w 248"/>
                <a:gd name="T17" fmla="*/ 82 h 189"/>
                <a:gd name="T18" fmla="*/ 128 w 248"/>
                <a:gd name="T19" fmla="*/ 88 h 189"/>
                <a:gd name="T20" fmla="*/ 139 w 248"/>
                <a:gd name="T21" fmla="*/ 72 h 189"/>
                <a:gd name="T22" fmla="*/ 148 w 248"/>
                <a:gd name="T23" fmla="*/ 54 h 189"/>
                <a:gd name="T24" fmla="*/ 172 w 248"/>
                <a:gd name="T25" fmla="*/ 21 h 189"/>
                <a:gd name="T26" fmla="*/ 184 w 248"/>
                <a:gd name="T27" fmla="*/ 3 h 189"/>
                <a:gd name="T28" fmla="*/ 194 w 248"/>
                <a:gd name="T29" fmla="*/ 16 h 189"/>
                <a:gd name="T30" fmla="*/ 203 w 248"/>
                <a:gd name="T31" fmla="*/ 22 h 189"/>
                <a:gd name="T32" fmla="*/ 206 w 248"/>
                <a:gd name="T33" fmla="*/ 40 h 189"/>
                <a:gd name="T34" fmla="*/ 226 w 248"/>
                <a:gd name="T35" fmla="*/ 43 h 189"/>
                <a:gd name="T36" fmla="*/ 244 w 248"/>
                <a:gd name="T37" fmla="*/ 52 h 189"/>
                <a:gd name="T38" fmla="*/ 239 w 248"/>
                <a:gd name="T39" fmla="*/ 64 h 189"/>
                <a:gd name="T40" fmla="*/ 217 w 248"/>
                <a:gd name="T41" fmla="*/ 70 h 189"/>
                <a:gd name="T42" fmla="*/ 227 w 248"/>
                <a:gd name="T43" fmla="*/ 81 h 189"/>
                <a:gd name="T44" fmla="*/ 203 w 248"/>
                <a:gd name="T45" fmla="*/ 96 h 189"/>
                <a:gd name="T46" fmla="*/ 196 w 248"/>
                <a:gd name="T47" fmla="*/ 84 h 189"/>
                <a:gd name="T48" fmla="*/ 151 w 248"/>
                <a:gd name="T49" fmla="*/ 84 h 189"/>
                <a:gd name="T50" fmla="*/ 152 w 248"/>
                <a:gd name="T51" fmla="*/ 118 h 189"/>
                <a:gd name="T52" fmla="*/ 139 w 248"/>
                <a:gd name="T53" fmla="*/ 132 h 189"/>
                <a:gd name="T54" fmla="*/ 133 w 248"/>
                <a:gd name="T55" fmla="*/ 168 h 189"/>
                <a:gd name="T56" fmla="*/ 116 w 248"/>
                <a:gd name="T57" fmla="*/ 169 h 189"/>
                <a:gd name="T58" fmla="*/ 101 w 248"/>
                <a:gd name="T59" fmla="*/ 178 h 189"/>
                <a:gd name="T60" fmla="*/ 82 w 248"/>
                <a:gd name="T61" fmla="*/ 168 h 189"/>
                <a:gd name="T62" fmla="*/ 65 w 248"/>
                <a:gd name="T63" fmla="*/ 169 h 189"/>
                <a:gd name="T64" fmla="*/ 62 w 248"/>
                <a:gd name="T65" fmla="*/ 183 h 189"/>
                <a:gd name="T66" fmla="*/ 41 w 248"/>
                <a:gd name="T67" fmla="*/ 181 h 189"/>
                <a:gd name="T68" fmla="*/ 22 w 248"/>
                <a:gd name="T69" fmla="*/ 189 h 189"/>
                <a:gd name="T70" fmla="*/ 7 w 248"/>
                <a:gd name="T71" fmla="*/ 175 h 189"/>
                <a:gd name="T72" fmla="*/ 2 w 248"/>
                <a:gd name="T73" fmla="*/ 15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8" h="189">
                  <a:moveTo>
                    <a:pt x="2" y="151"/>
                  </a:moveTo>
                  <a:cubicBezTo>
                    <a:pt x="16" y="160"/>
                    <a:pt x="0" y="148"/>
                    <a:pt x="8" y="159"/>
                  </a:cubicBezTo>
                  <a:cubicBezTo>
                    <a:pt x="11" y="163"/>
                    <a:pt x="20" y="163"/>
                    <a:pt x="25" y="165"/>
                  </a:cubicBezTo>
                  <a:cubicBezTo>
                    <a:pt x="33" y="171"/>
                    <a:pt x="36" y="164"/>
                    <a:pt x="40" y="157"/>
                  </a:cubicBezTo>
                  <a:cubicBezTo>
                    <a:pt x="41" y="137"/>
                    <a:pt x="42" y="132"/>
                    <a:pt x="61" y="129"/>
                  </a:cubicBezTo>
                  <a:cubicBezTo>
                    <a:pt x="67" y="126"/>
                    <a:pt x="73" y="124"/>
                    <a:pt x="79" y="123"/>
                  </a:cubicBezTo>
                  <a:cubicBezTo>
                    <a:pt x="84" y="121"/>
                    <a:pt x="88" y="118"/>
                    <a:pt x="92" y="115"/>
                  </a:cubicBezTo>
                  <a:cubicBezTo>
                    <a:pt x="96" y="107"/>
                    <a:pt x="98" y="99"/>
                    <a:pt x="103" y="91"/>
                  </a:cubicBezTo>
                  <a:cubicBezTo>
                    <a:pt x="105" y="80"/>
                    <a:pt x="106" y="81"/>
                    <a:pt x="118" y="82"/>
                  </a:cubicBezTo>
                  <a:cubicBezTo>
                    <a:pt x="122" y="88"/>
                    <a:pt x="122" y="93"/>
                    <a:pt x="128" y="88"/>
                  </a:cubicBezTo>
                  <a:cubicBezTo>
                    <a:pt x="132" y="80"/>
                    <a:pt x="129" y="74"/>
                    <a:pt x="139" y="72"/>
                  </a:cubicBezTo>
                  <a:cubicBezTo>
                    <a:pt x="147" y="68"/>
                    <a:pt x="143" y="61"/>
                    <a:pt x="148" y="54"/>
                  </a:cubicBezTo>
                  <a:cubicBezTo>
                    <a:pt x="155" y="44"/>
                    <a:pt x="162" y="29"/>
                    <a:pt x="172" y="21"/>
                  </a:cubicBezTo>
                  <a:cubicBezTo>
                    <a:pt x="173" y="14"/>
                    <a:pt x="180" y="9"/>
                    <a:pt x="184" y="3"/>
                  </a:cubicBezTo>
                  <a:cubicBezTo>
                    <a:pt x="201" y="5"/>
                    <a:pt x="188" y="0"/>
                    <a:pt x="194" y="16"/>
                  </a:cubicBezTo>
                  <a:cubicBezTo>
                    <a:pt x="195" y="19"/>
                    <a:pt x="200" y="20"/>
                    <a:pt x="203" y="22"/>
                  </a:cubicBezTo>
                  <a:cubicBezTo>
                    <a:pt x="205" y="25"/>
                    <a:pt x="204" y="39"/>
                    <a:pt x="206" y="40"/>
                  </a:cubicBezTo>
                  <a:cubicBezTo>
                    <a:pt x="212" y="43"/>
                    <a:pt x="219" y="42"/>
                    <a:pt x="226" y="43"/>
                  </a:cubicBezTo>
                  <a:cubicBezTo>
                    <a:pt x="232" y="47"/>
                    <a:pt x="237" y="51"/>
                    <a:pt x="244" y="52"/>
                  </a:cubicBezTo>
                  <a:cubicBezTo>
                    <a:pt x="248" y="59"/>
                    <a:pt x="247" y="62"/>
                    <a:pt x="239" y="64"/>
                  </a:cubicBezTo>
                  <a:cubicBezTo>
                    <a:pt x="232" y="68"/>
                    <a:pt x="224" y="65"/>
                    <a:pt x="217" y="70"/>
                  </a:cubicBezTo>
                  <a:cubicBezTo>
                    <a:pt x="218" y="81"/>
                    <a:pt x="219" y="77"/>
                    <a:pt x="227" y="81"/>
                  </a:cubicBezTo>
                  <a:cubicBezTo>
                    <a:pt x="234" y="95"/>
                    <a:pt x="211" y="96"/>
                    <a:pt x="203" y="96"/>
                  </a:cubicBezTo>
                  <a:lnTo>
                    <a:pt x="196" y="84"/>
                  </a:lnTo>
                  <a:lnTo>
                    <a:pt x="151" y="84"/>
                  </a:lnTo>
                  <a:lnTo>
                    <a:pt x="152" y="118"/>
                  </a:lnTo>
                  <a:lnTo>
                    <a:pt x="139" y="132"/>
                  </a:lnTo>
                  <a:lnTo>
                    <a:pt x="133" y="168"/>
                  </a:lnTo>
                  <a:lnTo>
                    <a:pt x="116" y="169"/>
                  </a:lnTo>
                  <a:lnTo>
                    <a:pt x="101" y="178"/>
                  </a:lnTo>
                  <a:lnTo>
                    <a:pt x="82" y="168"/>
                  </a:lnTo>
                  <a:lnTo>
                    <a:pt x="65" y="169"/>
                  </a:lnTo>
                  <a:lnTo>
                    <a:pt x="62" y="183"/>
                  </a:lnTo>
                  <a:lnTo>
                    <a:pt x="41" y="181"/>
                  </a:lnTo>
                  <a:lnTo>
                    <a:pt x="22" y="189"/>
                  </a:lnTo>
                  <a:lnTo>
                    <a:pt x="7" y="175"/>
                  </a:lnTo>
                  <a:lnTo>
                    <a:pt x="2" y="151"/>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39" name="Freeform 72">
              <a:extLst>
                <a:ext uri="{FF2B5EF4-FFF2-40B4-BE49-F238E27FC236}">
                  <a16:creationId xmlns:a16="http://schemas.microsoft.com/office/drawing/2014/main" id="{301070E1-C6D3-F44A-9F2E-F9C62DD0B519}"/>
                </a:ext>
              </a:extLst>
            </p:cNvPr>
            <p:cNvSpPr>
              <a:spLocks/>
            </p:cNvSpPr>
            <p:nvPr/>
          </p:nvSpPr>
          <p:spPr bwMode="auto">
            <a:xfrm>
              <a:off x="1953" y="1919"/>
              <a:ext cx="37" cy="21"/>
            </a:xfrm>
            <a:custGeom>
              <a:avLst/>
              <a:gdLst>
                <a:gd name="T0" fmla="*/ 22 w 56"/>
                <a:gd name="T1" fmla="*/ 19 h 32"/>
                <a:gd name="T2" fmla="*/ 13 w 56"/>
                <a:gd name="T3" fmla="*/ 7 h 32"/>
                <a:gd name="T4" fmla="*/ 0 w 56"/>
                <a:gd name="T5" fmla="*/ 7 h 32"/>
                <a:gd name="T6" fmla="*/ 18 w 56"/>
                <a:gd name="T7" fmla="*/ 25 h 32"/>
                <a:gd name="T8" fmla="*/ 31 w 56"/>
                <a:gd name="T9" fmla="*/ 32 h 32"/>
                <a:gd name="T10" fmla="*/ 49 w 56"/>
                <a:gd name="T11" fmla="*/ 23 h 32"/>
                <a:gd name="T12" fmla="*/ 22 w 56"/>
                <a:gd name="T13" fmla="*/ 19 h 32"/>
              </a:gdLst>
              <a:ahLst/>
              <a:cxnLst>
                <a:cxn ang="0">
                  <a:pos x="T0" y="T1"/>
                </a:cxn>
                <a:cxn ang="0">
                  <a:pos x="T2" y="T3"/>
                </a:cxn>
                <a:cxn ang="0">
                  <a:pos x="T4" y="T5"/>
                </a:cxn>
                <a:cxn ang="0">
                  <a:pos x="T6" y="T7"/>
                </a:cxn>
                <a:cxn ang="0">
                  <a:pos x="T8" y="T9"/>
                </a:cxn>
                <a:cxn ang="0">
                  <a:pos x="T10" y="T11"/>
                </a:cxn>
                <a:cxn ang="0">
                  <a:pos x="T12" y="T13"/>
                </a:cxn>
              </a:cxnLst>
              <a:rect l="0" t="0" r="r" b="b"/>
              <a:pathLst>
                <a:path w="56" h="32">
                  <a:moveTo>
                    <a:pt x="22" y="19"/>
                  </a:moveTo>
                  <a:cubicBezTo>
                    <a:pt x="21" y="12"/>
                    <a:pt x="19" y="11"/>
                    <a:pt x="13" y="7"/>
                  </a:cubicBezTo>
                  <a:cubicBezTo>
                    <a:pt x="9" y="0"/>
                    <a:pt x="6" y="2"/>
                    <a:pt x="0" y="7"/>
                  </a:cubicBezTo>
                  <a:cubicBezTo>
                    <a:pt x="1" y="24"/>
                    <a:pt x="4" y="20"/>
                    <a:pt x="18" y="25"/>
                  </a:cubicBezTo>
                  <a:cubicBezTo>
                    <a:pt x="22" y="28"/>
                    <a:pt x="27" y="29"/>
                    <a:pt x="31" y="32"/>
                  </a:cubicBezTo>
                  <a:cubicBezTo>
                    <a:pt x="37" y="31"/>
                    <a:pt x="44" y="27"/>
                    <a:pt x="49" y="23"/>
                  </a:cubicBezTo>
                  <a:cubicBezTo>
                    <a:pt x="56" y="9"/>
                    <a:pt x="22" y="15"/>
                    <a:pt x="22" y="19"/>
                  </a:cubicBezTo>
                  <a:close/>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40" name="Freeform 73">
              <a:extLst>
                <a:ext uri="{FF2B5EF4-FFF2-40B4-BE49-F238E27FC236}">
                  <a16:creationId xmlns:a16="http://schemas.microsoft.com/office/drawing/2014/main" id="{6D941E79-5145-5D40-9BD8-0AFFFD61A866}"/>
                </a:ext>
              </a:extLst>
            </p:cNvPr>
            <p:cNvSpPr>
              <a:spLocks/>
            </p:cNvSpPr>
            <p:nvPr/>
          </p:nvSpPr>
          <p:spPr bwMode="auto">
            <a:xfrm>
              <a:off x="1975" y="1862"/>
              <a:ext cx="34" cy="22"/>
            </a:xfrm>
            <a:custGeom>
              <a:avLst/>
              <a:gdLst>
                <a:gd name="T0" fmla="*/ 39 w 50"/>
                <a:gd name="T1" fmla="*/ 29 h 32"/>
                <a:gd name="T2" fmla="*/ 14 w 50"/>
                <a:gd name="T3" fmla="*/ 20 h 32"/>
                <a:gd name="T4" fmla="*/ 0 w 50"/>
                <a:gd name="T5" fmla="*/ 6 h 32"/>
                <a:gd name="T6" fmla="*/ 32 w 50"/>
                <a:gd name="T7" fmla="*/ 6 h 32"/>
                <a:gd name="T8" fmla="*/ 41 w 50"/>
                <a:gd name="T9" fmla="*/ 12 h 32"/>
                <a:gd name="T10" fmla="*/ 50 w 50"/>
                <a:gd name="T11" fmla="*/ 26 h 32"/>
                <a:gd name="T12" fmla="*/ 44 w 50"/>
                <a:gd name="T13" fmla="*/ 32 h 32"/>
                <a:gd name="T14" fmla="*/ 39 w 50"/>
                <a:gd name="T15" fmla="*/ 29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32">
                  <a:moveTo>
                    <a:pt x="39" y="29"/>
                  </a:moveTo>
                  <a:cubicBezTo>
                    <a:pt x="30" y="24"/>
                    <a:pt x="25" y="21"/>
                    <a:pt x="14" y="20"/>
                  </a:cubicBezTo>
                  <a:cubicBezTo>
                    <a:pt x="11" y="12"/>
                    <a:pt x="8" y="9"/>
                    <a:pt x="0" y="6"/>
                  </a:cubicBezTo>
                  <a:cubicBezTo>
                    <a:pt x="10" y="0"/>
                    <a:pt x="21" y="4"/>
                    <a:pt x="32" y="6"/>
                  </a:cubicBezTo>
                  <a:cubicBezTo>
                    <a:pt x="40" y="19"/>
                    <a:pt x="29" y="4"/>
                    <a:pt x="41" y="12"/>
                  </a:cubicBezTo>
                  <a:cubicBezTo>
                    <a:pt x="44" y="14"/>
                    <a:pt x="48" y="23"/>
                    <a:pt x="50" y="26"/>
                  </a:cubicBezTo>
                  <a:cubicBezTo>
                    <a:pt x="49" y="28"/>
                    <a:pt x="48" y="32"/>
                    <a:pt x="44" y="32"/>
                  </a:cubicBezTo>
                  <a:cubicBezTo>
                    <a:pt x="42" y="32"/>
                    <a:pt x="39" y="29"/>
                    <a:pt x="39" y="29"/>
                  </a:cubicBezTo>
                  <a:close/>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41" name="Freeform 74">
              <a:extLst>
                <a:ext uri="{FF2B5EF4-FFF2-40B4-BE49-F238E27FC236}">
                  <a16:creationId xmlns:a16="http://schemas.microsoft.com/office/drawing/2014/main" id="{C3CB13A4-D6AB-464C-B222-33254D4A72D4}"/>
                </a:ext>
              </a:extLst>
            </p:cNvPr>
            <p:cNvSpPr>
              <a:spLocks/>
            </p:cNvSpPr>
            <p:nvPr/>
          </p:nvSpPr>
          <p:spPr bwMode="auto">
            <a:xfrm>
              <a:off x="4735" y="2867"/>
              <a:ext cx="28" cy="33"/>
            </a:xfrm>
            <a:custGeom>
              <a:avLst/>
              <a:gdLst>
                <a:gd name="T0" fmla="*/ 25 w 42"/>
                <a:gd name="T1" fmla="*/ 0 h 50"/>
                <a:gd name="T2" fmla="*/ 1 w 42"/>
                <a:gd name="T3" fmla="*/ 11 h 50"/>
                <a:gd name="T4" fmla="*/ 15 w 42"/>
                <a:gd name="T5" fmla="*/ 18 h 50"/>
                <a:gd name="T6" fmla="*/ 25 w 42"/>
                <a:gd name="T7" fmla="*/ 44 h 50"/>
                <a:gd name="T8" fmla="*/ 34 w 42"/>
                <a:gd name="T9" fmla="*/ 50 h 50"/>
                <a:gd name="T10" fmla="*/ 42 w 42"/>
                <a:gd name="T11" fmla="*/ 38 h 50"/>
                <a:gd name="T12" fmla="*/ 31 w 42"/>
                <a:gd name="T13" fmla="*/ 26 h 50"/>
                <a:gd name="T14" fmla="*/ 25 w 4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50">
                  <a:moveTo>
                    <a:pt x="25" y="0"/>
                  </a:moveTo>
                  <a:cubicBezTo>
                    <a:pt x="0" y="4"/>
                    <a:pt x="15" y="2"/>
                    <a:pt x="1" y="11"/>
                  </a:cubicBezTo>
                  <a:cubicBezTo>
                    <a:pt x="5" y="17"/>
                    <a:pt x="8" y="17"/>
                    <a:pt x="15" y="18"/>
                  </a:cubicBezTo>
                  <a:cubicBezTo>
                    <a:pt x="27" y="24"/>
                    <a:pt x="18" y="35"/>
                    <a:pt x="25" y="44"/>
                  </a:cubicBezTo>
                  <a:cubicBezTo>
                    <a:pt x="27" y="47"/>
                    <a:pt x="31" y="48"/>
                    <a:pt x="34" y="50"/>
                  </a:cubicBezTo>
                  <a:cubicBezTo>
                    <a:pt x="41" y="47"/>
                    <a:pt x="39" y="44"/>
                    <a:pt x="42" y="38"/>
                  </a:cubicBezTo>
                  <a:cubicBezTo>
                    <a:pt x="40" y="33"/>
                    <a:pt x="31" y="26"/>
                    <a:pt x="31" y="26"/>
                  </a:cubicBezTo>
                  <a:cubicBezTo>
                    <a:pt x="24" y="14"/>
                    <a:pt x="25" y="18"/>
                    <a:pt x="25" y="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42" name="Freeform 75">
              <a:extLst>
                <a:ext uri="{FF2B5EF4-FFF2-40B4-BE49-F238E27FC236}">
                  <a16:creationId xmlns:a16="http://schemas.microsoft.com/office/drawing/2014/main" id="{ABD0512C-5825-0746-907F-0C69652CED9A}"/>
                </a:ext>
              </a:extLst>
            </p:cNvPr>
            <p:cNvSpPr>
              <a:spLocks/>
            </p:cNvSpPr>
            <p:nvPr/>
          </p:nvSpPr>
          <p:spPr bwMode="auto">
            <a:xfrm>
              <a:off x="4779" y="2885"/>
              <a:ext cx="12" cy="15"/>
            </a:xfrm>
            <a:custGeom>
              <a:avLst/>
              <a:gdLst>
                <a:gd name="T0" fmla="*/ 0 w 18"/>
                <a:gd name="T1" fmla="*/ 8 h 23"/>
                <a:gd name="T2" fmla="*/ 9 w 18"/>
                <a:gd name="T3" fmla="*/ 23 h 23"/>
                <a:gd name="T4" fmla="*/ 18 w 18"/>
                <a:gd name="T5" fmla="*/ 11 h 23"/>
                <a:gd name="T6" fmla="*/ 0 w 18"/>
                <a:gd name="T7" fmla="*/ 8 h 23"/>
              </a:gdLst>
              <a:ahLst/>
              <a:cxnLst>
                <a:cxn ang="0">
                  <a:pos x="T0" y="T1"/>
                </a:cxn>
                <a:cxn ang="0">
                  <a:pos x="T2" y="T3"/>
                </a:cxn>
                <a:cxn ang="0">
                  <a:pos x="T4" y="T5"/>
                </a:cxn>
                <a:cxn ang="0">
                  <a:pos x="T6" y="T7"/>
                </a:cxn>
              </a:cxnLst>
              <a:rect l="0" t="0" r="r" b="b"/>
              <a:pathLst>
                <a:path w="18" h="23">
                  <a:moveTo>
                    <a:pt x="0" y="8"/>
                  </a:moveTo>
                  <a:cubicBezTo>
                    <a:pt x="1" y="17"/>
                    <a:pt x="1" y="20"/>
                    <a:pt x="9" y="23"/>
                  </a:cubicBezTo>
                  <a:cubicBezTo>
                    <a:pt x="14" y="20"/>
                    <a:pt x="15" y="16"/>
                    <a:pt x="18" y="11"/>
                  </a:cubicBezTo>
                  <a:cubicBezTo>
                    <a:pt x="10" y="6"/>
                    <a:pt x="7" y="0"/>
                    <a:pt x="0" y="8"/>
                  </a:cubicBezTo>
                  <a:close/>
                </a:path>
              </a:pathLst>
            </a:custGeom>
            <a:solidFill>
              <a:srgbClr val="70AD4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43" name="Oval 76">
              <a:extLst>
                <a:ext uri="{FF2B5EF4-FFF2-40B4-BE49-F238E27FC236}">
                  <a16:creationId xmlns:a16="http://schemas.microsoft.com/office/drawing/2014/main" id="{B25FC10D-E405-0B41-8AD3-787AF9C26991}"/>
                </a:ext>
              </a:extLst>
            </p:cNvPr>
            <p:cNvSpPr>
              <a:spLocks noChangeArrowheads="1"/>
            </p:cNvSpPr>
            <p:nvPr/>
          </p:nvSpPr>
          <p:spPr bwMode="auto">
            <a:xfrm>
              <a:off x="4711" y="2811"/>
              <a:ext cx="27" cy="27"/>
            </a:xfrm>
            <a:prstGeom prst="ellipse">
              <a:avLst/>
            </a:prstGeom>
            <a:solidFill>
              <a:schemeClr val="accent4">
                <a:lumMod val="40000"/>
                <a:lumOff val="60000"/>
              </a:schemeClr>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44" name="Freeform 77">
              <a:extLst>
                <a:ext uri="{FF2B5EF4-FFF2-40B4-BE49-F238E27FC236}">
                  <a16:creationId xmlns:a16="http://schemas.microsoft.com/office/drawing/2014/main" id="{07001693-B31B-4A44-BAF4-53B10B37BB30}"/>
                </a:ext>
              </a:extLst>
            </p:cNvPr>
            <p:cNvSpPr>
              <a:spLocks/>
            </p:cNvSpPr>
            <p:nvPr/>
          </p:nvSpPr>
          <p:spPr bwMode="auto">
            <a:xfrm>
              <a:off x="3775" y="2324"/>
              <a:ext cx="20" cy="35"/>
            </a:xfrm>
            <a:custGeom>
              <a:avLst/>
              <a:gdLst>
                <a:gd name="T0" fmla="*/ 2 w 30"/>
                <a:gd name="T1" fmla="*/ 42 h 53"/>
                <a:gd name="T2" fmla="*/ 0 w 30"/>
                <a:gd name="T3" fmla="*/ 24 h 53"/>
                <a:gd name="T4" fmla="*/ 8 w 30"/>
                <a:gd name="T5" fmla="*/ 0 h 53"/>
                <a:gd name="T6" fmla="*/ 20 w 30"/>
                <a:gd name="T7" fmla="*/ 5 h 53"/>
                <a:gd name="T8" fmla="*/ 24 w 30"/>
                <a:gd name="T9" fmla="*/ 20 h 53"/>
                <a:gd name="T10" fmla="*/ 30 w 30"/>
                <a:gd name="T11" fmla="*/ 35 h 53"/>
                <a:gd name="T12" fmla="*/ 18 w 30"/>
                <a:gd name="T13" fmla="*/ 53 h 53"/>
                <a:gd name="T14" fmla="*/ 6 w 30"/>
                <a:gd name="T15" fmla="*/ 53 h 53"/>
                <a:gd name="T16" fmla="*/ 2 w 30"/>
                <a:gd name="T17"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3">
                  <a:moveTo>
                    <a:pt x="2" y="42"/>
                  </a:moveTo>
                  <a:lnTo>
                    <a:pt x="0" y="24"/>
                  </a:lnTo>
                  <a:lnTo>
                    <a:pt x="8" y="0"/>
                  </a:lnTo>
                  <a:lnTo>
                    <a:pt x="20" y="5"/>
                  </a:lnTo>
                  <a:lnTo>
                    <a:pt x="24" y="20"/>
                  </a:lnTo>
                  <a:lnTo>
                    <a:pt x="30" y="35"/>
                  </a:lnTo>
                  <a:lnTo>
                    <a:pt x="18" y="53"/>
                  </a:lnTo>
                  <a:lnTo>
                    <a:pt x="6" y="53"/>
                  </a:lnTo>
                  <a:lnTo>
                    <a:pt x="2" y="4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45" name="Freeform 78">
              <a:extLst>
                <a:ext uri="{FF2B5EF4-FFF2-40B4-BE49-F238E27FC236}">
                  <a16:creationId xmlns:a16="http://schemas.microsoft.com/office/drawing/2014/main" id="{0C63AE07-FDB4-0C4B-B382-ABA4C44F83D4}"/>
                </a:ext>
              </a:extLst>
            </p:cNvPr>
            <p:cNvSpPr>
              <a:spLocks/>
            </p:cNvSpPr>
            <p:nvPr/>
          </p:nvSpPr>
          <p:spPr bwMode="auto">
            <a:xfrm>
              <a:off x="2665" y="2592"/>
              <a:ext cx="124" cy="103"/>
            </a:xfrm>
            <a:custGeom>
              <a:avLst/>
              <a:gdLst>
                <a:gd name="T0" fmla="*/ 157 w 188"/>
                <a:gd name="T1" fmla="*/ 156 h 156"/>
                <a:gd name="T2" fmla="*/ 172 w 188"/>
                <a:gd name="T3" fmla="*/ 140 h 156"/>
                <a:gd name="T4" fmla="*/ 172 w 188"/>
                <a:gd name="T5" fmla="*/ 125 h 156"/>
                <a:gd name="T6" fmla="*/ 188 w 188"/>
                <a:gd name="T7" fmla="*/ 125 h 156"/>
                <a:gd name="T8" fmla="*/ 172 w 188"/>
                <a:gd name="T9" fmla="*/ 94 h 156"/>
                <a:gd name="T10" fmla="*/ 175 w 188"/>
                <a:gd name="T11" fmla="*/ 73 h 156"/>
                <a:gd name="T12" fmla="*/ 186 w 188"/>
                <a:gd name="T13" fmla="*/ 63 h 156"/>
                <a:gd name="T14" fmla="*/ 172 w 188"/>
                <a:gd name="T15" fmla="*/ 62 h 156"/>
                <a:gd name="T16" fmla="*/ 162 w 188"/>
                <a:gd name="T17" fmla="*/ 25 h 156"/>
                <a:gd name="T18" fmla="*/ 151 w 188"/>
                <a:gd name="T19" fmla="*/ 6 h 156"/>
                <a:gd name="T20" fmla="*/ 132 w 188"/>
                <a:gd name="T21" fmla="*/ 15 h 156"/>
                <a:gd name="T22" fmla="*/ 110 w 188"/>
                <a:gd name="T23" fmla="*/ 16 h 156"/>
                <a:gd name="T24" fmla="*/ 91 w 188"/>
                <a:gd name="T25" fmla="*/ 12 h 156"/>
                <a:gd name="T26" fmla="*/ 94 w 188"/>
                <a:gd name="T27" fmla="*/ 0 h 156"/>
                <a:gd name="T28" fmla="*/ 63 w 188"/>
                <a:gd name="T29" fmla="*/ 6 h 156"/>
                <a:gd name="T30" fmla="*/ 31 w 188"/>
                <a:gd name="T31" fmla="*/ 0 h 156"/>
                <a:gd name="T32" fmla="*/ 31 w 188"/>
                <a:gd name="T33" fmla="*/ 31 h 156"/>
                <a:gd name="T34" fmla="*/ 0 w 188"/>
                <a:gd name="T35" fmla="*/ 31 h 156"/>
                <a:gd name="T36" fmla="*/ 0 w 188"/>
                <a:gd name="T37" fmla="*/ 47 h 156"/>
                <a:gd name="T38" fmla="*/ 42 w 188"/>
                <a:gd name="T39" fmla="*/ 106 h 156"/>
                <a:gd name="T40" fmla="*/ 63 w 188"/>
                <a:gd name="T41" fmla="*/ 78 h 156"/>
                <a:gd name="T42" fmla="*/ 94 w 188"/>
                <a:gd name="T43" fmla="*/ 78 h 156"/>
                <a:gd name="T44" fmla="*/ 110 w 188"/>
                <a:gd name="T45" fmla="*/ 109 h 156"/>
                <a:gd name="T46" fmla="*/ 110 w 188"/>
                <a:gd name="T47" fmla="*/ 125 h 156"/>
                <a:gd name="T48" fmla="*/ 125 w 188"/>
                <a:gd name="T49" fmla="*/ 125 h 156"/>
                <a:gd name="T50" fmla="*/ 141 w 188"/>
                <a:gd name="T51" fmla="*/ 156 h 156"/>
                <a:gd name="T52" fmla="*/ 157 w 188"/>
                <a:gd name="T5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8" h="156">
                  <a:moveTo>
                    <a:pt x="157" y="156"/>
                  </a:moveTo>
                  <a:lnTo>
                    <a:pt x="172" y="140"/>
                  </a:lnTo>
                  <a:lnTo>
                    <a:pt x="172" y="125"/>
                  </a:lnTo>
                  <a:lnTo>
                    <a:pt x="188" y="125"/>
                  </a:lnTo>
                  <a:lnTo>
                    <a:pt x="172" y="94"/>
                  </a:lnTo>
                  <a:lnTo>
                    <a:pt x="175" y="73"/>
                  </a:lnTo>
                  <a:lnTo>
                    <a:pt x="186" y="63"/>
                  </a:lnTo>
                  <a:lnTo>
                    <a:pt x="172" y="62"/>
                  </a:lnTo>
                  <a:lnTo>
                    <a:pt x="162" y="25"/>
                  </a:lnTo>
                  <a:lnTo>
                    <a:pt x="151" y="6"/>
                  </a:lnTo>
                  <a:lnTo>
                    <a:pt x="132" y="15"/>
                  </a:lnTo>
                  <a:lnTo>
                    <a:pt x="110" y="16"/>
                  </a:lnTo>
                  <a:lnTo>
                    <a:pt x="91" y="12"/>
                  </a:lnTo>
                  <a:lnTo>
                    <a:pt x="94" y="0"/>
                  </a:lnTo>
                  <a:lnTo>
                    <a:pt x="63" y="6"/>
                  </a:lnTo>
                  <a:lnTo>
                    <a:pt x="31" y="0"/>
                  </a:lnTo>
                  <a:lnTo>
                    <a:pt x="31" y="31"/>
                  </a:lnTo>
                  <a:lnTo>
                    <a:pt x="0" y="31"/>
                  </a:lnTo>
                  <a:lnTo>
                    <a:pt x="0" y="47"/>
                  </a:lnTo>
                  <a:lnTo>
                    <a:pt x="42" y="106"/>
                  </a:lnTo>
                  <a:lnTo>
                    <a:pt x="63" y="78"/>
                  </a:lnTo>
                  <a:lnTo>
                    <a:pt x="94" y="78"/>
                  </a:lnTo>
                  <a:lnTo>
                    <a:pt x="110" y="109"/>
                  </a:lnTo>
                  <a:lnTo>
                    <a:pt x="110" y="125"/>
                  </a:lnTo>
                  <a:lnTo>
                    <a:pt x="125" y="125"/>
                  </a:lnTo>
                  <a:lnTo>
                    <a:pt x="141" y="156"/>
                  </a:lnTo>
                  <a:lnTo>
                    <a:pt x="157" y="15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46" name="Freeform 79">
              <a:extLst>
                <a:ext uri="{FF2B5EF4-FFF2-40B4-BE49-F238E27FC236}">
                  <a16:creationId xmlns:a16="http://schemas.microsoft.com/office/drawing/2014/main" id="{E7C40B79-02C8-AD48-8265-4B44BEFDA443}"/>
                </a:ext>
              </a:extLst>
            </p:cNvPr>
            <p:cNvSpPr>
              <a:spLocks/>
            </p:cNvSpPr>
            <p:nvPr/>
          </p:nvSpPr>
          <p:spPr bwMode="auto">
            <a:xfrm>
              <a:off x="3131" y="2735"/>
              <a:ext cx="332" cy="366"/>
            </a:xfrm>
            <a:custGeom>
              <a:avLst/>
              <a:gdLst>
                <a:gd name="T0" fmla="*/ 266 w 501"/>
                <a:gd name="T1" fmla="*/ 33 h 553"/>
                <a:gd name="T2" fmla="*/ 204 w 501"/>
                <a:gd name="T3" fmla="*/ 2 h 553"/>
                <a:gd name="T4" fmla="*/ 174 w 501"/>
                <a:gd name="T5" fmla="*/ 25 h 553"/>
                <a:gd name="T6" fmla="*/ 157 w 501"/>
                <a:gd name="T7" fmla="*/ 95 h 553"/>
                <a:gd name="T8" fmla="*/ 110 w 501"/>
                <a:gd name="T9" fmla="*/ 220 h 553"/>
                <a:gd name="T10" fmla="*/ 63 w 501"/>
                <a:gd name="T11" fmla="*/ 298 h 553"/>
                <a:gd name="T12" fmla="*/ 31 w 501"/>
                <a:gd name="T13" fmla="*/ 298 h 553"/>
                <a:gd name="T14" fmla="*/ 9 w 501"/>
                <a:gd name="T15" fmla="*/ 313 h 553"/>
                <a:gd name="T16" fmla="*/ 0 w 501"/>
                <a:gd name="T17" fmla="*/ 345 h 553"/>
                <a:gd name="T18" fmla="*/ 94 w 501"/>
                <a:gd name="T19" fmla="*/ 329 h 553"/>
                <a:gd name="T20" fmla="*/ 125 w 501"/>
                <a:gd name="T21" fmla="*/ 376 h 553"/>
                <a:gd name="T22" fmla="*/ 188 w 501"/>
                <a:gd name="T23" fmla="*/ 391 h 553"/>
                <a:gd name="T24" fmla="*/ 219 w 501"/>
                <a:gd name="T25" fmla="*/ 360 h 553"/>
                <a:gd name="T26" fmla="*/ 251 w 501"/>
                <a:gd name="T27" fmla="*/ 438 h 553"/>
                <a:gd name="T28" fmla="*/ 251 w 501"/>
                <a:gd name="T29" fmla="*/ 485 h 553"/>
                <a:gd name="T30" fmla="*/ 338 w 501"/>
                <a:gd name="T31" fmla="*/ 492 h 553"/>
                <a:gd name="T32" fmla="*/ 389 w 501"/>
                <a:gd name="T33" fmla="*/ 508 h 553"/>
                <a:gd name="T34" fmla="*/ 437 w 501"/>
                <a:gd name="T35" fmla="*/ 553 h 553"/>
                <a:gd name="T36" fmla="*/ 454 w 501"/>
                <a:gd name="T37" fmla="*/ 516 h 553"/>
                <a:gd name="T38" fmla="*/ 423 w 501"/>
                <a:gd name="T39" fmla="*/ 500 h 553"/>
                <a:gd name="T40" fmla="*/ 419 w 501"/>
                <a:gd name="T41" fmla="*/ 426 h 553"/>
                <a:gd name="T42" fmla="*/ 438 w 501"/>
                <a:gd name="T43" fmla="*/ 407 h 553"/>
                <a:gd name="T44" fmla="*/ 485 w 501"/>
                <a:gd name="T45" fmla="*/ 391 h 553"/>
                <a:gd name="T46" fmla="*/ 443 w 501"/>
                <a:gd name="T47" fmla="*/ 339 h 553"/>
                <a:gd name="T48" fmla="*/ 437 w 501"/>
                <a:gd name="T49" fmla="*/ 273 h 553"/>
                <a:gd name="T50" fmla="*/ 438 w 501"/>
                <a:gd name="T51" fmla="*/ 236 h 553"/>
                <a:gd name="T52" fmla="*/ 454 w 501"/>
                <a:gd name="T53" fmla="*/ 189 h 553"/>
                <a:gd name="T54" fmla="*/ 485 w 501"/>
                <a:gd name="T55" fmla="*/ 111 h 553"/>
                <a:gd name="T56" fmla="*/ 485 w 501"/>
                <a:gd name="T57" fmla="*/ 80 h 553"/>
                <a:gd name="T58" fmla="*/ 454 w 501"/>
                <a:gd name="T59" fmla="*/ 18 h 553"/>
                <a:gd name="T60" fmla="*/ 392 w 501"/>
                <a:gd name="T61" fmla="*/ 3 h 553"/>
                <a:gd name="T62" fmla="*/ 335 w 501"/>
                <a:gd name="T63" fmla="*/ 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1" h="553">
                  <a:moveTo>
                    <a:pt x="282" y="18"/>
                  </a:moveTo>
                  <a:lnTo>
                    <a:pt x="266" y="33"/>
                  </a:lnTo>
                  <a:lnTo>
                    <a:pt x="219" y="18"/>
                  </a:lnTo>
                  <a:lnTo>
                    <a:pt x="204" y="2"/>
                  </a:lnTo>
                  <a:lnTo>
                    <a:pt x="188" y="2"/>
                  </a:lnTo>
                  <a:lnTo>
                    <a:pt x="174" y="25"/>
                  </a:lnTo>
                  <a:lnTo>
                    <a:pt x="172" y="49"/>
                  </a:lnTo>
                  <a:lnTo>
                    <a:pt x="157" y="95"/>
                  </a:lnTo>
                  <a:lnTo>
                    <a:pt x="141" y="173"/>
                  </a:lnTo>
                  <a:lnTo>
                    <a:pt x="110" y="220"/>
                  </a:lnTo>
                  <a:lnTo>
                    <a:pt x="94" y="267"/>
                  </a:lnTo>
                  <a:lnTo>
                    <a:pt x="63" y="298"/>
                  </a:lnTo>
                  <a:lnTo>
                    <a:pt x="47" y="282"/>
                  </a:lnTo>
                  <a:lnTo>
                    <a:pt x="31" y="298"/>
                  </a:lnTo>
                  <a:lnTo>
                    <a:pt x="16" y="298"/>
                  </a:lnTo>
                  <a:lnTo>
                    <a:pt x="9" y="313"/>
                  </a:lnTo>
                  <a:lnTo>
                    <a:pt x="0" y="329"/>
                  </a:lnTo>
                  <a:lnTo>
                    <a:pt x="0" y="345"/>
                  </a:lnTo>
                  <a:lnTo>
                    <a:pt x="31" y="329"/>
                  </a:lnTo>
                  <a:lnTo>
                    <a:pt x="94" y="329"/>
                  </a:lnTo>
                  <a:lnTo>
                    <a:pt x="110" y="329"/>
                  </a:lnTo>
                  <a:lnTo>
                    <a:pt x="125" y="376"/>
                  </a:lnTo>
                  <a:lnTo>
                    <a:pt x="141" y="391"/>
                  </a:lnTo>
                  <a:lnTo>
                    <a:pt x="188" y="391"/>
                  </a:lnTo>
                  <a:lnTo>
                    <a:pt x="188" y="360"/>
                  </a:lnTo>
                  <a:lnTo>
                    <a:pt x="219" y="360"/>
                  </a:lnTo>
                  <a:lnTo>
                    <a:pt x="251" y="376"/>
                  </a:lnTo>
                  <a:lnTo>
                    <a:pt x="251" y="438"/>
                  </a:lnTo>
                  <a:lnTo>
                    <a:pt x="266" y="469"/>
                  </a:lnTo>
                  <a:lnTo>
                    <a:pt x="251" y="485"/>
                  </a:lnTo>
                  <a:lnTo>
                    <a:pt x="309" y="483"/>
                  </a:lnTo>
                  <a:lnTo>
                    <a:pt x="338" y="492"/>
                  </a:lnTo>
                  <a:lnTo>
                    <a:pt x="359" y="513"/>
                  </a:lnTo>
                  <a:lnTo>
                    <a:pt x="389" y="508"/>
                  </a:lnTo>
                  <a:lnTo>
                    <a:pt x="423" y="531"/>
                  </a:lnTo>
                  <a:lnTo>
                    <a:pt x="437" y="553"/>
                  </a:lnTo>
                  <a:lnTo>
                    <a:pt x="454" y="547"/>
                  </a:lnTo>
                  <a:lnTo>
                    <a:pt x="454" y="516"/>
                  </a:lnTo>
                  <a:lnTo>
                    <a:pt x="438" y="516"/>
                  </a:lnTo>
                  <a:lnTo>
                    <a:pt x="423" y="500"/>
                  </a:lnTo>
                  <a:lnTo>
                    <a:pt x="420" y="460"/>
                  </a:lnTo>
                  <a:lnTo>
                    <a:pt x="419" y="426"/>
                  </a:lnTo>
                  <a:lnTo>
                    <a:pt x="438" y="422"/>
                  </a:lnTo>
                  <a:lnTo>
                    <a:pt x="438" y="407"/>
                  </a:lnTo>
                  <a:lnTo>
                    <a:pt x="468" y="397"/>
                  </a:lnTo>
                  <a:lnTo>
                    <a:pt x="485" y="391"/>
                  </a:lnTo>
                  <a:lnTo>
                    <a:pt x="462" y="382"/>
                  </a:lnTo>
                  <a:lnTo>
                    <a:pt x="443" y="339"/>
                  </a:lnTo>
                  <a:lnTo>
                    <a:pt x="437" y="303"/>
                  </a:lnTo>
                  <a:lnTo>
                    <a:pt x="437" y="273"/>
                  </a:lnTo>
                  <a:lnTo>
                    <a:pt x="454" y="251"/>
                  </a:lnTo>
                  <a:lnTo>
                    <a:pt x="438" y="236"/>
                  </a:lnTo>
                  <a:lnTo>
                    <a:pt x="438" y="220"/>
                  </a:lnTo>
                  <a:lnTo>
                    <a:pt x="454" y="189"/>
                  </a:lnTo>
                  <a:lnTo>
                    <a:pt x="453" y="139"/>
                  </a:lnTo>
                  <a:lnTo>
                    <a:pt x="485" y="111"/>
                  </a:lnTo>
                  <a:lnTo>
                    <a:pt x="501" y="95"/>
                  </a:lnTo>
                  <a:lnTo>
                    <a:pt x="485" y="80"/>
                  </a:lnTo>
                  <a:lnTo>
                    <a:pt x="485" y="49"/>
                  </a:lnTo>
                  <a:lnTo>
                    <a:pt x="454" y="18"/>
                  </a:lnTo>
                  <a:lnTo>
                    <a:pt x="416" y="28"/>
                  </a:lnTo>
                  <a:lnTo>
                    <a:pt x="392" y="3"/>
                  </a:lnTo>
                  <a:lnTo>
                    <a:pt x="348" y="0"/>
                  </a:lnTo>
                  <a:lnTo>
                    <a:pt x="335" y="7"/>
                  </a:lnTo>
                  <a:lnTo>
                    <a:pt x="282" y="18"/>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47" name="Freeform 80">
              <a:extLst>
                <a:ext uri="{FF2B5EF4-FFF2-40B4-BE49-F238E27FC236}">
                  <a16:creationId xmlns:a16="http://schemas.microsoft.com/office/drawing/2014/main" id="{44A5AEEF-BF41-054E-A379-2319F8AE2D7A}"/>
                </a:ext>
              </a:extLst>
            </p:cNvPr>
            <p:cNvSpPr>
              <a:spLocks/>
            </p:cNvSpPr>
            <p:nvPr/>
          </p:nvSpPr>
          <p:spPr bwMode="auto">
            <a:xfrm>
              <a:off x="3173" y="2623"/>
              <a:ext cx="218" cy="176"/>
            </a:xfrm>
            <a:custGeom>
              <a:avLst/>
              <a:gdLst>
                <a:gd name="T0" fmla="*/ 0 w 330"/>
                <a:gd name="T1" fmla="*/ 186 h 266"/>
                <a:gd name="T2" fmla="*/ 0 w 330"/>
                <a:gd name="T3" fmla="*/ 155 h 266"/>
                <a:gd name="T4" fmla="*/ 16 w 330"/>
                <a:gd name="T5" fmla="*/ 109 h 266"/>
                <a:gd name="T6" fmla="*/ 94 w 330"/>
                <a:gd name="T7" fmla="*/ 93 h 266"/>
                <a:gd name="T8" fmla="*/ 109 w 330"/>
                <a:gd name="T9" fmla="*/ 78 h 266"/>
                <a:gd name="T10" fmla="*/ 109 w 330"/>
                <a:gd name="T11" fmla="*/ 62 h 266"/>
                <a:gd name="T12" fmla="*/ 156 w 330"/>
                <a:gd name="T13" fmla="*/ 47 h 266"/>
                <a:gd name="T14" fmla="*/ 188 w 330"/>
                <a:gd name="T15" fmla="*/ 16 h 266"/>
                <a:gd name="T16" fmla="*/ 203 w 330"/>
                <a:gd name="T17" fmla="*/ 0 h 266"/>
                <a:gd name="T18" fmla="*/ 235 w 330"/>
                <a:gd name="T19" fmla="*/ 31 h 266"/>
                <a:gd name="T20" fmla="*/ 235 w 330"/>
                <a:gd name="T21" fmla="*/ 62 h 266"/>
                <a:gd name="T22" fmla="*/ 266 w 330"/>
                <a:gd name="T23" fmla="*/ 78 h 266"/>
                <a:gd name="T24" fmla="*/ 330 w 330"/>
                <a:gd name="T25" fmla="*/ 170 h 266"/>
                <a:gd name="T26" fmla="*/ 293 w 330"/>
                <a:gd name="T27" fmla="*/ 169 h 266"/>
                <a:gd name="T28" fmla="*/ 275 w 330"/>
                <a:gd name="T29" fmla="*/ 175 h 266"/>
                <a:gd name="T30" fmla="*/ 219 w 330"/>
                <a:gd name="T31" fmla="*/ 186 h 266"/>
                <a:gd name="T32" fmla="*/ 203 w 330"/>
                <a:gd name="T33" fmla="*/ 202 h 266"/>
                <a:gd name="T34" fmla="*/ 156 w 330"/>
                <a:gd name="T35" fmla="*/ 186 h 266"/>
                <a:gd name="T36" fmla="*/ 141 w 330"/>
                <a:gd name="T37" fmla="*/ 171 h 266"/>
                <a:gd name="T38" fmla="*/ 125 w 330"/>
                <a:gd name="T39" fmla="*/ 171 h 266"/>
                <a:gd name="T40" fmla="*/ 110 w 330"/>
                <a:gd name="T41" fmla="*/ 194 h 266"/>
                <a:gd name="T42" fmla="*/ 109 w 330"/>
                <a:gd name="T43" fmla="*/ 217 h 266"/>
                <a:gd name="T44" fmla="*/ 78 w 330"/>
                <a:gd name="T45" fmla="*/ 217 h 266"/>
                <a:gd name="T46" fmla="*/ 63 w 330"/>
                <a:gd name="T47" fmla="*/ 217 h 266"/>
                <a:gd name="T48" fmla="*/ 47 w 330"/>
                <a:gd name="T49" fmla="*/ 217 h 266"/>
                <a:gd name="T50" fmla="*/ 48 w 330"/>
                <a:gd name="T51" fmla="*/ 242 h 266"/>
                <a:gd name="T52" fmla="*/ 38 w 330"/>
                <a:gd name="T53" fmla="*/ 266 h 266"/>
                <a:gd name="T54" fmla="*/ 31 w 330"/>
                <a:gd name="T55" fmla="*/ 233 h 266"/>
                <a:gd name="T56" fmla="*/ 0 w 330"/>
                <a:gd name="T57" fmla="*/ 18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266">
                  <a:moveTo>
                    <a:pt x="0" y="186"/>
                  </a:moveTo>
                  <a:lnTo>
                    <a:pt x="0" y="155"/>
                  </a:lnTo>
                  <a:lnTo>
                    <a:pt x="16" y="109"/>
                  </a:lnTo>
                  <a:lnTo>
                    <a:pt x="94" y="93"/>
                  </a:lnTo>
                  <a:lnTo>
                    <a:pt x="109" y="78"/>
                  </a:lnTo>
                  <a:lnTo>
                    <a:pt x="109" y="62"/>
                  </a:lnTo>
                  <a:lnTo>
                    <a:pt x="156" y="47"/>
                  </a:lnTo>
                  <a:lnTo>
                    <a:pt x="188" y="16"/>
                  </a:lnTo>
                  <a:lnTo>
                    <a:pt x="203" y="0"/>
                  </a:lnTo>
                  <a:lnTo>
                    <a:pt x="235" y="31"/>
                  </a:lnTo>
                  <a:lnTo>
                    <a:pt x="235" y="62"/>
                  </a:lnTo>
                  <a:lnTo>
                    <a:pt x="266" y="78"/>
                  </a:lnTo>
                  <a:lnTo>
                    <a:pt x="330" y="170"/>
                  </a:lnTo>
                  <a:lnTo>
                    <a:pt x="293" y="169"/>
                  </a:lnTo>
                  <a:lnTo>
                    <a:pt x="275" y="175"/>
                  </a:lnTo>
                  <a:lnTo>
                    <a:pt x="219" y="186"/>
                  </a:lnTo>
                  <a:lnTo>
                    <a:pt x="203" y="202"/>
                  </a:lnTo>
                  <a:lnTo>
                    <a:pt x="156" y="186"/>
                  </a:lnTo>
                  <a:lnTo>
                    <a:pt x="141" y="171"/>
                  </a:lnTo>
                  <a:lnTo>
                    <a:pt x="125" y="171"/>
                  </a:lnTo>
                  <a:lnTo>
                    <a:pt x="110" y="194"/>
                  </a:lnTo>
                  <a:lnTo>
                    <a:pt x="109" y="217"/>
                  </a:lnTo>
                  <a:lnTo>
                    <a:pt x="78" y="217"/>
                  </a:lnTo>
                  <a:lnTo>
                    <a:pt x="63" y="217"/>
                  </a:lnTo>
                  <a:lnTo>
                    <a:pt x="47" y="217"/>
                  </a:lnTo>
                  <a:lnTo>
                    <a:pt x="48" y="242"/>
                  </a:lnTo>
                  <a:lnTo>
                    <a:pt x="38" y="266"/>
                  </a:lnTo>
                  <a:lnTo>
                    <a:pt x="31" y="233"/>
                  </a:lnTo>
                  <a:lnTo>
                    <a:pt x="0" y="18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48" name="Freeform 81">
              <a:extLst>
                <a:ext uri="{FF2B5EF4-FFF2-40B4-BE49-F238E27FC236}">
                  <a16:creationId xmlns:a16="http://schemas.microsoft.com/office/drawing/2014/main" id="{3A2AD020-E0F0-AC40-A8F1-D9BEA0ADA3E8}"/>
                </a:ext>
              </a:extLst>
            </p:cNvPr>
            <p:cNvSpPr>
              <a:spLocks/>
            </p:cNvSpPr>
            <p:nvPr/>
          </p:nvSpPr>
          <p:spPr bwMode="auto">
            <a:xfrm>
              <a:off x="3494" y="2550"/>
              <a:ext cx="249" cy="217"/>
            </a:xfrm>
            <a:custGeom>
              <a:avLst/>
              <a:gdLst>
                <a:gd name="T0" fmla="*/ 234 w 375"/>
                <a:gd name="T1" fmla="*/ 78 h 328"/>
                <a:gd name="T2" fmla="*/ 216 w 375"/>
                <a:gd name="T3" fmla="*/ 87 h 328"/>
                <a:gd name="T4" fmla="*/ 219 w 375"/>
                <a:gd name="T5" fmla="*/ 109 h 328"/>
                <a:gd name="T6" fmla="*/ 250 w 375"/>
                <a:gd name="T7" fmla="*/ 109 h 328"/>
                <a:gd name="T8" fmla="*/ 243 w 375"/>
                <a:gd name="T9" fmla="*/ 126 h 328"/>
                <a:gd name="T10" fmla="*/ 256 w 375"/>
                <a:gd name="T11" fmla="*/ 147 h 328"/>
                <a:gd name="T12" fmla="*/ 281 w 375"/>
                <a:gd name="T13" fmla="*/ 172 h 328"/>
                <a:gd name="T14" fmla="*/ 359 w 375"/>
                <a:gd name="T15" fmla="*/ 203 h 328"/>
                <a:gd name="T16" fmla="*/ 375 w 375"/>
                <a:gd name="T17" fmla="*/ 203 h 328"/>
                <a:gd name="T18" fmla="*/ 313 w 375"/>
                <a:gd name="T19" fmla="*/ 281 h 328"/>
                <a:gd name="T20" fmla="*/ 266 w 375"/>
                <a:gd name="T21" fmla="*/ 297 h 328"/>
                <a:gd name="T22" fmla="*/ 219 w 375"/>
                <a:gd name="T23" fmla="*/ 312 h 328"/>
                <a:gd name="T24" fmla="*/ 189 w 375"/>
                <a:gd name="T25" fmla="*/ 309 h 328"/>
                <a:gd name="T26" fmla="*/ 156 w 375"/>
                <a:gd name="T27" fmla="*/ 328 h 328"/>
                <a:gd name="T28" fmla="*/ 125 w 375"/>
                <a:gd name="T29" fmla="*/ 328 h 328"/>
                <a:gd name="T30" fmla="*/ 103 w 375"/>
                <a:gd name="T31" fmla="*/ 306 h 328"/>
                <a:gd name="T32" fmla="*/ 63 w 375"/>
                <a:gd name="T33" fmla="*/ 297 h 328"/>
                <a:gd name="T34" fmla="*/ 63 w 375"/>
                <a:gd name="T35" fmla="*/ 281 h 328"/>
                <a:gd name="T36" fmla="*/ 47 w 375"/>
                <a:gd name="T37" fmla="*/ 266 h 328"/>
                <a:gd name="T38" fmla="*/ 16 w 375"/>
                <a:gd name="T39" fmla="*/ 219 h 328"/>
                <a:gd name="T40" fmla="*/ 0 w 375"/>
                <a:gd name="T41" fmla="*/ 203 h 328"/>
                <a:gd name="T42" fmla="*/ 0 w 375"/>
                <a:gd name="T43" fmla="*/ 187 h 328"/>
                <a:gd name="T44" fmla="*/ 16 w 375"/>
                <a:gd name="T45" fmla="*/ 187 h 328"/>
                <a:gd name="T46" fmla="*/ 25 w 375"/>
                <a:gd name="T47" fmla="*/ 120 h 328"/>
                <a:gd name="T48" fmla="*/ 39 w 375"/>
                <a:gd name="T49" fmla="*/ 112 h 328"/>
                <a:gd name="T50" fmla="*/ 49 w 375"/>
                <a:gd name="T51" fmla="*/ 79 h 328"/>
                <a:gd name="T52" fmla="*/ 78 w 375"/>
                <a:gd name="T53" fmla="*/ 47 h 328"/>
                <a:gd name="T54" fmla="*/ 78 w 375"/>
                <a:gd name="T55" fmla="*/ 16 h 328"/>
                <a:gd name="T56" fmla="*/ 94 w 375"/>
                <a:gd name="T57" fmla="*/ 16 h 328"/>
                <a:gd name="T58" fmla="*/ 109 w 375"/>
                <a:gd name="T59" fmla="*/ 16 h 328"/>
                <a:gd name="T60" fmla="*/ 109 w 375"/>
                <a:gd name="T61" fmla="*/ 0 h 328"/>
                <a:gd name="T62" fmla="*/ 125 w 375"/>
                <a:gd name="T63" fmla="*/ 16 h 328"/>
                <a:gd name="T64" fmla="*/ 141 w 375"/>
                <a:gd name="T65" fmla="*/ 0 h 328"/>
                <a:gd name="T66" fmla="*/ 172 w 375"/>
                <a:gd name="T67" fmla="*/ 16 h 328"/>
                <a:gd name="T68" fmla="*/ 192 w 375"/>
                <a:gd name="T69" fmla="*/ 18 h 328"/>
                <a:gd name="T70" fmla="*/ 234 w 375"/>
                <a:gd name="T71" fmla="*/ 7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 h="328">
                  <a:moveTo>
                    <a:pt x="234" y="78"/>
                  </a:moveTo>
                  <a:lnTo>
                    <a:pt x="216" y="87"/>
                  </a:lnTo>
                  <a:lnTo>
                    <a:pt x="219" y="109"/>
                  </a:lnTo>
                  <a:lnTo>
                    <a:pt x="250" y="109"/>
                  </a:lnTo>
                  <a:lnTo>
                    <a:pt x="243" y="126"/>
                  </a:lnTo>
                  <a:lnTo>
                    <a:pt x="256" y="147"/>
                  </a:lnTo>
                  <a:lnTo>
                    <a:pt x="281" y="172"/>
                  </a:lnTo>
                  <a:lnTo>
                    <a:pt x="359" y="203"/>
                  </a:lnTo>
                  <a:lnTo>
                    <a:pt x="375" y="203"/>
                  </a:lnTo>
                  <a:lnTo>
                    <a:pt x="313" y="281"/>
                  </a:lnTo>
                  <a:lnTo>
                    <a:pt x="266" y="297"/>
                  </a:lnTo>
                  <a:lnTo>
                    <a:pt x="219" y="312"/>
                  </a:lnTo>
                  <a:lnTo>
                    <a:pt x="189" y="309"/>
                  </a:lnTo>
                  <a:lnTo>
                    <a:pt x="156" y="328"/>
                  </a:lnTo>
                  <a:lnTo>
                    <a:pt x="125" y="328"/>
                  </a:lnTo>
                  <a:lnTo>
                    <a:pt x="103" y="306"/>
                  </a:lnTo>
                  <a:lnTo>
                    <a:pt x="63" y="297"/>
                  </a:lnTo>
                  <a:lnTo>
                    <a:pt x="63" y="281"/>
                  </a:lnTo>
                  <a:lnTo>
                    <a:pt x="47" y="266"/>
                  </a:lnTo>
                  <a:lnTo>
                    <a:pt x="16" y="219"/>
                  </a:lnTo>
                  <a:lnTo>
                    <a:pt x="0" y="203"/>
                  </a:lnTo>
                  <a:lnTo>
                    <a:pt x="0" y="187"/>
                  </a:lnTo>
                  <a:lnTo>
                    <a:pt x="16" y="187"/>
                  </a:lnTo>
                  <a:lnTo>
                    <a:pt x="25" y="120"/>
                  </a:lnTo>
                  <a:lnTo>
                    <a:pt x="39" y="112"/>
                  </a:lnTo>
                  <a:lnTo>
                    <a:pt x="49" y="79"/>
                  </a:lnTo>
                  <a:lnTo>
                    <a:pt x="78" y="47"/>
                  </a:lnTo>
                  <a:lnTo>
                    <a:pt x="78" y="16"/>
                  </a:lnTo>
                  <a:lnTo>
                    <a:pt x="94" y="16"/>
                  </a:lnTo>
                  <a:lnTo>
                    <a:pt x="109" y="16"/>
                  </a:lnTo>
                  <a:lnTo>
                    <a:pt x="109" y="0"/>
                  </a:lnTo>
                  <a:lnTo>
                    <a:pt x="125" y="16"/>
                  </a:lnTo>
                  <a:lnTo>
                    <a:pt x="141" y="0"/>
                  </a:lnTo>
                  <a:lnTo>
                    <a:pt x="172" y="16"/>
                  </a:lnTo>
                  <a:lnTo>
                    <a:pt x="192" y="18"/>
                  </a:lnTo>
                  <a:lnTo>
                    <a:pt x="234" y="78"/>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49" name="Freeform 82">
              <a:extLst>
                <a:ext uri="{FF2B5EF4-FFF2-40B4-BE49-F238E27FC236}">
                  <a16:creationId xmlns:a16="http://schemas.microsoft.com/office/drawing/2014/main" id="{DF642B0A-77F9-6E4A-B95A-AFD54DE3E101}"/>
                </a:ext>
              </a:extLst>
            </p:cNvPr>
            <p:cNvSpPr>
              <a:spLocks/>
            </p:cNvSpPr>
            <p:nvPr/>
          </p:nvSpPr>
          <p:spPr bwMode="auto">
            <a:xfrm>
              <a:off x="3546" y="2488"/>
              <a:ext cx="114" cy="114"/>
            </a:xfrm>
            <a:custGeom>
              <a:avLst/>
              <a:gdLst>
                <a:gd name="T0" fmla="*/ 156 w 172"/>
                <a:gd name="T1" fmla="*/ 171 h 171"/>
                <a:gd name="T2" fmla="*/ 172 w 172"/>
                <a:gd name="T3" fmla="*/ 155 h 171"/>
                <a:gd name="T4" fmla="*/ 125 w 172"/>
                <a:gd name="T5" fmla="*/ 93 h 171"/>
                <a:gd name="T6" fmla="*/ 102 w 172"/>
                <a:gd name="T7" fmla="*/ 81 h 171"/>
                <a:gd name="T8" fmla="*/ 76 w 172"/>
                <a:gd name="T9" fmla="*/ 66 h 171"/>
                <a:gd name="T10" fmla="*/ 61 w 172"/>
                <a:gd name="T11" fmla="*/ 18 h 171"/>
                <a:gd name="T12" fmla="*/ 47 w 172"/>
                <a:gd name="T13" fmla="*/ 0 h 171"/>
                <a:gd name="T14" fmla="*/ 31 w 172"/>
                <a:gd name="T15" fmla="*/ 12 h 171"/>
                <a:gd name="T16" fmla="*/ 16 w 172"/>
                <a:gd name="T17" fmla="*/ 31 h 171"/>
                <a:gd name="T18" fmla="*/ 0 w 172"/>
                <a:gd name="T19" fmla="*/ 73 h 171"/>
                <a:gd name="T20" fmla="*/ 0 w 172"/>
                <a:gd name="T21" fmla="*/ 109 h 171"/>
                <a:gd name="T22" fmla="*/ 16 w 172"/>
                <a:gd name="T23" fmla="*/ 109 h 171"/>
                <a:gd name="T24" fmla="*/ 31 w 172"/>
                <a:gd name="T25" fmla="*/ 109 h 171"/>
                <a:gd name="T26" fmla="*/ 31 w 172"/>
                <a:gd name="T27" fmla="*/ 93 h 171"/>
                <a:gd name="T28" fmla="*/ 47 w 172"/>
                <a:gd name="T29" fmla="*/ 109 h 171"/>
                <a:gd name="T30" fmla="*/ 63 w 172"/>
                <a:gd name="T31" fmla="*/ 93 h 171"/>
                <a:gd name="T32" fmla="*/ 94 w 172"/>
                <a:gd name="T33" fmla="*/ 109 h 171"/>
                <a:gd name="T34" fmla="*/ 115 w 172"/>
                <a:gd name="T35" fmla="*/ 111 h 171"/>
                <a:gd name="T36" fmla="*/ 156 w 172"/>
                <a:gd name="T3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171">
                  <a:moveTo>
                    <a:pt x="156" y="171"/>
                  </a:moveTo>
                  <a:lnTo>
                    <a:pt x="172" y="155"/>
                  </a:lnTo>
                  <a:lnTo>
                    <a:pt x="125" y="93"/>
                  </a:lnTo>
                  <a:lnTo>
                    <a:pt x="102" y="81"/>
                  </a:lnTo>
                  <a:lnTo>
                    <a:pt x="76" y="66"/>
                  </a:lnTo>
                  <a:lnTo>
                    <a:pt x="61" y="18"/>
                  </a:lnTo>
                  <a:lnTo>
                    <a:pt x="47" y="0"/>
                  </a:lnTo>
                  <a:lnTo>
                    <a:pt x="31" y="12"/>
                  </a:lnTo>
                  <a:lnTo>
                    <a:pt x="16" y="31"/>
                  </a:lnTo>
                  <a:lnTo>
                    <a:pt x="0" y="73"/>
                  </a:lnTo>
                  <a:lnTo>
                    <a:pt x="0" y="109"/>
                  </a:lnTo>
                  <a:lnTo>
                    <a:pt x="16" y="109"/>
                  </a:lnTo>
                  <a:lnTo>
                    <a:pt x="31" y="109"/>
                  </a:lnTo>
                  <a:lnTo>
                    <a:pt x="31" y="93"/>
                  </a:lnTo>
                  <a:lnTo>
                    <a:pt x="47" y="109"/>
                  </a:lnTo>
                  <a:lnTo>
                    <a:pt x="63" y="93"/>
                  </a:lnTo>
                  <a:lnTo>
                    <a:pt x="94" y="109"/>
                  </a:lnTo>
                  <a:lnTo>
                    <a:pt x="115" y="111"/>
                  </a:lnTo>
                  <a:lnTo>
                    <a:pt x="156" y="171"/>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0" name="Freeform 83">
              <a:extLst>
                <a:ext uri="{FF2B5EF4-FFF2-40B4-BE49-F238E27FC236}">
                  <a16:creationId xmlns:a16="http://schemas.microsoft.com/office/drawing/2014/main" id="{0ECD9704-ED00-5845-ABF6-A7A8A7384873}"/>
                </a:ext>
              </a:extLst>
            </p:cNvPr>
            <p:cNvSpPr>
              <a:spLocks/>
            </p:cNvSpPr>
            <p:nvPr/>
          </p:nvSpPr>
          <p:spPr bwMode="auto">
            <a:xfrm>
              <a:off x="3293" y="2385"/>
              <a:ext cx="283" cy="382"/>
            </a:xfrm>
            <a:custGeom>
              <a:avLst/>
              <a:gdLst>
                <a:gd name="T0" fmla="*/ 380 w 427"/>
                <a:gd name="T1" fmla="*/ 265 h 577"/>
                <a:gd name="T2" fmla="*/ 381 w 427"/>
                <a:gd name="T3" fmla="*/ 228 h 577"/>
                <a:gd name="T4" fmla="*/ 396 w 427"/>
                <a:gd name="T5" fmla="*/ 187 h 577"/>
                <a:gd name="T6" fmla="*/ 412 w 427"/>
                <a:gd name="T7" fmla="*/ 168 h 577"/>
                <a:gd name="T8" fmla="*/ 427 w 427"/>
                <a:gd name="T9" fmla="*/ 156 h 577"/>
                <a:gd name="T10" fmla="*/ 420 w 427"/>
                <a:gd name="T11" fmla="*/ 145 h 577"/>
                <a:gd name="T12" fmla="*/ 399 w 427"/>
                <a:gd name="T13" fmla="*/ 126 h 577"/>
                <a:gd name="T14" fmla="*/ 394 w 427"/>
                <a:gd name="T15" fmla="*/ 105 h 577"/>
                <a:gd name="T16" fmla="*/ 394 w 427"/>
                <a:gd name="T17" fmla="*/ 69 h 577"/>
                <a:gd name="T18" fmla="*/ 380 w 427"/>
                <a:gd name="T19" fmla="*/ 31 h 577"/>
                <a:gd name="T20" fmla="*/ 349 w 427"/>
                <a:gd name="T21" fmla="*/ 16 h 577"/>
                <a:gd name="T22" fmla="*/ 349 w 427"/>
                <a:gd name="T23" fmla="*/ 0 h 577"/>
                <a:gd name="T24" fmla="*/ 318 w 427"/>
                <a:gd name="T25" fmla="*/ 31 h 577"/>
                <a:gd name="T26" fmla="*/ 303 w 427"/>
                <a:gd name="T27" fmla="*/ 45 h 577"/>
                <a:gd name="T28" fmla="*/ 287 w 427"/>
                <a:gd name="T29" fmla="*/ 31 h 577"/>
                <a:gd name="T30" fmla="*/ 195 w 427"/>
                <a:gd name="T31" fmla="*/ 37 h 577"/>
                <a:gd name="T32" fmla="*/ 84 w 427"/>
                <a:gd name="T33" fmla="*/ 31 h 577"/>
                <a:gd name="T34" fmla="*/ 84 w 427"/>
                <a:gd name="T35" fmla="*/ 94 h 577"/>
                <a:gd name="T36" fmla="*/ 53 w 427"/>
                <a:gd name="T37" fmla="*/ 94 h 577"/>
                <a:gd name="T38" fmla="*/ 53 w 427"/>
                <a:gd name="T39" fmla="*/ 109 h 577"/>
                <a:gd name="T40" fmla="*/ 53 w 427"/>
                <a:gd name="T41" fmla="*/ 203 h 577"/>
                <a:gd name="T42" fmla="*/ 53 w 427"/>
                <a:gd name="T43" fmla="*/ 218 h 577"/>
                <a:gd name="T44" fmla="*/ 37 w 427"/>
                <a:gd name="T45" fmla="*/ 218 h 577"/>
                <a:gd name="T46" fmla="*/ 6 w 427"/>
                <a:gd name="T47" fmla="*/ 296 h 577"/>
                <a:gd name="T48" fmla="*/ 0 w 427"/>
                <a:gd name="T49" fmla="*/ 309 h 577"/>
                <a:gd name="T50" fmla="*/ 16 w 427"/>
                <a:gd name="T51" fmla="*/ 316 h 577"/>
                <a:gd name="T52" fmla="*/ 27 w 427"/>
                <a:gd name="T53" fmla="*/ 340 h 577"/>
                <a:gd name="T54" fmla="*/ 22 w 427"/>
                <a:gd name="T55" fmla="*/ 359 h 577"/>
                <a:gd name="T56" fmla="*/ 53 w 427"/>
                <a:gd name="T57" fmla="*/ 390 h 577"/>
                <a:gd name="T58" fmla="*/ 53 w 427"/>
                <a:gd name="T59" fmla="*/ 421 h 577"/>
                <a:gd name="T60" fmla="*/ 84 w 427"/>
                <a:gd name="T61" fmla="*/ 437 h 577"/>
                <a:gd name="T62" fmla="*/ 147 w 427"/>
                <a:gd name="T63" fmla="*/ 529 h 577"/>
                <a:gd name="T64" fmla="*/ 171 w 427"/>
                <a:gd name="T65" fmla="*/ 556 h 577"/>
                <a:gd name="T66" fmla="*/ 209 w 427"/>
                <a:gd name="T67" fmla="*/ 546 h 577"/>
                <a:gd name="T68" fmla="*/ 240 w 427"/>
                <a:gd name="T69" fmla="*/ 577 h 577"/>
                <a:gd name="T70" fmla="*/ 271 w 427"/>
                <a:gd name="T71" fmla="*/ 577 h 577"/>
                <a:gd name="T72" fmla="*/ 307 w 427"/>
                <a:gd name="T73" fmla="*/ 573 h 577"/>
                <a:gd name="T74" fmla="*/ 318 w 427"/>
                <a:gd name="T75" fmla="*/ 561 h 577"/>
                <a:gd name="T76" fmla="*/ 333 w 427"/>
                <a:gd name="T77" fmla="*/ 546 h 577"/>
                <a:gd name="T78" fmla="*/ 365 w 427"/>
                <a:gd name="T79" fmla="*/ 546 h 577"/>
                <a:gd name="T80" fmla="*/ 365 w 427"/>
                <a:gd name="T81" fmla="*/ 530 h 577"/>
                <a:gd name="T82" fmla="*/ 349 w 427"/>
                <a:gd name="T83" fmla="*/ 515 h 577"/>
                <a:gd name="T84" fmla="*/ 318 w 427"/>
                <a:gd name="T85" fmla="*/ 468 h 577"/>
                <a:gd name="T86" fmla="*/ 302 w 427"/>
                <a:gd name="T87" fmla="*/ 452 h 577"/>
                <a:gd name="T88" fmla="*/ 302 w 427"/>
                <a:gd name="T89" fmla="*/ 437 h 577"/>
                <a:gd name="T90" fmla="*/ 318 w 427"/>
                <a:gd name="T91" fmla="*/ 437 h 577"/>
                <a:gd name="T92" fmla="*/ 327 w 427"/>
                <a:gd name="T93" fmla="*/ 372 h 577"/>
                <a:gd name="T94" fmla="*/ 343 w 427"/>
                <a:gd name="T95" fmla="*/ 361 h 577"/>
                <a:gd name="T96" fmla="*/ 352 w 427"/>
                <a:gd name="T97" fmla="*/ 327 h 577"/>
                <a:gd name="T98" fmla="*/ 380 w 427"/>
                <a:gd name="T99" fmla="*/ 296 h 577"/>
                <a:gd name="T100" fmla="*/ 380 w 427"/>
                <a:gd name="T101" fmla="*/ 265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577">
                  <a:moveTo>
                    <a:pt x="380" y="265"/>
                  </a:moveTo>
                  <a:lnTo>
                    <a:pt x="381" y="228"/>
                  </a:lnTo>
                  <a:lnTo>
                    <a:pt x="396" y="187"/>
                  </a:lnTo>
                  <a:lnTo>
                    <a:pt x="412" y="168"/>
                  </a:lnTo>
                  <a:lnTo>
                    <a:pt x="427" y="156"/>
                  </a:lnTo>
                  <a:lnTo>
                    <a:pt x="420" y="145"/>
                  </a:lnTo>
                  <a:lnTo>
                    <a:pt x="399" y="126"/>
                  </a:lnTo>
                  <a:lnTo>
                    <a:pt x="394" y="105"/>
                  </a:lnTo>
                  <a:lnTo>
                    <a:pt x="394" y="69"/>
                  </a:lnTo>
                  <a:lnTo>
                    <a:pt x="380" y="31"/>
                  </a:lnTo>
                  <a:lnTo>
                    <a:pt x="349" y="16"/>
                  </a:lnTo>
                  <a:lnTo>
                    <a:pt x="349" y="0"/>
                  </a:lnTo>
                  <a:lnTo>
                    <a:pt x="318" y="31"/>
                  </a:lnTo>
                  <a:lnTo>
                    <a:pt x="303" y="45"/>
                  </a:lnTo>
                  <a:lnTo>
                    <a:pt x="287" y="31"/>
                  </a:lnTo>
                  <a:lnTo>
                    <a:pt x="195" y="37"/>
                  </a:lnTo>
                  <a:lnTo>
                    <a:pt x="84" y="31"/>
                  </a:lnTo>
                  <a:lnTo>
                    <a:pt x="84" y="94"/>
                  </a:lnTo>
                  <a:lnTo>
                    <a:pt x="53" y="94"/>
                  </a:lnTo>
                  <a:lnTo>
                    <a:pt x="53" y="109"/>
                  </a:lnTo>
                  <a:lnTo>
                    <a:pt x="53" y="203"/>
                  </a:lnTo>
                  <a:lnTo>
                    <a:pt x="53" y="218"/>
                  </a:lnTo>
                  <a:lnTo>
                    <a:pt x="37" y="218"/>
                  </a:lnTo>
                  <a:lnTo>
                    <a:pt x="6" y="296"/>
                  </a:lnTo>
                  <a:lnTo>
                    <a:pt x="0" y="309"/>
                  </a:lnTo>
                  <a:lnTo>
                    <a:pt x="16" y="316"/>
                  </a:lnTo>
                  <a:lnTo>
                    <a:pt x="27" y="340"/>
                  </a:lnTo>
                  <a:lnTo>
                    <a:pt x="22" y="359"/>
                  </a:lnTo>
                  <a:lnTo>
                    <a:pt x="53" y="390"/>
                  </a:lnTo>
                  <a:lnTo>
                    <a:pt x="53" y="421"/>
                  </a:lnTo>
                  <a:lnTo>
                    <a:pt x="84" y="437"/>
                  </a:lnTo>
                  <a:lnTo>
                    <a:pt x="147" y="529"/>
                  </a:lnTo>
                  <a:lnTo>
                    <a:pt x="171" y="556"/>
                  </a:lnTo>
                  <a:lnTo>
                    <a:pt x="209" y="546"/>
                  </a:lnTo>
                  <a:lnTo>
                    <a:pt x="240" y="577"/>
                  </a:lnTo>
                  <a:lnTo>
                    <a:pt x="271" y="577"/>
                  </a:lnTo>
                  <a:lnTo>
                    <a:pt x="307" y="573"/>
                  </a:lnTo>
                  <a:lnTo>
                    <a:pt x="318" y="561"/>
                  </a:lnTo>
                  <a:lnTo>
                    <a:pt x="333" y="546"/>
                  </a:lnTo>
                  <a:lnTo>
                    <a:pt x="365" y="546"/>
                  </a:lnTo>
                  <a:lnTo>
                    <a:pt x="365" y="530"/>
                  </a:lnTo>
                  <a:lnTo>
                    <a:pt x="349" y="515"/>
                  </a:lnTo>
                  <a:lnTo>
                    <a:pt x="318" y="468"/>
                  </a:lnTo>
                  <a:lnTo>
                    <a:pt x="302" y="452"/>
                  </a:lnTo>
                  <a:lnTo>
                    <a:pt x="302" y="437"/>
                  </a:lnTo>
                  <a:lnTo>
                    <a:pt x="318" y="437"/>
                  </a:lnTo>
                  <a:lnTo>
                    <a:pt x="327" y="372"/>
                  </a:lnTo>
                  <a:lnTo>
                    <a:pt x="343" y="361"/>
                  </a:lnTo>
                  <a:lnTo>
                    <a:pt x="352" y="327"/>
                  </a:lnTo>
                  <a:lnTo>
                    <a:pt x="380" y="296"/>
                  </a:lnTo>
                  <a:lnTo>
                    <a:pt x="380" y="265"/>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1" name="Freeform 84">
              <a:extLst>
                <a:ext uri="{FF2B5EF4-FFF2-40B4-BE49-F238E27FC236}">
                  <a16:creationId xmlns:a16="http://schemas.microsoft.com/office/drawing/2014/main" id="{CAD57E2B-72F6-9C4B-9D6D-F1B1883DBC9F}"/>
                </a:ext>
              </a:extLst>
            </p:cNvPr>
            <p:cNvSpPr>
              <a:spLocks/>
            </p:cNvSpPr>
            <p:nvPr/>
          </p:nvSpPr>
          <p:spPr bwMode="auto">
            <a:xfrm>
              <a:off x="2831" y="2540"/>
              <a:ext cx="135" cy="113"/>
            </a:xfrm>
            <a:custGeom>
              <a:avLst/>
              <a:gdLst>
                <a:gd name="T0" fmla="*/ 188 w 204"/>
                <a:gd name="T1" fmla="*/ 78 h 171"/>
                <a:gd name="T2" fmla="*/ 173 w 204"/>
                <a:gd name="T3" fmla="*/ 78 h 171"/>
                <a:gd name="T4" fmla="*/ 141 w 204"/>
                <a:gd name="T5" fmla="*/ 31 h 171"/>
                <a:gd name="T6" fmla="*/ 141 w 204"/>
                <a:gd name="T7" fmla="*/ 0 h 171"/>
                <a:gd name="T8" fmla="*/ 110 w 204"/>
                <a:gd name="T9" fmla="*/ 16 h 171"/>
                <a:gd name="T10" fmla="*/ 63 w 204"/>
                <a:gd name="T11" fmla="*/ 47 h 171"/>
                <a:gd name="T12" fmla="*/ 31 w 204"/>
                <a:gd name="T13" fmla="*/ 62 h 171"/>
                <a:gd name="T14" fmla="*/ 0 w 204"/>
                <a:gd name="T15" fmla="*/ 109 h 171"/>
                <a:gd name="T16" fmla="*/ 0 w 204"/>
                <a:gd name="T17" fmla="*/ 140 h 171"/>
                <a:gd name="T18" fmla="*/ 18 w 204"/>
                <a:gd name="T19" fmla="*/ 168 h 171"/>
                <a:gd name="T20" fmla="*/ 47 w 204"/>
                <a:gd name="T21" fmla="*/ 155 h 171"/>
                <a:gd name="T22" fmla="*/ 63 w 204"/>
                <a:gd name="T23" fmla="*/ 171 h 171"/>
                <a:gd name="T24" fmla="*/ 63 w 204"/>
                <a:gd name="T25" fmla="*/ 124 h 171"/>
                <a:gd name="T26" fmla="*/ 126 w 204"/>
                <a:gd name="T27" fmla="*/ 124 h 171"/>
                <a:gd name="T28" fmla="*/ 157 w 204"/>
                <a:gd name="T29" fmla="*/ 124 h 171"/>
                <a:gd name="T30" fmla="*/ 173 w 204"/>
                <a:gd name="T31" fmla="*/ 109 h 171"/>
                <a:gd name="T32" fmla="*/ 188 w 204"/>
                <a:gd name="T33" fmla="*/ 109 h 171"/>
                <a:gd name="T34" fmla="*/ 204 w 204"/>
                <a:gd name="T35" fmla="*/ 93 h 171"/>
                <a:gd name="T36" fmla="*/ 188 w 204"/>
                <a:gd name="T37" fmla="*/ 7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171">
                  <a:moveTo>
                    <a:pt x="188" y="78"/>
                  </a:moveTo>
                  <a:lnTo>
                    <a:pt x="173" y="78"/>
                  </a:lnTo>
                  <a:lnTo>
                    <a:pt x="141" y="31"/>
                  </a:lnTo>
                  <a:lnTo>
                    <a:pt x="141" y="0"/>
                  </a:lnTo>
                  <a:lnTo>
                    <a:pt x="110" y="16"/>
                  </a:lnTo>
                  <a:lnTo>
                    <a:pt x="63" y="47"/>
                  </a:lnTo>
                  <a:lnTo>
                    <a:pt x="31" y="62"/>
                  </a:lnTo>
                  <a:lnTo>
                    <a:pt x="0" y="109"/>
                  </a:lnTo>
                  <a:lnTo>
                    <a:pt x="0" y="140"/>
                  </a:lnTo>
                  <a:lnTo>
                    <a:pt x="18" y="168"/>
                  </a:lnTo>
                  <a:lnTo>
                    <a:pt x="47" y="155"/>
                  </a:lnTo>
                  <a:lnTo>
                    <a:pt x="63" y="171"/>
                  </a:lnTo>
                  <a:lnTo>
                    <a:pt x="63" y="124"/>
                  </a:lnTo>
                  <a:lnTo>
                    <a:pt x="126" y="124"/>
                  </a:lnTo>
                  <a:lnTo>
                    <a:pt x="157" y="124"/>
                  </a:lnTo>
                  <a:lnTo>
                    <a:pt x="173" y="109"/>
                  </a:lnTo>
                  <a:lnTo>
                    <a:pt x="188" y="109"/>
                  </a:lnTo>
                  <a:lnTo>
                    <a:pt x="204" y="93"/>
                  </a:lnTo>
                  <a:lnTo>
                    <a:pt x="188" y="78"/>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2" name="Freeform 85">
              <a:extLst>
                <a:ext uri="{FF2B5EF4-FFF2-40B4-BE49-F238E27FC236}">
                  <a16:creationId xmlns:a16="http://schemas.microsoft.com/office/drawing/2014/main" id="{062114CE-0ABD-9649-95ED-4E7877B66226}"/>
                </a:ext>
              </a:extLst>
            </p:cNvPr>
            <p:cNvSpPr>
              <a:spLocks/>
            </p:cNvSpPr>
            <p:nvPr/>
          </p:nvSpPr>
          <p:spPr bwMode="auto">
            <a:xfrm>
              <a:off x="2924" y="2374"/>
              <a:ext cx="269" cy="238"/>
            </a:xfrm>
            <a:custGeom>
              <a:avLst/>
              <a:gdLst>
                <a:gd name="T0" fmla="*/ 344 w 406"/>
                <a:gd name="T1" fmla="*/ 297 h 359"/>
                <a:gd name="T2" fmla="*/ 344 w 406"/>
                <a:gd name="T3" fmla="*/ 281 h 359"/>
                <a:gd name="T4" fmla="*/ 390 w 406"/>
                <a:gd name="T5" fmla="*/ 187 h 359"/>
                <a:gd name="T6" fmla="*/ 406 w 406"/>
                <a:gd name="T7" fmla="*/ 94 h 359"/>
                <a:gd name="T8" fmla="*/ 398 w 406"/>
                <a:gd name="T9" fmla="*/ 88 h 359"/>
                <a:gd name="T10" fmla="*/ 386 w 406"/>
                <a:gd name="T11" fmla="*/ 59 h 359"/>
                <a:gd name="T12" fmla="*/ 375 w 406"/>
                <a:gd name="T13" fmla="*/ 16 h 359"/>
                <a:gd name="T14" fmla="*/ 363 w 406"/>
                <a:gd name="T15" fmla="*/ 35 h 359"/>
                <a:gd name="T16" fmla="*/ 351 w 406"/>
                <a:gd name="T17" fmla="*/ 17 h 359"/>
                <a:gd name="T18" fmla="*/ 297 w 406"/>
                <a:gd name="T19" fmla="*/ 0 h 359"/>
                <a:gd name="T20" fmla="*/ 287 w 406"/>
                <a:gd name="T21" fmla="*/ 17 h 359"/>
                <a:gd name="T22" fmla="*/ 141 w 406"/>
                <a:gd name="T23" fmla="*/ 125 h 359"/>
                <a:gd name="T24" fmla="*/ 109 w 406"/>
                <a:gd name="T25" fmla="*/ 140 h 359"/>
                <a:gd name="T26" fmla="*/ 109 w 406"/>
                <a:gd name="T27" fmla="*/ 219 h 359"/>
                <a:gd name="T28" fmla="*/ 94 w 406"/>
                <a:gd name="T29" fmla="*/ 234 h 359"/>
                <a:gd name="T30" fmla="*/ 81 w 406"/>
                <a:gd name="T31" fmla="*/ 248 h 359"/>
                <a:gd name="T32" fmla="*/ 47 w 406"/>
                <a:gd name="T33" fmla="*/ 247 h 359"/>
                <a:gd name="T34" fmla="*/ 20 w 406"/>
                <a:gd name="T35" fmla="*/ 256 h 359"/>
                <a:gd name="T36" fmla="*/ 0 w 406"/>
                <a:gd name="T37" fmla="*/ 250 h 359"/>
                <a:gd name="T38" fmla="*/ 0 w 406"/>
                <a:gd name="T39" fmla="*/ 281 h 359"/>
                <a:gd name="T40" fmla="*/ 31 w 406"/>
                <a:gd name="T41" fmla="*/ 328 h 359"/>
                <a:gd name="T42" fmla="*/ 47 w 406"/>
                <a:gd name="T43" fmla="*/ 328 h 359"/>
                <a:gd name="T44" fmla="*/ 62 w 406"/>
                <a:gd name="T45" fmla="*/ 343 h 359"/>
                <a:gd name="T46" fmla="*/ 77 w 406"/>
                <a:gd name="T47" fmla="*/ 340 h 359"/>
                <a:gd name="T48" fmla="*/ 94 w 406"/>
                <a:gd name="T49" fmla="*/ 359 h 359"/>
                <a:gd name="T50" fmla="*/ 94 w 406"/>
                <a:gd name="T51" fmla="*/ 328 h 359"/>
                <a:gd name="T52" fmla="*/ 109 w 406"/>
                <a:gd name="T53" fmla="*/ 297 h 359"/>
                <a:gd name="T54" fmla="*/ 141 w 406"/>
                <a:gd name="T55" fmla="*/ 297 h 359"/>
                <a:gd name="T56" fmla="*/ 172 w 406"/>
                <a:gd name="T57" fmla="*/ 312 h 359"/>
                <a:gd name="T58" fmla="*/ 203 w 406"/>
                <a:gd name="T59" fmla="*/ 312 h 359"/>
                <a:gd name="T60" fmla="*/ 234 w 406"/>
                <a:gd name="T61" fmla="*/ 328 h 359"/>
                <a:gd name="T62" fmla="*/ 270 w 406"/>
                <a:gd name="T63" fmla="*/ 301 h 359"/>
                <a:gd name="T64" fmla="*/ 312 w 406"/>
                <a:gd name="T65" fmla="*/ 312 h 359"/>
                <a:gd name="T66" fmla="*/ 328 w 406"/>
                <a:gd name="T67" fmla="*/ 297 h 359"/>
                <a:gd name="T68" fmla="*/ 344 w 406"/>
                <a:gd name="T69" fmla="*/ 29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 h="359">
                  <a:moveTo>
                    <a:pt x="344" y="297"/>
                  </a:moveTo>
                  <a:lnTo>
                    <a:pt x="344" y="281"/>
                  </a:lnTo>
                  <a:lnTo>
                    <a:pt x="390" y="187"/>
                  </a:lnTo>
                  <a:lnTo>
                    <a:pt x="406" y="94"/>
                  </a:lnTo>
                  <a:lnTo>
                    <a:pt x="398" y="88"/>
                  </a:lnTo>
                  <a:lnTo>
                    <a:pt x="386" y="59"/>
                  </a:lnTo>
                  <a:lnTo>
                    <a:pt x="375" y="16"/>
                  </a:lnTo>
                  <a:lnTo>
                    <a:pt x="363" y="35"/>
                  </a:lnTo>
                  <a:lnTo>
                    <a:pt x="351" y="17"/>
                  </a:lnTo>
                  <a:lnTo>
                    <a:pt x="297" y="0"/>
                  </a:lnTo>
                  <a:lnTo>
                    <a:pt x="287" y="17"/>
                  </a:lnTo>
                  <a:lnTo>
                    <a:pt x="141" y="125"/>
                  </a:lnTo>
                  <a:lnTo>
                    <a:pt x="109" y="140"/>
                  </a:lnTo>
                  <a:lnTo>
                    <a:pt x="109" y="219"/>
                  </a:lnTo>
                  <a:lnTo>
                    <a:pt x="94" y="234"/>
                  </a:lnTo>
                  <a:lnTo>
                    <a:pt x="81" y="248"/>
                  </a:lnTo>
                  <a:lnTo>
                    <a:pt x="47" y="247"/>
                  </a:lnTo>
                  <a:lnTo>
                    <a:pt x="20" y="256"/>
                  </a:lnTo>
                  <a:lnTo>
                    <a:pt x="0" y="250"/>
                  </a:lnTo>
                  <a:lnTo>
                    <a:pt x="0" y="281"/>
                  </a:lnTo>
                  <a:lnTo>
                    <a:pt x="31" y="328"/>
                  </a:lnTo>
                  <a:lnTo>
                    <a:pt x="47" y="328"/>
                  </a:lnTo>
                  <a:lnTo>
                    <a:pt x="62" y="343"/>
                  </a:lnTo>
                  <a:lnTo>
                    <a:pt x="77" y="340"/>
                  </a:lnTo>
                  <a:lnTo>
                    <a:pt x="94" y="359"/>
                  </a:lnTo>
                  <a:lnTo>
                    <a:pt x="94" y="328"/>
                  </a:lnTo>
                  <a:lnTo>
                    <a:pt x="109" y="297"/>
                  </a:lnTo>
                  <a:lnTo>
                    <a:pt x="141" y="297"/>
                  </a:lnTo>
                  <a:lnTo>
                    <a:pt x="172" y="312"/>
                  </a:lnTo>
                  <a:lnTo>
                    <a:pt x="203" y="312"/>
                  </a:lnTo>
                  <a:lnTo>
                    <a:pt x="234" y="328"/>
                  </a:lnTo>
                  <a:lnTo>
                    <a:pt x="270" y="301"/>
                  </a:lnTo>
                  <a:lnTo>
                    <a:pt x="312" y="312"/>
                  </a:lnTo>
                  <a:lnTo>
                    <a:pt x="328" y="297"/>
                  </a:lnTo>
                  <a:lnTo>
                    <a:pt x="344" y="297"/>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3" name="Freeform 86">
              <a:extLst>
                <a:ext uri="{FF2B5EF4-FFF2-40B4-BE49-F238E27FC236}">
                  <a16:creationId xmlns:a16="http://schemas.microsoft.com/office/drawing/2014/main" id="{1AA8ED06-C932-CE4B-AA01-DCF7C243289F}"/>
                </a:ext>
              </a:extLst>
            </p:cNvPr>
            <p:cNvSpPr>
              <a:spLocks/>
            </p:cNvSpPr>
            <p:nvPr/>
          </p:nvSpPr>
          <p:spPr bwMode="auto">
            <a:xfrm>
              <a:off x="2713" y="2350"/>
              <a:ext cx="284" cy="290"/>
            </a:xfrm>
            <a:custGeom>
              <a:avLst/>
              <a:gdLst>
                <a:gd name="T0" fmla="*/ 318 w 428"/>
                <a:gd name="T1" fmla="*/ 287 h 438"/>
                <a:gd name="T2" fmla="*/ 338 w 428"/>
                <a:gd name="T3" fmla="*/ 293 h 438"/>
                <a:gd name="T4" fmla="*/ 360 w 428"/>
                <a:gd name="T5" fmla="*/ 284 h 438"/>
                <a:gd name="T6" fmla="*/ 398 w 428"/>
                <a:gd name="T7" fmla="*/ 285 h 438"/>
                <a:gd name="T8" fmla="*/ 412 w 428"/>
                <a:gd name="T9" fmla="*/ 271 h 438"/>
                <a:gd name="T10" fmla="*/ 428 w 428"/>
                <a:gd name="T11" fmla="*/ 256 h 438"/>
                <a:gd name="T12" fmla="*/ 428 w 428"/>
                <a:gd name="T13" fmla="*/ 178 h 438"/>
                <a:gd name="T14" fmla="*/ 397 w 428"/>
                <a:gd name="T15" fmla="*/ 178 h 438"/>
                <a:gd name="T16" fmla="*/ 397 w 428"/>
                <a:gd name="T17" fmla="*/ 147 h 438"/>
                <a:gd name="T18" fmla="*/ 369 w 428"/>
                <a:gd name="T19" fmla="*/ 144 h 438"/>
                <a:gd name="T20" fmla="*/ 347 w 428"/>
                <a:gd name="T21" fmla="*/ 116 h 438"/>
                <a:gd name="T22" fmla="*/ 203 w 428"/>
                <a:gd name="T23" fmla="*/ 2 h 438"/>
                <a:gd name="T24" fmla="*/ 152 w 428"/>
                <a:gd name="T25" fmla="*/ 0 h 438"/>
                <a:gd name="T26" fmla="*/ 161 w 428"/>
                <a:gd name="T27" fmla="*/ 168 h 438"/>
                <a:gd name="T28" fmla="*/ 177 w 428"/>
                <a:gd name="T29" fmla="*/ 282 h 438"/>
                <a:gd name="T30" fmla="*/ 60 w 428"/>
                <a:gd name="T31" fmla="*/ 278 h 438"/>
                <a:gd name="T32" fmla="*/ 36 w 428"/>
                <a:gd name="T33" fmla="*/ 287 h 438"/>
                <a:gd name="T34" fmla="*/ 21 w 428"/>
                <a:gd name="T35" fmla="*/ 271 h 438"/>
                <a:gd name="T36" fmla="*/ 5 w 428"/>
                <a:gd name="T37" fmla="*/ 302 h 438"/>
                <a:gd name="T38" fmla="*/ 0 w 428"/>
                <a:gd name="T39" fmla="*/ 330 h 438"/>
                <a:gd name="T40" fmla="*/ 21 w 428"/>
                <a:gd name="T41" fmla="*/ 365 h 438"/>
                <a:gd name="T42" fmla="*/ 20 w 428"/>
                <a:gd name="T43" fmla="*/ 378 h 438"/>
                <a:gd name="T44" fmla="*/ 36 w 428"/>
                <a:gd name="T45" fmla="*/ 380 h 438"/>
                <a:gd name="T46" fmla="*/ 57 w 428"/>
                <a:gd name="T47" fmla="*/ 380 h 438"/>
                <a:gd name="T48" fmla="*/ 78 w 428"/>
                <a:gd name="T49" fmla="*/ 374 h 438"/>
                <a:gd name="T50" fmla="*/ 89 w 428"/>
                <a:gd name="T51" fmla="*/ 386 h 438"/>
                <a:gd name="T52" fmla="*/ 99 w 428"/>
                <a:gd name="T53" fmla="*/ 427 h 438"/>
                <a:gd name="T54" fmla="*/ 115 w 428"/>
                <a:gd name="T55" fmla="*/ 427 h 438"/>
                <a:gd name="T56" fmla="*/ 129 w 428"/>
                <a:gd name="T57" fmla="*/ 438 h 438"/>
                <a:gd name="T58" fmla="*/ 146 w 428"/>
                <a:gd name="T59" fmla="*/ 427 h 438"/>
                <a:gd name="T60" fmla="*/ 161 w 428"/>
                <a:gd name="T61" fmla="*/ 437 h 438"/>
                <a:gd name="T62" fmla="*/ 177 w 428"/>
                <a:gd name="T63" fmla="*/ 427 h 438"/>
                <a:gd name="T64" fmla="*/ 177 w 428"/>
                <a:gd name="T65" fmla="*/ 396 h 438"/>
                <a:gd name="T66" fmla="*/ 209 w 428"/>
                <a:gd name="T67" fmla="*/ 349 h 438"/>
                <a:gd name="T68" fmla="*/ 240 w 428"/>
                <a:gd name="T69" fmla="*/ 334 h 438"/>
                <a:gd name="T70" fmla="*/ 287 w 428"/>
                <a:gd name="T71" fmla="*/ 302 h 438"/>
                <a:gd name="T72" fmla="*/ 318 w 428"/>
                <a:gd name="T73" fmla="*/ 28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8" h="438">
                  <a:moveTo>
                    <a:pt x="318" y="287"/>
                  </a:moveTo>
                  <a:lnTo>
                    <a:pt x="338" y="293"/>
                  </a:lnTo>
                  <a:lnTo>
                    <a:pt x="360" y="284"/>
                  </a:lnTo>
                  <a:lnTo>
                    <a:pt x="398" y="285"/>
                  </a:lnTo>
                  <a:lnTo>
                    <a:pt x="412" y="271"/>
                  </a:lnTo>
                  <a:lnTo>
                    <a:pt x="428" y="256"/>
                  </a:lnTo>
                  <a:lnTo>
                    <a:pt x="428" y="178"/>
                  </a:lnTo>
                  <a:lnTo>
                    <a:pt x="397" y="178"/>
                  </a:lnTo>
                  <a:lnTo>
                    <a:pt x="397" y="147"/>
                  </a:lnTo>
                  <a:lnTo>
                    <a:pt x="369" y="144"/>
                  </a:lnTo>
                  <a:lnTo>
                    <a:pt x="347" y="116"/>
                  </a:lnTo>
                  <a:lnTo>
                    <a:pt x="203" y="2"/>
                  </a:lnTo>
                  <a:lnTo>
                    <a:pt x="152" y="0"/>
                  </a:lnTo>
                  <a:lnTo>
                    <a:pt x="161" y="168"/>
                  </a:lnTo>
                  <a:lnTo>
                    <a:pt x="177" y="282"/>
                  </a:lnTo>
                  <a:lnTo>
                    <a:pt x="60" y="278"/>
                  </a:lnTo>
                  <a:lnTo>
                    <a:pt x="36" y="287"/>
                  </a:lnTo>
                  <a:lnTo>
                    <a:pt x="21" y="271"/>
                  </a:lnTo>
                  <a:lnTo>
                    <a:pt x="5" y="302"/>
                  </a:lnTo>
                  <a:lnTo>
                    <a:pt x="0" y="330"/>
                  </a:lnTo>
                  <a:lnTo>
                    <a:pt x="21" y="365"/>
                  </a:lnTo>
                  <a:lnTo>
                    <a:pt x="20" y="378"/>
                  </a:lnTo>
                  <a:lnTo>
                    <a:pt x="36" y="380"/>
                  </a:lnTo>
                  <a:lnTo>
                    <a:pt x="57" y="380"/>
                  </a:lnTo>
                  <a:lnTo>
                    <a:pt x="78" y="374"/>
                  </a:lnTo>
                  <a:lnTo>
                    <a:pt x="89" y="386"/>
                  </a:lnTo>
                  <a:lnTo>
                    <a:pt x="99" y="427"/>
                  </a:lnTo>
                  <a:lnTo>
                    <a:pt x="115" y="427"/>
                  </a:lnTo>
                  <a:lnTo>
                    <a:pt x="129" y="438"/>
                  </a:lnTo>
                  <a:lnTo>
                    <a:pt x="146" y="427"/>
                  </a:lnTo>
                  <a:lnTo>
                    <a:pt x="161" y="437"/>
                  </a:lnTo>
                  <a:lnTo>
                    <a:pt x="177" y="427"/>
                  </a:lnTo>
                  <a:lnTo>
                    <a:pt x="177" y="396"/>
                  </a:lnTo>
                  <a:lnTo>
                    <a:pt x="209" y="349"/>
                  </a:lnTo>
                  <a:lnTo>
                    <a:pt x="240" y="334"/>
                  </a:lnTo>
                  <a:lnTo>
                    <a:pt x="287" y="302"/>
                  </a:lnTo>
                  <a:lnTo>
                    <a:pt x="318" y="287"/>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4" name="Freeform 87">
              <a:extLst>
                <a:ext uri="{FF2B5EF4-FFF2-40B4-BE49-F238E27FC236}">
                  <a16:creationId xmlns:a16="http://schemas.microsoft.com/office/drawing/2014/main" id="{BD7C684C-F9FC-8945-9797-379F4AB617A2}"/>
                </a:ext>
              </a:extLst>
            </p:cNvPr>
            <p:cNvSpPr>
              <a:spLocks/>
            </p:cNvSpPr>
            <p:nvPr/>
          </p:nvSpPr>
          <p:spPr bwMode="auto">
            <a:xfrm>
              <a:off x="3079" y="2189"/>
              <a:ext cx="270" cy="268"/>
            </a:xfrm>
            <a:custGeom>
              <a:avLst/>
              <a:gdLst>
                <a:gd name="T0" fmla="*/ 407 w 407"/>
                <a:gd name="T1" fmla="*/ 326 h 404"/>
                <a:gd name="T2" fmla="*/ 398 w 407"/>
                <a:gd name="T3" fmla="*/ 140 h 404"/>
                <a:gd name="T4" fmla="*/ 391 w 407"/>
                <a:gd name="T5" fmla="*/ 93 h 404"/>
                <a:gd name="T6" fmla="*/ 391 w 407"/>
                <a:gd name="T7" fmla="*/ 47 h 404"/>
                <a:gd name="T8" fmla="*/ 386 w 407"/>
                <a:gd name="T9" fmla="*/ 37 h 404"/>
                <a:gd name="T10" fmla="*/ 356 w 407"/>
                <a:gd name="T11" fmla="*/ 29 h 404"/>
                <a:gd name="T12" fmla="*/ 344 w 407"/>
                <a:gd name="T13" fmla="*/ 16 h 404"/>
                <a:gd name="T14" fmla="*/ 318 w 407"/>
                <a:gd name="T15" fmla="*/ 7 h 404"/>
                <a:gd name="T16" fmla="*/ 290 w 407"/>
                <a:gd name="T17" fmla="*/ 10 h 404"/>
                <a:gd name="T18" fmla="*/ 266 w 407"/>
                <a:gd name="T19" fmla="*/ 31 h 404"/>
                <a:gd name="T20" fmla="*/ 270 w 407"/>
                <a:gd name="T21" fmla="*/ 56 h 404"/>
                <a:gd name="T22" fmla="*/ 266 w 407"/>
                <a:gd name="T23" fmla="*/ 78 h 404"/>
                <a:gd name="T24" fmla="*/ 250 w 407"/>
                <a:gd name="T25" fmla="*/ 93 h 404"/>
                <a:gd name="T26" fmla="*/ 235 w 407"/>
                <a:gd name="T27" fmla="*/ 78 h 404"/>
                <a:gd name="T28" fmla="*/ 204 w 407"/>
                <a:gd name="T29" fmla="*/ 62 h 404"/>
                <a:gd name="T30" fmla="*/ 179 w 407"/>
                <a:gd name="T31" fmla="*/ 58 h 404"/>
                <a:gd name="T32" fmla="*/ 157 w 407"/>
                <a:gd name="T33" fmla="*/ 47 h 404"/>
                <a:gd name="T34" fmla="*/ 157 w 407"/>
                <a:gd name="T35" fmla="*/ 31 h 404"/>
                <a:gd name="T36" fmla="*/ 125 w 407"/>
                <a:gd name="T37" fmla="*/ 16 h 404"/>
                <a:gd name="T38" fmla="*/ 84 w 407"/>
                <a:gd name="T39" fmla="*/ 10 h 404"/>
                <a:gd name="T40" fmla="*/ 47 w 407"/>
                <a:gd name="T41" fmla="*/ 0 h 404"/>
                <a:gd name="T42" fmla="*/ 54 w 407"/>
                <a:gd name="T43" fmla="*/ 17 h 404"/>
                <a:gd name="T44" fmla="*/ 47 w 407"/>
                <a:gd name="T45" fmla="*/ 31 h 404"/>
                <a:gd name="T46" fmla="*/ 16 w 407"/>
                <a:gd name="T47" fmla="*/ 47 h 404"/>
                <a:gd name="T48" fmla="*/ 26 w 407"/>
                <a:gd name="T49" fmla="*/ 64 h 404"/>
                <a:gd name="T50" fmla="*/ 16 w 407"/>
                <a:gd name="T51" fmla="*/ 78 h 404"/>
                <a:gd name="T52" fmla="*/ 0 w 407"/>
                <a:gd name="T53" fmla="*/ 78 h 404"/>
                <a:gd name="T54" fmla="*/ 0 w 407"/>
                <a:gd name="T55" fmla="*/ 93 h 404"/>
                <a:gd name="T56" fmla="*/ 16 w 407"/>
                <a:gd name="T57" fmla="*/ 109 h 404"/>
                <a:gd name="T58" fmla="*/ 16 w 407"/>
                <a:gd name="T59" fmla="*/ 155 h 404"/>
                <a:gd name="T60" fmla="*/ 16 w 407"/>
                <a:gd name="T61" fmla="*/ 186 h 404"/>
                <a:gd name="T62" fmla="*/ 0 w 407"/>
                <a:gd name="T63" fmla="*/ 202 h 404"/>
                <a:gd name="T64" fmla="*/ 31 w 407"/>
                <a:gd name="T65" fmla="*/ 249 h 404"/>
                <a:gd name="T66" fmla="*/ 47 w 407"/>
                <a:gd name="T67" fmla="*/ 249 h 404"/>
                <a:gd name="T68" fmla="*/ 63 w 407"/>
                <a:gd name="T69" fmla="*/ 280 h 404"/>
                <a:gd name="T70" fmla="*/ 114 w 407"/>
                <a:gd name="T71" fmla="*/ 296 h 404"/>
                <a:gd name="T72" fmla="*/ 129 w 407"/>
                <a:gd name="T73" fmla="*/ 313 h 404"/>
                <a:gd name="T74" fmla="*/ 141 w 407"/>
                <a:gd name="T75" fmla="*/ 295 h 404"/>
                <a:gd name="T76" fmla="*/ 176 w 407"/>
                <a:gd name="T77" fmla="*/ 284 h 404"/>
                <a:gd name="T78" fmla="*/ 188 w 407"/>
                <a:gd name="T79" fmla="*/ 295 h 404"/>
                <a:gd name="T80" fmla="*/ 376 w 407"/>
                <a:gd name="T81" fmla="*/ 404 h 404"/>
                <a:gd name="T82" fmla="*/ 376 w 407"/>
                <a:gd name="T83" fmla="*/ 388 h 404"/>
                <a:gd name="T84" fmla="*/ 407 w 407"/>
                <a:gd name="T85" fmla="*/ 388 h 404"/>
                <a:gd name="T86" fmla="*/ 407 w 407"/>
                <a:gd name="T87" fmla="*/ 32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04">
                  <a:moveTo>
                    <a:pt x="407" y="326"/>
                  </a:moveTo>
                  <a:lnTo>
                    <a:pt x="398" y="140"/>
                  </a:lnTo>
                  <a:lnTo>
                    <a:pt x="391" y="93"/>
                  </a:lnTo>
                  <a:lnTo>
                    <a:pt x="391" y="47"/>
                  </a:lnTo>
                  <a:lnTo>
                    <a:pt x="386" y="37"/>
                  </a:lnTo>
                  <a:lnTo>
                    <a:pt x="356" y="29"/>
                  </a:lnTo>
                  <a:lnTo>
                    <a:pt x="344" y="16"/>
                  </a:lnTo>
                  <a:lnTo>
                    <a:pt x="318" y="7"/>
                  </a:lnTo>
                  <a:lnTo>
                    <a:pt x="290" y="10"/>
                  </a:lnTo>
                  <a:lnTo>
                    <a:pt x="266" y="31"/>
                  </a:lnTo>
                  <a:lnTo>
                    <a:pt x="270" y="56"/>
                  </a:lnTo>
                  <a:lnTo>
                    <a:pt x="266" y="78"/>
                  </a:lnTo>
                  <a:lnTo>
                    <a:pt x="250" y="93"/>
                  </a:lnTo>
                  <a:lnTo>
                    <a:pt x="235" y="78"/>
                  </a:lnTo>
                  <a:lnTo>
                    <a:pt x="204" y="62"/>
                  </a:lnTo>
                  <a:lnTo>
                    <a:pt x="179" y="58"/>
                  </a:lnTo>
                  <a:lnTo>
                    <a:pt x="157" y="47"/>
                  </a:lnTo>
                  <a:lnTo>
                    <a:pt x="157" y="31"/>
                  </a:lnTo>
                  <a:lnTo>
                    <a:pt x="125" y="16"/>
                  </a:lnTo>
                  <a:lnTo>
                    <a:pt x="84" y="10"/>
                  </a:lnTo>
                  <a:lnTo>
                    <a:pt x="47" y="0"/>
                  </a:lnTo>
                  <a:lnTo>
                    <a:pt x="54" y="17"/>
                  </a:lnTo>
                  <a:lnTo>
                    <a:pt x="47" y="31"/>
                  </a:lnTo>
                  <a:lnTo>
                    <a:pt x="16" y="47"/>
                  </a:lnTo>
                  <a:lnTo>
                    <a:pt x="26" y="64"/>
                  </a:lnTo>
                  <a:lnTo>
                    <a:pt x="16" y="78"/>
                  </a:lnTo>
                  <a:lnTo>
                    <a:pt x="0" y="78"/>
                  </a:lnTo>
                  <a:lnTo>
                    <a:pt x="0" y="93"/>
                  </a:lnTo>
                  <a:lnTo>
                    <a:pt x="16" y="109"/>
                  </a:lnTo>
                  <a:lnTo>
                    <a:pt x="16" y="155"/>
                  </a:lnTo>
                  <a:lnTo>
                    <a:pt x="16" y="186"/>
                  </a:lnTo>
                  <a:lnTo>
                    <a:pt x="0" y="202"/>
                  </a:lnTo>
                  <a:lnTo>
                    <a:pt x="31" y="249"/>
                  </a:lnTo>
                  <a:lnTo>
                    <a:pt x="47" y="249"/>
                  </a:lnTo>
                  <a:lnTo>
                    <a:pt x="63" y="280"/>
                  </a:lnTo>
                  <a:lnTo>
                    <a:pt x="114" y="296"/>
                  </a:lnTo>
                  <a:lnTo>
                    <a:pt x="129" y="313"/>
                  </a:lnTo>
                  <a:lnTo>
                    <a:pt x="141" y="295"/>
                  </a:lnTo>
                  <a:lnTo>
                    <a:pt x="176" y="284"/>
                  </a:lnTo>
                  <a:lnTo>
                    <a:pt x="188" y="295"/>
                  </a:lnTo>
                  <a:lnTo>
                    <a:pt x="376" y="404"/>
                  </a:lnTo>
                  <a:lnTo>
                    <a:pt x="376" y="388"/>
                  </a:lnTo>
                  <a:lnTo>
                    <a:pt x="407" y="388"/>
                  </a:lnTo>
                  <a:lnTo>
                    <a:pt x="407" y="32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5" name="Freeform 88">
              <a:extLst>
                <a:ext uri="{FF2B5EF4-FFF2-40B4-BE49-F238E27FC236}">
                  <a16:creationId xmlns:a16="http://schemas.microsoft.com/office/drawing/2014/main" id="{E053D6BC-FE8A-DE4F-BD71-DF8CE7C9667E}"/>
                </a:ext>
              </a:extLst>
            </p:cNvPr>
            <p:cNvSpPr>
              <a:spLocks/>
            </p:cNvSpPr>
            <p:nvPr/>
          </p:nvSpPr>
          <p:spPr bwMode="auto">
            <a:xfrm>
              <a:off x="2779" y="2113"/>
              <a:ext cx="342" cy="355"/>
            </a:xfrm>
            <a:custGeom>
              <a:avLst/>
              <a:gdLst>
                <a:gd name="T0" fmla="*/ 422 w 516"/>
                <a:gd name="T1" fmla="*/ 6 h 535"/>
                <a:gd name="T2" fmla="*/ 393 w 516"/>
                <a:gd name="T3" fmla="*/ 0 h 535"/>
                <a:gd name="T4" fmla="*/ 375 w 516"/>
                <a:gd name="T5" fmla="*/ 6 h 535"/>
                <a:gd name="T6" fmla="*/ 357 w 516"/>
                <a:gd name="T7" fmla="*/ 14 h 535"/>
                <a:gd name="T8" fmla="*/ 328 w 516"/>
                <a:gd name="T9" fmla="*/ 6 h 535"/>
                <a:gd name="T10" fmla="*/ 250 w 516"/>
                <a:gd name="T11" fmla="*/ 22 h 535"/>
                <a:gd name="T12" fmla="*/ 227 w 516"/>
                <a:gd name="T13" fmla="*/ 33 h 535"/>
                <a:gd name="T14" fmla="*/ 204 w 516"/>
                <a:gd name="T15" fmla="*/ 41 h 535"/>
                <a:gd name="T16" fmla="*/ 192 w 516"/>
                <a:gd name="T17" fmla="*/ 48 h 535"/>
                <a:gd name="T18" fmla="*/ 172 w 516"/>
                <a:gd name="T19" fmla="*/ 53 h 535"/>
                <a:gd name="T20" fmla="*/ 188 w 516"/>
                <a:gd name="T21" fmla="*/ 68 h 535"/>
                <a:gd name="T22" fmla="*/ 188 w 516"/>
                <a:gd name="T23" fmla="*/ 146 h 535"/>
                <a:gd name="T24" fmla="*/ 125 w 516"/>
                <a:gd name="T25" fmla="*/ 162 h 535"/>
                <a:gd name="T26" fmla="*/ 125 w 516"/>
                <a:gd name="T27" fmla="*/ 177 h 535"/>
                <a:gd name="T28" fmla="*/ 94 w 516"/>
                <a:gd name="T29" fmla="*/ 208 h 535"/>
                <a:gd name="T30" fmla="*/ 48 w 516"/>
                <a:gd name="T31" fmla="*/ 219 h 535"/>
                <a:gd name="T32" fmla="*/ 14 w 516"/>
                <a:gd name="T33" fmla="*/ 242 h 535"/>
                <a:gd name="T34" fmla="*/ 0 w 516"/>
                <a:gd name="T35" fmla="*/ 271 h 535"/>
                <a:gd name="T36" fmla="*/ 0 w 516"/>
                <a:gd name="T37" fmla="*/ 286 h 535"/>
                <a:gd name="T38" fmla="*/ 108 w 516"/>
                <a:gd name="T39" fmla="*/ 363 h 535"/>
                <a:gd name="T40" fmla="*/ 249 w 516"/>
                <a:gd name="T41" fmla="*/ 473 h 535"/>
                <a:gd name="T42" fmla="*/ 272 w 516"/>
                <a:gd name="T43" fmla="*/ 503 h 535"/>
                <a:gd name="T44" fmla="*/ 297 w 516"/>
                <a:gd name="T45" fmla="*/ 504 h 535"/>
                <a:gd name="T46" fmla="*/ 297 w 516"/>
                <a:gd name="T47" fmla="*/ 535 h 535"/>
                <a:gd name="T48" fmla="*/ 328 w 516"/>
                <a:gd name="T49" fmla="*/ 535 h 535"/>
                <a:gd name="T50" fmla="*/ 360 w 516"/>
                <a:gd name="T51" fmla="*/ 519 h 535"/>
                <a:gd name="T52" fmla="*/ 507 w 516"/>
                <a:gd name="T53" fmla="*/ 410 h 535"/>
                <a:gd name="T54" fmla="*/ 516 w 516"/>
                <a:gd name="T55" fmla="*/ 395 h 535"/>
                <a:gd name="T56" fmla="*/ 500 w 516"/>
                <a:gd name="T57" fmla="*/ 364 h 535"/>
                <a:gd name="T58" fmla="*/ 485 w 516"/>
                <a:gd name="T59" fmla="*/ 364 h 535"/>
                <a:gd name="T60" fmla="*/ 453 w 516"/>
                <a:gd name="T61" fmla="*/ 317 h 535"/>
                <a:gd name="T62" fmla="*/ 469 w 516"/>
                <a:gd name="T63" fmla="*/ 302 h 535"/>
                <a:gd name="T64" fmla="*/ 469 w 516"/>
                <a:gd name="T65" fmla="*/ 271 h 535"/>
                <a:gd name="T66" fmla="*/ 469 w 516"/>
                <a:gd name="T67" fmla="*/ 224 h 535"/>
                <a:gd name="T68" fmla="*/ 453 w 516"/>
                <a:gd name="T69" fmla="*/ 208 h 535"/>
                <a:gd name="T70" fmla="*/ 453 w 516"/>
                <a:gd name="T71" fmla="*/ 193 h 535"/>
                <a:gd name="T72" fmla="*/ 453 w 516"/>
                <a:gd name="T73" fmla="*/ 146 h 535"/>
                <a:gd name="T74" fmla="*/ 428 w 516"/>
                <a:gd name="T75" fmla="*/ 134 h 535"/>
                <a:gd name="T76" fmla="*/ 431 w 516"/>
                <a:gd name="T77" fmla="*/ 120 h 535"/>
                <a:gd name="T78" fmla="*/ 410 w 516"/>
                <a:gd name="T79" fmla="*/ 95 h 535"/>
                <a:gd name="T80" fmla="*/ 431 w 516"/>
                <a:gd name="T81" fmla="*/ 60 h 535"/>
                <a:gd name="T82" fmla="*/ 428 w 516"/>
                <a:gd name="T83" fmla="*/ 20 h 535"/>
                <a:gd name="T84" fmla="*/ 438 w 516"/>
                <a:gd name="T85" fmla="*/ 6 h 535"/>
                <a:gd name="T86" fmla="*/ 422 w 516"/>
                <a:gd name="T87" fmla="*/ 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6" h="535">
                  <a:moveTo>
                    <a:pt x="422" y="6"/>
                  </a:moveTo>
                  <a:lnTo>
                    <a:pt x="393" y="0"/>
                  </a:lnTo>
                  <a:lnTo>
                    <a:pt x="375" y="6"/>
                  </a:lnTo>
                  <a:lnTo>
                    <a:pt x="357" y="14"/>
                  </a:lnTo>
                  <a:lnTo>
                    <a:pt x="328" y="6"/>
                  </a:lnTo>
                  <a:lnTo>
                    <a:pt x="250" y="22"/>
                  </a:lnTo>
                  <a:lnTo>
                    <a:pt x="227" y="33"/>
                  </a:lnTo>
                  <a:lnTo>
                    <a:pt x="204" y="41"/>
                  </a:lnTo>
                  <a:lnTo>
                    <a:pt x="192" y="48"/>
                  </a:lnTo>
                  <a:lnTo>
                    <a:pt x="172" y="53"/>
                  </a:lnTo>
                  <a:lnTo>
                    <a:pt x="188" y="68"/>
                  </a:lnTo>
                  <a:lnTo>
                    <a:pt x="188" y="146"/>
                  </a:lnTo>
                  <a:lnTo>
                    <a:pt x="125" y="162"/>
                  </a:lnTo>
                  <a:lnTo>
                    <a:pt x="125" y="177"/>
                  </a:lnTo>
                  <a:lnTo>
                    <a:pt x="94" y="208"/>
                  </a:lnTo>
                  <a:lnTo>
                    <a:pt x="48" y="219"/>
                  </a:lnTo>
                  <a:lnTo>
                    <a:pt x="14" y="242"/>
                  </a:lnTo>
                  <a:lnTo>
                    <a:pt x="0" y="271"/>
                  </a:lnTo>
                  <a:lnTo>
                    <a:pt x="0" y="286"/>
                  </a:lnTo>
                  <a:lnTo>
                    <a:pt x="108" y="363"/>
                  </a:lnTo>
                  <a:lnTo>
                    <a:pt x="249" y="473"/>
                  </a:lnTo>
                  <a:lnTo>
                    <a:pt x="272" y="503"/>
                  </a:lnTo>
                  <a:lnTo>
                    <a:pt x="297" y="504"/>
                  </a:lnTo>
                  <a:lnTo>
                    <a:pt x="297" y="535"/>
                  </a:lnTo>
                  <a:lnTo>
                    <a:pt x="328" y="535"/>
                  </a:lnTo>
                  <a:lnTo>
                    <a:pt x="360" y="519"/>
                  </a:lnTo>
                  <a:lnTo>
                    <a:pt x="507" y="410"/>
                  </a:lnTo>
                  <a:lnTo>
                    <a:pt x="516" y="395"/>
                  </a:lnTo>
                  <a:lnTo>
                    <a:pt x="500" y="364"/>
                  </a:lnTo>
                  <a:lnTo>
                    <a:pt x="485" y="364"/>
                  </a:lnTo>
                  <a:lnTo>
                    <a:pt x="453" y="317"/>
                  </a:lnTo>
                  <a:lnTo>
                    <a:pt x="469" y="302"/>
                  </a:lnTo>
                  <a:lnTo>
                    <a:pt x="469" y="271"/>
                  </a:lnTo>
                  <a:lnTo>
                    <a:pt x="469" y="224"/>
                  </a:lnTo>
                  <a:lnTo>
                    <a:pt x="453" y="208"/>
                  </a:lnTo>
                  <a:lnTo>
                    <a:pt x="453" y="193"/>
                  </a:lnTo>
                  <a:lnTo>
                    <a:pt x="453" y="146"/>
                  </a:lnTo>
                  <a:lnTo>
                    <a:pt x="428" y="134"/>
                  </a:lnTo>
                  <a:lnTo>
                    <a:pt x="431" y="120"/>
                  </a:lnTo>
                  <a:lnTo>
                    <a:pt x="410" y="95"/>
                  </a:lnTo>
                  <a:lnTo>
                    <a:pt x="431" y="60"/>
                  </a:lnTo>
                  <a:lnTo>
                    <a:pt x="428" y="20"/>
                  </a:lnTo>
                  <a:lnTo>
                    <a:pt x="438" y="6"/>
                  </a:lnTo>
                  <a:lnTo>
                    <a:pt x="422" y="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6" name="Freeform 89">
              <a:extLst>
                <a:ext uri="{FF2B5EF4-FFF2-40B4-BE49-F238E27FC236}">
                  <a16:creationId xmlns:a16="http://schemas.microsoft.com/office/drawing/2014/main" id="{E51D9A16-8AC7-FC42-A4FC-1E36FD08E93E}"/>
                </a:ext>
              </a:extLst>
            </p:cNvPr>
            <p:cNvSpPr>
              <a:spLocks/>
            </p:cNvSpPr>
            <p:nvPr/>
          </p:nvSpPr>
          <p:spPr bwMode="auto">
            <a:xfrm>
              <a:off x="3152" y="2377"/>
              <a:ext cx="176" cy="318"/>
            </a:xfrm>
            <a:custGeom>
              <a:avLst/>
              <a:gdLst>
                <a:gd name="T0" fmla="*/ 43 w 266"/>
                <a:gd name="T1" fmla="*/ 61 h 480"/>
                <a:gd name="T2" fmla="*/ 52 w 266"/>
                <a:gd name="T3" fmla="*/ 82 h 480"/>
                <a:gd name="T4" fmla="*/ 63 w 266"/>
                <a:gd name="T5" fmla="*/ 90 h 480"/>
                <a:gd name="T6" fmla="*/ 47 w 266"/>
                <a:gd name="T7" fmla="*/ 184 h 480"/>
                <a:gd name="T8" fmla="*/ 0 w 266"/>
                <a:gd name="T9" fmla="*/ 277 h 480"/>
                <a:gd name="T10" fmla="*/ 0 w 266"/>
                <a:gd name="T11" fmla="*/ 293 h 480"/>
                <a:gd name="T12" fmla="*/ 16 w 266"/>
                <a:gd name="T13" fmla="*/ 308 h 480"/>
                <a:gd name="T14" fmla="*/ 31 w 266"/>
                <a:gd name="T15" fmla="*/ 324 h 480"/>
                <a:gd name="T16" fmla="*/ 42 w 266"/>
                <a:gd name="T17" fmla="*/ 367 h 480"/>
                <a:gd name="T18" fmla="*/ 47 w 266"/>
                <a:gd name="T19" fmla="*/ 402 h 480"/>
                <a:gd name="T20" fmla="*/ 16 w 266"/>
                <a:gd name="T21" fmla="*/ 402 h 480"/>
                <a:gd name="T22" fmla="*/ 16 w 266"/>
                <a:gd name="T23" fmla="*/ 418 h 480"/>
                <a:gd name="T24" fmla="*/ 31 w 266"/>
                <a:gd name="T25" fmla="*/ 433 h 480"/>
                <a:gd name="T26" fmla="*/ 54 w 266"/>
                <a:gd name="T27" fmla="*/ 450 h 480"/>
                <a:gd name="T28" fmla="*/ 47 w 266"/>
                <a:gd name="T29" fmla="*/ 480 h 480"/>
                <a:gd name="T30" fmla="*/ 125 w 266"/>
                <a:gd name="T31" fmla="*/ 464 h 480"/>
                <a:gd name="T32" fmla="*/ 141 w 266"/>
                <a:gd name="T33" fmla="*/ 449 h 480"/>
                <a:gd name="T34" fmla="*/ 141 w 266"/>
                <a:gd name="T35" fmla="*/ 433 h 480"/>
                <a:gd name="T36" fmla="*/ 188 w 266"/>
                <a:gd name="T37" fmla="*/ 418 h 480"/>
                <a:gd name="T38" fmla="*/ 219 w 266"/>
                <a:gd name="T39" fmla="*/ 386 h 480"/>
                <a:gd name="T40" fmla="*/ 235 w 266"/>
                <a:gd name="T41" fmla="*/ 371 h 480"/>
                <a:gd name="T42" fmla="*/ 240 w 266"/>
                <a:gd name="T43" fmla="*/ 354 h 480"/>
                <a:gd name="T44" fmla="*/ 229 w 266"/>
                <a:gd name="T45" fmla="*/ 328 h 480"/>
                <a:gd name="T46" fmla="*/ 213 w 266"/>
                <a:gd name="T47" fmla="*/ 322 h 480"/>
                <a:gd name="T48" fmla="*/ 219 w 266"/>
                <a:gd name="T49" fmla="*/ 308 h 480"/>
                <a:gd name="T50" fmla="*/ 250 w 266"/>
                <a:gd name="T51" fmla="*/ 230 h 480"/>
                <a:gd name="T52" fmla="*/ 266 w 266"/>
                <a:gd name="T53" fmla="*/ 230 h 480"/>
                <a:gd name="T54" fmla="*/ 266 w 266"/>
                <a:gd name="T55" fmla="*/ 215 h 480"/>
                <a:gd name="T56" fmla="*/ 266 w 266"/>
                <a:gd name="T57" fmla="*/ 121 h 480"/>
                <a:gd name="T58" fmla="*/ 78 w 266"/>
                <a:gd name="T59" fmla="*/ 12 h 480"/>
                <a:gd name="T60" fmla="*/ 67 w 266"/>
                <a:gd name="T61" fmla="*/ 0 h 480"/>
                <a:gd name="T62" fmla="*/ 31 w 266"/>
                <a:gd name="T63" fmla="*/ 12 h 480"/>
                <a:gd name="T64" fmla="*/ 43 w 266"/>
                <a:gd name="T65" fmla="*/ 6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6" h="480">
                  <a:moveTo>
                    <a:pt x="43" y="61"/>
                  </a:moveTo>
                  <a:lnTo>
                    <a:pt x="52" y="82"/>
                  </a:lnTo>
                  <a:lnTo>
                    <a:pt x="63" y="90"/>
                  </a:lnTo>
                  <a:lnTo>
                    <a:pt x="47" y="184"/>
                  </a:lnTo>
                  <a:lnTo>
                    <a:pt x="0" y="277"/>
                  </a:lnTo>
                  <a:lnTo>
                    <a:pt x="0" y="293"/>
                  </a:lnTo>
                  <a:lnTo>
                    <a:pt x="16" y="308"/>
                  </a:lnTo>
                  <a:lnTo>
                    <a:pt x="31" y="324"/>
                  </a:lnTo>
                  <a:lnTo>
                    <a:pt x="42" y="367"/>
                  </a:lnTo>
                  <a:lnTo>
                    <a:pt x="47" y="402"/>
                  </a:lnTo>
                  <a:lnTo>
                    <a:pt x="16" y="402"/>
                  </a:lnTo>
                  <a:lnTo>
                    <a:pt x="16" y="418"/>
                  </a:lnTo>
                  <a:lnTo>
                    <a:pt x="31" y="433"/>
                  </a:lnTo>
                  <a:lnTo>
                    <a:pt x="54" y="450"/>
                  </a:lnTo>
                  <a:lnTo>
                    <a:pt x="47" y="480"/>
                  </a:lnTo>
                  <a:lnTo>
                    <a:pt x="125" y="464"/>
                  </a:lnTo>
                  <a:lnTo>
                    <a:pt x="141" y="449"/>
                  </a:lnTo>
                  <a:lnTo>
                    <a:pt x="141" y="433"/>
                  </a:lnTo>
                  <a:lnTo>
                    <a:pt x="188" y="418"/>
                  </a:lnTo>
                  <a:lnTo>
                    <a:pt x="219" y="386"/>
                  </a:lnTo>
                  <a:lnTo>
                    <a:pt x="235" y="371"/>
                  </a:lnTo>
                  <a:lnTo>
                    <a:pt x="240" y="354"/>
                  </a:lnTo>
                  <a:lnTo>
                    <a:pt x="229" y="328"/>
                  </a:lnTo>
                  <a:lnTo>
                    <a:pt x="213" y="322"/>
                  </a:lnTo>
                  <a:lnTo>
                    <a:pt x="219" y="308"/>
                  </a:lnTo>
                  <a:lnTo>
                    <a:pt x="250" y="230"/>
                  </a:lnTo>
                  <a:lnTo>
                    <a:pt x="266" y="230"/>
                  </a:lnTo>
                  <a:lnTo>
                    <a:pt x="266" y="215"/>
                  </a:lnTo>
                  <a:lnTo>
                    <a:pt x="266" y="121"/>
                  </a:lnTo>
                  <a:lnTo>
                    <a:pt x="78" y="12"/>
                  </a:lnTo>
                  <a:lnTo>
                    <a:pt x="67" y="0"/>
                  </a:lnTo>
                  <a:lnTo>
                    <a:pt x="31" y="12"/>
                  </a:lnTo>
                  <a:lnTo>
                    <a:pt x="43" y="61"/>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7" name="Freeform 90">
              <a:extLst>
                <a:ext uri="{FF2B5EF4-FFF2-40B4-BE49-F238E27FC236}">
                  <a16:creationId xmlns:a16="http://schemas.microsoft.com/office/drawing/2014/main" id="{36D71867-743B-6D40-A04F-75DE8A0741AA}"/>
                </a:ext>
              </a:extLst>
            </p:cNvPr>
            <p:cNvSpPr>
              <a:spLocks/>
            </p:cNvSpPr>
            <p:nvPr/>
          </p:nvSpPr>
          <p:spPr bwMode="auto">
            <a:xfrm>
              <a:off x="3432" y="2757"/>
              <a:ext cx="93" cy="102"/>
            </a:xfrm>
            <a:custGeom>
              <a:avLst/>
              <a:gdLst>
                <a:gd name="T0" fmla="*/ 109 w 140"/>
                <a:gd name="T1" fmla="*/ 0 h 155"/>
                <a:gd name="T2" fmla="*/ 100 w 140"/>
                <a:gd name="T3" fmla="*/ 10 h 155"/>
                <a:gd name="T4" fmla="*/ 62 w 140"/>
                <a:gd name="T5" fmla="*/ 16 h 155"/>
                <a:gd name="T6" fmla="*/ 31 w 140"/>
                <a:gd name="T7" fmla="*/ 16 h 155"/>
                <a:gd name="T8" fmla="*/ 31 w 140"/>
                <a:gd name="T9" fmla="*/ 47 h 155"/>
                <a:gd name="T10" fmla="*/ 47 w 140"/>
                <a:gd name="T11" fmla="*/ 62 h 155"/>
                <a:gd name="T12" fmla="*/ 31 w 140"/>
                <a:gd name="T13" fmla="*/ 78 h 155"/>
                <a:gd name="T14" fmla="*/ 2 w 140"/>
                <a:gd name="T15" fmla="*/ 105 h 155"/>
                <a:gd name="T16" fmla="*/ 0 w 140"/>
                <a:gd name="T17" fmla="*/ 155 h 155"/>
                <a:gd name="T18" fmla="*/ 16 w 140"/>
                <a:gd name="T19" fmla="*/ 155 h 155"/>
                <a:gd name="T20" fmla="*/ 62 w 140"/>
                <a:gd name="T21" fmla="*/ 155 h 155"/>
                <a:gd name="T22" fmla="*/ 53 w 140"/>
                <a:gd name="T23" fmla="*/ 138 h 155"/>
                <a:gd name="T24" fmla="*/ 67 w 140"/>
                <a:gd name="T25" fmla="*/ 118 h 155"/>
                <a:gd name="T26" fmla="*/ 97 w 140"/>
                <a:gd name="T27" fmla="*/ 114 h 155"/>
                <a:gd name="T28" fmla="*/ 109 w 140"/>
                <a:gd name="T29" fmla="*/ 109 h 155"/>
                <a:gd name="T30" fmla="*/ 140 w 140"/>
                <a:gd name="T31" fmla="*/ 62 h 155"/>
                <a:gd name="T32" fmla="*/ 128 w 140"/>
                <a:gd name="T33" fmla="*/ 9 h 155"/>
                <a:gd name="T34" fmla="*/ 109 w 140"/>
                <a:gd name="T3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55">
                  <a:moveTo>
                    <a:pt x="109" y="0"/>
                  </a:moveTo>
                  <a:lnTo>
                    <a:pt x="100" y="10"/>
                  </a:lnTo>
                  <a:lnTo>
                    <a:pt x="62" y="16"/>
                  </a:lnTo>
                  <a:lnTo>
                    <a:pt x="31" y="16"/>
                  </a:lnTo>
                  <a:lnTo>
                    <a:pt x="31" y="47"/>
                  </a:lnTo>
                  <a:lnTo>
                    <a:pt x="47" y="62"/>
                  </a:lnTo>
                  <a:lnTo>
                    <a:pt x="31" y="78"/>
                  </a:lnTo>
                  <a:lnTo>
                    <a:pt x="2" y="105"/>
                  </a:lnTo>
                  <a:lnTo>
                    <a:pt x="0" y="155"/>
                  </a:lnTo>
                  <a:lnTo>
                    <a:pt x="16" y="155"/>
                  </a:lnTo>
                  <a:lnTo>
                    <a:pt x="62" y="155"/>
                  </a:lnTo>
                  <a:lnTo>
                    <a:pt x="53" y="138"/>
                  </a:lnTo>
                  <a:lnTo>
                    <a:pt x="67" y="118"/>
                  </a:lnTo>
                  <a:lnTo>
                    <a:pt x="97" y="114"/>
                  </a:lnTo>
                  <a:lnTo>
                    <a:pt x="109" y="109"/>
                  </a:lnTo>
                  <a:lnTo>
                    <a:pt x="140" y="62"/>
                  </a:lnTo>
                  <a:lnTo>
                    <a:pt x="128" y="9"/>
                  </a:lnTo>
                  <a:lnTo>
                    <a:pt x="109"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8" name="Freeform 91">
              <a:extLst>
                <a:ext uri="{FF2B5EF4-FFF2-40B4-BE49-F238E27FC236}">
                  <a16:creationId xmlns:a16="http://schemas.microsoft.com/office/drawing/2014/main" id="{186FA82B-C17B-7E47-ACF9-9CFC39646BD7}"/>
                </a:ext>
              </a:extLst>
            </p:cNvPr>
            <p:cNvSpPr>
              <a:spLocks/>
            </p:cNvSpPr>
            <p:nvPr/>
          </p:nvSpPr>
          <p:spPr bwMode="auto">
            <a:xfrm>
              <a:off x="3504" y="2747"/>
              <a:ext cx="135" cy="185"/>
            </a:xfrm>
            <a:custGeom>
              <a:avLst/>
              <a:gdLst>
                <a:gd name="T0" fmla="*/ 110 w 204"/>
                <a:gd name="T1" fmla="*/ 248 h 279"/>
                <a:gd name="T2" fmla="*/ 94 w 204"/>
                <a:gd name="T3" fmla="*/ 217 h 279"/>
                <a:gd name="T4" fmla="*/ 16 w 204"/>
                <a:gd name="T5" fmla="*/ 171 h 279"/>
                <a:gd name="T6" fmla="*/ 0 w 204"/>
                <a:gd name="T7" fmla="*/ 171 h 279"/>
                <a:gd name="T8" fmla="*/ 9 w 204"/>
                <a:gd name="T9" fmla="*/ 156 h 279"/>
                <a:gd name="T10" fmla="*/ 22 w 204"/>
                <a:gd name="T11" fmla="*/ 142 h 279"/>
                <a:gd name="T12" fmla="*/ 6 w 204"/>
                <a:gd name="T13" fmla="*/ 142 h 279"/>
                <a:gd name="T14" fmla="*/ 0 w 204"/>
                <a:gd name="T15" fmla="*/ 124 h 279"/>
                <a:gd name="T16" fmla="*/ 31 w 204"/>
                <a:gd name="T17" fmla="*/ 78 h 279"/>
                <a:gd name="T18" fmla="*/ 19 w 204"/>
                <a:gd name="T19" fmla="*/ 27 h 279"/>
                <a:gd name="T20" fmla="*/ 0 w 204"/>
                <a:gd name="T21" fmla="*/ 16 h 279"/>
                <a:gd name="T22" fmla="*/ 16 w 204"/>
                <a:gd name="T23" fmla="*/ 0 h 279"/>
                <a:gd name="T24" fmla="*/ 47 w 204"/>
                <a:gd name="T25" fmla="*/ 0 h 279"/>
                <a:gd name="T26" fmla="*/ 85 w 204"/>
                <a:gd name="T27" fmla="*/ 9 h 279"/>
                <a:gd name="T28" fmla="*/ 110 w 204"/>
                <a:gd name="T29" fmla="*/ 31 h 279"/>
                <a:gd name="T30" fmla="*/ 141 w 204"/>
                <a:gd name="T31" fmla="*/ 31 h 279"/>
                <a:gd name="T32" fmla="*/ 175 w 204"/>
                <a:gd name="T33" fmla="*/ 12 h 279"/>
                <a:gd name="T34" fmla="*/ 188 w 204"/>
                <a:gd name="T35" fmla="*/ 16 h 279"/>
                <a:gd name="T36" fmla="*/ 204 w 204"/>
                <a:gd name="T37" fmla="*/ 16 h 279"/>
                <a:gd name="T38" fmla="*/ 188 w 204"/>
                <a:gd name="T39" fmla="*/ 62 h 279"/>
                <a:gd name="T40" fmla="*/ 188 w 204"/>
                <a:gd name="T41" fmla="*/ 155 h 279"/>
                <a:gd name="T42" fmla="*/ 204 w 204"/>
                <a:gd name="T43" fmla="*/ 186 h 279"/>
                <a:gd name="T44" fmla="*/ 181 w 204"/>
                <a:gd name="T45" fmla="*/ 205 h 279"/>
                <a:gd name="T46" fmla="*/ 162 w 204"/>
                <a:gd name="T47" fmla="*/ 223 h 279"/>
                <a:gd name="T48" fmla="*/ 156 w 204"/>
                <a:gd name="T49" fmla="*/ 247 h 279"/>
                <a:gd name="T50" fmla="*/ 141 w 204"/>
                <a:gd name="T51" fmla="*/ 279 h 279"/>
                <a:gd name="T52" fmla="*/ 110 w 204"/>
                <a:gd name="T53" fmla="*/ 24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4" h="279">
                  <a:moveTo>
                    <a:pt x="110" y="248"/>
                  </a:moveTo>
                  <a:lnTo>
                    <a:pt x="94" y="217"/>
                  </a:lnTo>
                  <a:lnTo>
                    <a:pt x="16" y="171"/>
                  </a:lnTo>
                  <a:lnTo>
                    <a:pt x="0" y="171"/>
                  </a:lnTo>
                  <a:lnTo>
                    <a:pt x="9" y="156"/>
                  </a:lnTo>
                  <a:lnTo>
                    <a:pt x="22" y="142"/>
                  </a:lnTo>
                  <a:lnTo>
                    <a:pt x="6" y="142"/>
                  </a:lnTo>
                  <a:lnTo>
                    <a:pt x="0" y="124"/>
                  </a:lnTo>
                  <a:lnTo>
                    <a:pt x="31" y="78"/>
                  </a:lnTo>
                  <a:lnTo>
                    <a:pt x="19" y="27"/>
                  </a:lnTo>
                  <a:lnTo>
                    <a:pt x="0" y="16"/>
                  </a:lnTo>
                  <a:lnTo>
                    <a:pt x="16" y="0"/>
                  </a:lnTo>
                  <a:lnTo>
                    <a:pt x="47" y="0"/>
                  </a:lnTo>
                  <a:lnTo>
                    <a:pt x="85" y="9"/>
                  </a:lnTo>
                  <a:lnTo>
                    <a:pt x="110" y="31"/>
                  </a:lnTo>
                  <a:lnTo>
                    <a:pt x="141" y="31"/>
                  </a:lnTo>
                  <a:lnTo>
                    <a:pt x="175" y="12"/>
                  </a:lnTo>
                  <a:lnTo>
                    <a:pt x="188" y="16"/>
                  </a:lnTo>
                  <a:lnTo>
                    <a:pt x="204" y="16"/>
                  </a:lnTo>
                  <a:lnTo>
                    <a:pt x="188" y="62"/>
                  </a:lnTo>
                  <a:lnTo>
                    <a:pt x="188" y="155"/>
                  </a:lnTo>
                  <a:lnTo>
                    <a:pt x="204" y="186"/>
                  </a:lnTo>
                  <a:lnTo>
                    <a:pt x="181" y="205"/>
                  </a:lnTo>
                  <a:lnTo>
                    <a:pt x="162" y="223"/>
                  </a:lnTo>
                  <a:lnTo>
                    <a:pt x="156" y="247"/>
                  </a:lnTo>
                  <a:lnTo>
                    <a:pt x="141" y="279"/>
                  </a:lnTo>
                  <a:lnTo>
                    <a:pt x="110" y="248"/>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59" name="Freeform 92">
              <a:extLst>
                <a:ext uri="{FF2B5EF4-FFF2-40B4-BE49-F238E27FC236}">
                  <a16:creationId xmlns:a16="http://schemas.microsoft.com/office/drawing/2014/main" id="{5005D014-F792-FF4F-A1A3-97D82F7EDC91}"/>
                </a:ext>
              </a:extLst>
            </p:cNvPr>
            <p:cNvSpPr>
              <a:spLocks/>
            </p:cNvSpPr>
            <p:nvPr/>
          </p:nvSpPr>
          <p:spPr bwMode="auto">
            <a:xfrm>
              <a:off x="3432" y="2859"/>
              <a:ext cx="187" cy="208"/>
            </a:xfrm>
            <a:custGeom>
              <a:avLst/>
              <a:gdLst>
                <a:gd name="T0" fmla="*/ 16 w 282"/>
                <a:gd name="T1" fmla="*/ 0 h 313"/>
                <a:gd name="T2" fmla="*/ 31 w 282"/>
                <a:gd name="T3" fmla="*/ 16 h 313"/>
                <a:gd name="T4" fmla="*/ 31 w 282"/>
                <a:gd name="T5" fmla="*/ 31 h 313"/>
                <a:gd name="T6" fmla="*/ 31 w 282"/>
                <a:gd name="T7" fmla="*/ 62 h 313"/>
                <a:gd name="T8" fmla="*/ 0 w 282"/>
                <a:gd name="T9" fmla="*/ 94 h 313"/>
                <a:gd name="T10" fmla="*/ 4 w 282"/>
                <a:gd name="T11" fmla="*/ 133 h 313"/>
                <a:gd name="T12" fmla="*/ 0 w 282"/>
                <a:gd name="T13" fmla="*/ 156 h 313"/>
                <a:gd name="T14" fmla="*/ 16 w 282"/>
                <a:gd name="T15" fmla="*/ 164 h 313"/>
                <a:gd name="T16" fmla="*/ 23 w 282"/>
                <a:gd name="T17" fmla="*/ 188 h 313"/>
                <a:gd name="T18" fmla="*/ 31 w 282"/>
                <a:gd name="T19" fmla="*/ 203 h 313"/>
                <a:gd name="T20" fmla="*/ 31 w 282"/>
                <a:gd name="T21" fmla="*/ 218 h 313"/>
                <a:gd name="T22" fmla="*/ 47 w 282"/>
                <a:gd name="T23" fmla="*/ 218 h 313"/>
                <a:gd name="T24" fmla="*/ 94 w 282"/>
                <a:gd name="T25" fmla="*/ 250 h 313"/>
                <a:gd name="T26" fmla="*/ 110 w 282"/>
                <a:gd name="T27" fmla="*/ 250 h 313"/>
                <a:gd name="T28" fmla="*/ 125 w 282"/>
                <a:gd name="T29" fmla="*/ 265 h 313"/>
                <a:gd name="T30" fmla="*/ 141 w 282"/>
                <a:gd name="T31" fmla="*/ 312 h 313"/>
                <a:gd name="T32" fmla="*/ 172 w 282"/>
                <a:gd name="T33" fmla="*/ 312 h 313"/>
                <a:gd name="T34" fmla="*/ 211 w 282"/>
                <a:gd name="T35" fmla="*/ 313 h 313"/>
                <a:gd name="T36" fmla="*/ 251 w 282"/>
                <a:gd name="T37" fmla="*/ 296 h 313"/>
                <a:gd name="T38" fmla="*/ 282 w 282"/>
                <a:gd name="T39" fmla="*/ 281 h 313"/>
                <a:gd name="T40" fmla="*/ 266 w 282"/>
                <a:gd name="T41" fmla="*/ 265 h 313"/>
                <a:gd name="T42" fmla="*/ 251 w 282"/>
                <a:gd name="T43" fmla="*/ 234 h 313"/>
                <a:gd name="T44" fmla="*/ 253 w 282"/>
                <a:gd name="T45" fmla="*/ 197 h 313"/>
                <a:gd name="T46" fmla="*/ 248 w 282"/>
                <a:gd name="T47" fmla="*/ 167 h 313"/>
                <a:gd name="T48" fmla="*/ 235 w 282"/>
                <a:gd name="T49" fmla="*/ 140 h 313"/>
                <a:gd name="T50" fmla="*/ 251 w 282"/>
                <a:gd name="T51" fmla="*/ 109 h 313"/>
                <a:gd name="T52" fmla="*/ 219 w 282"/>
                <a:gd name="T53" fmla="*/ 78 h 313"/>
                <a:gd name="T54" fmla="*/ 204 w 282"/>
                <a:gd name="T55" fmla="*/ 47 h 313"/>
                <a:gd name="T56" fmla="*/ 125 w 282"/>
                <a:gd name="T57" fmla="*/ 0 h 313"/>
                <a:gd name="T58" fmla="*/ 110 w 282"/>
                <a:gd name="T59" fmla="*/ 0 h 313"/>
                <a:gd name="T60" fmla="*/ 103 w 282"/>
                <a:gd name="T61" fmla="*/ 28 h 313"/>
                <a:gd name="T62" fmla="*/ 103 w 282"/>
                <a:gd name="T63" fmla="*/ 38 h 313"/>
                <a:gd name="T64" fmla="*/ 94 w 282"/>
                <a:gd name="T65" fmla="*/ 43 h 313"/>
                <a:gd name="T66" fmla="*/ 70 w 282"/>
                <a:gd name="T67" fmla="*/ 40 h 313"/>
                <a:gd name="T68" fmla="*/ 58 w 282"/>
                <a:gd name="T69" fmla="*/ 53 h 313"/>
                <a:gd name="T70" fmla="*/ 52 w 282"/>
                <a:gd name="T71" fmla="*/ 28 h 313"/>
                <a:gd name="T72" fmla="*/ 63 w 282"/>
                <a:gd name="T73" fmla="*/ 0 h 313"/>
                <a:gd name="T74" fmla="*/ 16 w 282"/>
                <a:gd name="T7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3">
                  <a:moveTo>
                    <a:pt x="16" y="0"/>
                  </a:moveTo>
                  <a:lnTo>
                    <a:pt x="31" y="16"/>
                  </a:lnTo>
                  <a:lnTo>
                    <a:pt x="31" y="31"/>
                  </a:lnTo>
                  <a:lnTo>
                    <a:pt x="31" y="62"/>
                  </a:lnTo>
                  <a:lnTo>
                    <a:pt x="0" y="94"/>
                  </a:lnTo>
                  <a:lnTo>
                    <a:pt x="4" y="133"/>
                  </a:lnTo>
                  <a:lnTo>
                    <a:pt x="0" y="156"/>
                  </a:lnTo>
                  <a:lnTo>
                    <a:pt x="16" y="164"/>
                  </a:lnTo>
                  <a:lnTo>
                    <a:pt x="23" y="188"/>
                  </a:lnTo>
                  <a:lnTo>
                    <a:pt x="31" y="203"/>
                  </a:lnTo>
                  <a:lnTo>
                    <a:pt x="31" y="218"/>
                  </a:lnTo>
                  <a:lnTo>
                    <a:pt x="47" y="218"/>
                  </a:lnTo>
                  <a:lnTo>
                    <a:pt x="94" y="250"/>
                  </a:lnTo>
                  <a:lnTo>
                    <a:pt x="110" y="250"/>
                  </a:lnTo>
                  <a:lnTo>
                    <a:pt x="125" y="265"/>
                  </a:lnTo>
                  <a:lnTo>
                    <a:pt x="141" y="312"/>
                  </a:lnTo>
                  <a:lnTo>
                    <a:pt x="172" y="312"/>
                  </a:lnTo>
                  <a:lnTo>
                    <a:pt x="211" y="313"/>
                  </a:lnTo>
                  <a:lnTo>
                    <a:pt x="251" y="296"/>
                  </a:lnTo>
                  <a:lnTo>
                    <a:pt x="282" y="281"/>
                  </a:lnTo>
                  <a:lnTo>
                    <a:pt x="266" y="265"/>
                  </a:lnTo>
                  <a:lnTo>
                    <a:pt x="251" y="234"/>
                  </a:lnTo>
                  <a:lnTo>
                    <a:pt x="253" y="197"/>
                  </a:lnTo>
                  <a:lnTo>
                    <a:pt x="248" y="167"/>
                  </a:lnTo>
                  <a:lnTo>
                    <a:pt x="235" y="140"/>
                  </a:lnTo>
                  <a:lnTo>
                    <a:pt x="251" y="109"/>
                  </a:lnTo>
                  <a:lnTo>
                    <a:pt x="219" y="78"/>
                  </a:lnTo>
                  <a:lnTo>
                    <a:pt x="204" y="47"/>
                  </a:lnTo>
                  <a:lnTo>
                    <a:pt x="125" y="0"/>
                  </a:lnTo>
                  <a:lnTo>
                    <a:pt x="110" y="0"/>
                  </a:lnTo>
                  <a:lnTo>
                    <a:pt x="103" y="28"/>
                  </a:lnTo>
                  <a:lnTo>
                    <a:pt x="103" y="38"/>
                  </a:lnTo>
                  <a:lnTo>
                    <a:pt x="94" y="43"/>
                  </a:lnTo>
                  <a:lnTo>
                    <a:pt x="70" y="40"/>
                  </a:lnTo>
                  <a:lnTo>
                    <a:pt x="58" y="53"/>
                  </a:lnTo>
                  <a:lnTo>
                    <a:pt x="52" y="28"/>
                  </a:lnTo>
                  <a:lnTo>
                    <a:pt x="63" y="0"/>
                  </a:lnTo>
                  <a:lnTo>
                    <a:pt x="16"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0" name="Freeform 93">
              <a:extLst>
                <a:ext uri="{FF2B5EF4-FFF2-40B4-BE49-F238E27FC236}">
                  <a16:creationId xmlns:a16="http://schemas.microsoft.com/office/drawing/2014/main" id="{DFAB1CE4-FB5F-FA42-BAE2-1FE0676074D5}"/>
                </a:ext>
              </a:extLst>
            </p:cNvPr>
            <p:cNvSpPr>
              <a:spLocks/>
            </p:cNvSpPr>
            <p:nvPr/>
          </p:nvSpPr>
          <p:spPr bwMode="auto">
            <a:xfrm>
              <a:off x="3297" y="2994"/>
              <a:ext cx="207" cy="196"/>
            </a:xfrm>
            <a:custGeom>
              <a:avLst/>
              <a:gdLst>
                <a:gd name="T0" fmla="*/ 187 w 312"/>
                <a:gd name="T1" fmla="*/ 234 h 296"/>
                <a:gd name="T2" fmla="*/ 172 w 312"/>
                <a:gd name="T3" fmla="*/ 249 h 296"/>
                <a:gd name="T4" fmla="*/ 125 w 312"/>
                <a:gd name="T5" fmla="*/ 296 h 296"/>
                <a:gd name="T6" fmla="*/ 78 w 312"/>
                <a:gd name="T7" fmla="*/ 296 h 296"/>
                <a:gd name="T8" fmla="*/ 76 w 312"/>
                <a:gd name="T9" fmla="*/ 279 h 296"/>
                <a:gd name="T10" fmla="*/ 47 w 312"/>
                <a:gd name="T11" fmla="*/ 280 h 296"/>
                <a:gd name="T12" fmla="*/ 31 w 312"/>
                <a:gd name="T13" fmla="*/ 280 h 296"/>
                <a:gd name="T14" fmla="*/ 0 w 312"/>
                <a:gd name="T15" fmla="*/ 249 h 296"/>
                <a:gd name="T16" fmla="*/ 0 w 312"/>
                <a:gd name="T17" fmla="*/ 156 h 296"/>
                <a:gd name="T18" fmla="*/ 62 w 312"/>
                <a:gd name="T19" fmla="*/ 140 h 296"/>
                <a:gd name="T20" fmla="*/ 47 w 312"/>
                <a:gd name="T21" fmla="*/ 140 h 296"/>
                <a:gd name="T22" fmla="*/ 58 w 312"/>
                <a:gd name="T23" fmla="*/ 92 h 296"/>
                <a:gd name="T24" fmla="*/ 85 w 312"/>
                <a:gd name="T25" fmla="*/ 101 h 296"/>
                <a:gd name="T26" fmla="*/ 106 w 312"/>
                <a:gd name="T27" fmla="*/ 119 h 296"/>
                <a:gd name="T28" fmla="*/ 139 w 312"/>
                <a:gd name="T29" fmla="*/ 116 h 296"/>
                <a:gd name="T30" fmla="*/ 172 w 312"/>
                <a:gd name="T31" fmla="*/ 140 h 296"/>
                <a:gd name="T32" fmla="*/ 186 w 312"/>
                <a:gd name="T33" fmla="*/ 162 h 296"/>
                <a:gd name="T34" fmla="*/ 203 w 312"/>
                <a:gd name="T35" fmla="*/ 156 h 296"/>
                <a:gd name="T36" fmla="*/ 203 w 312"/>
                <a:gd name="T37" fmla="*/ 125 h 296"/>
                <a:gd name="T38" fmla="*/ 187 w 312"/>
                <a:gd name="T39" fmla="*/ 125 h 296"/>
                <a:gd name="T40" fmla="*/ 172 w 312"/>
                <a:gd name="T41" fmla="*/ 109 h 296"/>
                <a:gd name="T42" fmla="*/ 169 w 312"/>
                <a:gd name="T43" fmla="*/ 69 h 296"/>
                <a:gd name="T44" fmla="*/ 166 w 312"/>
                <a:gd name="T45" fmla="*/ 35 h 296"/>
                <a:gd name="T46" fmla="*/ 187 w 312"/>
                <a:gd name="T47" fmla="*/ 31 h 296"/>
                <a:gd name="T48" fmla="*/ 187 w 312"/>
                <a:gd name="T49" fmla="*/ 16 h 296"/>
                <a:gd name="T50" fmla="*/ 219 w 312"/>
                <a:gd name="T51" fmla="*/ 8 h 296"/>
                <a:gd name="T52" fmla="*/ 219 w 312"/>
                <a:gd name="T53" fmla="*/ 8 h 296"/>
                <a:gd name="T54" fmla="*/ 234 w 312"/>
                <a:gd name="T55" fmla="*/ 0 h 296"/>
                <a:gd name="T56" fmla="*/ 234 w 312"/>
                <a:gd name="T57" fmla="*/ 16 h 296"/>
                <a:gd name="T58" fmla="*/ 250 w 312"/>
                <a:gd name="T59" fmla="*/ 16 h 296"/>
                <a:gd name="T60" fmla="*/ 296 w 312"/>
                <a:gd name="T61" fmla="*/ 47 h 296"/>
                <a:gd name="T62" fmla="*/ 312 w 312"/>
                <a:gd name="T63" fmla="*/ 78 h 296"/>
                <a:gd name="T64" fmla="*/ 296 w 312"/>
                <a:gd name="T65" fmla="*/ 109 h 296"/>
                <a:gd name="T66" fmla="*/ 296 w 312"/>
                <a:gd name="T67" fmla="*/ 125 h 296"/>
                <a:gd name="T68" fmla="*/ 281 w 312"/>
                <a:gd name="T69" fmla="*/ 171 h 296"/>
                <a:gd name="T70" fmla="*/ 296 w 312"/>
                <a:gd name="T71" fmla="*/ 171 h 296"/>
                <a:gd name="T72" fmla="*/ 218 w 312"/>
                <a:gd name="T73" fmla="*/ 203 h 296"/>
                <a:gd name="T74" fmla="*/ 218 w 312"/>
                <a:gd name="T75" fmla="*/ 218 h 296"/>
                <a:gd name="T76" fmla="*/ 187 w 312"/>
                <a:gd name="T77" fmla="*/ 23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2" h="296">
                  <a:moveTo>
                    <a:pt x="187" y="234"/>
                  </a:moveTo>
                  <a:lnTo>
                    <a:pt x="172" y="249"/>
                  </a:lnTo>
                  <a:lnTo>
                    <a:pt x="125" y="296"/>
                  </a:lnTo>
                  <a:lnTo>
                    <a:pt x="78" y="296"/>
                  </a:lnTo>
                  <a:lnTo>
                    <a:pt x="76" y="279"/>
                  </a:lnTo>
                  <a:lnTo>
                    <a:pt x="47" y="280"/>
                  </a:lnTo>
                  <a:lnTo>
                    <a:pt x="31" y="280"/>
                  </a:lnTo>
                  <a:lnTo>
                    <a:pt x="0" y="249"/>
                  </a:lnTo>
                  <a:lnTo>
                    <a:pt x="0" y="156"/>
                  </a:lnTo>
                  <a:lnTo>
                    <a:pt x="62" y="140"/>
                  </a:lnTo>
                  <a:lnTo>
                    <a:pt x="47" y="140"/>
                  </a:lnTo>
                  <a:lnTo>
                    <a:pt x="58" y="92"/>
                  </a:lnTo>
                  <a:lnTo>
                    <a:pt x="85" y="101"/>
                  </a:lnTo>
                  <a:lnTo>
                    <a:pt x="106" y="119"/>
                  </a:lnTo>
                  <a:lnTo>
                    <a:pt x="139" y="116"/>
                  </a:lnTo>
                  <a:lnTo>
                    <a:pt x="172" y="140"/>
                  </a:lnTo>
                  <a:lnTo>
                    <a:pt x="186" y="162"/>
                  </a:lnTo>
                  <a:lnTo>
                    <a:pt x="203" y="156"/>
                  </a:lnTo>
                  <a:lnTo>
                    <a:pt x="203" y="125"/>
                  </a:lnTo>
                  <a:lnTo>
                    <a:pt x="187" y="125"/>
                  </a:lnTo>
                  <a:lnTo>
                    <a:pt x="172" y="109"/>
                  </a:lnTo>
                  <a:lnTo>
                    <a:pt x="169" y="69"/>
                  </a:lnTo>
                  <a:lnTo>
                    <a:pt x="166" y="35"/>
                  </a:lnTo>
                  <a:lnTo>
                    <a:pt x="187" y="31"/>
                  </a:lnTo>
                  <a:lnTo>
                    <a:pt x="187" y="16"/>
                  </a:lnTo>
                  <a:lnTo>
                    <a:pt x="219" y="8"/>
                  </a:lnTo>
                  <a:lnTo>
                    <a:pt x="219" y="8"/>
                  </a:lnTo>
                  <a:lnTo>
                    <a:pt x="234" y="0"/>
                  </a:lnTo>
                  <a:lnTo>
                    <a:pt x="234" y="16"/>
                  </a:lnTo>
                  <a:lnTo>
                    <a:pt x="250" y="16"/>
                  </a:lnTo>
                  <a:lnTo>
                    <a:pt x="296" y="47"/>
                  </a:lnTo>
                  <a:lnTo>
                    <a:pt x="312" y="78"/>
                  </a:lnTo>
                  <a:lnTo>
                    <a:pt x="296" y="109"/>
                  </a:lnTo>
                  <a:lnTo>
                    <a:pt x="296" y="125"/>
                  </a:lnTo>
                  <a:lnTo>
                    <a:pt x="281" y="171"/>
                  </a:lnTo>
                  <a:lnTo>
                    <a:pt x="296" y="171"/>
                  </a:lnTo>
                  <a:lnTo>
                    <a:pt x="218" y="203"/>
                  </a:lnTo>
                  <a:lnTo>
                    <a:pt x="218" y="218"/>
                  </a:lnTo>
                  <a:lnTo>
                    <a:pt x="187" y="234"/>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1" name="Freeform 94">
              <a:extLst>
                <a:ext uri="{FF2B5EF4-FFF2-40B4-BE49-F238E27FC236}">
                  <a16:creationId xmlns:a16="http://schemas.microsoft.com/office/drawing/2014/main" id="{6CAFDF0B-2C33-E647-BE8C-61F18CEDD6E0}"/>
                </a:ext>
              </a:extLst>
            </p:cNvPr>
            <p:cNvSpPr>
              <a:spLocks/>
            </p:cNvSpPr>
            <p:nvPr/>
          </p:nvSpPr>
          <p:spPr bwMode="auto">
            <a:xfrm>
              <a:off x="3442" y="3046"/>
              <a:ext cx="177" cy="309"/>
            </a:xfrm>
            <a:custGeom>
              <a:avLst/>
              <a:gdLst>
                <a:gd name="T0" fmla="*/ 31 w 266"/>
                <a:gd name="T1" fmla="*/ 466 h 466"/>
                <a:gd name="T2" fmla="*/ 47 w 266"/>
                <a:gd name="T3" fmla="*/ 466 h 466"/>
                <a:gd name="T4" fmla="*/ 47 w 266"/>
                <a:gd name="T5" fmla="*/ 450 h 466"/>
                <a:gd name="T6" fmla="*/ 47 w 266"/>
                <a:gd name="T7" fmla="*/ 435 h 466"/>
                <a:gd name="T8" fmla="*/ 88 w 266"/>
                <a:gd name="T9" fmla="*/ 420 h 466"/>
                <a:gd name="T10" fmla="*/ 114 w 266"/>
                <a:gd name="T11" fmla="*/ 408 h 466"/>
                <a:gd name="T12" fmla="*/ 115 w 266"/>
                <a:gd name="T13" fmla="*/ 377 h 466"/>
                <a:gd name="T14" fmla="*/ 125 w 266"/>
                <a:gd name="T15" fmla="*/ 342 h 466"/>
                <a:gd name="T16" fmla="*/ 110 w 266"/>
                <a:gd name="T17" fmla="*/ 295 h 466"/>
                <a:gd name="T18" fmla="*/ 110 w 266"/>
                <a:gd name="T19" fmla="*/ 280 h 466"/>
                <a:gd name="T20" fmla="*/ 123 w 266"/>
                <a:gd name="T21" fmla="*/ 258 h 466"/>
                <a:gd name="T22" fmla="*/ 154 w 266"/>
                <a:gd name="T23" fmla="*/ 231 h 466"/>
                <a:gd name="T24" fmla="*/ 172 w 266"/>
                <a:gd name="T25" fmla="*/ 202 h 466"/>
                <a:gd name="T26" fmla="*/ 219 w 266"/>
                <a:gd name="T27" fmla="*/ 186 h 466"/>
                <a:gd name="T28" fmla="*/ 252 w 266"/>
                <a:gd name="T29" fmla="*/ 158 h 466"/>
                <a:gd name="T30" fmla="*/ 262 w 266"/>
                <a:gd name="T31" fmla="*/ 122 h 466"/>
                <a:gd name="T32" fmla="*/ 261 w 266"/>
                <a:gd name="T33" fmla="*/ 84 h 466"/>
                <a:gd name="T34" fmla="*/ 261 w 266"/>
                <a:gd name="T35" fmla="*/ 41 h 466"/>
                <a:gd name="T36" fmla="*/ 266 w 266"/>
                <a:gd name="T37" fmla="*/ 0 h 466"/>
                <a:gd name="T38" fmla="*/ 235 w 266"/>
                <a:gd name="T39" fmla="*/ 16 h 466"/>
                <a:gd name="T40" fmla="*/ 187 w 266"/>
                <a:gd name="T41" fmla="*/ 32 h 466"/>
                <a:gd name="T42" fmla="*/ 156 w 266"/>
                <a:gd name="T43" fmla="*/ 31 h 466"/>
                <a:gd name="T44" fmla="*/ 125 w 266"/>
                <a:gd name="T45" fmla="*/ 31 h 466"/>
                <a:gd name="T46" fmla="*/ 110 w 266"/>
                <a:gd name="T47" fmla="*/ 47 h 466"/>
                <a:gd name="T48" fmla="*/ 110 w 266"/>
                <a:gd name="T49" fmla="*/ 78 h 466"/>
                <a:gd name="T50" fmla="*/ 141 w 266"/>
                <a:gd name="T51" fmla="*/ 124 h 466"/>
                <a:gd name="T52" fmla="*/ 141 w 266"/>
                <a:gd name="T53" fmla="*/ 155 h 466"/>
                <a:gd name="T54" fmla="*/ 126 w 266"/>
                <a:gd name="T55" fmla="*/ 168 h 466"/>
                <a:gd name="T56" fmla="*/ 117 w 266"/>
                <a:gd name="T57" fmla="*/ 182 h 466"/>
                <a:gd name="T58" fmla="*/ 94 w 266"/>
                <a:gd name="T59" fmla="*/ 155 h 466"/>
                <a:gd name="T60" fmla="*/ 110 w 266"/>
                <a:gd name="T61" fmla="*/ 109 h 466"/>
                <a:gd name="T62" fmla="*/ 78 w 266"/>
                <a:gd name="T63" fmla="*/ 109 h 466"/>
                <a:gd name="T64" fmla="*/ 78 w 266"/>
                <a:gd name="T65" fmla="*/ 93 h 466"/>
                <a:gd name="T66" fmla="*/ 0 w 266"/>
                <a:gd name="T67" fmla="*/ 124 h 466"/>
                <a:gd name="T68" fmla="*/ 0 w 266"/>
                <a:gd name="T69" fmla="*/ 140 h 466"/>
                <a:gd name="T70" fmla="*/ 0 w 266"/>
                <a:gd name="T71" fmla="*/ 155 h 466"/>
                <a:gd name="T72" fmla="*/ 16 w 266"/>
                <a:gd name="T73" fmla="*/ 155 h 466"/>
                <a:gd name="T74" fmla="*/ 27 w 266"/>
                <a:gd name="T75" fmla="*/ 168 h 466"/>
                <a:gd name="T76" fmla="*/ 43 w 266"/>
                <a:gd name="T77" fmla="*/ 176 h 466"/>
                <a:gd name="T78" fmla="*/ 63 w 266"/>
                <a:gd name="T79" fmla="*/ 171 h 466"/>
                <a:gd name="T80" fmla="*/ 63 w 266"/>
                <a:gd name="T81" fmla="*/ 202 h 466"/>
                <a:gd name="T82" fmla="*/ 60 w 266"/>
                <a:gd name="T83" fmla="*/ 248 h 466"/>
                <a:gd name="T84" fmla="*/ 63 w 266"/>
                <a:gd name="T85" fmla="*/ 280 h 466"/>
                <a:gd name="T86" fmla="*/ 16 w 266"/>
                <a:gd name="T87" fmla="*/ 357 h 466"/>
                <a:gd name="T88" fmla="*/ 31 w 266"/>
                <a:gd name="T89" fmla="*/ 450 h 466"/>
                <a:gd name="T90" fmla="*/ 31 w 266"/>
                <a:gd name="T91" fmla="*/ 46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6" h="466">
                  <a:moveTo>
                    <a:pt x="31" y="466"/>
                  </a:moveTo>
                  <a:lnTo>
                    <a:pt x="47" y="466"/>
                  </a:lnTo>
                  <a:lnTo>
                    <a:pt x="47" y="450"/>
                  </a:lnTo>
                  <a:lnTo>
                    <a:pt x="47" y="435"/>
                  </a:lnTo>
                  <a:lnTo>
                    <a:pt x="88" y="420"/>
                  </a:lnTo>
                  <a:lnTo>
                    <a:pt x="114" y="408"/>
                  </a:lnTo>
                  <a:lnTo>
                    <a:pt x="115" y="377"/>
                  </a:lnTo>
                  <a:lnTo>
                    <a:pt x="125" y="342"/>
                  </a:lnTo>
                  <a:lnTo>
                    <a:pt x="110" y="295"/>
                  </a:lnTo>
                  <a:lnTo>
                    <a:pt x="110" y="280"/>
                  </a:lnTo>
                  <a:lnTo>
                    <a:pt x="123" y="258"/>
                  </a:lnTo>
                  <a:lnTo>
                    <a:pt x="154" y="231"/>
                  </a:lnTo>
                  <a:lnTo>
                    <a:pt x="172" y="202"/>
                  </a:lnTo>
                  <a:lnTo>
                    <a:pt x="219" y="186"/>
                  </a:lnTo>
                  <a:lnTo>
                    <a:pt x="252" y="158"/>
                  </a:lnTo>
                  <a:lnTo>
                    <a:pt x="262" y="122"/>
                  </a:lnTo>
                  <a:lnTo>
                    <a:pt x="261" y="84"/>
                  </a:lnTo>
                  <a:lnTo>
                    <a:pt x="261" y="41"/>
                  </a:lnTo>
                  <a:lnTo>
                    <a:pt x="266" y="0"/>
                  </a:lnTo>
                  <a:lnTo>
                    <a:pt x="235" y="16"/>
                  </a:lnTo>
                  <a:lnTo>
                    <a:pt x="187" y="32"/>
                  </a:lnTo>
                  <a:lnTo>
                    <a:pt x="156" y="31"/>
                  </a:lnTo>
                  <a:lnTo>
                    <a:pt x="125" y="31"/>
                  </a:lnTo>
                  <a:lnTo>
                    <a:pt x="110" y="47"/>
                  </a:lnTo>
                  <a:lnTo>
                    <a:pt x="110" y="78"/>
                  </a:lnTo>
                  <a:lnTo>
                    <a:pt x="141" y="124"/>
                  </a:lnTo>
                  <a:lnTo>
                    <a:pt x="141" y="155"/>
                  </a:lnTo>
                  <a:lnTo>
                    <a:pt x="126" y="168"/>
                  </a:lnTo>
                  <a:lnTo>
                    <a:pt x="117" y="182"/>
                  </a:lnTo>
                  <a:lnTo>
                    <a:pt x="94" y="155"/>
                  </a:lnTo>
                  <a:lnTo>
                    <a:pt x="110" y="109"/>
                  </a:lnTo>
                  <a:lnTo>
                    <a:pt x="78" y="109"/>
                  </a:lnTo>
                  <a:lnTo>
                    <a:pt x="78" y="93"/>
                  </a:lnTo>
                  <a:lnTo>
                    <a:pt x="0" y="124"/>
                  </a:lnTo>
                  <a:lnTo>
                    <a:pt x="0" y="140"/>
                  </a:lnTo>
                  <a:lnTo>
                    <a:pt x="0" y="155"/>
                  </a:lnTo>
                  <a:lnTo>
                    <a:pt x="16" y="155"/>
                  </a:lnTo>
                  <a:lnTo>
                    <a:pt x="27" y="168"/>
                  </a:lnTo>
                  <a:lnTo>
                    <a:pt x="43" y="176"/>
                  </a:lnTo>
                  <a:lnTo>
                    <a:pt x="63" y="171"/>
                  </a:lnTo>
                  <a:lnTo>
                    <a:pt x="63" y="202"/>
                  </a:lnTo>
                  <a:lnTo>
                    <a:pt x="60" y="248"/>
                  </a:lnTo>
                  <a:lnTo>
                    <a:pt x="63" y="280"/>
                  </a:lnTo>
                  <a:lnTo>
                    <a:pt x="16" y="357"/>
                  </a:lnTo>
                  <a:lnTo>
                    <a:pt x="31" y="450"/>
                  </a:lnTo>
                  <a:lnTo>
                    <a:pt x="31" y="466"/>
                  </a:lnTo>
                  <a:close/>
                </a:path>
              </a:pathLst>
            </a:custGeom>
            <a:solidFill>
              <a:srgbClr val="5B9BD5"/>
            </a:solidFill>
            <a:ln w="3175" cmpd="sng">
              <a:solidFill>
                <a:schemeClr val="bg1"/>
              </a:solidFill>
              <a:prstDash val="solid"/>
              <a:round/>
              <a:headEnd/>
              <a:tailEnd/>
            </a:ln>
          </p:spPr>
          <p:txBody>
            <a:bodyPr/>
            <a:lstStyle/>
            <a:p>
              <a:endParaRPr lang="de-DE" sz="1286" dirty="0"/>
            </a:p>
          </p:txBody>
        </p:sp>
        <p:sp>
          <p:nvSpPr>
            <p:cNvPr id="62" name="Freeform 95">
              <a:extLst>
                <a:ext uri="{FF2B5EF4-FFF2-40B4-BE49-F238E27FC236}">
                  <a16:creationId xmlns:a16="http://schemas.microsoft.com/office/drawing/2014/main" id="{A77228FF-DCDB-F349-8191-8B979CD7FC69}"/>
                </a:ext>
              </a:extLst>
            </p:cNvPr>
            <p:cNvSpPr>
              <a:spLocks/>
            </p:cNvSpPr>
            <p:nvPr/>
          </p:nvSpPr>
          <p:spPr bwMode="auto">
            <a:xfrm>
              <a:off x="3484" y="3024"/>
              <a:ext cx="51" cy="142"/>
            </a:xfrm>
            <a:custGeom>
              <a:avLst/>
              <a:gdLst>
                <a:gd name="T0" fmla="*/ 16 w 78"/>
                <a:gd name="T1" fmla="*/ 0 h 214"/>
                <a:gd name="T2" fmla="*/ 31 w 78"/>
                <a:gd name="T3" fmla="*/ 31 h 214"/>
                <a:gd name="T4" fmla="*/ 16 w 78"/>
                <a:gd name="T5" fmla="*/ 63 h 214"/>
                <a:gd name="T6" fmla="*/ 16 w 78"/>
                <a:gd name="T7" fmla="*/ 78 h 214"/>
                <a:gd name="T8" fmla="*/ 0 w 78"/>
                <a:gd name="T9" fmla="*/ 125 h 214"/>
                <a:gd name="T10" fmla="*/ 16 w 78"/>
                <a:gd name="T11" fmla="*/ 125 h 214"/>
                <a:gd name="T12" fmla="*/ 16 w 78"/>
                <a:gd name="T13" fmla="*/ 141 h 214"/>
                <a:gd name="T14" fmla="*/ 47 w 78"/>
                <a:gd name="T15" fmla="*/ 141 h 214"/>
                <a:gd name="T16" fmla="*/ 31 w 78"/>
                <a:gd name="T17" fmla="*/ 188 h 214"/>
                <a:gd name="T18" fmla="*/ 55 w 78"/>
                <a:gd name="T19" fmla="*/ 214 h 214"/>
                <a:gd name="T20" fmla="*/ 62 w 78"/>
                <a:gd name="T21" fmla="*/ 200 h 214"/>
                <a:gd name="T22" fmla="*/ 78 w 78"/>
                <a:gd name="T23" fmla="*/ 188 h 214"/>
                <a:gd name="T24" fmla="*/ 78 w 78"/>
                <a:gd name="T25" fmla="*/ 156 h 214"/>
                <a:gd name="T26" fmla="*/ 44 w 78"/>
                <a:gd name="T27" fmla="*/ 130 h 214"/>
                <a:gd name="T28" fmla="*/ 35 w 78"/>
                <a:gd name="T29" fmla="*/ 97 h 214"/>
                <a:gd name="T30" fmla="*/ 32 w 78"/>
                <a:gd name="T31" fmla="*/ 67 h 214"/>
                <a:gd name="T32" fmla="*/ 40 w 78"/>
                <a:gd name="T33" fmla="*/ 34 h 214"/>
                <a:gd name="T34" fmla="*/ 31 w 78"/>
                <a:gd name="T35" fmla="*/ 0 h 214"/>
                <a:gd name="T36" fmla="*/ 16 w 78"/>
                <a:gd name="T3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 h="214">
                  <a:moveTo>
                    <a:pt x="16" y="0"/>
                  </a:moveTo>
                  <a:lnTo>
                    <a:pt x="31" y="31"/>
                  </a:lnTo>
                  <a:lnTo>
                    <a:pt x="16" y="63"/>
                  </a:lnTo>
                  <a:lnTo>
                    <a:pt x="16" y="78"/>
                  </a:lnTo>
                  <a:lnTo>
                    <a:pt x="0" y="125"/>
                  </a:lnTo>
                  <a:lnTo>
                    <a:pt x="16" y="125"/>
                  </a:lnTo>
                  <a:lnTo>
                    <a:pt x="16" y="141"/>
                  </a:lnTo>
                  <a:lnTo>
                    <a:pt x="47" y="141"/>
                  </a:lnTo>
                  <a:lnTo>
                    <a:pt x="31" y="188"/>
                  </a:lnTo>
                  <a:lnTo>
                    <a:pt x="55" y="214"/>
                  </a:lnTo>
                  <a:lnTo>
                    <a:pt x="62" y="200"/>
                  </a:lnTo>
                  <a:lnTo>
                    <a:pt x="78" y="188"/>
                  </a:lnTo>
                  <a:lnTo>
                    <a:pt x="78" y="156"/>
                  </a:lnTo>
                  <a:lnTo>
                    <a:pt x="44" y="130"/>
                  </a:lnTo>
                  <a:lnTo>
                    <a:pt x="35" y="97"/>
                  </a:lnTo>
                  <a:lnTo>
                    <a:pt x="32" y="67"/>
                  </a:lnTo>
                  <a:lnTo>
                    <a:pt x="40" y="34"/>
                  </a:lnTo>
                  <a:lnTo>
                    <a:pt x="31" y="0"/>
                  </a:lnTo>
                  <a:lnTo>
                    <a:pt x="16"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3" name="Freeform 96">
              <a:extLst>
                <a:ext uri="{FF2B5EF4-FFF2-40B4-BE49-F238E27FC236}">
                  <a16:creationId xmlns:a16="http://schemas.microsoft.com/office/drawing/2014/main" id="{F182AE8A-6D52-A64A-B200-792C48DD2445}"/>
                </a:ext>
              </a:extLst>
            </p:cNvPr>
            <p:cNvSpPr>
              <a:spLocks/>
            </p:cNvSpPr>
            <p:nvPr/>
          </p:nvSpPr>
          <p:spPr bwMode="auto">
            <a:xfrm>
              <a:off x="3349" y="3138"/>
              <a:ext cx="135" cy="145"/>
            </a:xfrm>
            <a:custGeom>
              <a:avLst/>
              <a:gdLst>
                <a:gd name="T0" fmla="*/ 109 w 203"/>
                <a:gd name="T1" fmla="*/ 202 h 218"/>
                <a:gd name="T2" fmla="*/ 78 w 203"/>
                <a:gd name="T3" fmla="*/ 187 h 218"/>
                <a:gd name="T4" fmla="*/ 62 w 203"/>
                <a:gd name="T5" fmla="*/ 156 h 218"/>
                <a:gd name="T6" fmla="*/ 31 w 203"/>
                <a:gd name="T7" fmla="*/ 125 h 218"/>
                <a:gd name="T8" fmla="*/ 0 w 203"/>
                <a:gd name="T9" fmla="*/ 78 h 218"/>
                <a:gd name="T10" fmla="*/ 47 w 203"/>
                <a:gd name="T11" fmla="*/ 78 h 218"/>
                <a:gd name="T12" fmla="*/ 94 w 203"/>
                <a:gd name="T13" fmla="*/ 31 h 218"/>
                <a:gd name="T14" fmla="*/ 109 w 203"/>
                <a:gd name="T15" fmla="*/ 16 h 218"/>
                <a:gd name="T16" fmla="*/ 141 w 203"/>
                <a:gd name="T17" fmla="*/ 0 h 218"/>
                <a:gd name="T18" fmla="*/ 141 w 203"/>
                <a:gd name="T19" fmla="*/ 16 h 218"/>
                <a:gd name="T20" fmla="*/ 156 w 203"/>
                <a:gd name="T21" fmla="*/ 16 h 218"/>
                <a:gd name="T22" fmla="*/ 171 w 203"/>
                <a:gd name="T23" fmla="*/ 28 h 218"/>
                <a:gd name="T24" fmla="*/ 183 w 203"/>
                <a:gd name="T25" fmla="*/ 34 h 218"/>
                <a:gd name="T26" fmla="*/ 203 w 203"/>
                <a:gd name="T27" fmla="*/ 31 h 218"/>
                <a:gd name="T28" fmla="*/ 203 w 203"/>
                <a:gd name="T29" fmla="*/ 62 h 218"/>
                <a:gd name="T30" fmla="*/ 201 w 203"/>
                <a:gd name="T31" fmla="*/ 106 h 218"/>
                <a:gd name="T32" fmla="*/ 203 w 203"/>
                <a:gd name="T33" fmla="*/ 140 h 218"/>
                <a:gd name="T34" fmla="*/ 156 w 203"/>
                <a:gd name="T35" fmla="*/ 218 h 218"/>
                <a:gd name="T36" fmla="*/ 141 w 203"/>
                <a:gd name="T37" fmla="*/ 202 h 218"/>
                <a:gd name="T38" fmla="*/ 109 w 203"/>
                <a:gd name="T39" fmla="*/ 20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3" h="218">
                  <a:moveTo>
                    <a:pt x="109" y="202"/>
                  </a:moveTo>
                  <a:lnTo>
                    <a:pt x="78" y="187"/>
                  </a:lnTo>
                  <a:lnTo>
                    <a:pt x="62" y="156"/>
                  </a:lnTo>
                  <a:lnTo>
                    <a:pt x="31" y="125"/>
                  </a:lnTo>
                  <a:lnTo>
                    <a:pt x="0" y="78"/>
                  </a:lnTo>
                  <a:lnTo>
                    <a:pt x="47" y="78"/>
                  </a:lnTo>
                  <a:lnTo>
                    <a:pt x="94" y="31"/>
                  </a:lnTo>
                  <a:lnTo>
                    <a:pt x="109" y="16"/>
                  </a:lnTo>
                  <a:lnTo>
                    <a:pt x="141" y="0"/>
                  </a:lnTo>
                  <a:lnTo>
                    <a:pt x="141" y="16"/>
                  </a:lnTo>
                  <a:lnTo>
                    <a:pt x="156" y="16"/>
                  </a:lnTo>
                  <a:lnTo>
                    <a:pt x="171" y="28"/>
                  </a:lnTo>
                  <a:lnTo>
                    <a:pt x="183" y="34"/>
                  </a:lnTo>
                  <a:lnTo>
                    <a:pt x="203" y="31"/>
                  </a:lnTo>
                  <a:lnTo>
                    <a:pt x="203" y="62"/>
                  </a:lnTo>
                  <a:lnTo>
                    <a:pt x="201" y="106"/>
                  </a:lnTo>
                  <a:lnTo>
                    <a:pt x="203" y="140"/>
                  </a:lnTo>
                  <a:lnTo>
                    <a:pt x="156" y="218"/>
                  </a:lnTo>
                  <a:lnTo>
                    <a:pt x="141" y="202"/>
                  </a:lnTo>
                  <a:lnTo>
                    <a:pt x="109" y="202"/>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4" name="Freeform 97">
              <a:extLst>
                <a:ext uri="{FF2B5EF4-FFF2-40B4-BE49-F238E27FC236}">
                  <a16:creationId xmlns:a16="http://schemas.microsoft.com/office/drawing/2014/main" id="{DF4AF49E-06DD-B84B-BA58-B41FA1CEF1D1}"/>
                </a:ext>
              </a:extLst>
            </p:cNvPr>
            <p:cNvSpPr>
              <a:spLocks/>
            </p:cNvSpPr>
            <p:nvPr/>
          </p:nvSpPr>
          <p:spPr bwMode="auto">
            <a:xfrm>
              <a:off x="3121" y="3170"/>
              <a:ext cx="228" cy="236"/>
            </a:xfrm>
            <a:custGeom>
              <a:avLst/>
              <a:gdLst>
                <a:gd name="T0" fmla="*/ 203 w 344"/>
                <a:gd name="T1" fmla="*/ 233 h 357"/>
                <a:gd name="T2" fmla="*/ 203 w 344"/>
                <a:gd name="T3" fmla="*/ 155 h 357"/>
                <a:gd name="T4" fmla="*/ 236 w 344"/>
                <a:gd name="T5" fmla="*/ 151 h 357"/>
                <a:gd name="T6" fmla="*/ 235 w 344"/>
                <a:gd name="T7" fmla="*/ 47 h 357"/>
                <a:gd name="T8" fmla="*/ 297 w 344"/>
                <a:gd name="T9" fmla="*/ 31 h 357"/>
                <a:gd name="T10" fmla="*/ 297 w 344"/>
                <a:gd name="T11" fmla="*/ 47 h 357"/>
                <a:gd name="T12" fmla="*/ 313 w 344"/>
                <a:gd name="T13" fmla="*/ 31 h 357"/>
                <a:gd name="T14" fmla="*/ 344 w 344"/>
                <a:gd name="T15" fmla="*/ 31 h 357"/>
                <a:gd name="T16" fmla="*/ 341 w 344"/>
                <a:gd name="T17" fmla="*/ 17 h 357"/>
                <a:gd name="T18" fmla="*/ 313 w 344"/>
                <a:gd name="T19" fmla="*/ 16 h 357"/>
                <a:gd name="T20" fmla="*/ 297 w 344"/>
                <a:gd name="T21" fmla="*/ 16 h 357"/>
                <a:gd name="T22" fmla="*/ 250 w 344"/>
                <a:gd name="T23" fmla="*/ 31 h 357"/>
                <a:gd name="T24" fmla="*/ 188 w 344"/>
                <a:gd name="T25" fmla="*/ 31 h 357"/>
                <a:gd name="T26" fmla="*/ 172 w 344"/>
                <a:gd name="T27" fmla="*/ 16 h 357"/>
                <a:gd name="T28" fmla="*/ 63 w 344"/>
                <a:gd name="T29" fmla="*/ 16 h 357"/>
                <a:gd name="T30" fmla="*/ 47 w 344"/>
                <a:gd name="T31" fmla="*/ 0 h 357"/>
                <a:gd name="T32" fmla="*/ 0 w 344"/>
                <a:gd name="T33" fmla="*/ 16 h 357"/>
                <a:gd name="T34" fmla="*/ 0 w 344"/>
                <a:gd name="T35" fmla="*/ 31 h 357"/>
                <a:gd name="T36" fmla="*/ 18 w 344"/>
                <a:gd name="T37" fmla="*/ 61 h 357"/>
                <a:gd name="T38" fmla="*/ 38 w 344"/>
                <a:gd name="T39" fmla="*/ 104 h 357"/>
                <a:gd name="T40" fmla="*/ 71 w 344"/>
                <a:gd name="T41" fmla="*/ 163 h 357"/>
                <a:gd name="T42" fmla="*/ 72 w 344"/>
                <a:gd name="T43" fmla="*/ 200 h 357"/>
                <a:gd name="T44" fmla="*/ 77 w 344"/>
                <a:gd name="T45" fmla="*/ 248 h 357"/>
                <a:gd name="T46" fmla="*/ 94 w 344"/>
                <a:gd name="T47" fmla="*/ 310 h 357"/>
                <a:gd name="T48" fmla="*/ 105 w 344"/>
                <a:gd name="T49" fmla="*/ 334 h 357"/>
                <a:gd name="T50" fmla="*/ 125 w 344"/>
                <a:gd name="T51" fmla="*/ 341 h 357"/>
                <a:gd name="T52" fmla="*/ 125 w 344"/>
                <a:gd name="T53" fmla="*/ 326 h 357"/>
                <a:gd name="T54" fmla="*/ 141 w 344"/>
                <a:gd name="T55" fmla="*/ 341 h 357"/>
                <a:gd name="T56" fmla="*/ 156 w 344"/>
                <a:gd name="T57" fmla="*/ 357 h 357"/>
                <a:gd name="T58" fmla="*/ 188 w 344"/>
                <a:gd name="T59" fmla="*/ 357 h 357"/>
                <a:gd name="T60" fmla="*/ 203 w 344"/>
                <a:gd name="T61" fmla="*/ 341 h 357"/>
                <a:gd name="T62" fmla="*/ 203 w 344"/>
                <a:gd name="T63" fmla="*/ 23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4" h="357">
                  <a:moveTo>
                    <a:pt x="203" y="233"/>
                  </a:moveTo>
                  <a:lnTo>
                    <a:pt x="203" y="155"/>
                  </a:lnTo>
                  <a:lnTo>
                    <a:pt x="236" y="151"/>
                  </a:lnTo>
                  <a:lnTo>
                    <a:pt x="235" y="47"/>
                  </a:lnTo>
                  <a:lnTo>
                    <a:pt x="297" y="31"/>
                  </a:lnTo>
                  <a:lnTo>
                    <a:pt x="297" y="47"/>
                  </a:lnTo>
                  <a:lnTo>
                    <a:pt x="313" y="31"/>
                  </a:lnTo>
                  <a:lnTo>
                    <a:pt x="344" y="31"/>
                  </a:lnTo>
                  <a:lnTo>
                    <a:pt x="341" y="17"/>
                  </a:lnTo>
                  <a:lnTo>
                    <a:pt x="313" y="16"/>
                  </a:lnTo>
                  <a:lnTo>
                    <a:pt x="297" y="16"/>
                  </a:lnTo>
                  <a:lnTo>
                    <a:pt x="250" y="31"/>
                  </a:lnTo>
                  <a:lnTo>
                    <a:pt x="188" y="31"/>
                  </a:lnTo>
                  <a:lnTo>
                    <a:pt x="172" y="16"/>
                  </a:lnTo>
                  <a:lnTo>
                    <a:pt x="63" y="16"/>
                  </a:lnTo>
                  <a:lnTo>
                    <a:pt x="47" y="0"/>
                  </a:lnTo>
                  <a:lnTo>
                    <a:pt x="0" y="16"/>
                  </a:lnTo>
                  <a:lnTo>
                    <a:pt x="0" y="31"/>
                  </a:lnTo>
                  <a:lnTo>
                    <a:pt x="18" y="61"/>
                  </a:lnTo>
                  <a:lnTo>
                    <a:pt x="38" y="104"/>
                  </a:lnTo>
                  <a:lnTo>
                    <a:pt x="71" y="163"/>
                  </a:lnTo>
                  <a:lnTo>
                    <a:pt x="72" y="200"/>
                  </a:lnTo>
                  <a:lnTo>
                    <a:pt x="77" y="248"/>
                  </a:lnTo>
                  <a:lnTo>
                    <a:pt x="94" y="310"/>
                  </a:lnTo>
                  <a:lnTo>
                    <a:pt x="105" y="334"/>
                  </a:lnTo>
                  <a:lnTo>
                    <a:pt x="125" y="341"/>
                  </a:lnTo>
                  <a:lnTo>
                    <a:pt x="125" y="326"/>
                  </a:lnTo>
                  <a:lnTo>
                    <a:pt x="141" y="341"/>
                  </a:lnTo>
                  <a:lnTo>
                    <a:pt x="156" y="357"/>
                  </a:lnTo>
                  <a:lnTo>
                    <a:pt x="188" y="357"/>
                  </a:lnTo>
                  <a:lnTo>
                    <a:pt x="203" y="341"/>
                  </a:lnTo>
                  <a:lnTo>
                    <a:pt x="203" y="233"/>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5" name="Freeform 98">
              <a:extLst>
                <a:ext uri="{FF2B5EF4-FFF2-40B4-BE49-F238E27FC236}">
                  <a16:creationId xmlns:a16="http://schemas.microsoft.com/office/drawing/2014/main" id="{2DFDE10F-BB15-7D4B-BDAB-FD9B6BA7B2FA}"/>
                </a:ext>
              </a:extLst>
            </p:cNvPr>
            <p:cNvSpPr>
              <a:spLocks/>
            </p:cNvSpPr>
            <p:nvPr/>
          </p:nvSpPr>
          <p:spPr bwMode="auto">
            <a:xfrm>
              <a:off x="3121" y="2952"/>
              <a:ext cx="218" cy="238"/>
            </a:xfrm>
            <a:custGeom>
              <a:avLst/>
              <a:gdLst>
                <a:gd name="T0" fmla="*/ 47 w 329"/>
                <a:gd name="T1" fmla="*/ 0 h 359"/>
                <a:gd name="T2" fmla="*/ 110 w 329"/>
                <a:gd name="T3" fmla="*/ 0 h 359"/>
                <a:gd name="T4" fmla="*/ 125 w 329"/>
                <a:gd name="T5" fmla="*/ 0 h 359"/>
                <a:gd name="T6" fmla="*/ 141 w 329"/>
                <a:gd name="T7" fmla="*/ 47 h 359"/>
                <a:gd name="T8" fmla="*/ 157 w 329"/>
                <a:gd name="T9" fmla="*/ 62 h 359"/>
                <a:gd name="T10" fmla="*/ 204 w 329"/>
                <a:gd name="T11" fmla="*/ 62 h 359"/>
                <a:gd name="T12" fmla="*/ 204 w 329"/>
                <a:gd name="T13" fmla="*/ 31 h 359"/>
                <a:gd name="T14" fmla="*/ 235 w 329"/>
                <a:gd name="T15" fmla="*/ 31 h 359"/>
                <a:gd name="T16" fmla="*/ 266 w 329"/>
                <a:gd name="T17" fmla="*/ 47 h 359"/>
                <a:gd name="T18" fmla="*/ 266 w 329"/>
                <a:gd name="T19" fmla="*/ 109 h 359"/>
                <a:gd name="T20" fmla="*/ 282 w 329"/>
                <a:gd name="T21" fmla="*/ 140 h 359"/>
                <a:gd name="T22" fmla="*/ 266 w 329"/>
                <a:gd name="T23" fmla="*/ 156 h 359"/>
                <a:gd name="T24" fmla="*/ 323 w 329"/>
                <a:gd name="T25" fmla="*/ 156 h 359"/>
                <a:gd name="T26" fmla="*/ 313 w 329"/>
                <a:gd name="T27" fmla="*/ 203 h 359"/>
                <a:gd name="T28" fmla="*/ 329 w 329"/>
                <a:gd name="T29" fmla="*/ 203 h 359"/>
                <a:gd name="T30" fmla="*/ 266 w 329"/>
                <a:gd name="T31" fmla="*/ 219 h 359"/>
                <a:gd name="T32" fmla="*/ 266 w 329"/>
                <a:gd name="T33" fmla="*/ 312 h 359"/>
                <a:gd name="T34" fmla="*/ 298 w 329"/>
                <a:gd name="T35" fmla="*/ 343 h 359"/>
                <a:gd name="T36" fmla="*/ 251 w 329"/>
                <a:gd name="T37" fmla="*/ 359 h 359"/>
                <a:gd name="T38" fmla="*/ 188 w 329"/>
                <a:gd name="T39" fmla="*/ 359 h 359"/>
                <a:gd name="T40" fmla="*/ 172 w 329"/>
                <a:gd name="T41" fmla="*/ 343 h 359"/>
                <a:gd name="T42" fmla="*/ 63 w 329"/>
                <a:gd name="T43" fmla="*/ 343 h 359"/>
                <a:gd name="T44" fmla="*/ 47 w 329"/>
                <a:gd name="T45" fmla="*/ 328 h 359"/>
                <a:gd name="T46" fmla="*/ 0 w 329"/>
                <a:gd name="T47" fmla="*/ 343 h 359"/>
                <a:gd name="T48" fmla="*/ 0 w 329"/>
                <a:gd name="T49" fmla="*/ 297 h 359"/>
                <a:gd name="T50" fmla="*/ 31 w 329"/>
                <a:gd name="T51" fmla="*/ 219 h 359"/>
                <a:gd name="T52" fmla="*/ 47 w 329"/>
                <a:gd name="T53" fmla="*/ 187 h 359"/>
                <a:gd name="T54" fmla="*/ 63 w 329"/>
                <a:gd name="T55" fmla="*/ 156 h 359"/>
                <a:gd name="T56" fmla="*/ 31 w 329"/>
                <a:gd name="T57" fmla="*/ 94 h 359"/>
                <a:gd name="T58" fmla="*/ 47 w 329"/>
                <a:gd name="T59" fmla="*/ 78 h 359"/>
                <a:gd name="T60" fmla="*/ 16 w 329"/>
                <a:gd name="T61" fmla="*/ 16 h 359"/>
                <a:gd name="T62" fmla="*/ 47 w 329"/>
                <a:gd name="T63"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9" h="359">
                  <a:moveTo>
                    <a:pt x="47" y="0"/>
                  </a:moveTo>
                  <a:lnTo>
                    <a:pt x="110" y="0"/>
                  </a:lnTo>
                  <a:lnTo>
                    <a:pt x="125" y="0"/>
                  </a:lnTo>
                  <a:lnTo>
                    <a:pt x="141" y="47"/>
                  </a:lnTo>
                  <a:lnTo>
                    <a:pt x="157" y="62"/>
                  </a:lnTo>
                  <a:lnTo>
                    <a:pt x="204" y="62"/>
                  </a:lnTo>
                  <a:lnTo>
                    <a:pt x="204" y="31"/>
                  </a:lnTo>
                  <a:lnTo>
                    <a:pt x="235" y="31"/>
                  </a:lnTo>
                  <a:lnTo>
                    <a:pt x="266" y="47"/>
                  </a:lnTo>
                  <a:lnTo>
                    <a:pt x="266" y="109"/>
                  </a:lnTo>
                  <a:lnTo>
                    <a:pt x="282" y="140"/>
                  </a:lnTo>
                  <a:lnTo>
                    <a:pt x="266" y="156"/>
                  </a:lnTo>
                  <a:lnTo>
                    <a:pt x="323" y="156"/>
                  </a:lnTo>
                  <a:lnTo>
                    <a:pt x="313" y="203"/>
                  </a:lnTo>
                  <a:lnTo>
                    <a:pt x="329" y="203"/>
                  </a:lnTo>
                  <a:lnTo>
                    <a:pt x="266" y="219"/>
                  </a:lnTo>
                  <a:lnTo>
                    <a:pt x="266" y="312"/>
                  </a:lnTo>
                  <a:lnTo>
                    <a:pt x="298" y="343"/>
                  </a:lnTo>
                  <a:lnTo>
                    <a:pt x="251" y="359"/>
                  </a:lnTo>
                  <a:lnTo>
                    <a:pt x="188" y="359"/>
                  </a:lnTo>
                  <a:lnTo>
                    <a:pt x="172" y="343"/>
                  </a:lnTo>
                  <a:lnTo>
                    <a:pt x="63" y="343"/>
                  </a:lnTo>
                  <a:lnTo>
                    <a:pt x="47" y="328"/>
                  </a:lnTo>
                  <a:lnTo>
                    <a:pt x="0" y="343"/>
                  </a:lnTo>
                  <a:lnTo>
                    <a:pt x="0" y="297"/>
                  </a:lnTo>
                  <a:lnTo>
                    <a:pt x="31" y="219"/>
                  </a:lnTo>
                  <a:lnTo>
                    <a:pt x="47" y="187"/>
                  </a:lnTo>
                  <a:lnTo>
                    <a:pt x="63" y="156"/>
                  </a:lnTo>
                  <a:lnTo>
                    <a:pt x="31" y="94"/>
                  </a:lnTo>
                  <a:lnTo>
                    <a:pt x="47" y="78"/>
                  </a:lnTo>
                  <a:lnTo>
                    <a:pt x="16" y="16"/>
                  </a:lnTo>
                  <a:lnTo>
                    <a:pt x="47"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6" name="Freeform 99">
              <a:extLst>
                <a:ext uri="{FF2B5EF4-FFF2-40B4-BE49-F238E27FC236}">
                  <a16:creationId xmlns:a16="http://schemas.microsoft.com/office/drawing/2014/main" id="{528CA560-983D-A64D-909D-BD9F6E2CFD0A}"/>
                </a:ext>
              </a:extLst>
            </p:cNvPr>
            <p:cNvSpPr>
              <a:spLocks/>
            </p:cNvSpPr>
            <p:nvPr/>
          </p:nvSpPr>
          <p:spPr bwMode="auto">
            <a:xfrm>
              <a:off x="3069" y="2581"/>
              <a:ext cx="129" cy="218"/>
            </a:xfrm>
            <a:custGeom>
              <a:avLst/>
              <a:gdLst>
                <a:gd name="T0" fmla="*/ 140 w 195"/>
                <a:gd name="T1" fmla="*/ 0 h 329"/>
                <a:gd name="T2" fmla="*/ 140 w 195"/>
                <a:gd name="T3" fmla="*/ 16 h 329"/>
                <a:gd name="T4" fmla="*/ 155 w 195"/>
                <a:gd name="T5" fmla="*/ 34 h 329"/>
                <a:gd name="T6" fmla="*/ 146 w 195"/>
                <a:gd name="T7" fmla="*/ 55 h 329"/>
                <a:gd name="T8" fmla="*/ 126 w 195"/>
                <a:gd name="T9" fmla="*/ 76 h 329"/>
                <a:gd name="T10" fmla="*/ 109 w 195"/>
                <a:gd name="T11" fmla="*/ 125 h 329"/>
                <a:gd name="T12" fmla="*/ 94 w 195"/>
                <a:gd name="T13" fmla="*/ 140 h 329"/>
                <a:gd name="T14" fmla="*/ 78 w 195"/>
                <a:gd name="T15" fmla="*/ 187 h 329"/>
                <a:gd name="T16" fmla="*/ 65 w 195"/>
                <a:gd name="T17" fmla="*/ 197 h 329"/>
                <a:gd name="T18" fmla="*/ 60 w 195"/>
                <a:gd name="T19" fmla="*/ 190 h 329"/>
                <a:gd name="T20" fmla="*/ 47 w 195"/>
                <a:gd name="T21" fmla="*/ 187 h 329"/>
                <a:gd name="T22" fmla="*/ 31 w 195"/>
                <a:gd name="T23" fmla="*/ 187 h 329"/>
                <a:gd name="T24" fmla="*/ 8 w 195"/>
                <a:gd name="T25" fmla="*/ 214 h 329"/>
                <a:gd name="T26" fmla="*/ 0 w 195"/>
                <a:gd name="T27" fmla="*/ 249 h 329"/>
                <a:gd name="T28" fmla="*/ 0 w 195"/>
                <a:gd name="T29" fmla="*/ 265 h 329"/>
                <a:gd name="T30" fmla="*/ 16 w 195"/>
                <a:gd name="T31" fmla="*/ 265 h 329"/>
                <a:gd name="T32" fmla="*/ 31 w 195"/>
                <a:gd name="T33" fmla="*/ 296 h 329"/>
                <a:gd name="T34" fmla="*/ 31 w 195"/>
                <a:gd name="T35" fmla="*/ 327 h 329"/>
                <a:gd name="T36" fmla="*/ 62 w 195"/>
                <a:gd name="T37" fmla="*/ 327 h 329"/>
                <a:gd name="T38" fmla="*/ 92 w 195"/>
                <a:gd name="T39" fmla="*/ 319 h 329"/>
                <a:gd name="T40" fmla="*/ 125 w 195"/>
                <a:gd name="T41" fmla="*/ 327 h 329"/>
                <a:gd name="T42" fmla="*/ 137 w 195"/>
                <a:gd name="T43" fmla="*/ 328 h 329"/>
                <a:gd name="T44" fmla="*/ 195 w 195"/>
                <a:gd name="T45" fmla="*/ 329 h 329"/>
                <a:gd name="T46" fmla="*/ 187 w 195"/>
                <a:gd name="T47" fmla="*/ 296 h 329"/>
                <a:gd name="T48" fmla="*/ 156 w 195"/>
                <a:gd name="T49" fmla="*/ 249 h 329"/>
                <a:gd name="T50" fmla="*/ 156 w 195"/>
                <a:gd name="T51" fmla="*/ 218 h 329"/>
                <a:gd name="T52" fmla="*/ 171 w 195"/>
                <a:gd name="T53" fmla="*/ 172 h 329"/>
                <a:gd name="T54" fmla="*/ 177 w 195"/>
                <a:gd name="T55" fmla="*/ 145 h 329"/>
                <a:gd name="T56" fmla="*/ 156 w 195"/>
                <a:gd name="T57" fmla="*/ 125 h 329"/>
                <a:gd name="T58" fmla="*/ 140 w 195"/>
                <a:gd name="T59" fmla="*/ 109 h 329"/>
                <a:gd name="T60" fmla="*/ 140 w 195"/>
                <a:gd name="T61" fmla="*/ 94 h 329"/>
                <a:gd name="T62" fmla="*/ 171 w 195"/>
                <a:gd name="T63" fmla="*/ 94 h 329"/>
                <a:gd name="T64" fmla="*/ 168 w 195"/>
                <a:gd name="T65" fmla="*/ 55 h 329"/>
                <a:gd name="T66" fmla="*/ 156 w 195"/>
                <a:gd name="T67" fmla="*/ 16 h 329"/>
                <a:gd name="T68" fmla="*/ 140 w 195"/>
                <a:gd name="T69"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329">
                  <a:moveTo>
                    <a:pt x="140" y="0"/>
                  </a:moveTo>
                  <a:lnTo>
                    <a:pt x="140" y="16"/>
                  </a:lnTo>
                  <a:lnTo>
                    <a:pt x="155" y="34"/>
                  </a:lnTo>
                  <a:lnTo>
                    <a:pt x="146" y="55"/>
                  </a:lnTo>
                  <a:lnTo>
                    <a:pt x="126" y="76"/>
                  </a:lnTo>
                  <a:lnTo>
                    <a:pt x="109" y="125"/>
                  </a:lnTo>
                  <a:lnTo>
                    <a:pt x="94" y="140"/>
                  </a:lnTo>
                  <a:lnTo>
                    <a:pt x="78" y="187"/>
                  </a:lnTo>
                  <a:lnTo>
                    <a:pt x="65" y="197"/>
                  </a:lnTo>
                  <a:lnTo>
                    <a:pt x="60" y="190"/>
                  </a:lnTo>
                  <a:lnTo>
                    <a:pt x="47" y="187"/>
                  </a:lnTo>
                  <a:lnTo>
                    <a:pt x="31" y="187"/>
                  </a:lnTo>
                  <a:lnTo>
                    <a:pt x="8" y="214"/>
                  </a:lnTo>
                  <a:lnTo>
                    <a:pt x="0" y="249"/>
                  </a:lnTo>
                  <a:lnTo>
                    <a:pt x="0" y="265"/>
                  </a:lnTo>
                  <a:lnTo>
                    <a:pt x="16" y="265"/>
                  </a:lnTo>
                  <a:lnTo>
                    <a:pt x="31" y="296"/>
                  </a:lnTo>
                  <a:lnTo>
                    <a:pt x="31" y="327"/>
                  </a:lnTo>
                  <a:lnTo>
                    <a:pt x="62" y="327"/>
                  </a:lnTo>
                  <a:lnTo>
                    <a:pt x="92" y="319"/>
                  </a:lnTo>
                  <a:lnTo>
                    <a:pt x="125" y="327"/>
                  </a:lnTo>
                  <a:lnTo>
                    <a:pt x="137" y="328"/>
                  </a:lnTo>
                  <a:lnTo>
                    <a:pt x="195" y="329"/>
                  </a:lnTo>
                  <a:lnTo>
                    <a:pt x="187" y="296"/>
                  </a:lnTo>
                  <a:lnTo>
                    <a:pt x="156" y="249"/>
                  </a:lnTo>
                  <a:lnTo>
                    <a:pt x="156" y="218"/>
                  </a:lnTo>
                  <a:lnTo>
                    <a:pt x="171" y="172"/>
                  </a:lnTo>
                  <a:lnTo>
                    <a:pt x="177" y="145"/>
                  </a:lnTo>
                  <a:lnTo>
                    <a:pt x="156" y="125"/>
                  </a:lnTo>
                  <a:lnTo>
                    <a:pt x="140" y="109"/>
                  </a:lnTo>
                  <a:lnTo>
                    <a:pt x="140" y="94"/>
                  </a:lnTo>
                  <a:lnTo>
                    <a:pt x="171" y="94"/>
                  </a:lnTo>
                  <a:lnTo>
                    <a:pt x="168" y="55"/>
                  </a:lnTo>
                  <a:lnTo>
                    <a:pt x="156" y="16"/>
                  </a:lnTo>
                  <a:lnTo>
                    <a:pt x="140"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7" name="Freeform 100">
              <a:extLst>
                <a:ext uri="{FF2B5EF4-FFF2-40B4-BE49-F238E27FC236}">
                  <a16:creationId xmlns:a16="http://schemas.microsoft.com/office/drawing/2014/main" id="{7DBEADD0-D9AD-B94F-ABB6-F5AA86222313}"/>
                </a:ext>
              </a:extLst>
            </p:cNvPr>
            <p:cNvSpPr>
              <a:spLocks/>
            </p:cNvSpPr>
            <p:nvPr/>
          </p:nvSpPr>
          <p:spPr bwMode="auto">
            <a:xfrm>
              <a:off x="3110" y="2767"/>
              <a:ext cx="136" cy="169"/>
            </a:xfrm>
            <a:custGeom>
              <a:avLst/>
              <a:gdLst>
                <a:gd name="T0" fmla="*/ 47 w 204"/>
                <a:gd name="T1" fmla="*/ 248 h 255"/>
                <a:gd name="T2" fmla="*/ 63 w 204"/>
                <a:gd name="T3" fmla="*/ 248 h 255"/>
                <a:gd name="T4" fmla="*/ 78 w 204"/>
                <a:gd name="T5" fmla="*/ 233 h 255"/>
                <a:gd name="T6" fmla="*/ 94 w 204"/>
                <a:gd name="T7" fmla="*/ 248 h 255"/>
                <a:gd name="T8" fmla="*/ 126 w 204"/>
                <a:gd name="T9" fmla="*/ 217 h 255"/>
                <a:gd name="T10" fmla="*/ 141 w 204"/>
                <a:gd name="T11" fmla="*/ 171 h 255"/>
                <a:gd name="T12" fmla="*/ 173 w 204"/>
                <a:gd name="T13" fmla="*/ 124 h 255"/>
                <a:gd name="T14" fmla="*/ 188 w 204"/>
                <a:gd name="T15" fmla="*/ 47 h 255"/>
                <a:gd name="T16" fmla="*/ 204 w 204"/>
                <a:gd name="T17" fmla="*/ 0 h 255"/>
                <a:gd name="T18" fmla="*/ 173 w 204"/>
                <a:gd name="T19" fmla="*/ 0 h 255"/>
                <a:gd name="T20" fmla="*/ 157 w 204"/>
                <a:gd name="T21" fmla="*/ 0 h 255"/>
                <a:gd name="T22" fmla="*/ 141 w 204"/>
                <a:gd name="T23" fmla="*/ 0 h 255"/>
                <a:gd name="T24" fmla="*/ 141 w 204"/>
                <a:gd name="T25" fmla="*/ 26 h 255"/>
                <a:gd name="T26" fmla="*/ 133 w 204"/>
                <a:gd name="T27" fmla="*/ 47 h 255"/>
                <a:gd name="T28" fmla="*/ 63 w 204"/>
                <a:gd name="T29" fmla="*/ 47 h 255"/>
                <a:gd name="T30" fmla="*/ 54 w 204"/>
                <a:gd name="T31" fmla="*/ 63 h 255"/>
                <a:gd name="T32" fmla="*/ 76 w 204"/>
                <a:gd name="T33" fmla="*/ 66 h 255"/>
                <a:gd name="T34" fmla="*/ 90 w 204"/>
                <a:gd name="T35" fmla="*/ 81 h 255"/>
                <a:gd name="T36" fmla="*/ 78 w 204"/>
                <a:gd name="T37" fmla="*/ 93 h 255"/>
                <a:gd name="T38" fmla="*/ 69 w 204"/>
                <a:gd name="T39" fmla="*/ 113 h 255"/>
                <a:gd name="T40" fmla="*/ 91 w 204"/>
                <a:gd name="T41" fmla="*/ 123 h 255"/>
                <a:gd name="T42" fmla="*/ 78 w 204"/>
                <a:gd name="T43" fmla="*/ 171 h 255"/>
                <a:gd name="T44" fmla="*/ 55 w 204"/>
                <a:gd name="T45" fmla="*/ 177 h 255"/>
                <a:gd name="T46" fmla="*/ 47 w 204"/>
                <a:gd name="T47" fmla="*/ 155 h 255"/>
                <a:gd name="T48" fmla="*/ 16 w 204"/>
                <a:gd name="T49" fmla="*/ 186 h 255"/>
                <a:gd name="T50" fmla="*/ 16 w 204"/>
                <a:gd name="T51" fmla="*/ 202 h 255"/>
                <a:gd name="T52" fmla="*/ 0 w 204"/>
                <a:gd name="T53" fmla="*/ 233 h 255"/>
                <a:gd name="T54" fmla="*/ 13 w 204"/>
                <a:gd name="T55" fmla="*/ 237 h 255"/>
                <a:gd name="T56" fmla="*/ 22 w 204"/>
                <a:gd name="T57" fmla="*/ 255 h 255"/>
                <a:gd name="T58" fmla="*/ 48 w 204"/>
                <a:gd name="T59" fmla="*/ 236 h 255"/>
                <a:gd name="T60" fmla="*/ 47 w 204"/>
                <a:gd name="T61" fmla="*/ 24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 h="255">
                  <a:moveTo>
                    <a:pt x="47" y="248"/>
                  </a:moveTo>
                  <a:lnTo>
                    <a:pt x="63" y="248"/>
                  </a:lnTo>
                  <a:lnTo>
                    <a:pt x="78" y="233"/>
                  </a:lnTo>
                  <a:lnTo>
                    <a:pt x="94" y="248"/>
                  </a:lnTo>
                  <a:lnTo>
                    <a:pt x="126" y="217"/>
                  </a:lnTo>
                  <a:lnTo>
                    <a:pt x="141" y="171"/>
                  </a:lnTo>
                  <a:lnTo>
                    <a:pt x="173" y="124"/>
                  </a:lnTo>
                  <a:lnTo>
                    <a:pt x="188" y="47"/>
                  </a:lnTo>
                  <a:lnTo>
                    <a:pt x="204" y="0"/>
                  </a:lnTo>
                  <a:lnTo>
                    <a:pt x="173" y="0"/>
                  </a:lnTo>
                  <a:lnTo>
                    <a:pt x="157" y="0"/>
                  </a:lnTo>
                  <a:lnTo>
                    <a:pt x="141" y="0"/>
                  </a:lnTo>
                  <a:lnTo>
                    <a:pt x="141" y="26"/>
                  </a:lnTo>
                  <a:lnTo>
                    <a:pt x="133" y="47"/>
                  </a:lnTo>
                  <a:lnTo>
                    <a:pt x="63" y="47"/>
                  </a:lnTo>
                  <a:lnTo>
                    <a:pt x="54" y="63"/>
                  </a:lnTo>
                  <a:lnTo>
                    <a:pt x="76" y="66"/>
                  </a:lnTo>
                  <a:lnTo>
                    <a:pt x="90" y="81"/>
                  </a:lnTo>
                  <a:lnTo>
                    <a:pt x="78" y="93"/>
                  </a:lnTo>
                  <a:lnTo>
                    <a:pt x="69" y="113"/>
                  </a:lnTo>
                  <a:lnTo>
                    <a:pt x="91" y="123"/>
                  </a:lnTo>
                  <a:lnTo>
                    <a:pt x="78" y="171"/>
                  </a:lnTo>
                  <a:lnTo>
                    <a:pt x="55" y="177"/>
                  </a:lnTo>
                  <a:lnTo>
                    <a:pt x="47" y="155"/>
                  </a:lnTo>
                  <a:lnTo>
                    <a:pt x="16" y="186"/>
                  </a:lnTo>
                  <a:lnTo>
                    <a:pt x="16" y="202"/>
                  </a:lnTo>
                  <a:lnTo>
                    <a:pt x="0" y="233"/>
                  </a:lnTo>
                  <a:lnTo>
                    <a:pt x="13" y="237"/>
                  </a:lnTo>
                  <a:lnTo>
                    <a:pt x="22" y="255"/>
                  </a:lnTo>
                  <a:lnTo>
                    <a:pt x="48" y="236"/>
                  </a:lnTo>
                  <a:lnTo>
                    <a:pt x="47" y="248"/>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8" name="Freeform 101">
              <a:extLst>
                <a:ext uri="{FF2B5EF4-FFF2-40B4-BE49-F238E27FC236}">
                  <a16:creationId xmlns:a16="http://schemas.microsoft.com/office/drawing/2014/main" id="{588CA1BD-7AED-B249-95A4-6C5F6976CFF4}"/>
                </a:ext>
              </a:extLst>
            </p:cNvPr>
            <p:cNvSpPr>
              <a:spLocks/>
            </p:cNvSpPr>
            <p:nvPr/>
          </p:nvSpPr>
          <p:spPr bwMode="auto">
            <a:xfrm>
              <a:off x="3073" y="2792"/>
              <a:ext cx="98" cy="130"/>
            </a:xfrm>
            <a:custGeom>
              <a:avLst/>
              <a:gdLst>
                <a:gd name="T0" fmla="*/ 108 w 147"/>
                <a:gd name="T1" fmla="*/ 25 h 195"/>
                <a:gd name="T2" fmla="*/ 131 w 147"/>
                <a:gd name="T3" fmla="*/ 25 h 195"/>
                <a:gd name="T4" fmla="*/ 146 w 147"/>
                <a:gd name="T5" fmla="*/ 43 h 195"/>
                <a:gd name="T6" fmla="*/ 134 w 147"/>
                <a:gd name="T7" fmla="*/ 56 h 195"/>
                <a:gd name="T8" fmla="*/ 126 w 147"/>
                <a:gd name="T9" fmla="*/ 72 h 195"/>
                <a:gd name="T10" fmla="*/ 147 w 147"/>
                <a:gd name="T11" fmla="*/ 88 h 195"/>
                <a:gd name="T12" fmla="*/ 134 w 147"/>
                <a:gd name="T13" fmla="*/ 133 h 195"/>
                <a:gd name="T14" fmla="*/ 111 w 147"/>
                <a:gd name="T15" fmla="*/ 139 h 195"/>
                <a:gd name="T16" fmla="*/ 103 w 147"/>
                <a:gd name="T17" fmla="*/ 118 h 195"/>
                <a:gd name="T18" fmla="*/ 72 w 147"/>
                <a:gd name="T19" fmla="*/ 149 h 195"/>
                <a:gd name="T20" fmla="*/ 72 w 147"/>
                <a:gd name="T21" fmla="*/ 164 h 195"/>
                <a:gd name="T22" fmla="*/ 56 w 147"/>
                <a:gd name="T23" fmla="*/ 195 h 195"/>
                <a:gd name="T24" fmla="*/ 51 w 147"/>
                <a:gd name="T25" fmla="*/ 171 h 195"/>
                <a:gd name="T26" fmla="*/ 30 w 147"/>
                <a:gd name="T27" fmla="*/ 148 h 195"/>
                <a:gd name="T28" fmla="*/ 15 w 147"/>
                <a:gd name="T29" fmla="*/ 124 h 195"/>
                <a:gd name="T30" fmla="*/ 12 w 147"/>
                <a:gd name="T31" fmla="*/ 111 h 195"/>
                <a:gd name="T32" fmla="*/ 0 w 147"/>
                <a:gd name="T33" fmla="*/ 102 h 195"/>
                <a:gd name="T34" fmla="*/ 10 w 147"/>
                <a:gd name="T35" fmla="*/ 87 h 195"/>
                <a:gd name="T36" fmla="*/ 10 w 147"/>
                <a:gd name="T37" fmla="*/ 71 h 195"/>
                <a:gd name="T38" fmla="*/ 25 w 147"/>
                <a:gd name="T39" fmla="*/ 40 h 195"/>
                <a:gd name="T40" fmla="*/ 56 w 147"/>
                <a:gd name="T41" fmla="*/ 40 h 195"/>
                <a:gd name="T42" fmla="*/ 66 w 147"/>
                <a:gd name="T43" fmla="*/ 22 h 195"/>
                <a:gd name="T44" fmla="*/ 56 w 147"/>
                <a:gd name="T45" fmla="*/ 9 h 195"/>
                <a:gd name="T46" fmla="*/ 87 w 147"/>
                <a:gd name="T47" fmla="*/ 0 h 195"/>
                <a:gd name="T48" fmla="*/ 118 w 147"/>
                <a:gd name="T49" fmla="*/ 9 h 195"/>
                <a:gd name="T50" fmla="*/ 108 w 147"/>
                <a:gd name="T51" fmla="*/ 2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7" h="195">
                  <a:moveTo>
                    <a:pt x="108" y="25"/>
                  </a:moveTo>
                  <a:lnTo>
                    <a:pt x="131" y="25"/>
                  </a:lnTo>
                  <a:lnTo>
                    <a:pt x="146" y="43"/>
                  </a:lnTo>
                  <a:lnTo>
                    <a:pt x="134" y="56"/>
                  </a:lnTo>
                  <a:lnTo>
                    <a:pt x="126" y="72"/>
                  </a:lnTo>
                  <a:lnTo>
                    <a:pt x="147" y="88"/>
                  </a:lnTo>
                  <a:lnTo>
                    <a:pt x="134" y="133"/>
                  </a:lnTo>
                  <a:lnTo>
                    <a:pt x="111" y="139"/>
                  </a:lnTo>
                  <a:lnTo>
                    <a:pt x="103" y="118"/>
                  </a:lnTo>
                  <a:lnTo>
                    <a:pt x="72" y="149"/>
                  </a:lnTo>
                  <a:lnTo>
                    <a:pt x="72" y="164"/>
                  </a:lnTo>
                  <a:lnTo>
                    <a:pt x="56" y="195"/>
                  </a:lnTo>
                  <a:lnTo>
                    <a:pt x="51" y="171"/>
                  </a:lnTo>
                  <a:lnTo>
                    <a:pt x="30" y="148"/>
                  </a:lnTo>
                  <a:lnTo>
                    <a:pt x="15" y="124"/>
                  </a:lnTo>
                  <a:lnTo>
                    <a:pt x="12" y="111"/>
                  </a:lnTo>
                  <a:lnTo>
                    <a:pt x="0" y="102"/>
                  </a:lnTo>
                  <a:lnTo>
                    <a:pt x="10" y="87"/>
                  </a:lnTo>
                  <a:lnTo>
                    <a:pt x="10" y="71"/>
                  </a:lnTo>
                  <a:lnTo>
                    <a:pt x="25" y="40"/>
                  </a:lnTo>
                  <a:lnTo>
                    <a:pt x="56" y="40"/>
                  </a:lnTo>
                  <a:lnTo>
                    <a:pt x="66" y="22"/>
                  </a:lnTo>
                  <a:lnTo>
                    <a:pt x="56" y="9"/>
                  </a:lnTo>
                  <a:lnTo>
                    <a:pt x="87" y="0"/>
                  </a:lnTo>
                  <a:lnTo>
                    <a:pt x="118" y="9"/>
                  </a:lnTo>
                  <a:lnTo>
                    <a:pt x="108" y="25"/>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69" name="Freeform 102">
              <a:extLst>
                <a:ext uri="{FF2B5EF4-FFF2-40B4-BE49-F238E27FC236}">
                  <a16:creationId xmlns:a16="http://schemas.microsoft.com/office/drawing/2014/main" id="{AD3BBCE0-ACAD-ED45-B3CA-226DAED8DA16}"/>
                </a:ext>
              </a:extLst>
            </p:cNvPr>
            <p:cNvSpPr>
              <a:spLocks/>
            </p:cNvSpPr>
            <p:nvPr/>
          </p:nvSpPr>
          <p:spPr bwMode="auto">
            <a:xfrm>
              <a:off x="3079" y="2798"/>
              <a:ext cx="39" cy="20"/>
            </a:xfrm>
            <a:custGeom>
              <a:avLst/>
              <a:gdLst>
                <a:gd name="T0" fmla="*/ 47 w 59"/>
                <a:gd name="T1" fmla="*/ 30 h 30"/>
                <a:gd name="T2" fmla="*/ 59 w 59"/>
                <a:gd name="T3" fmla="*/ 15 h 30"/>
                <a:gd name="T4" fmla="*/ 47 w 59"/>
                <a:gd name="T5" fmla="*/ 0 h 30"/>
                <a:gd name="T6" fmla="*/ 16 w 59"/>
                <a:gd name="T7" fmla="*/ 0 h 30"/>
                <a:gd name="T8" fmla="*/ 0 w 59"/>
                <a:gd name="T9" fmla="*/ 30 h 30"/>
                <a:gd name="T10" fmla="*/ 47 w 59"/>
                <a:gd name="T11" fmla="*/ 30 h 30"/>
              </a:gdLst>
              <a:ahLst/>
              <a:cxnLst>
                <a:cxn ang="0">
                  <a:pos x="T0" y="T1"/>
                </a:cxn>
                <a:cxn ang="0">
                  <a:pos x="T2" y="T3"/>
                </a:cxn>
                <a:cxn ang="0">
                  <a:pos x="T4" y="T5"/>
                </a:cxn>
                <a:cxn ang="0">
                  <a:pos x="T6" y="T7"/>
                </a:cxn>
                <a:cxn ang="0">
                  <a:pos x="T8" y="T9"/>
                </a:cxn>
                <a:cxn ang="0">
                  <a:pos x="T10" y="T11"/>
                </a:cxn>
              </a:cxnLst>
              <a:rect l="0" t="0" r="r" b="b"/>
              <a:pathLst>
                <a:path w="59" h="30">
                  <a:moveTo>
                    <a:pt x="47" y="30"/>
                  </a:moveTo>
                  <a:lnTo>
                    <a:pt x="59" y="15"/>
                  </a:lnTo>
                  <a:lnTo>
                    <a:pt x="47" y="0"/>
                  </a:lnTo>
                  <a:lnTo>
                    <a:pt x="16" y="0"/>
                  </a:lnTo>
                  <a:lnTo>
                    <a:pt x="0" y="30"/>
                  </a:lnTo>
                  <a:lnTo>
                    <a:pt x="47" y="3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0" name="Freeform 103">
              <a:extLst>
                <a:ext uri="{FF2B5EF4-FFF2-40B4-BE49-F238E27FC236}">
                  <a16:creationId xmlns:a16="http://schemas.microsoft.com/office/drawing/2014/main" id="{9A25F47F-52F6-2D47-ACCF-23AAE3B8C9D8}"/>
                </a:ext>
              </a:extLst>
            </p:cNvPr>
            <p:cNvSpPr>
              <a:spLocks/>
            </p:cNvSpPr>
            <p:nvPr/>
          </p:nvSpPr>
          <p:spPr bwMode="auto">
            <a:xfrm>
              <a:off x="2862" y="2623"/>
              <a:ext cx="83" cy="124"/>
            </a:xfrm>
            <a:custGeom>
              <a:avLst/>
              <a:gdLst>
                <a:gd name="T0" fmla="*/ 109 w 125"/>
                <a:gd name="T1" fmla="*/ 125 h 187"/>
                <a:gd name="T2" fmla="*/ 101 w 125"/>
                <a:gd name="T3" fmla="*/ 89 h 187"/>
                <a:gd name="T4" fmla="*/ 101 w 125"/>
                <a:gd name="T5" fmla="*/ 52 h 187"/>
                <a:gd name="T6" fmla="*/ 101 w 125"/>
                <a:gd name="T7" fmla="*/ 26 h 187"/>
                <a:gd name="T8" fmla="*/ 78 w 125"/>
                <a:gd name="T9" fmla="*/ 0 h 187"/>
                <a:gd name="T10" fmla="*/ 16 w 125"/>
                <a:gd name="T11" fmla="*/ 0 h 187"/>
                <a:gd name="T12" fmla="*/ 16 w 125"/>
                <a:gd name="T13" fmla="*/ 47 h 187"/>
                <a:gd name="T14" fmla="*/ 31 w 125"/>
                <a:gd name="T15" fmla="*/ 78 h 187"/>
                <a:gd name="T16" fmla="*/ 0 w 125"/>
                <a:gd name="T17" fmla="*/ 125 h 187"/>
                <a:gd name="T18" fmla="*/ 16 w 125"/>
                <a:gd name="T19" fmla="*/ 171 h 187"/>
                <a:gd name="T20" fmla="*/ 31 w 125"/>
                <a:gd name="T21" fmla="*/ 187 h 187"/>
                <a:gd name="T22" fmla="*/ 63 w 125"/>
                <a:gd name="T23" fmla="*/ 170 h 187"/>
                <a:gd name="T24" fmla="*/ 94 w 125"/>
                <a:gd name="T25" fmla="*/ 156 h 187"/>
                <a:gd name="T26" fmla="*/ 109 w 125"/>
                <a:gd name="T27" fmla="*/ 156 h 187"/>
                <a:gd name="T28" fmla="*/ 125 w 125"/>
                <a:gd name="T29" fmla="*/ 140 h 187"/>
                <a:gd name="T30" fmla="*/ 109 w 125"/>
                <a:gd name="T31" fmla="*/ 12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187">
                  <a:moveTo>
                    <a:pt x="109" y="125"/>
                  </a:moveTo>
                  <a:lnTo>
                    <a:pt x="101" y="89"/>
                  </a:lnTo>
                  <a:lnTo>
                    <a:pt x="101" y="52"/>
                  </a:lnTo>
                  <a:lnTo>
                    <a:pt x="101" y="26"/>
                  </a:lnTo>
                  <a:lnTo>
                    <a:pt x="78" y="0"/>
                  </a:lnTo>
                  <a:lnTo>
                    <a:pt x="16" y="0"/>
                  </a:lnTo>
                  <a:lnTo>
                    <a:pt x="16" y="47"/>
                  </a:lnTo>
                  <a:lnTo>
                    <a:pt x="31" y="78"/>
                  </a:lnTo>
                  <a:lnTo>
                    <a:pt x="0" y="125"/>
                  </a:lnTo>
                  <a:lnTo>
                    <a:pt x="16" y="171"/>
                  </a:lnTo>
                  <a:lnTo>
                    <a:pt x="31" y="187"/>
                  </a:lnTo>
                  <a:lnTo>
                    <a:pt x="63" y="170"/>
                  </a:lnTo>
                  <a:lnTo>
                    <a:pt x="94" y="156"/>
                  </a:lnTo>
                  <a:lnTo>
                    <a:pt x="109" y="156"/>
                  </a:lnTo>
                  <a:lnTo>
                    <a:pt x="125" y="140"/>
                  </a:lnTo>
                  <a:lnTo>
                    <a:pt x="109" y="125"/>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1" name="Freeform 104">
              <a:extLst>
                <a:ext uri="{FF2B5EF4-FFF2-40B4-BE49-F238E27FC236}">
                  <a16:creationId xmlns:a16="http://schemas.microsoft.com/office/drawing/2014/main" id="{728F6A8A-8F4B-5F48-9100-B0975B95FE02}"/>
                </a:ext>
              </a:extLst>
            </p:cNvPr>
            <p:cNvSpPr>
              <a:spLocks/>
            </p:cNvSpPr>
            <p:nvPr/>
          </p:nvSpPr>
          <p:spPr bwMode="auto">
            <a:xfrm>
              <a:off x="2914" y="2623"/>
              <a:ext cx="41" cy="93"/>
            </a:xfrm>
            <a:custGeom>
              <a:avLst/>
              <a:gdLst>
                <a:gd name="T0" fmla="*/ 31 w 62"/>
                <a:gd name="T1" fmla="*/ 124 h 140"/>
                <a:gd name="T2" fmla="*/ 23 w 62"/>
                <a:gd name="T3" fmla="*/ 91 h 140"/>
                <a:gd name="T4" fmla="*/ 24 w 62"/>
                <a:gd name="T5" fmla="*/ 65 h 140"/>
                <a:gd name="T6" fmla="*/ 20 w 62"/>
                <a:gd name="T7" fmla="*/ 23 h 140"/>
                <a:gd name="T8" fmla="*/ 0 w 62"/>
                <a:gd name="T9" fmla="*/ 0 h 140"/>
                <a:gd name="T10" fmla="*/ 31 w 62"/>
                <a:gd name="T11" fmla="*/ 0 h 140"/>
                <a:gd name="T12" fmla="*/ 31 w 62"/>
                <a:gd name="T13" fmla="*/ 16 h 140"/>
                <a:gd name="T14" fmla="*/ 47 w 62"/>
                <a:gd name="T15" fmla="*/ 31 h 140"/>
                <a:gd name="T16" fmla="*/ 47 w 62"/>
                <a:gd name="T17" fmla="*/ 78 h 140"/>
                <a:gd name="T18" fmla="*/ 62 w 62"/>
                <a:gd name="T19" fmla="*/ 140 h 140"/>
                <a:gd name="T20" fmla="*/ 47 w 62"/>
                <a:gd name="T21" fmla="*/ 140 h 140"/>
                <a:gd name="T22" fmla="*/ 31 w 62"/>
                <a:gd name="T23" fmla="*/ 1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140">
                  <a:moveTo>
                    <a:pt x="31" y="124"/>
                  </a:moveTo>
                  <a:lnTo>
                    <a:pt x="23" y="91"/>
                  </a:lnTo>
                  <a:lnTo>
                    <a:pt x="24" y="65"/>
                  </a:lnTo>
                  <a:lnTo>
                    <a:pt x="20" y="23"/>
                  </a:lnTo>
                  <a:lnTo>
                    <a:pt x="0" y="0"/>
                  </a:lnTo>
                  <a:lnTo>
                    <a:pt x="31" y="0"/>
                  </a:lnTo>
                  <a:lnTo>
                    <a:pt x="31" y="16"/>
                  </a:lnTo>
                  <a:lnTo>
                    <a:pt x="47" y="31"/>
                  </a:lnTo>
                  <a:lnTo>
                    <a:pt x="47" y="78"/>
                  </a:lnTo>
                  <a:lnTo>
                    <a:pt x="62" y="140"/>
                  </a:lnTo>
                  <a:lnTo>
                    <a:pt x="47" y="140"/>
                  </a:lnTo>
                  <a:lnTo>
                    <a:pt x="31" y="124"/>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2" name="Freeform 105">
              <a:extLst>
                <a:ext uri="{FF2B5EF4-FFF2-40B4-BE49-F238E27FC236}">
                  <a16:creationId xmlns:a16="http://schemas.microsoft.com/office/drawing/2014/main" id="{2BF6163F-DFB8-4643-8923-BBCB073E25C6}"/>
                </a:ext>
              </a:extLst>
            </p:cNvPr>
            <p:cNvSpPr>
              <a:spLocks/>
            </p:cNvSpPr>
            <p:nvPr/>
          </p:nvSpPr>
          <p:spPr bwMode="auto">
            <a:xfrm>
              <a:off x="2966" y="2571"/>
              <a:ext cx="207" cy="184"/>
            </a:xfrm>
            <a:custGeom>
              <a:avLst/>
              <a:gdLst>
                <a:gd name="T0" fmla="*/ 296 w 312"/>
                <a:gd name="T1" fmla="*/ 16 h 277"/>
                <a:gd name="T2" fmla="*/ 280 w 312"/>
                <a:gd name="T3" fmla="*/ 0 h 277"/>
                <a:gd name="T4" fmla="*/ 265 w 312"/>
                <a:gd name="T5" fmla="*/ 0 h 277"/>
                <a:gd name="T6" fmla="*/ 249 w 312"/>
                <a:gd name="T7" fmla="*/ 16 h 277"/>
                <a:gd name="T8" fmla="*/ 206 w 312"/>
                <a:gd name="T9" fmla="*/ 5 h 277"/>
                <a:gd name="T10" fmla="*/ 171 w 312"/>
                <a:gd name="T11" fmla="*/ 31 h 277"/>
                <a:gd name="T12" fmla="*/ 140 w 312"/>
                <a:gd name="T13" fmla="*/ 16 h 277"/>
                <a:gd name="T14" fmla="*/ 109 w 312"/>
                <a:gd name="T15" fmla="*/ 16 h 277"/>
                <a:gd name="T16" fmla="*/ 78 w 312"/>
                <a:gd name="T17" fmla="*/ 0 h 277"/>
                <a:gd name="T18" fmla="*/ 47 w 312"/>
                <a:gd name="T19" fmla="*/ 0 h 277"/>
                <a:gd name="T20" fmla="*/ 31 w 312"/>
                <a:gd name="T21" fmla="*/ 31 h 277"/>
                <a:gd name="T22" fmla="*/ 31 w 312"/>
                <a:gd name="T23" fmla="*/ 62 h 277"/>
                <a:gd name="T24" fmla="*/ 31 w 312"/>
                <a:gd name="T25" fmla="*/ 93 h 277"/>
                <a:gd name="T26" fmla="*/ 0 w 312"/>
                <a:gd name="T27" fmla="*/ 156 h 277"/>
                <a:gd name="T28" fmla="*/ 0 w 312"/>
                <a:gd name="T29" fmla="*/ 218 h 277"/>
                <a:gd name="T30" fmla="*/ 31 w 312"/>
                <a:gd name="T31" fmla="*/ 218 h 277"/>
                <a:gd name="T32" fmla="*/ 45 w 312"/>
                <a:gd name="T33" fmla="*/ 212 h 277"/>
                <a:gd name="T34" fmla="*/ 62 w 312"/>
                <a:gd name="T35" fmla="*/ 233 h 277"/>
                <a:gd name="T36" fmla="*/ 78 w 312"/>
                <a:gd name="T37" fmla="*/ 264 h 277"/>
                <a:gd name="T38" fmla="*/ 95 w 312"/>
                <a:gd name="T39" fmla="*/ 277 h 277"/>
                <a:gd name="T40" fmla="*/ 123 w 312"/>
                <a:gd name="T41" fmla="*/ 266 h 277"/>
                <a:gd name="T42" fmla="*/ 156 w 312"/>
                <a:gd name="T43" fmla="*/ 264 h 277"/>
                <a:gd name="T44" fmla="*/ 164 w 312"/>
                <a:gd name="T45" fmla="*/ 229 h 277"/>
                <a:gd name="T46" fmla="*/ 187 w 312"/>
                <a:gd name="T47" fmla="*/ 202 h 277"/>
                <a:gd name="T48" fmla="*/ 203 w 312"/>
                <a:gd name="T49" fmla="*/ 202 h 277"/>
                <a:gd name="T50" fmla="*/ 216 w 312"/>
                <a:gd name="T51" fmla="*/ 202 h 277"/>
                <a:gd name="T52" fmla="*/ 222 w 312"/>
                <a:gd name="T53" fmla="*/ 214 h 277"/>
                <a:gd name="T54" fmla="*/ 234 w 312"/>
                <a:gd name="T55" fmla="*/ 202 h 277"/>
                <a:gd name="T56" fmla="*/ 249 w 312"/>
                <a:gd name="T57" fmla="*/ 156 h 277"/>
                <a:gd name="T58" fmla="*/ 265 w 312"/>
                <a:gd name="T59" fmla="*/ 140 h 277"/>
                <a:gd name="T60" fmla="*/ 282 w 312"/>
                <a:gd name="T61" fmla="*/ 89 h 277"/>
                <a:gd name="T62" fmla="*/ 303 w 312"/>
                <a:gd name="T63" fmla="*/ 68 h 277"/>
                <a:gd name="T64" fmla="*/ 312 w 312"/>
                <a:gd name="T65" fmla="*/ 49 h 277"/>
                <a:gd name="T66" fmla="*/ 296 w 312"/>
                <a:gd name="T67" fmla="*/ 31 h 277"/>
                <a:gd name="T68" fmla="*/ 296 w 312"/>
                <a:gd name="T69" fmla="*/ 1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2" h="277">
                  <a:moveTo>
                    <a:pt x="296" y="16"/>
                  </a:moveTo>
                  <a:lnTo>
                    <a:pt x="280" y="0"/>
                  </a:lnTo>
                  <a:lnTo>
                    <a:pt x="265" y="0"/>
                  </a:lnTo>
                  <a:lnTo>
                    <a:pt x="249" y="16"/>
                  </a:lnTo>
                  <a:lnTo>
                    <a:pt x="206" y="5"/>
                  </a:lnTo>
                  <a:lnTo>
                    <a:pt x="171" y="31"/>
                  </a:lnTo>
                  <a:lnTo>
                    <a:pt x="140" y="16"/>
                  </a:lnTo>
                  <a:lnTo>
                    <a:pt x="109" y="16"/>
                  </a:lnTo>
                  <a:lnTo>
                    <a:pt x="78" y="0"/>
                  </a:lnTo>
                  <a:lnTo>
                    <a:pt x="47" y="0"/>
                  </a:lnTo>
                  <a:lnTo>
                    <a:pt x="31" y="31"/>
                  </a:lnTo>
                  <a:lnTo>
                    <a:pt x="31" y="62"/>
                  </a:lnTo>
                  <a:lnTo>
                    <a:pt x="31" y="93"/>
                  </a:lnTo>
                  <a:lnTo>
                    <a:pt x="0" y="156"/>
                  </a:lnTo>
                  <a:lnTo>
                    <a:pt x="0" y="218"/>
                  </a:lnTo>
                  <a:lnTo>
                    <a:pt x="31" y="218"/>
                  </a:lnTo>
                  <a:lnTo>
                    <a:pt x="45" y="212"/>
                  </a:lnTo>
                  <a:lnTo>
                    <a:pt x="62" y="233"/>
                  </a:lnTo>
                  <a:lnTo>
                    <a:pt x="78" y="264"/>
                  </a:lnTo>
                  <a:lnTo>
                    <a:pt x="95" y="277"/>
                  </a:lnTo>
                  <a:lnTo>
                    <a:pt x="123" y="266"/>
                  </a:lnTo>
                  <a:lnTo>
                    <a:pt x="156" y="264"/>
                  </a:lnTo>
                  <a:lnTo>
                    <a:pt x="164" y="229"/>
                  </a:lnTo>
                  <a:lnTo>
                    <a:pt x="187" y="202"/>
                  </a:lnTo>
                  <a:lnTo>
                    <a:pt x="203" y="202"/>
                  </a:lnTo>
                  <a:lnTo>
                    <a:pt x="216" y="202"/>
                  </a:lnTo>
                  <a:lnTo>
                    <a:pt x="222" y="214"/>
                  </a:lnTo>
                  <a:lnTo>
                    <a:pt x="234" y="202"/>
                  </a:lnTo>
                  <a:lnTo>
                    <a:pt x="249" y="156"/>
                  </a:lnTo>
                  <a:lnTo>
                    <a:pt x="265" y="140"/>
                  </a:lnTo>
                  <a:lnTo>
                    <a:pt x="282" y="89"/>
                  </a:lnTo>
                  <a:lnTo>
                    <a:pt x="303" y="68"/>
                  </a:lnTo>
                  <a:lnTo>
                    <a:pt x="312" y="49"/>
                  </a:lnTo>
                  <a:lnTo>
                    <a:pt x="296" y="31"/>
                  </a:lnTo>
                  <a:lnTo>
                    <a:pt x="296" y="1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3" name="Freeform 106">
              <a:extLst>
                <a:ext uri="{FF2B5EF4-FFF2-40B4-BE49-F238E27FC236}">
                  <a16:creationId xmlns:a16="http://schemas.microsoft.com/office/drawing/2014/main" id="{74F51AA3-B37F-3A4B-8B08-8B6D5F1DC663}"/>
                </a:ext>
              </a:extLst>
            </p:cNvPr>
            <p:cNvSpPr>
              <a:spLocks/>
            </p:cNvSpPr>
            <p:nvPr/>
          </p:nvSpPr>
          <p:spPr bwMode="auto">
            <a:xfrm>
              <a:off x="2935" y="2602"/>
              <a:ext cx="51" cy="114"/>
            </a:xfrm>
            <a:custGeom>
              <a:avLst/>
              <a:gdLst>
                <a:gd name="T0" fmla="*/ 16 w 78"/>
                <a:gd name="T1" fmla="*/ 110 h 172"/>
                <a:gd name="T2" fmla="*/ 16 w 78"/>
                <a:gd name="T3" fmla="*/ 63 h 172"/>
                <a:gd name="T4" fmla="*/ 0 w 78"/>
                <a:gd name="T5" fmla="*/ 47 h 172"/>
                <a:gd name="T6" fmla="*/ 0 w 78"/>
                <a:gd name="T7" fmla="*/ 32 h 172"/>
                <a:gd name="T8" fmla="*/ 16 w 78"/>
                <a:gd name="T9" fmla="*/ 16 h 172"/>
                <a:gd name="T10" fmla="*/ 31 w 78"/>
                <a:gd name="T11" fmla="*/ 16 h 172"/>
                <a:gd name="T12" fmla="*/ 47 w 78"/>
                <a:gd name="T13" fmla="*/ 1 h 172"/>
                <a:gd name="T14" fmla="*/ 61 w 78"/>
                <a:gd name="T15" fmla="*/ 0 h 172"/>
                <a:gd name="T16" fmla="*/ 78 w 78"/>
                <a:gd name="T17" fmla="*/ 16 h 172"/>
                <a:gd name="T18" fmla="*/ 78 w 78"/>
                <a:gd name="T19" fmla="*/ 47 h 172"/>
                <a:gd name="T20" fmla="*/ 47 w 78"/>
                <a:gd name="T21" fmla="*/ 110 h 172"/>
                <a:gd name="T22" fmla="*/ 47 w 78"/>
                <a:gd name="T23" fmla="*/ 172 h 172"/>
                <a:gd name="T24" fmla="*/ 31 w 78"/>
                <a:gd name="T25" fmla="*/ 172 h 172"/>
                <a:gd name="T26" fmla="*/ 16 w 78"/>
                <a:gd name="T27" fmla="*/ 11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172">
                  <a:moveTo>
                    <a:pt x="16" y="110"/>
                  </a:moveTo>
                  <a:lnTo>
                    <a:pt x="16" y="63"/>
                  </a:lnTo>
                  <a:lnTo>
                    <a:pt x="0" y="47"/>
                  </a:lnTo>
                  <a:lnTo>
                    <a:pt x="0" y="32"/>
                  </a:lnTo>
                  <a:lnTo>
                    <a:pt x="16" y="16"/>
                  </a:lnTo>
                  <a:lnTo>
                    <a:pt x="31" y="16"/>
                  </a:lnTo>
                  <a:lnTo>
                    <a:pt x="47" y="1"/>
                  </a:lnTo>
                  <a:lnTo>
                    <a:pt x="61" y="0"/>
                  </a:lnTo>
                  <a:lnTo>
                    <a:pt x="78" y="16"/>
                  </a:lnTo>
                  <a:lnTo>
                    <a:pt x="78" y="47"/>
                  </a:lnTo>
                  <a:lnTo>
                    <a:pt x="47" y="110"/>
                  </a:lnTo>
                  <a:lnTo>
                    <a:pt x="47" y="172"/>
                  </a:lnTo>
                  <a:lnTo>
                    <a:pt x="31" y="172"/>
                  </a:lnTo>
                  <a:lnTo>
                    <a:pt x="16" y="11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4" name="Freeform 107">
              <a:extLst>
                <a:ext uri="{FF2B5EF4-FFF2-40B4-BE49-F238E27FC236}">
                  <a16:creationId xmlns:a16="http://schemas.microsoft.com/office/drawing/2014/main" id="{9EB34041-D98B-074D-A293-E68E65D2512C}"/>
                </a:ext>
              </a:extLst>
            </p:cNvPr>
            <p:cNvSpPr>
              <a:spLocks/>
            </p:cNvSpPr>
            <p:nvPr/>
          </p:nvSpPr>
          <p:spPr bwMode="auto">
            <a:xfrm>
              <a:off x="2768" y="2633"/>
              <a:ext cx="115" cy="124"/>
            </a:xfrm>
            <a:custGeom>
              <a:avLst/>
              <a:gdLst>
                <a:gd name="T0" fmla="*/ 157 w 173"/>
                <a:gd name="T1" fmla="*/ 156 h 187"/>
                <a:gd name="T2" fmla="*/ 142 w 173"/>
                <a:gd name="T3" fmla="*/ 109 h 187"/>
                <a:gd name="T4" fmla="*/ 173 w 173"/>
                <a:gd name="T5" fmla="*/ 62 h 187"/>
                <a:gd name="T6" fmla="*/ 157 w 173"/>
                <a:gd name="T7" fmla="*/ 31 h 187"/>
                <a:gd name="T8" fmla="*/ 142 w 173"/>
                <a:gd name="T9" fmla="*/ 16 h 187"/>
                <a:gd name="T10" fmla="*/ 111 w 173"/>
                <a:gd name="T11" fmla="*/ 26 h 187"/>
                <a:gd name="T12" fmla="*/ 94 w 173"/>
                <a:gd name="T13" fmla="*/ 0 h 187"/>
                <a:gd name="T14" fmla="*/ 75 w 173"/>
                <a:gd name="T15" fmla="*/ 8 h 187"/>
                <a:gd name="T16" fmla="*/ 63 w 173"/>
                <a:gd name="T17" fmla="*/ 0 h 187"/>
                <a:gd name="T18" fmla="*/ 46 w 173"/>
                <a:gd name="T19" fmla="*/ 11 h 187"/>
                <a:gd name="T20" fmla="*/ 31 w 173"/>
                <a:gd name="T21" fmla="*/ 0 h 187"/>
                <a:gd name="T22" fmla="*/ 21 w 173"/>
                <a:gd name="T23" fmla="*/ 11 h 187"/>
                <a:gd name="T24" fmla="*/ 16 w 173"/>
                <a:gd name="T25" fmla="*/ 31 h 187"/>
                <a:gd name="T26" fmla="*/ 31 w 173"/>
                <a:gd name="T27" fmla="*/ 62 h 187"/>
                <a:gd name="T28" fmla="*/ 16 w 173"/>
                <a:gd name="T29" fmla="*/ 62 h 187"/>
                <a:gd name="T30" fmla="*/ 16 w 173"/>
                <a:gd name="T31" fmla="*/ 78 h 187"/>
                <a:gd name="T32" fmla="*/ 0 w 173"/>
                <a:gd name="T33" fmla="*/ 94 h 187"/>
                <a:gd name="T34" fmla="*/ 16 w 173"/>
                <a:gd name="T35" fmla="*/ 125 h 187"/>
                <a:gd name="T36" fmla="*/ 31 w 173"/>
                <a:gd name="T37" fmla="*/ 140 h 187"/>
                <a:gd name="T38" fmla="*/ 31 w 173"/>
                <a:gd name="T39" fmla="*/ 187 h 187"/>
                <a:gd name="T40" fmla="*/ 54 w 173"/>
                <a:gd name="T41" fmla="*/ 170 h 187"/>
                <a:gd name="T42" fmla="*/ 90 w 173"/>
                <a:gd name="T43" fmla="*/ 160 h 187"/>
                <a:gd name="T44" fmla="*/ 110 w 173"/>
                <a:gd name="T45" fmla="*/ 156 h 187"/>
                <a:gd name="T46" fmla="*/ 127 w 173"/>
                <a:gd name="T47" fmla="*/ 152 h 187"/>
                <a:gd name="T48" fmla="*/ 142 w 173"/>
                <a:gd name="T49" fmla="*/ 156 h 187"/>
                <a:gd name="T50" fmla="*/ 157 w 173"/>
                <a:gd name="T51" fmla="*/ 15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87">
                  <a:moveTo>
                    <a:pt x="157" y="156"/>
                  </a:moveTo>
                  <a:lnTo>
                    <a:pt x="142" y="109"/>
                  </a:lnTo>
                  <a:lnTo>
                    <a:pt x="173" y="62"/>
                  </a:lnTo>
                  <a:lnTo>
                    <a:pt x="157" y="31"/>
                  </a:lnTo>
                  <a:lnTo>
                    <a:pt x="142" y="16"/>
                  </a:lnTo>
                  <a:lnTo>
                    <a:pt x="111" y="26"/>
                  </a:lnTo>
                  <a:lnTo>
                    <a:pt x="94" y="0"/>
                  </a:lnTo>
                  <a:lnTo>
                    <a:pt x="75" y="8"/>
                  </a:lnTo>
                  <a:lnTo>
                    <a:pt x="63" y="0"/>
                  </a:lnTo>
                  <a:lnTo>
                    <a:pt x="46" y="11"/>
                  </a:lnTo>
                  <a:lnTo>
                    <a:pt x="31" y="0"/>
                  </a:lnTo>
                  <a:lnTo>
                    <a:pt x="21" y="11"/>
                  </a:lnTo>
                  <a:lnTo>
                    <a:pt x="16" y="31"/>
                  </a:lnTo>
                  <a:lnTo>
                    <a:pt x="31" y="62"/>
                  </a:lnTo>
                  <a:lnTo>
                    <a:pt x="16" y="62"/>
                  </a:lnTo>
                  <a:lnTo>
                    <a:pt x="16" y="78"/>
                  </a:lnTo>
                  <a:lnTo>
                    <a:pt x="0" y="94"/>
                  </a:lnTo>
                  <a:lnTo>
                    <a:pt x="16" y="125"/>
                  </a:lnTo>
                  <a:lnTo>
                    <a:pt x="31" y="140"/>
                  </a:lnTo>
                  <a:lnTo>
                    <a:pt x="31" y="187"/>
                  </a:lnTo>
                  <a:lnTo>
                    <a:pt x="54" y="170"/>
                  </a:lnTo>
                  <a:lnTo>
                    <a:pt x="90" y="160"/>
                  </a:lnTo>
                  <a:lnTo>
                    <a:pt x="110" y="156"/>
                  </a:lnTo>
                  <a:lnTo>
                    <a:pt x="127" y="152"/>
                  </a:lnTo>
                  <a:lnTo>
                    <a:pt x="142" y="156"/>
                  </a:lnTo>
                  <a:lnTo>
                    <a:pt x="157" y="15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5" name="Freeform 108">
              <a:extLst>
                <a:ext uri="{FF2B5EF4-FFF2-40B4-BE49-F238E27FC236}">
                  <a16:creationId xmlns:a16="http://schemas.microsoft.com/office/drawing/2014/main" id="{3177C106-CA89-F640-8FC9-4C8FF3FB3859}"/>
                </a:ext>
              </a:extLst>
            </p:cNvPr>
            <p:cNvSpPr>
              <a:spLocks/>
            </p:cNvSpPr>
            <p:nvPr/>
          </p:nvSpPr>
          <p:spPr bwMode="auto">
            <a:xfrm>
              <a:off x="2717" y="2674"/>
              <a:ext cx="72" cy="83"/>
            </a:xfrm>
            <a:custGeom>
              <a:avLst/>
              <a:gdLst>
                <a:gd name="T0" fmla="*/ 79 w 110"/>
                <a:gd name="T1" fmla="*/ 31 h 124"/>
                <a:gd name="T2" fmla="*/ 94 w 110"/>
                <a:gd name="T3" fmla="*/ 62 h 124"/>
                <a:gd name="T4" fmla="*/ 110 w 110"/>
                <a:gd name="T5" fmla="*/ 78 h 124"/>
                <a:gd name="T6" fmla="*/ 110 w 110"/>
                <a:gd name="T7" fmla="*/ 124 h 124"/>
                <a:gd name="T8" fmla="*/ 94 w 110"/>
                <a:gd name="T9" fmla="*/ 109 h 124"/>
                <a:gd name="T10" fmla="*/ 76 w 110"/>
                <a:gd name="T11" fmla="*/ 103 h 124"/>
                <a:gd name="T12" fmla="*/ 55 w 110"/>
                <a:gd name="T13" fmla="*/ 82 h 124"/>
                <a:gd name="T14" fmla="*/ 25 w 110"/>
                <a:gd name="T15" fmla="*/ 59 h 124"/>
                <a:gd name="T16" fmla="*/ 0 w 110"/>
                <a:gd name="T17" fmla="*/ 47 h 124"/>
                <a:gd name="T18" fmla="*/ 31 w 110"/>
                <a:gd name="T19" fmla="*/ 0 h 124"/>
                <a:gd name="T20" fmla="*/ 47 w 110"/>
                <a:gd name="T21" fmla="*/ 0 h 124"/>
                <a:gd name="T22" fmla="*/ 63 w 110"/>
                <a:gd name="T23" fmla="*/ 31 h 124"/>
                <a:gd name="T24" fmla="*/ 79 w 110"/>
                <a:gd name="T25" fmla="*/ 3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24">
                  <a:moveTo>
                    <a:pt x="79" y="31"/>
                  </a:moveTo>
                  <a:lnTo>
                    <a:pt x="94" y="62"/>
                  </a:lnTo>
                  <a:lnTo>
                    <a:pt x="110" y="78"/>
                  </a:lnTo>
                  <a:lnTo>
                    <a:pt x="110" y="124"/>
                  </a:lnTo>
                  <a:lnTo>
                    <a:pt x="94" y="109"/>
                  </a:lnTo>
                  <a:lnTo>
                    <a:pt x="76" y="103"/>
                  </a:lnTo>
                  <a:lnTo>
                    <a:pt x="55" y="82"/>
                  </a:lnTo>
                  <a:lnTo>
                    <a:pt x="25" y="59"/>
                  </a:lnTo>
                  <a:lnTo>
                    <a:pt x="0" y="47"/>
                  </a:lnTo>
                  <a:lnTo>
                    <a:pt x="31" y="0"/>
                  </a:lnTo>
                  <a:lnTo>
                    <a:pt x="47" y="0"/>
                  </a:lnTo>
                  <a:lnTo>
                    <a:pt x="63" y="31"/>
                  </a:lnTo>
                  <a:lnTo>
                    <a:pt x="79" y="31"/>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6" name="Freeform 109">
              <a:extLst>
                <a:ext uri="{FF2B5EF4-FFF2-40B4-BE49-F238E27FC236}">
                  <a16:creationId xmlns:a16="http://schemas.microsoft.com/office/drawing/2014/main" id="{0FCBE01A-1F7C-4A49-BBD2-F443C924A3C4}"/>
                </a:ext>
              </a:extLst>
            </p:cNvPr>
            <p:cNvSpPr>
              <a:spLocks/>
            </p:cNvSpPr>
            <p:nvPr/>
          </p:nvSpPr>
          <p:spPr bwMode="auto">
            <a:xfrm>
              <a:off x="2624" y="2509"/>
              <a:ext cx="103" cy="87"/>
            </a:xfrm>
            <a:custGeom>
              <a:avLst/>
              <a:gdLst>
                <a:gd name="T0" fmla="*/ 140 w 156"/>
                <a:gd name="T1" fmla="*/ 63 h 132"/>
                <a:gd name="T2" fmla="*/ 137 w 156"/>
                <a:gd name="T3" fmla="*/ 92 h 132"/>
                <a:gd name="T4" fmla="*/ 156 w 156"/>
                <a:gd name="T5" fmla="*/ 125 h 132"/>
                <a:gd name="T6" fmla="*/ 123 w 156"/>
                <a:gd name="T7" fmla="*/ 132 h 132"/>
                <a:gd name="T8" fmla="*/ 94 w 156"/>
                <a:gd name="T9" fmla="*/ 125 h 132"/>
                <a:gd name="T10" fmla="*/ 16 w 156"/>
                <a:gd name="T11" fmla="*/ 125 h 132"/>
                <a:gd name="T12" fmla="*/ 16 w 156"/>
                <a:gd name="T13" fmla="*/ 109 h 132"/>
                <a:gd name="T14" fmla="*/ 35 w 156"/>
                <a:gd name="T15" fmla="*/ 107 h 132"/>
                <a:gd name="T16" fmla="*/ 47 w 156"/>
                <a:gd name="T17" fmla="*/ 94 h 132"/>
                <a:gd name="T18" fmla="*/ 78 w 156"/>
                <a:gd name="T19" fmla="*/ 109 h 132"/>
                <a:gd name="T20" fmla="*/ 94 w 156"/>
                <a:gd name="T21" fmla="*/ 94 h 132"/>
                <a:gd name="T22" fmla="*/ 42 w 156"/>
                <a:gd name="T23" fmla="*/ 86 h 132"/>
                <a:gd name="T24" fmla="*/ 32 w 156"/>
                <a:gd name="T25" fmla="*/ 93 h 132"/>
                <a:gd name="T26" fmla="*/ 16 w 156"/>
                <a:gd name="T27" fmla="*/ 94 h 132"/>
                <a:gd name="T28" fmla="*/ 16 w 156"/>
                <a:gd name="T29" fmla="*/ 78 h 132"/>
                <a:gd name="T30" fmla="*/ 0 w 156"/>
                <a:gd name="T31" fmla="*/ 63 h 132"/>
                <a:gd name="T32" fmla="*/ 21 w 156"/>
                <a:gd name="T33" fmla="*/ 35 h 132"/>
                <a:gd name="T34" fmla="*/ 29 w 156"/>
                <a:gd name="T35" fmla="*/ 12 h 132"/>
                <a:gd name="T36" fmla="*/ 47 w 156"/>
                <a:gd name="T37" fmla="*/ 16 h 132"/>
                <a:gd name="T38" fmla="*/ 78 w 156"/>
                <a:gd name="T39" fmla="*/ 0 h 132"/>
                <a:gd name="T40" fmla="*/ 109 w 156"/>
                <a:gd name="T41" fmla="*/ 31 h 132"/>
                <a:gd name="T42" fmla="*/ 140 w 156"/>
                <a:gd name="T43" fmla="*/ 6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132">
                  <a:moveTo>
                    <a:pt x="140" y="63"/>
                  </a:moveTo>
                  <a:lnTo>
                    <a:pt x="137" y="92"/>
                  </a:lnTo>
                  <a:lnTo>
                    <a:pt x="156" y="125"/>
                  </a:lnTo>
                  <a:lnTo>
                    <a:pt x="123" y="132"/>
                  </a:lnTo>
                  <a:lnTo>
                    <a:pt x="94" y="125"/>
                  </a:lnTo>
                  <a:lnTo>
                    <a:pt x="16" y="125"/>
                  </a:lnTo>
                  <a:lnTo>
                    <a:pt x="16" y="109"/>
                  </a:lnTo>
                  <a:lnTo>
                    <a:pt x="35" y="107"/>
                  </a:lnTo>
                  <a:lnTo>
                    <a:pt x="47" y="94"/>
                  </a:lnTo>
                  <a:lnTo>
                    <a:pt x="78" y="109"/>
                  </a:lnTo>
                  <a:lnTo>
                    <a:pt x="94" y="94"/>
                  </a:lnTo>
                  <a:lnTo>
                    <a:pt x="42" y="86"/>
                  </a:lnTo>
                  <a:lnTo>
                    <a:pt x="32" y="93"/>
                  </a:lnTo>
                  <a:lnTo>
                    <a:pt x="16" y="94"/>
                  </a:lnTo>
                  <a:lnTo>
                    <a:pt x="16" y="78"/>
                  </a:lnTo>
                  <a:lnTo>
                    <a:pt x="0" y="63"/>
                  </a:lnTo>
                  <a:lnTo>
                    <a:pt x="21" y="35"/>
                  </a:lnTo>
                  <a:lnTo>
                    <a:pt x="29" y="12"/>
                  </a:lnTo>
                  <a:lnTo>
                    <a:pt x="47" y="16"/>
                  </a:lnTo>
                  <a:lnTo>
                    <a:pt x="78" y="0"/>
                  </a:lnTo>
                  <a:lnTo>
                    <a:pt x="109" y="31"/>
                  </a:lnTo>
                  <a:lnTo>
                    <a:pt x="140" y="63"/>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7" name="Freeform 110">
              <a:extLst>
                <a:ext uri="{FF2B5EF4-FFF2-40B4-BE49-F238E27FC236}">
                  <a16:creationId xmlns:a16="http://schemas.microsoft.com/office/drawing/2014/main" id="{0C0159A4-6E0E-554D-B0A7-043265076D0E}"/>
                </a:ext>
              </a:extLst>
            </p:cNvPr>
            <p:cNvSpPr>
              <a:spLocks/>
            </p:cNvSpPr>
            <p:nvPr/>
          </p:nvSpPr>
          <p:spPr bwMode="auto">
            <a:xfrm>
              <a:off x="2634" y="2303"/>
              <a:ext cx="212" cy="247"/>
            </a:xfrm>
            <a:custGeom>
              <a:avLst/>
              <a:gdLst>
                <a:gd name="T0" fmla="*/ 125 w 319"/>
                <a:gd name="T1" fmla="*/ 373 h 373"/>
                <a:gd name="T2" fmla="*/ 94 w 319"/>
                <a:gd name="T3" fmla="*/ 342 h 373"/>
                <a:gd name="T4" fmla="*/ 62 w 319"/>
                <a:gd name="T5" fmla="*/ 311 h 373"/>
                <a:gd name="T6" fmla="*/ 31 w 319"/>
                <a:gd name="T7" fmla="*/ 326 h 373"/>
                <a:gd name="T8" fmla="*/ 13 w 319"/>
                <a:gd name="T9" fmla="*/ 325 h 373"/>
                <a:gd name="T10" fmla="*/ 16 w 319"/>
                <a:gd name="T11" fmla="*/ 280 h 373"/>
                <a:gd name="T12" fmla="*/ 23 w 319"/>
                <a:gd name="T13" fmla="*/ 263 h 373"/>
                <a:gd name="T14" fmla="*/ 16 w 319"/>
                <a:gd name="T15" fmla="*/ 233 h 373"/>
                <a:gd name="T16" fmla="*/ 16 w 319"/>
                <a:gd name="T17" fmla="*/ 202 h 373"/>
                <a:gd name="T18" fmla="*/ 0 w 319"/>
                <a:gd name="T19" fmla="*/ 187 h 373"/>
                <a:gd name="T20" fmla="*/ 16 w 319"/>
                <a:gd name="T21" fmla="*/ 171 h 373"/>
                <a:gd name="T22" fmla="*/ 101 w 319"/>
                <a:gd name="T23" fmla="*/ 181 h 373"/>
                <a:gd name="T24" fmla="*/ 100 w 319"/>
                <a:gd name="T25" fmla="*/ 133 h 373"/>
                <a:gd name="T26" fmla="*/ 131 w 319"/>
                <a:gd name="T27" fmla="*/ 115 h 373"/>
                <a:gd name="T28" fmla="*/ 137 w 319"/>
                <a:gd name="T29" fmla="*/ 41 h 373"/>
                <a:gd name="T30" fmla="*/ 218 w 319"/>
                <a:gd name="T31" fmla="*/ 40 h 373"/>
                <a:gd name="T32" fmla="*/ 218 w 319"/>
                <a:gd name="T33" fmla="*/ 0 h 373"/>
                <a:gd name="T34" fmla="*/ 319 w 319"/>
                <a:gd name="T35" fmla="*/ 70 h 373"/>
                <a:gd name="T36" fmla="*/ 271 w 319"/>
                <a:gd name="T37" fmla="*/ 71 h 373"/>
                <a:gd name="T38" fmla="*/ 280 w 319"/>
                <a:gd name="T39" fmla="*/ 242 h 373"/>
                <a:gd name="T40" fmla="*/ 295 w 319"/>
                <a:gd name="T41" fmla="*/ 353 h 373"/>
                <a:gd name="T42" fmla="*/ 182 w 319"/>
                <a:gd name="T43" fmla="*/ 349 h 373"/>
                <a:gd name="T44" fmla="*/ 156 w 319"/>
                <a:gd name="T45" fmla="*/ 357 h 373"/>
                <a:gd name="T46" fmla="*/ 140 w 319"/>
                <a:gd name="T47" fmla="*/ 342 h 373"/>
                <a:gd name="T48" fmla="*/ 125 w 319"/>
                <a:gd name="T49"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373">
                  <a:moveTo>
                    <a:pt x="125" y="373"/>
                  </a:moveTo>
                  <a:lnTo>
                    <a:pt x="94" y="342"/>
                  </a:lnTo>
                  <a:lnTo>
                    <a:pt x="62" y="311"/>
                  </a:lnTo>
                  <a:lnTo>
                    <a:pt x="31" y="326"/>
                  </a:lnTo>
                  <a:lnTo>
                    <a:pt x="13" y="325"/>
                  </a:lnTo>
                  <a:lnTo>
                    <a:pt x="16" y="280"/>
                  </a:lnTo>
                  <a:lnTo>
                    <a:pt x="23" y="263"/>
                  </a:lnTo>
                  <a:lnTo>
                    <a:pt x="16" y="233"/>
                  </a:lnTo>
                  <a:lnTo>
                    <a:pt x="16" y="202"/>
                  </a:lnTo>
                  <a:lnTo>
                    <a:pt x="0" y="187"/>
                  </a:lnTo>
                  <a:lnTo>
                    <a:pt x="16" y="171"/>
                  </a:lnTo>
                  <a:lnTo>
                    <a:pt x="101" y="181"/>
                  </a:lnTo>
                  <a:lnTo>
                    <a:pt x="100" y="133"/>
                  </a:lnTo>
                  <a:lnTo>
                    <a:pt x="131" y="115"/>
                  </a:lnTo>
                  <a:lnTo>
                    <a:pt x="137" y="41"/>
                  </a:lnTo>
                  <a:lnTo>
                    <a:pt x="218" y="40"/>
                  </a:lnTo>
                  <a:lnTo>
                    <a:pt x="218" y="0"/>
                  </a:lnTo>
                  <a:lnTo>
                    <a:pt x="319" y="70"/>
                  </a:lnTo>
                  <a:lnTo>
                    <a:pt x="271" y="71"/>
                  </a:lnTo>
                  <a:lnTo>
                    <a:pt x="280" y="242"/>
                  </a:lnTo>
                  <a:lnTo>
                    <a:pt x="295" y="353"/>
                  </a:lnTo>
                  <a:lnTo>
                    <a:pt x="182" y="349"/>
                  </a:lnTo>
                  <a:lnTo>
                    <a:pt x="156" y="357"/>
                  </a:lnTo>
                  <a:lnTo>
                    <a:pt x="140" y="342"/>
                  </a:lnTo>
                  <a:lnTo>
                    <a:pt x="125" y="373"/>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8" name="Freeform 111">
              <a:extLst>
                <a:ext uri="{FF2B5EF4-FFF2-40B4-BE49-F238E27FC236}">
                  <a16:creationId xmlns:a16="http://schemas.microsoft.com/office/drawing/2014/main" id="{DF14F352-6BED-C34C-A58C-9C704FDBCA7A}"/>
                </a:ext>
              </a:extLst>
            </p:cNvPr>
            <p:cNvSpPr>
              <a:spLocks/>
            </p:cNvSpPr>
            <p:nvPr/>
          </p:nvSpPr>
          <p:spPr bwMode="auto">
            <a:xfrm>
              <a:off x="2634" y="2293"/>
              <a:ext cx="145" cy="133"/>
            </a:xfrm>
            <a:custGeom>
              <a:avLst/>
              <a:gdLst>
                <a:gd name="T0" fmla="*/ 218 w 218"/>
                <a:gd name="T1" fmla="*/ 0 h 201"/>
                <a:gd name="T2" fmla="*/ 218 w 218"/>
                <a:gd name="T3" fmla="*/ 15 h 201"/>
                <a:gd name="T4" fmla="*/ 218 w 218"/>
                <a:gd name="T5" fmla="*/ 55 h 201"/>
                <a:gd name="T6" fmla="*/ 139 w 218"/>
                <a:gd name="T7" fmla="*/ 56 h 201"/>
                <a:gd name="T8" fmla="*/ 131 w 218"/>
                <a:gd name="T9" fmla="*/ 130 h 201"/>
                <a:gd name="T10" fmla="*/ 98 w 218"/>
                <a:gd name="T11" fmla="*/ 149 h 201"/>
                <a:gd name="T12" fmla="*/ 101 w 218"/>
                <a:gd name="T13" fmla="*/ 196 h 201"/>
                <a:gd name="T14" fmla="*/ 16 w 218"/>
                <a:gd name="T15" fmla="*/ 186 h 201"/>
                <a:gd name="T16" fmla="*/ 0 w 218"/>
                <a:gd name="T17" fmla="*/ 201 h 201"/>
                <a:gd name="T18" fmla="*/ 0 w 218"/>
                <a:gd name="T19" fmla="*/ 170 h 201"/>
                <a:gd name="T20" fmla="*/ 19 w 218"/>
                <a:gd name="T21" fmla="*/ 154 h 201"/>
                <a:gd name="T22" fmla="*/ 35 w 218"/>
                <a:gd name="T23" fmla="*/ 112 h 201"/>
                <a:gd name="T24" fmla="*/ 62 w 218"/>
                <a:gd name="T25" fmla="*/ 93 h 201"/>
                <a:gd name="T26" fmla="*/ 78 w 218"/>
                <a:gd name="T27" fmla="*/ 46 h 201"/>
                <a:gd name="T28" fmla="*/ 93 w 218"/>
                <a:gd name="T29" fmla="*/ 31 h 201"/>
                <a:gd name="T30" fmla="*/ 109 w 218"/>
                <a:gd name="T31" fmla="*/ 0 h 201"/>
                <a:gd name="T32" fmla="*/ 218 w 218"/>
                <a:gd name="T33"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201">
                  <a:moveTo>
                    <a:pt x="218" y="0"/>
                  </a:moveTo>
                  <a:lnTo>
                    <a:pt x="218" y="15"/>
                  </a:lnTo>
                  <a:lnTo>
                    <a:pt x="218" y="55"/>
                  </a:lnTo>
                  <a:lnTo>
                    <a:pt x="139" y="56"/>
                  </a:lnTo>
                  <a:lnTo>
                    <a:pt x="131" y="130"/>
                  </a:lnTo>
                  <a:lnTo>
                    <a:pt x="98" y="149"/>
                  </a:lnTo>
                  <a:lnTo>
                    <a:pt x="101" y="196"/>
                  </a:lnTo>
                  <a:lnTo>
                    <a:pt x="16" y="186"/>
                  </a:lnTo>
                  <a:lnTo>
                    <a:pt x="0" y="201"/>
                  </a:lnTo>
                  <a:lnTo>
                    <a:pt x="0" y="170"/>
                  </a:lnTo>
                  <a:lnTo>
                    <a:pt x="19" y="154"/>
                  </a:lnTo>
                  <a:lnTo>
                    <a:pt x="35" y="112"/>
                  </a:lnTo>
                  <a:lnTo>
                    <a:pt x="62" y="93"/>
                  </a:lnTo>
                  <a:lnTo>
                    <a:pt x="78" y="46"/>
                  </a:lnTo>
                  <a:lnTo>
                    <a:pt x="93" y="31"/>
                  </a:lnTo>
                  <a:lnTo>
                    <a:pt x="109" y="0"/>
                  </a:lnTo>
                  <a:lnTo>
                    <a:pt x="218"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79" name="Freeform 112">
              <a:extLst>
                <a:ext uri="{FF2B5EF4-FFF2-40B4-BE49-F238E27FC236}">
                  <a16:creationId xmlns:a16="http://schemas.microsoft.com/office/drawing/2014/main" id="{058B75C5-484C-1846-A88A-368641516DA7}"/>
                </a:ext>
              </a:extLst>
            </p:cNvPr>
            <p:cNvSpPr>
              <a:spLocks/>
            </p:cNvSpPr>
            <p:nvPr/>
          </p:nvSpPr>
          <p:spPr bwMode="auto">
            <a:xfrm>
              <a:off x="3051" y="2106"/>
              <a:ext cx="63" cy="135"/>
            </a:xfrm>
            <a:custGeom>
              <a:avLst/>
              <a:gdLst>
                <a:gd name="T0" fmla="*/ 90 w 96"/>
                <a:gd name="T1" fmla="*/ 125 h 203"/>
                <a:gd name="T2" fmla="*/ 96 w 96"/>
                <a:gd name="T3" fmla="*/ 142 h 203"/>
                <a:gd name="T4" fmla="*/ 90 w 96"/>
                <a:gd name="T5" fmla="*/ 156 h 203"/>
                <a:gd name="T6" fmla="*/ 59 w 96"/>
                <a:gd name="T7" fmla="*/ 172 h 203"/>
                <a:gd name="T8" fmla="*/ 69 w 96"/>
                <a:gd name="T9" fmla="*/ 190 h 203"/>
                <a:gd name="T10" fmla="*/ 59 w 96"/>
                <a:gd name="T11" fmla="*/ 203 h 203"/>
                <a:gd name="T12" fmla="*/ 44 w 96"/>
                <a:gd name="T13" fmla="*/ 203 h 203"/>
                <a:gd name="T14" fmla="*/ 44 w 96"/>
                <a:gd name="T15" fmla="*/ 156 h 203"/>
                <a:gd name="T16" fmla="*/ 21 w 96"/>
                <a:gd name="T17" fmla="*/ 145 h 203"/>
                <a:gd name="T18" fmla="*/ 19 w 96"/>
                <a:gd name="T19" fmla="*/ 129 h 203"/>
                <a:gd name="T20" fmla="*/ 0 w 96"/>
                <a:gd name="T21" fmla="*/ 105 h 203"/>
                <a:gd name="T22" fmla="*/ 10 w 96"/>
                <a:gd name="T23" fmla="*/ 88 h 203"/>
                <a:gd name="T24" fmla="*/ 22 w 96"/>
                <a:gd name="T25" fmla="*/ 70 h 203"/>
                <a:gd name="T26" fmla="*/ 18 w 96"/>
                <a:gd name="T27" fmla="*/ 34 h 203"/>
                <a:gd name="T28" fmla="*/ 28 w 96"/>
                <a:gd name="T29" fmla="*/ 16 h 203"/>
                <a:gd name="T30" fmla="*/ 59 w 96"/>
                <a:gd name="T31" fmla="*/ 0 h 203"/>
                <a:gd name="T32" fmla="*/ 66 w 96"/>
                <a:gd name="T33" fmla="*/ 10 h 203"/>
                <a:gd name="T34" fmla="*/ 75 w 96"/>
                <a:gd name="T35" fmla="*/ 16 h 203"/>
                <a:gd name="T36" fmla="*/ 90 w 96"/>
                <a:gd name="T37" fmla="*/ 16 h 203"/>
                <a:gd name="T38" fmla="*/ 75 w 96"/>
                <a:gd name="T39" fmla="*/ 31 h 203"/>
                <a:gd name="T40" fmla="*/ 90 w 96"/>
                <a:gd name="T41" fmla="*/ 62 h 203"/>
                <a:gd name="T42" fmla="*/ 59 w 96"/>
                <a:gd name="T43" fmla="*/ 94 h 203"/>
                <a:gd name="T44" fmla="*/ 59 w 96"/>
                <a:gd name="T45" fmla="*/ 109 h 203"/>
                <a:gd name="T46" fmla="*/ 90 w 96"/>
                <a:gd name="T47" fmla="*/ 109 h 203"/>
                <a:gd name="T48" fmla="*/ 90 w 96"/>
                <a:gd name="T49" fmla="*/ 1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203">
                  <a:moveTo>
                    <a:pt x="90" y="125"/>
                  </a:moveTo>
                  <a:lnTo>
                    <a:pt x="96" y="142"/>
                  </a:lnTo>
                  <a:lnTo>
                    <a:pt x="90" y="156"/>
                  </a:lnTo>
                  <a:lnTo>
                    <a:pt x="59" y="172"/>
                  </a:lnTo>
                  <a:lnTo>
                    <a:pt x="69" y="190"/>
                  </a:lnTo>
                  <a:lnTo>
                    <a:pt x="59" y="203"/>
                  </a:lnTo>
                  <a:lnTo>
                    <a:pt x="44" y="203"/>
                  </a:lnTo>
                  <a:lnTo>
                    <a:pt x="44" y="156"/>
                  </a:lnTo>
                  <a:lnTo>
                    <a:pt x="21" y="145"/>
                  </a:lnTo>
                  <a:lnTo>
                    <a:pt x="19" y="129"/>
                  </a:lnTo>
                  <a:lnTo>
                    <a:pt x="0" y="105"/>
                  </a:lnTo>
                  <a:lnTo>
                    <a:pt x="10" y="88"/>
                  </a:lnTo>
                  <a:lnTo>
                    <a:pt x="22" y="70"/>
                  </a:lnTo>
                  <a:lnTo>
                    <a:pt x="18" y="34"/>
                  </a:lnTo>
                  <a:lnTo>
                    <a:pt x="28" y="16"/>
                  </a:lnTo>
                  <a:lnTo>
                    <a:pt x="59" y="0"/>
                  </a:lnTo>
                  <a:lnTo>
                    <a:pt x="66" y="10"/>
                  </a:lnTo>
                  <a:lnTo>
                    <a:pt x="75" y="16"/>
                  </a:lnTo>
                  <a:lnTo>
                    <a:pt x="90" y="16"/>
                  </a:lnTo>
                  <a:lnTo>
                    <a:pt x="75" y="31"/>
                  </a:lnTo>
                  <a:lnTo>
                    <a:pt x="90" y="62"/>
                  </a:lnTo>
                  <a:lnTo>
                    <a:pt x="59" y="94"/>
                  </a:lnTo>
                  <a:lnTo>
                    <a:pt x="59" y="109"/>
                  </a:lnTo>
                  <a:lnTo>
                    <a:pt x="90" y="109"/>
                  </a:lnTo>
                  <a:lnTo>
                    <a:pt x="90" y="125"/>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0" name="Freeform 113">
              <a:extLst>
                <a:ext uri="{FF2B5EF4-FFF2-40B4-BE49-F238E27FC236}">
                  <a16:creationId xmlns:a16="http://schemas.microsoft.com/office/drawing/2014/main" id="{FC8F1485-60C2-6A4F-A137-380AB729E234}"/>
                </a:ext>
              </a:extLst>
            </p:cNvPr>
            <p:cNvSpPr>
              <a:spLocks/>
            </p:cNvSpPr>
            <p:nvPr/>
          </p:nvSpPr>
          <p:spPr bwMode="auto">
            <a:xfrm>
              <a:off x="2707" y="2138"/>
              <a:ext cx="196" cy="155"/>
            </a:xfrm>
            <a:custGeom>
              <a:avLst/>
              <a:gdLst>
                <a:gd name="T0" fmla="*/ 297 w 297"/>
                <a:gd name="T1" fmla="*/ 31 h 234"/>
                <a:gd name="T2" fmla="*/ 297 w 297"/>
                <a:gd name="T3" fmla="*/ 109 h 234"/>
                <a:gd name="T4" fmla="*/ 234 w 297"/>
                <a:gd name="T5" fmla="*/ 125 h 234"/>
                <a:gd name="T6" fmla="*/ 234 w 297"/>
                <a:gd name="T7" fmla="*/ 140 h 234"/>
                <a:gd name="T8" fmla="*/ 203 w 297"/>
                <a:gd name="T9" fmla="*/ 172 h 234"/>
                <a:gd name="T10" fmla="*/ 153 w 297"/>
                <a:gd name="T11" fmla="*/ 184 h 234"/>
                <a:gd name="T12" fmla="*/ 120 w 297"/>
                <a:gd name="T13" fmla="*/ 206 h 234"/>
                <a:gd name="T14" fmla="*/ 109 w 297"/>
                <a:gd name="T15" fmla="*/ 234 h 234"/>
                <a:gd name="T16" fmla="*/ 0 w 297"/>
                <a:gd name="T17" fmla="*/ 234 h 234"/>
                <a:gd name="T18" fmla="*/ 47 w 297"/>
                <a:gd name="T19" fmla="*/ 218 h 234"/>
                <a:gd name="T20" fmla="*/ 78 w 297"/>
                <a:gd name="T21" fmla="*/ 187 h 234"/>
                <a:gd name="T22" fmla="*/ 94 w 297"/>
                <a:gd name="T23" fmla="*/ 156 h 234"/>
                <a:gd name="T24" fmla="*/ 84 w 297"/>
                <a:gd name="T25" fmla="*/ 137 h 234"/>
                <a:gd name="T26" fmla="*/ 109 w 297"/>
                <a:gd name="T27" fmla="*/ 94 h 234"/>
                <a:gd name="T28" fmla="*/ 125 w 297"/>
                <a:gd name="T29" fmla="*/ 78 h 234"/>
                <a:gd name="T30" fmla="*/ 172 w 297"/>
                <a:gd name="T31" fmla="*/ 47 h 234"/>
                <a:gd name="T32" fmla="*/ 188 w 297"/>
                <a:gd name="T33" fmla="*/ 0 h 234"/>
                <a:gd name="T34" fmla="*/ 203 w 297"/>
                <a:gd name="T35" fmla="*/ 0 h 234"/>
                <a:gd name="T36" fmla="*/ 219 w 297"/>
                <a:gd name="T37" fmla="*/ 16 h 234"/>
                <a:gd name="T38" fmla="*/ 266 w 297"/>
                <a:gd name="T39" fmla="*/ 16 h 234"/>
                <a:gd name="T40" fmla="*/ 281 w 297"/>
                <a:gd name="T41" fmla="*/ 16 h 234"/>
                <a:gd name="T42" fmla="*/ 297 w 297"/>
                <a:gd name="T43" fmla="*/ 3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7" h="234">
                  <a:moveTo>
                    <a:pt x="297" y="31"/>
                  </a:moveTo>
                  <a:lnTo>
                    <a:pt x="297" y="109"/>
                  </a:lnTo>
                  <a:lnTo>
                    <a:pt x="234" y="125"/>
                  </a:lnTo>
                  <a:lnTo>
                    <a:pt x="234" y="140"/>
                  </a:lnTo>
                  <a:lnTo>
                    <a:pt x="203" y="172"/>
                  </a:lnTo>
                  <a:lnTo>
                    <a:pt x="153" y="184"/>
                  </a:lnTo>
                  <a:lnTo>
                    <a:pt x="120" y="206"/>
                  </a:lnTo>
                  <a:lnTo>
                    <a:pt x="109" y="234"/>
                  </a:lnTo>
                  <a:lnTo>
                    <a:pt x="0" y="234"/>
                  </a:lnTo>
                  <a:lnTo>
                    <a:pt x="47" y="218"/>
                  </a:lnTo>
                  <a:lnTo>
                    <a:pt x="78" y="187"/>
                  </a:lnTo>
                  <a:lnTo>
                    <a:pt x="94" y="156"/>
                  </a:lnTo>
                  <a:lnTo>
                    <a:pt x="84" y="137"/>
                  </a:lnTo>
                  <a:lnTo>
                    <a:pt x="109" y="94"/>
                  </a:lnTo>
                  <a:lnTo>
                    <a:pt x="125" y="78"/>
                  </a:lnTo>
                  <a:lnTo>
                    <a:pt x="172" y="47"/>
                  </a:lnTo>
                  <a:lnTo>
                    <a:pt x="188" y="0"/>
                  </a:lnTo>
                  <a:lnTo>
                    <a:pt x="203" y="0"/>
                  </a:lnTo>
                  <a:lnTo>
                    <a:pt x="219" y="16"/>
                  </a:lnTo>
                  <a:lnTo>
                    <a:pt x="266" y="16"/>
                  </a:lnTo>
                  <a:lnTo>
                    <a:pt x="281" y="16"/>
                  </a:lnTo>
                  <a:lnTo>
                    <a:pt x="297" y="31"/>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1" name="Freeform 114">
              <a:extLst>
                <a:ext uri="{FF2B5EF4-FFF2-40B4-BE49-F238E27FC236}">
                  <a16:creationId xmlns:a16="http://schemas.microsoft.com/office/drawing/2014/main" id="{E1E7EB25-0533-7D46-8FCB-32F02557A281}"/>
                </a:ext>
              </a:extLst>
            </p:cNvPr>
            <p:cNvSpPr>
              <a:spLocks/>
            </p:cNvSpPr>
            <p:nvPr/>
          </p:nvSpPr>
          <p:spPr bwMode="auto">
            <a:xfrm>
              <a:off x="3636" y="2592"/>
              <a:ext cx="34" cy="31"/>
            </a:xfrm>
            <a:custGeom>
              <a:avLst/>
              <a:gdLst>
                <a:gd name="T0" fmla="*/ 36 w 52"/>
                <a:gd name="T1" fmla="*/ 31 h 47"/>
                <a:gd name="T2" fmla="*/ 52 w 52"/>
                <a:gd name="T3" fmla="*/ 16 h 47"/>
                <a:gd name="T4" fmla="*/ 36 w 52"/>
                <a:gd name="T5" fmla="*/ 0 h 47"/>
                <a:gd name="T6" fmla="*/ 21 w 52"/>
                <a:gd name="T7" fmla="*/ 16 h 47"/>
                <a:gd name="T8" fmla="*/ 0 w 52"/>
                <a:gd name="T9" fmla="*/ 21 h 47"/>
                <a:gd name="T10" fmla="*/ 5 w 52"/>
                <a:gd name="T11" fmla="*/ 47 h 47"/>
                <a:gd name="T12" fmla="*/ 36 w 52"/>
                <a:gd name="T13" fmla="*/ 47 h 47"/>
                <a:gd name="T14" fmla="*/ 36 w 52"/>
                <a:gd name="T15" fmla="*/ 3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7">
                  <a:moveTo>
                    <a:pt x="36" y="31"/>
                  </a:moveTo>
                  <a:lnTo>
                    <a:pt x="52" y="16"/>
                  </a:lnTo>
                  <a:lnTo>
                    <a:pt x="36" y="0"/>
                  </a:lnTo>
                  <a:lnTo>
                    <a:pt x="21" y="16"/>
                  </a:lnTo>
                  <a:lnTo>
                    <a:pt x="0" y="21"/>
                  </a:lnTo>
                  <a:lnTo>
                    <a:pt x="5" y="47"/>
                  </a:lnTo>
                  <a:lnTo>
                    <a:pt x="36" y="47"/>
                  </a:lnTo>
                  <a:lnTo>
                    <a:pt x="36" y="31"/>
                  </a:lnTo>
                  <a:close/>
                </a:path>
              </a:pathLst>
            </a:custGeom>
            <a:grpFill/>
            <a:ln w="3175" cmpd="sng">
              <a:solidFill>
                <a:schemeClr val="bg1"/>
              </a:solidFill>
              <a:prstDash val="solid"/>
              <a:round/>
              <a:headEnd/>
              <a:tailEnd/>
            </a:ln>
          </p:spPr>
          <p:txBody>
            <a:bodyPr/>
            <a:lstStyle/>
            <a:p>
              <a:endParaRPr lang="de-DE" sz="1286"/>
            </a:p>
          </p:txBody>
        </p:sp>
        <p:sp>
          <p:nvSpPr>
            <p:cNvPr id="82" name="Freeform 115">
              <a:extLst>
                <a:ext uri="{FF2B5EF4-FFF2-40B4-BE49-F238E27FC236}">
                  <a16:creationId xmlns:a16="http://schemas.microsoft.com/office/drawing/2014/main" id="{7594CB64-357A-6A40-9E6F-DE95EECEB0B1}"/>
                </a:ext>
              </a:extLst>
            </p:cNvPr>
            <p:cNvSpPr>
              <a:spLocks/>
            </p:cNvSpPr>
            <p:nvPr/>
          </p:nvSpPr>
          <p:spPr bwMode="auto">
            <a:xfrm>
              <a:off x="2634" y="2566"/>
              <a:ext cx="52" cy="15"/>
            </a:xfrm>
            <a:custGeom>
              <a:avLst/>
              <a:gdLst>
                <a:gd name="T0" fmla="*/ 0 w 78"/>
                <a:gd name="T1" fmla="*/ 23 h 23"/>
                <a:gd name="T2" fmla="*/ 20 w 78"/>
                <a:gd name="T3" fmla="*/ 21 h 23"/>
                <a:gd name="T4" fmla="*/ 31 w 78"/>
                <a:gd name="T5" fmla="*/ 8 h 23"/>
                <a:gd name="T6" fmla="*/ 62 w 78"/>
                <a:gd name="T7" fmla="*/ 23 h 23"/>
                <a:gd name="T8" fmla="*/ 78 w 78"/>
                <a:gd name="T9" fmla="*/ 8 h 23"/>
                <a:gd name="T10" fmla="*/ 26 w 78"/>
                <a:gd name="T11" fmla="*/ 0 h 23"/>
                <a:gd name="T12" fmla="*/ 16 w 78"/>
                <a:gd name="T13" fmla="*/ 7 h 23"/>
                <a:gd name="T14" fmla="*/ 0 w 78"/>
                <a:gd name="T15" fmla="*/ 8 h 23"/>
                <a:gd name="T16" fmla="*/ 0 w 7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3">
                  <a:moveTo>
                    <a:pt x="0" y="23"/>
                  </a:moveTo>
                  <a:lnTo>
                    <a:pt x="20" y="21"/>
                  </a:lnTo>
                  <a:lnTo>
                    <a:pt x="31" y="8"/>
                  </a:lnTo>
                  <a:lnTo>
                    <a:pt x="62" y="23"/>
                  </a:lnTo>
                  <a:lnTo>
                    <a:pt x="78" y="8"/>
                  </a:lnTo>
                  <a:lnTo>
                    <a:pt x="26" y="0"/>
                  </a:lnTo>
                  <a:lnTo>
                    <a:pt x="16" y="7"/>
                  </a:lnTo>
                  <a:lnTo>
                    <a:pt x="0" y="8"/>
                  </a:lnTo>
                  <a:lnTo>
                    <a:pt x="0" y="23"/>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3" name="Freeform 116">
              <a:extLst>
                <a:ext uri="{FF2B5EF4-FFF2-40B4-BE49-F238E27FC236}">
                  <a16:creationId xmlns:a16="http://schemas.microsoft.com/office/drawing/2014/main" id="{7AFF5C9F-79E4-0541-A4B8-EA3A6A97B3BD}"/>
                </a:ext>
              </a:extLst>
            </p:cNvPr>
            <p:cNvSpPr>
              <a:spLocks/>
            </p:cNvSpPr>
            <p:nvPr/>
          </p:nvSpPr>
          <p:spPr bwMode="auto">
            <a:xfrm>
              <a:off x="2634" y="2592"/>
              <a:ext cx="52" cy="31"/>
            </a:xfrm>
            <a:custGeom>
              <a:avLst/>
              <a:gdLst>
                <a:gd name="T0" fmla="*/ 78 w 78"/>
                <a:gd name="T1" fmla="*/ 0 h 47"/>
                <a:gd name="T2" fmla="*/ 78 w 78"/>
                <a:gd name="T3" fmla="*/ 31 h 47"/>
                <a:gd name="T4" fmla="*/ 47 w 78"/>
                <a:gd name="T5" fmla="*/ 31 h 47"/>
                <a:gd name="T6" fmla="*/ 47 w 78"/>
                <a:gd name="T7" fmla="*/ 47 h 47"/>
                <a:gd name="T8" fmla="*/ 31 w 78"/>
                <a:gd name="T9" fmla="*/ 47 h 47"/>
                <a:gd name="T10" fmla="*/ 35 w 78"/>
                <a:gd name="T11" fmla="*/ 28 h 47"/>
                <a:gd name="T12" fmla="*/ 31 w 78"/>
                <a:gd name="T13" fmla="*/ 16 h 47"/>
                <a:gd name="T14" fmla="*/ 17 w 78"/>
                <a:gd name="T15" fmla="*/ 22 h 47"/>
                <a:gd name="T16" fmla="*/ 0 w 78"/>
                <a:gd name="T17" fmla="*/ 0 h 47"/>
                <a:gd name="T18" fmla="*/ 78 w 78"/>
                <a:gd name="T1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7">
                  <a:moveTo>
                    <a:pt x="78" y="0"/>
                  </a:moveTo>
                  <a:lnTo>
                    <a:pt x="78" y="31"/>
                  </a:lnTo>
                  <a:lnTo>
                    <a:pt x="47" y="31"/>
                  </a:lnTo>
                  <a:lnTo>
                    <a:pt x="47" y="47"/>
                  </a:lnTo>
                  <a:lnTo>
                    <a:pt x="31" y="47"/>
                  </a:lnTo>
                  <a:lnTo>
                    <a:pt x="35" y="28"/>
                  </a:lnTo>
                  <a:lnTo>
                    <a:pt x="31" y="16"/>
                  </a:lnTo>
                  <a:lnTo>
                    <a:pt x="17" y="22"/>
                  </a:lnTo>
                  <a:lnTo>
                    <a:pt x="0" y="0"/>
                  </a:lnTo>
                  <a:lnTo>
                    <a:pt x="78"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4" name="Freeform 117">
              <a:extLst>
                <a:ext uri="{FF2B5EF4-FFF2-40B4-BE49-F238E27FC236}">
                  <a16:creationId xmlns:a16="http://schemas.microsoft.com/office/drawing/2014/main" id="{544F732E-C8F1-C24C-BE3C-D55BDB41812D}"/>
                </a:ext>
              </a:extLst>
            </p:cNvPr>
            <p:cNvSpPr>
              <a:spLocks/>
            </p:cNvSpPr>
            <p:nvPr/>
          </p:nvSpPr>
          <p:spPr bwMode="auto">
            <a:xfrm>
              <a:off x="2693" y="2643"/>
              <a:ext cx="45" cy="62"/>
            </a:xfrm>
            <a:custGeom>
              <a:avLst/>
              <a:gdLst>
                <a:gd name="T0" fmla="*/ 0 w 68"/>
                <a:gd name="T1" fmla="*/ 30 h 93"/>
                <a:gd name="T2" fmla="*/ 6 w 68"/>
                <a:gd name="T3" fmla="*/ 62 h 93"/>
                <a:gd name="T4" fmla="*/ 37 w 68"/>
                <a:gd name="T5" fmla="*/ 93 h 93"/>
                <a:gd name="T6" fmla="*/ 68 w 68"/>
                <a:gd name="T7" fmla="*/ 47 h 93"/>
                <a:gd name="T8" fmla="*/ 68 w 68"/>
                <a:gd name="T9" fmla="*/ 31 h 93"/>
                <a:gd name="T10" fmla="*/ 52 w 68"/>
                <a:gd name="T11" fmla="*/ 0 h 93"/>
                <a:gd name="T12" fmla="*/ 21 w 68"/>
                <a:gd name="T13" fmla="*/ 0 h 93"/>
                <a:gd name="T14" fmla="*/ 0 w 68"/>
                <a:gd name="T15" fmla="*/ 3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93">
                  <a:moveTo>
                    <a:pt x="0" y="30"/>
                  </a:moveTo>
                  <a:lnTo>
                    <a:pt x="6" y="62"/>
                  </a:lnTo>
                  <a:lnTo>
                    <a:pt x="37" y="93"/>
                  </a:lnTo>
                  <a:lnTo>
                    <a:pt x="68" y="47"/>
                  </a:lnTo>
                  <a:lnTo>
                    <a:pt x="68" y="31"/>
                  </a:lnTo>
                  <a:lnTo>
                    <a:pt x="52" y="0"/>
                  </a:lnTo>
                  <a:lnTo>
                    <a:pt x="21" y="0"/>
                  </a:lnTo>
                  <a:lnTo>
                    <a:pt x="0" y="3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5" name="Freeform 118">
              <a:extLst>
                <a:ext uri="{FF2B5EF4-FFF2-40B4-BE49-F238E27FC236}">
                  <a16:creationId xmlns:a16="http://schemas.microsoft.com/office/drawing/2014/main" id="{CB82C58E-7BEA-2946-B9EB-2490BC223725}"/>
                </a:ext>
              </a:extLst>
            </p:cNvPr>
            <p:cNvSpPr>
              <a:spLocks/>
            </p:cNvSpPr>
            <p:nvPr/>
          </p:nvSpPr>
          <p:spPr bwMode="auto">
            <a:xfrm>
              <a:off x="3421" y="2880"/>
              <a:ext cx="31" cy="42"/>
            </a:xfrm>
            <a:custGeom>
              <a:avLst/>
              <a:gdLst>
                <a:gd name="T0" fmla="*/ 0 w 24"/>
                <a:gd name="T1" fmla="*/ 8 h 32"/>
                <a:gd name="T2" fmla="*/ 24 w 24"/>
                <a:gd name="T3" fmla="*/ 0 h 32"/>
                <a:gd name="T4" fmla="*/ 24 w 24"/>
                <a:gd name="T5" fmla="*/ 16 h 32"/>
                <a:gd name="T6" fmla="*/ 8 w 24"/>
                <a:gd name="T7" fmla="*/ 32 h 32"/>
                <a:gd name="T8" fmla="*/ 8 w 24"/>
                <a:gd name="T9" fmla="*/ 16 h 32"/>
                <a:gd name="T10" fmla="*/ 0 w 24"/>
                <a:gd name="T11" fmla="*/ 8 h 32"/>
              </a:gdLst>
              <a:ahLst/>
              <a:cxnLst>
                <a:cxn ang="0">
                  <a:pos x="T0" y="T1"/>
                </a:cxn>
                <a:cxn ang="0">
                  <a:pos x="T2" y="T3"/>
                </a:cxn>
                <a:cxn ang="0">
                  <a:pos x="T4" y="T5"/>
                </a:cxn>
                <a:cxn ang="0">
                  <a:pos x="T6" y="T7"/>
                </a:cxn>
                <a:cxn ang="0">
                  <a:pos x="T8" y="T9"/>
                </a:cxn>
                <a:cxn ang="0">
                  <a:pos x="T10" y="T11"/>
                </a:cxn>
              </a:cxnLst>
              <a:rect l="0" t="0" r="r" b="b"/>
              <a:pathLst>
                <a:path w="24" h="32">
                  <a:moveTo>
                    <a:pt x="0" y="8"/>
                  </a:moveTo>
                  <a:lnTo>
                    <a:pt x="24" y="0"/>
                  </a:lnTo>
                  <a:lnTo>
                    <a:pt x="24" y="16"/>
                  </a:lnTo>
                  <a:lnTo>
                    <a:pt x="8" y="32"/>
                  </a:lnTo>
                  <a:lnTo>
                    <a:pt x="8" y="16"/>
                  </a:lnTo>
                  <a:lnTo>
                    <a:pt x="0" y="8"/>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6" name="Freeform 119">
              <a:extLst>
                <a:ext uri="{FF2B5EF4-FFF2-40B4-BE49-F238E27FC236}">
                  <a16:creationId xmlns:a16="http://schemas.microsoft.com/office/drawing/2014/main" id="{F37C7A59-A2C6-D348-8131-242D016A6F16}"/>
                </a:ext>
              </a:extLst>
            </p:cNvPr>
            <p:cNvSpPr>
              <a:spLocks/>
            </p:cNvSpPr>
            <p:nvPr/>
          </p:nvSpPr>
          <p:spPr bwMode="auto">
            <a:xfrm>
              <a:off x="3421" y="2859"/>
              <a:ext cx="31" cy="32"/>
            </a:xfrm>
            <a:custGeom>
              <a:avLst/>
              <a:gdLst>
                <a:gd name="T0" fmla="*/ 24 w 24"/>
                <a:gd name="T1" fmla="*/ 16 h 24"/>
                <a:gd name="T2" fmla="*/ 0 w 24"/>
                <a:gd name="T3" fmla="*/ 24 h 24"/>
                <a:gd name="T4" fmla="*/ 0 w 24"/>
                <a:gd name="T5" fmla="*/ 16 h 24"/>
                <a:gd name="T6" fmla="*/ 8 w 24"/>
                <a:gd name="T7" fmla="*/ 0 h 24"/>
                <a:gd name="T8" fmla="*/ 16 w 24"/>
                <a:gd name="T9" fmla="*/ 0 h 24"/>
                <a:gd name="T10" fmla="*/ 24 w 24"/>
                <a:gd name="T11" fmla="*/ 8 h 24"/>
                <a:gd name="T12" fmla="*/ 24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24" y="16"/>
                  </a:moveTo>
                  <a:lnTo>
                    <a:pt x="0" y="24"/>
                  </a:lnTo>
                  <a:lnTo>
                    <a:pt x="0" y="16"/>
                  </a:lnTo>
                  <a:lnTo>
                    <a:pt x="8" y="0"/>
                  </a:lnTo>
                  <a:lnTo>
                    <a:pt x="16" y="0"/>
                  </a:lnTo>
                  <a:lnTo>
                    <a:pt x="24" y="8"/>
                  </a:lnTo>
                  <a:lnTo>
                    <a:pt x="24" y="1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7" name="Freeform 120">
              <a:extLst>
                <a:ext uri="{FF2B5EF4-FFF2-40B4-BE49-F238E27FC236}">
                  <a16:creationId xmlns:a16="http://schemas.microsoft.com/office/drawing/2014/main" id="{A2C08194-CB74-F647-B34E-16EB2AD1A8C1}"/>
                </a:ext>
              </a:extLst>
            </p:cNvPr>
            <p:cNvSpPr>
              <a:spLocks/>
            </p:cNvSpPr>
            <p:nvPr/>
          </p:nvSpPr>
          <p:spPr bwMode="auto">
            <a:xfrm>
              <a:off x="3442" y="3345"/>
              <a:ext cx="21" cy="28"/>
            </a:xfrm>
            <a:custGeom>
              <a:avLst/>
              <a:gdLst>
                <a:gd name="T0" fmla="*/ 31 w 31"/>
                <a:gd name="T1" fmla="*/ 16 h 43"/>
                <a:gd name="T2" fmla="*/ 31 w 31"/>
                <a:gd name="T3" fmla="*/ 0 h 43"/>
                <a:gd name="T4" fmla="*/ 16 w 31"/>
                <a:gd name="T5" fmla="*/ 0 h 43"/>
                <a:gd name="T6" fmla="*/ 0 w 31"/>
                <a:gd name="T7" fmla="*/ 11 h 43"/>
                <a:gd name="T8" fmla="*/ 0 w 31"/>
                <a:gd name="T9" fmla="*/ 31 h 43"/>
                <a:gd name="T10" fmla="*/ 22 w 31"/>
                <a:gd name="T11" fmla="*/ 43 h 43"/>
                <a:gd name="T12" fmla="*/ 31 w 31"/>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31" h="43">
                  <a:moveTo>
                    <a:pt x="31" y="16"/>
                  </a:moveTo>
                  <a:lnTo>
                    <a:pt x="31" y="0"/>
                  </a:lnTo>
                  <a:lnTo>
                    <a:pt x="16" y="0"/>
                  </a:lnTo>
                  <a:lnTo>
                    <a:pt x="0" y="11"/>
                  </a:lnTo>
                  <a:lnTo>
                    <a:pt x="0" y="31"/>
                  </a:lnTo>
                  <a:lnTo>
                    <a:pt x="22" y="43"/>
                  </a:lnTo>
                  <a:lnTo>
                    <a:pt x="31" y="1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8" name="Freeform 121">
              <a:extLst>
                <a:ext uri="{FF2B5EF4-FFF2-40B4-BE49-F238E27FC236}">
                  <a16:creationId xmlns:a16="http://schemas.microsoft.com/office/drawing/2014/main" id="{9125F15E-5A7F-7B4B-B390-BAE5F0F824AA}"/>
                </a:ext>
              </a:extLst>
            </p:cNvPr>
            <p:cNvSpPr>
              <a:spLocks/>
            </p:cNvSpPr>
            <p:nvPr/>
          </p:nvSpPr>
          <p:spPr bwMode="auto">
            <a:xfrm>
              <a:off x="3256" y="3190"/>
              <a:ext cx="165" cy="175"/>
            </a:xfrm>
            <a:custGeom>
              <a:avLst/>
              <a:gdLst>
                <a:gd name="T0" fmla="*/ 140 w 249"/>
                <a:gd name="T1" fmla="*/ 0 h 264"/>
                <a:gd name="T2" fmla="*/ 171 w 249"/>
                <a:gd name="T3" fmla="*/ 47 h 264"/>
                <a:gd name="T4" fmla="*/ 202 w 249"/>
                <a:gd name="T5" fmla="*/ 78 h 264"/>
                <a:gd name="T6" fmla="*/ 218 w 249"/>
                <a:gd name="T7" fmla="*/ 109 h 264"/>
                <a:gd name="T8" fmla="*/ 249 w 249"/>
                <a:gd name="T9" fmla="*/ 124 h 264"/>
                <a:gd name="T10" fmla="*/ 202 w 249"/>
                <a:gd name="T11" fmla="*/ 155 h 264"/>
                <a:gd name="T12" fmla="*/ 158 w 249"/>
                <a:gd name="T13" fmla="*/ 198 h 264"/>
                <a:gd name="T14" fmla="*/ 153 w 249"/>
                <a:gd name="T15" fmla="*/ 225 h 264"/>
                <a:gd name="T16" fmla="*/ 126 w 249"/>
                <a:gd name="T17" fmla="*/ 234 h 264"/>
                <a:gd name="T18" fmla="*/ 93 w 249"/>
                <a:gd name="T19" fmla="*/ 217 h 264"/>
                <a:gd name="T20" fmla="*/ 62 w 249"/>
                <a:gd name="T21" fmla="*/ 248 h 264"/>
                <a:gd name="T22" fmla="*/ 31 w 249"/>
                <a:gd name="T23" fmla="*/ 264 h 264"/>
                <a:gd name="T24" fmla="*/ 16 w 249"/>
                <a:gd name="T25" fmla="*/ 248 h 264"/>
                <a:gd name="T26" fmla="*/ 31 w 249"/>
                <a:gd name="T27" fmla="*/ 217 h 264"/>
                <a:gd name="T28" fmla="*/ 0 w 249"/>
                <a:gd name="T29" fmla="*/ 202 h 264"/>
                <a:gd name="T30" fmla="*/ 0 w 249"/>
                <a:gd name="T31" fmla="*/ 124 h 264"/>
                <a:gd name="T32" fmla="*/ 33 w 249"/>
                <a:gd name="T33" fmla="*/ 120 h 264"/>
                <a:gd name="T34" fmla="*/ 31 w 249"/>
                <a:gd name="T35" fmla="*/ 16 h 264"/>
                <a:gd name="T36" fmla="*/ 93 w 249"/>
                <a:gd name="T37" fmla="*/ 0 h 264"/>
                <a:gd name="T38" fmla="*/ 93 w 249"/>
                <a:gd name="T39" fmla="*/ 16 h 264"/>
                <a:gd name="T40" fmla="*/ 109 w 249"/>
                <a:gd name="T41" fmla="*/ 0 h 264"/>
                <a:gd name="T42" fmla="*/ 140 w 249"/>
                <a:gd name="T4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264">
                  <a:moveTo>
                    <a:pt x="140" y="0"/>
                  </a:moveTo>
                  <a:lnTo>
                    <a:pt x="171" y="47"/>
                  </a:lnTo>
                  <a:lnTo>
                    <a:pt x="202" y="78"/>
                  </a:lnTo>
                  <a:lnTo>
                    <a:pt x="218" y="109"/>
                  </a:lnTo>
                  <a:lnTo>
                    <a:pt x="249" y="124"/>
                  </a:lnTo>
                  <a:lnTo>
                    <a:pt x="202" y="155"/>
                  </a:lnTo>
                  <a:lnTo>
                    <a:pt x="158" y="198"/>
                  </a:lnTo>
                  <a:lnTo>
                    <a:pt x="153" y="225"/>
                  </a:lnTo>
                  <a:lnTo>
                    <a:pt x="126" y="234"/>
                  </a:lnTo>
                  <a:lnTo>
                    <a:pt x="93" y="217"/>
                  </a:lnTo>
                  <a:lnTo>
                    <a:pt x="62" y="248"/>
                  </a:lnTo>
                  <a:lnTo>
                    <a:pt x="31" y="264"/>
                  </a:lnTo>
                  <a:lnTo>
                    <a:pt x="16" y="248"/>
                  </a:lnTo>
                  <a:lnTo>
                    <a:pt x="31" y="217"/>
                  </a:lnTo>
                  <a:lnTo>
                    <a:pt x="0" y="202"/>
                  </a:lnTo>
                  <a:lnTo>
                    <a:pt x="0" y="124"/>
                  </a:lnTo>
                  <a:lnTo>
                    <a:pt x="33" y="120"/>
                  </a:lnTo>
                  <a:lnTo>
                    <a:pt x="31" y="16"/>
                  </a:lnTo>
                  <a:lnTo>
                    <a:pt x="93" y="0"/>
                  </a:lnTo>
                  <a:lnTo>
                    <a:pt x="93" y="16"/>
                  </a:lnTo>
                  <a:lnTo>
                    <a:pt x="109" y="0"/>
                  </a:lnTo>
                  <a:lnTo>
                    <a:pt x="140"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89" name="Freeform 122">
              <a:extLst>
                <a:ext uri="{FF2B5EF4-FFF2-40B4-BE49-F238E27FC236}">
                  <a16:creationId xmlns:a16="http://schemas.microsoft.com/office/drawing/2014/main" id="{454BD8D9-96BF-C24F-B0BD-3BE183342482}"/>
                </a:ext>
              </a:extLst>
            </p:cNvPr>
            <p:cNvSpPr>
              <a:spLocks/>
            </p:cNvSpPr>
            <p:nvPr/>
          </p:nvSpPr>
          <p:spPr bwMode="auto">
            <a:xfrm>
              <a:off x="1684" y="1970"/>
              <a:ext cx="73" cy="21"/>
            </a:xfrm>
            <a:custGeom>
              <a:avLst/>
              <a:gdLst>
                <a:gd name="T0" fmla="*/ 8 w 56"/>
                <a:gd name="T1" fmla="*/ 16 h 16"/>
                <a:gd name="T2" fmla="*/ 48 w 56"/>
                <a:gd name="T3" fmla="*/ 16 h 16"/>
                <a:gd name="T4" fmla="*/ 56 w 56"/>
                <a:gd name="T5" fmla="*/ 0 h 16"/>
                <a:gd name="T6" fmla="*/ 40 w 56"/>
                <a:gd name="T7" fmla="*/ 8 h 16"/>
                <a:gd name="T8" fmla="*/ 8 w 56"/>
                <a:gd name="T9" fmla="*/ 8 h 16"/>
                <a:gd name="T10" fmla="*/ 0 w 56"/>
                <a:gd name="T11" fmla="*/ 16 h 16"/>
                <a:gd name="T12" fmla="*/ 8 w 5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56" h="16">
                  <a:moveTo>
                    <a:pt x="8" y="16"/>
                  </a:moveTo>
                  <a:lnTo>
                    <a:pt x="48" y="16"/>
                  </a:lnTo>
                  <a:lnTo>
                    <a:pt x="56" y="0"/>
                  </a:lnTo>
                  <a:lnTo>
                    <a:pt x="40" y="8"/>
                  </a:lnTo>
                  <a:lnTo>
                    <a:pt x="8" y="8"/>
                  </a:lnTo>
                  <a:lnTo>
                    <a:pt x="0" y="16"/>
                  </a:lnTo>
                  <a:lnTo>
                    <a:pt x="8" y="16"/>
                  </a:lnTo>
                  <a:close/>
                </a:path>
              </a:pathLst>
            </a:custGeom>
            <a:pattFill prst="wave">
              <a:fgClr>
                <a:schemeClr val="accent4"/>
              </a:fgClr>
              <a:bgClr>
                <a:schemeClr val="accent4">
                  <a:lumMod val="40000"/>
                  <a:lumOff val="60000"/>
                </a:schemeClr>
              </a:bgClr>
            </a:pattFill>
            <a:ln w="3175" cmpd="sng">
              <a:solidFill>
                <a:schemeClr val="bg1"/>
              </a:solidFill>
              <a:prstDash val="solid"/>
              <a:round/>
              <a:headEnd/>
              <a:tailEnd/>
            </a:ln>
          </p:spPr>
          <p:txBody>
            <a:bodyPr/>
            <a:lstStyle/>
            <a:p>
              <a:endParaRPr lang="de-DE" sz="1286"/>
            </a:p>
          </p:txBody>
        </p:sp>
        <p:sp>
          <p:nvSpPr>
            <p:cNvPr id="90" name="Freeform 123">
              <a:extLst>
                <a:ext uri="{FF2B5EF4-FFF2-40B4-BE49-F238E27FC236}">
                  <a16:creationId xmlns:a16="http://schemas.microsoft.com/office/drawing/2014/main" id="{AF468B92-2B87-AF42-BD7E-8A334A343E86}"/>
                </a:ext>
              </a:extLst>
            </p:cNvPr>
            <p:cNvSpPr>
              <a:spLocks/>
            </p:cNvSpPr>
            <p:nvPr/>
          </p:nvSpPr>
          <p:spPr bwMode="auto">
            <a:xfrm>
              <a:off x="1621" y="2002"/>
              <a:ext cx="84" cy="25"/>
            </a:xfrm>
            <a:custGeom>
              <a:avLst/>
              <a:gdLst>
                <a:gd name="T0" fmla="*/ 0 w 126"/>
                <a:gd name="T1" fmla="*/ 31 h 38"/>
                <a:gd name="T2" fmla="*/ 32 w 126"/>
                <a:gd name="T3" fmla="*/ 38 h 38"/>
                <a:gd name="T4" fmla="*/ 126 w 126"/>
                <a:gd name="T5" fmla="*/ 0 h 38"/>
                <a:gd name="T6" fmla="*/ 47 w 126"/>
                <a:gd name="T7" fmla="*/ 0 h 38"/>
                <a:gd name="T8" fmla="*/ 0 w 126"/>
                <a:gd name="T9" fmla="*/ 31 h 38"/>
              </a:gdLst>
              <a:ahLst/>
              <a:cxnLst>
                <a:cxn ang="0">
                  <a:pos x="T0" y="T1"/>
                </a:cxn>
                <a:cxn ang="0">
                  <a:pos x="T2" y="T3"/>
                </a:cxn>
                <a:cxn ang="0">
                  <a:pos x="T4" y="T5"/>
                </a:cxn>
                <a:cxn ang="0">
                  <a:pos x="T6" y="T7"/>
                </a:cxn>
                <a:cxn ang="0">
                  <a:pos x="T8" y="T9"/>
                </a:cxn>
              </a:cxnLst>
              <a:rect l="0" t="0" r="r" b="b"/>
              <a:pathLst>
                <a:path w="126" h="38">
                  <a:moveTo>
                    <a:pt x="0" y="31"/>
                  </a:moveTo>
                  <a:lnTo>
                    <a:pt x="32" y="38"/>
                  </a:lnTo>
                  <a:lnTo>
                    <a:pt x="126" y="0"/>
                  </a:lnTo>
                  <a:lnTo>
                    <a:pt x="47" y="0"/>
                  </a:lnTo>
                  <a:lnTo>
                    <a:pt x="0" y="31"/>
                  </a:lnTo>
                  <a:close/>
                </a:path>
              </a:pathLst>
            </a:custGeom>
            <a:pattFill prst="wave">
              <a:fgClr>
                <a:schemeClr val="accent4"/>
              </a:fgClr>
              <a:bgClr>
                <a:schemeClr val="accent4">
                  <a:lumMod val="40000"/>
                  <a:lumOff val="60000"/>
                </a:schemeClr>
              </a:bgClr>
            </a:pattFill>
            <a:ln w="3175" cmpd="sng">
              <a:solidFill>
                <a:schemeClr val="bg1"/>
              </a:solidFill>
              <a:prstDash val="solid"/>
              <a:round/>
              <a:headEnd/>
              <a:tailEnd/>
            </a:ln>
          </p:spPr>
          <p:txBody>
            <a:bodyPr/>
            <a:lstStyle/>
            <a:p>
              <a:endParaRPr lang="de-DE" sz="1286"/>
            </a:p>
          </p:txBody>
        </p:sp>
        <p:sp>
          <p:nvSpPr>
            <p:cNvPr id="91" name="Freeform 124">
              <a:extLst>
                <a:ext uri="{FF2B5EF4-FFF2-40B4-BE49-F238E27FC236}">
                  <a16:creationId xmlns:a16="http://schemas.microsoft.com/office/drawing/2014/main" id="{920FC6D0-E8C8-B047-9AE2-DD06A75B64CA}"/>
                </a:ext>
              </a:extLst>
            </p:cNvPr>
            <p:cNvSpPr>
              <a:spLocks/>
            </p:cNvSpPr>
            <p:nvPr/>
          </p:nvSpPr>
          <p:spPr bwMode="auto">
            <a:xfrm>
              <a:off x="1549" y="1929"/>
              <a:ext cx="154" cy="93"/>
            </a:xfrm>
            <a:custGeom>
              <a:avLst/>
              <a:gdLst>
                <a:gd name="T0" fmla="*/ 142 w 233"/>
                <a:gd name="T1" fmla="*/ 0 h 141"/>
                <a:gd name="T2" fmla="*/ 142 w 233"/>
                <a:gd name="T3" fmla="*/ 16 h 141"/>
                <a:gd name="T4" fmla="*/ 79 w 233"/>
                <a:gd name="T5" fmla="*/ 16 h 141"/>
                <a:gd name="T6" fmla="*/ 31 w 233"/>
                <a:gd name="T7" fmla="*/ 63 h 141"/>
                <a:gd name="T8" fmla="*/ 63 w 233"/>
                <a:gd name="T9" fmla="*/ 47 h 141"/>
                <a:gd name="T10" fmla="*/ 16 w 233"/>
                <a:gd name="T11" fmla="*/ 94 h 141"/>
                <a:gd name="T12" fmla="*/ 0 w 233"/>
                <a:gd name="T13" fmla="*/ 125 h 141"/>
                <a:gd name="T14" fmla="*/ 0 w 233"/>
                <a:gd name="T15" fmla="*/ 141 h 141"/>
                <a:gd name="T16" fmla="*/ 16 w 233"/>
                <a:gd name="T17" fmla="*/ 141 h 141"/>
                <a:gd name="T18" fmla="*/ 49 w 233"/>
                <a:gd name="T19" fmla="*/ 125 h 141"/>
                <a:gd name="T20" fmla="*/ 63 w 233"/>
                <a:gd name="T21" fmla="*/ 78 h 141"/>
                <a:gd name="T22" fmla="*/ 79 w 233"/>
                <a:gd name="T23" fmla="*/ 47 h 141"/>
                <a:gd name="T24" fmla="*/ 126 w 233"/>
                <a:gd name="T25" fmla="*/ 31 h 141"/>
                <a:gd name="T26" fmla="*/ 142 w 233"/>
                <a:gd name="T27" fmla="*/ 31 h 141"/>
                <a:gd name="T28" fmla="*/ 142 w 233"/>
                <a:gd name="T29" fmla="*/ 63 h 141"/>
                <a:gd name="T30" fmla="*/ 126 w 233"/>
                <a:gd name="T31" fmla="*/ 78 h 141"/>
                <a:gd name="T32" fmla="*/ 142 w 233"/>
                <a:gd name="T33" fmla="*/ 78 h 141"/>
                <a:gd name="T34" fmla="*/ 142 w 233"/>
                <a:gd name="T35" fmla="*/ 94 h 141"/>
                <a:gd name="T36" fmla="*/ 157 w 233"/>
                <a:gd name="T37" fmla="*/ 94 h 141"/>
                <a:gd name="T38" fmla="*/ 176 w 233"/>
                <a:gd name="T39" fmla="*/ 64 h 141"/>
                <a:gd name="T40" fmla="*/ 194 w 233"/>
                <a:gd name="T41" fmla="*/ 56 h 141"/>
                <a:gd name="T42" fmla="*/ 190 w 233"/>
                <a:gd name="T43" fmla="*/ 34 h 141"/>
                <a:gd name="T44" fmla="*/ 220 w 233"/>
                <a:gd name="T45" fmla="*/ 64 h 141"/>
                <a:gd name="T46" fmla="*/ 233 w 233"/>
                <a:gd name="T47" fmla="*/ 46 h 141"/>
                <a:gd name="T48" fmla="*/ 220 w 233"/>
                <a:gd name="T49" fmla="*/ 16 h 141"/>
                <a:gd name="T50" fmla="*/ 142 w 233"/>
                <a:gd name="T5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3" h="141">
                  <a:moveTo>
                    <a:pt x="142" y="0"/>
                  </a:moveTo>
                  <a:lnTo>
                    <a:pt x="142" y="16"/>
                  </a:lnTo>
                  <a:lnTo>
                    <a:pt x="79" y="16"/>
                  </a:lnTo>
                  <a:lnTo>
                    <a:pt x="31" y="63"/>
                  </a:lnTo>
                  <a:lnTo>
                    <a:pt x="63" y="47"/>
                  </a:lnTo>
                  <a:lnTo>
                    <a:pt x="16" y="94"/>
                  </a:lnTo>
                  <a:lnTo>
                    <a:pt x="0" y="125"/>
                  </a:lnTo>
                  <a:lnTo>
                    <a:pt x="0" y="141"/>
                  </a:lnTo>
                  <a:lnTo>
                    <a:pt x="16" y="141"/>
                  </a:lnTo>
                  <a:lnTo>
                    <a:pt x="49" y="125"/>
                  </a:lnTo>
                  <a:lnTo>
                    <a:pt x="63" y="78"/>
                  </a:lnTo>
                  <a:lnTo>
                    <a:pt x="79" y="47"/>
                  </a:lnTo>
                  <a:lnTo>
                    <a:pt x="126" y="31"/>
                  </a:lnTo>
                  <a:lnTo>
                    <a:pt x="142" y="31"/>
                  </a:lnTo>
                  <a:lnTo>
                    <a:pt x="142" y="63"/>
                  </a:lnTo>
                  <a:lnTo>
                    <a:pt x="126" y="78"/>
                  </a:lnTo>
                  <a:lnTo>
                    <a:pt x="142" y="78"/>
                  </a:lnTo>
                  <a:lnTo>
                    <a:pt x="142" y="94"/>
                  </a:lnTo>
                  <a:lnTo>
                    <a:pt x="157" y="94"/>
                  </a:lnTo>
                  <a:lnTo>
                    <a:pt x="176" y="64"/>
                  </a:lnTo>
                  <a:lnTo>
                    <a:pt x="194" y="56"/>
                  </a:lnTo>
                  <a:lnTo>
                    <a:pt x="190" y="34"/>
                  </a:lnTo>
                  <a:lnTo>
                    <a:pt x="220" y="64"/>
                  </a:lnTo>
                  <a:lnTo>
                    <a:pt x="233" y="46"/>
                  </a:lnTo>
                  <a:lnTo>
                    <a:pt x="220" y="16"/>
                  </a:lnTo>
                  <a:lnTo>
                    <a:pt x="142" y="0"/>
                  </a:lnTo>
                  <a:close/>
                </a:path>
              </a:pathLst>
            </a:custGeom>
            <a:pattFill prst="wave">
              <a:fgClr>
                <a:schemeClr val="accent4"/>
              </a:fgClr>
              <a:bgClr>
                <a:schemeClr val="accent4">
                  <a:lumMod val="40000"/>
                  <a:lumOff val="60000"/>
                </a:schemeClr>
              </a:bgClr>
            </a:pattFill>
            <a:ln w="3175" cmpd="sng">
              <a:solidFill>
                <a:schemeClr val="bg1"/>
              </a:solidFill>
              <a:prstDash val="solid"/>
              <a:round/>
              <a:headEnd/>
              <a:tailEnd/>
            </a:ln>
          </p:spPr>
          <p:txBody>
            <a:bodyPr/>
            <a:lstStyle/>
            <a:p>
              <a:endParaRPr lang="de-DE" sz="1286"/>
            </a:p>
          </p:txBody>
        </p:sp>
        <p:sp>
          <p:nvSpPr>
            <p:cNvPr id="92" name="Freeform 125">
              <a:extLst>
                <a:ext uri="{FF2B5EF4-FFF2-40B4-BE49-F238E27FC236}">
                  <a16:creationId xmlns:a16="http://schemas.microsoft.com/office/drawing/2014/main" id="{4854D1C7-B83A-C94C-941A-12573A69003A}"/>
                </a:ext>
              </a:extLst>
            </p:cNvPr>
            <p:cNvSpPr>
              <a:spLocks/>
            </p:cNvSpPr>
            <p:nvPr/>
          </p:nvSpPr>
          <p:spPr bwMode="auto">
            <a:xfrm>
              <a:off x="1528" y="1884"/>
              <a:ext cx="125" cy="45"/>
            </a:xfrm>
            <a:custGeom>
              <a:avLst/>
              <a:gdLst>
                <a:gd name="T0" fmla="*/ 172 w 188"/>
                <a:gd name="T1" fmla="*/ 67 h 67"/>
                <a:gd name="T2" fmla="*/ 188 w 188"/>
                <a:gd name="T3" fmla="*/ 20 h 67"/>
                <a:gd name="T4" fmla="*/ 157 w 188"/>
                <a:gd name="T5" fmla="*/ 20 h 67"/>
                <a:gd name="T6" fmla="*/ 157 w 188"/>
                <a:gd name="T7" fmla="*/ 4 h 67"/>
                <a:gd name="T8" fmla="*/ 137 w 188"/>
                <a:gd name="T9" fmla="*/ 0 h 67"/>
                <a:gd name="T10" fmla="*/ 98 w 188"/>
                <a:gd name="T11" fmla="*/ 20 h 67"/>
                <a:gd name="T12" fmla="*/ 78 w 188"/>
                <a:gd name="T13" fmla="*/ 20 h 67"/>
                <a:gd name="T14" fmla="*/ 63 w 188"/>
                <a:gd name="T15" fmla="*/ 20 h 67"/>
                <a:gd name="T16" fmla="*/ 78 w 188"/>
                <a:gd name="T17" fmla="*/ 20 h 67"/>
                <a:gd name="T18" fmla="*/ 63 w 188"/>
                <a:gd name="T19" fmla="*/ 20 h 67"/>
                <a:gd name="T20" fmla="*/ 0 w 188"/>
                <a:gd name="T21" fmla="*/ 67 h 67"/>
                <a:gd name="T22" fmla="*/ 31 w 188"/>
                <a:gd name="T23" fmla="*/ 51 h 67"/>
                <a:gd name="T24" fmla="*/ 31 w 188"/>
                <a:gd name="T25" fmla="*/ 67 h 67"/>
                <a:gd name="T26" fmla="*/ 110 w 188"/>
                <a:gd name="T27" fmla="*/ 35 h 67"/>
                <a:gd name="T28" fmla="*/ 78 w 188"/>
                <a:gd name="T29" fmla="*/ 67 h 67"/>
                <a:gd name="T30" fmla="*/ 110 w 188"/>
                <a:gd name="T31" fmla="*/ 51 h 67"/>
                <a:gd name="T32" fmla="*/ 110 w 188"/>
                <a:gd name="T33" fmla="*/ 67 h 67"/>
                <a:gd name="T34" fmla="*/ 172 w 188"/>
                <a:gd name="T35" fmla="*/ 67 h 67"/>
                <a:gd name="T36" fmla="*/ 157 w 188"/>
                <a:gd name="T37" fmla="*/ 67 h 67"/>
                <a:gd name="T38" fmla="*/ 172 w 188"/>
                <a:gd name="T3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67">
                  <a:moveTo>
                    <a:pt x="172" y="67"/>
                  </a:moveTo>
                  <a:lnTo>
                    <a:pt x="188" y="20"/>
                  </a:lnTo>
                  <a:lnTo>
                    <a:pt x="157" y="20"/>
                  </a:lnTo>
                  <a:lnTo>
                    <a:pt x="157" y="4"/>
                  </a:lnTo>
                  <a:lnTo>
                    <a:pt x="137" y="0"/>
                  </a:lnTo>
                  <a:lnTo>
                    <a:pt x="98" y="20"/>
                  </a:lnTo>
                  <a:lnTo>
                    <a:pt x="78" y="20"/>
                  </a:lnTo>
                  <a:lnTo>
                    <a:pt x="63" y="20"/>
                  </a:lnTo>
                  <a:lnTo>
                    <a:pt x="78" y="20"/>
                  </a:lnTo>
                  <a:lnTo>
                    <a:pt x="63" y="20"/>
                  </a:lnTo>
                  <a:lnTo>
                    <a:pt x="0" y="67"/>
                  </a:lnTo>
                  <a:lnTo>
                    <a:pt x="31" y="51"/>
                  </a:lnTo>
                  <a:lnTo>
                    <a:pt x="31" y="67"/>
                  </a:lnTo>
                  <a:lnTo>
                    <a:pt x="110" y="35"/>
                  </a:lnTo>
                  <a:lnTo>
                    <a:pt x="78" y="67"/>
                  </a:lnTo>
                  <a:lnTo>
                    <a:pt x="110" y="51"/>
                  </a:lnTo>
                  <a:lnTo>
                    <a:pt x="110" y="67"/>
                  </a:lnTo>
                  <a:lnTo>
                    <a:pt x="172" y="67"/>
                  </a:lnTo>
                  <a:lnTo>
                    <a:pt x="157" y="67"/>
                  </a:lnTo>
                  <a:lnTo>
                    <a:pt x="172" y="67"/>
                  </a:lnTo>
                  <a:close/>
                </a:path>
              </a:pathLst>
            </a:custGeom>
            <a:pattFill prst="wave">
              <a:fgClr>
                <a:schemeClr val="accent4"/>
              </a:fgClr>
              <a:bgClr>
                <a:schemeClr val="accent4">
                  <a:lumMod val="40000"/>
                  <a:lumOff val="60000"/>
                </a:schemeClr>
              </a:bgClr>
            </a:pattFill>
            <a:ln w="3175" cmpd="sng">
              <a:solidFill>
                <a:schemeClr val="bg1"/>
              </a:solidFill>
              <a:prstDash val="solid"/>
              <a:round/>
              <a:headEnd/>
              <a:tailEnd/>
            </a:ln>
          </p:spPr>
          <p:txBody>
            <a:bodyPr/>
            <a:lstStyle/>
            <a:p>
              <a:endParaRPr lang="de-DE" sz="1286"/>
            </a:p>
          </p:txBody>
        </p:sp>
        <p:sp>
          <p:nvSpPr>
            <p:cNvPr id="93" name="Freeform 126">
              <a:extLst>
                <a:ext uri="{FF2B5EF4-FFF2-40B4-BE49-F238E27FC236}">
                  <a16:creationId xmlns:a16="http://schemas.microsoft.com/office/drawing/2014/main" id="{C1E297B0-07E7-B240-BDE1-E6E6427057CC}"/>
                </a:ext>
              </a:extLst>
            </p:cNvPr>
            <p:cNvSpPr>
              <a:spLocks/>
            </p:cNvSpPr>
            <p:nvPr/>
          </p:nvSpPr>
          <p:spPr bwMode="auto">
            <a:xfrm>
              <a:off x="1004" y="2199"/>
              <a:ext cx="453" cy="353"/>
            </a:xfrm>
            <a:custGeom>
              <a:avLst/>
              <a:gdLst>
                <a:gd name="T0" fmla="*/ 3 w 683"/>
                <a:gd name="T1" fmla="*/ 74 h 533"/>
                <a:gd name="T2" fmla="*/ 30 w 683"/>
                <a:gd name="T3" fmla="*/ 133 h 533"/>
                <a:gd name="T4" fmla="*/ 0 w 683"/>
                <a:gd name="T5" fmla="*/ 141 h 533"/>
                <a:gd name="T6" fmla="*/ 62 w 683"/>
                <a:gd name="T7" fmla="*/ 188 h 533"/>
                <a:gd name="T8" fmla="*/ 57 w 683"/>
                <a:gd name="T9" fmla="*/ 230 h 533"/>
                <a:gd name="T10" fmla="*/ 97 w 683"/>
                <a:gd name="T11" fmla="*/ 286 h 533"/>
                <a:gd name="T12" fmla="*/ 93 w 683"/>
                <a:gd name="T13" fmla="*/ 251 h 533"/>
                <a:gd name="T14" fmla="*/ 31 w 683"/>
                <a:gd name="T15" fmla="*/ 78 h 533"/>
                <a:gd name="T16" fmla="*/ 66 w 683"/>
                <a:gd name="T17" fmla="*/ 35 h 533"/>
                <a:gd name="T18" fmla="*/ 81 w 683"/>
                <a:gd name="T19" fmla="*/ 85 h 533"/>
                <a:gd name="T20" fmla="*/ 109 w 683"/>
                <a:gd name="T21" fmla="*/ 141 h 533"/>
                <a:gd name="T22" fmla="*/ 140 w 683"/>
                <a:gd name="T23" fmla="*/ 188 h 533"/>
                <a:gd name="T24" fmla="*/ 155 w 683"/>
                <a:gd name="T25" fmla="*/ 219 h 533"/>
                <a:gd name="T26" fmla="*/ 175 w 683"/>
                <a:gd name="T27" fmla="*/ 260 h 533"/>
                <a:gd name="T28" fmla="*/ 204 w 683"/>
                <a:gd name="T29" fmla="*/ 329 h 533"/>
                <a:gd name="T30" fmla="*/ 186 w 683"/>
                <a:gd name="T31" fmla="*/ 361 h 533"/>
                <a:gd name="T32" fmla="*/ 225 w 683"/>
                <a:gd name="T33" fmla="*/ 403 h 533"/>
                <a:gd name="T34" fmla="*/ 279 w 683"/>
                <a:gd name="T35" fmla="*/ 439 h 533"/>
                <a:gd name="T36" fmla="*/ 373 w 683"/>
                <a:gd name="T37" fmla="*/ 486 h 533"/>
                <a:gd name="T38" fmla="*/ 435 w 683"/>
                <a:gd name="T39" fmla="*/ 486 h 533"/>
                <a:gd name="T40" fmla="*/ 512 w 683"/>
                <a:gd name="T41" fmla="*/ 533 h 533"/>
                <a:gd name="T42" fmla="*/ 543 w 683"/>
                <a:gd name="T43" fmla="*/ 486 h 533"/>
                <a:gd name="T44" fmla="*/ 556 w 683"/>
                <a:gd name="T45" fmla="*/ 473 h 533"/>
                <a:gd name="T46" fmla="*/ 559 w 683"/>
                <a:gd name="T47" fmla="*/ 439 h 533"/>
                <a:gd name="T48" fmla="*/ 621 w 683"/>
                <a:gd name="T49" fmla="*/ 423 h 533"/>
                <a:gd name="T50" fmla="*/ 636 w 683"/>
                <a:gd name="T51" fmla="*/ 423 h 533"/>
                <a:gd name="T52" fmla="*/ 669 w 683"/>
                <a:gd name="T53" fmla="*/ 356 h 533"/>
                <a:gd name="T54" fmla="*/ 652 w 683"/>
                <a:gd name="T55" fmla="*/ 329 h 533"/>
                <a:gd name="T56" fmla="*/ 574 w 683"/>
                <a:gd name="T57" fmla="*/ 392 h 533"/>
                <a:gd name="T58" fmla="*/ 559 w 683"/>
                <a:gd name="T59" fmla="*/ 423 h 533"/>
                <a:gd name="T60" fmla="*/ 525 w 683"/>
                <a:gd name="T61" fmla="*/ 413 h 533"/>
                <a:gd name="T62" fmla="*/ 471 w 683"/>
                <a:gd name="T63" fmla="*/ 430 h 533"/>
                <a:gd name="T64" fmla="*/ 433 w 683"/>
                <a:gd name="T65" fmla="*/ 412 h 533"/>
                <a:gd name="T66" fmla="*/ 405 w 683"/>
                <a:gd name="T67" fmla="*/ 347 h 533"/>
                <a:gd name="T68" fmla="*/ 414 w 683"/>
                <a:gd name="T69" fmla="*/ 245 h 533"/>
                <a:gd name="T70" fmla="*/ 435 w 683"/>
                <a:gd name="T71" fmla="*/ 204 h 533"/>
                <a:gd name="T72" fmla="*/ 391 w 683"/>
                <a:gd name="T73" fmla="*/ 151 h 533"/>
                <a:gd name="T74" fmla="*/ 369 w 683"/>
                <a:gd name="T75" fmla="*/ 97 h 533"/>
                <a:gd name="T76" fmla="*/ 330 w 683"/>
                <a:gd name="T77" fmla="*/ 82 h 533"/>
                <a:gd name="T78" fmla="*/ 295 w 683"/>
                <a:gd name="T79" fmla="*/ 110 h 533"/>
                <a:gd name="T80" fmla="*/ 279 w 683"/>
                <a:gd name="T81" fmla="*/ 63 h 533"/>
                <a:gd name="T82" fmla="*/ 216 w 683"/>
                <a:gd name="T83" fmla="*/ 25 h 533"/>
                <a:gd name="T84" fmla="*/ 141 w 683"/>
                <a:gd name="T85" fmla="*/ 41 h 533"/>
                <a:gd name="T86" fmla="*/ 0 w 683"/>
                <a:gd name="T87"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3" h="533">
                  <a:moveTo>
                    <a:pt x="0" y="0"/>
                  </a:moveTo>
                  <a:lnTo>
                    <a:pt x="3" y="74"/>
                  </a:lnTo>
                  <a:lnTo>
                    <a:pt x="19" y="100"/>
                  </a:lnTo>
                  <a:lnTo>
                    <a:pt x="30" y="133"/>
                  </a:lnTo>
                  <a:lnTo>
                    <a:pt x="21" y="146"/>
                  </a:lnTo>
                  <a:lnTo>
                    <a:pt x="0" y="141"/>
                  </a:lnTo>
                  <a:lnTo>
                    <a:pt x="16" y="157"/>
                  </a:lnTo>
                  <a:lnTo>
                    <a:pt x="62" y="188"/>
                  </a:lnTo>
                  <a:lnTo>
                    <a:pt x="62" y="204"/>
                  </a:lnTo>
                  <a:lnTo>
                    <a:pt x="57" y="230"/>
                  </a:lnTo>
                  <a:lnTo>
                    <a:pt x="84" y="268"/>
                  </a:lnTo>
                  <a:lnTo>
                    <a:pt x="97" y="286"/>
                  </a:lnTo>
                  <a:lnTo>
                    <a:pt x="109" y="282"/>
                  </a:lnTo>
                  <a:lnTo>
                    <a:pt x="93" y="251"/>
                  </a:lnTo>
                  <a:lnTo>
                    <a:pt x="78" y="188"/>
                  </a:lnTo>
                  <a:lnTo>
                    <a:pt x="31" y="78"/>
                  </a:lnTo>
                  <a:lnTo>
                    <a:pt x="43" y="29"/>
                  </a:lnTo>
                  <a:lnTo>
                    <a:pt x="66" y="35"/>
                  </a:lnTo>
                  <a:lnTo>
                    <a:pt x="78" y="47"/>
                  </a:lnTo>
                  <a:lnTo>
                    <a:pt x="81" y="85"/>
                  </a:lnTo>
                  <a:lnTo>
                    <a:pt x="93" y="124"/>
                  </a:lnTo>
                  <a:lnTo>
                    <a:pt x="109" y="141"/>
                  </a:lnTo>
                  <a:lnTo>
                    <a:pt x="109" y="157"/>
                  </a:lnTo>
                  <a:lnTo>
                    <a:pt x="140" y="188"/>
                  </a:lnTo>
                  <a:lnTo>
                    <a:pt x="124" y="204"/>
                  </a:lnTo>
                  <a:lnTo>
                    <a:pt x="155" y="219"/>
                  </a:lnTo>
                  <a:lnTo>
                    <a:pt x="160" y="244"/>
                  </a:lnTo>
                  <a:lnTo>
                    <a:pt x="175" y="260"/>
                  </a:lnTo>
                  <a:lnTo>
                    <a:pt x="202" y="298"/>
                  </a:lnTo>
                  <a:lnTo>
                    <a:pt x="204" y="329"/>
                  </a:lnTo>
                  <a:lnTo>
                    <a:pt x="202" y="353"/>
                  </a:lnTo>
                  <a:lnTo>
                    <a:pt x="186" y="361"/>
                  </a:lnTo>
                  <a:lnTo>
                    <a:pt x="202" y="391"/>
                  </a:lnTo>
                  <a:lnTo>
                    <a:pt x="225" y="403"/>
                  </a:lnTo>
                  <a:lnTo>
                    <a:pt x="233" y="423"/>
                  </a:lnTo>
                  <a:lnTo>
                    <a:pt x="279" y="439"/>
                  </a:lnTo>
                  <a:lnTo>
                    <a:pt x="295" y="455"/>
                  </a:lnTo>
                  <a:lnTo>
                    <a:pt x="373" y="486"/>
                  </a:lnTo>
                  <a:lnTo>
                    <a:pt x="404" y="502"/>
                  </a:lnTo>
                  <a:lnTo>
                    <a:pt x="435" y="486"/>
                  </a:lnTo>
                  <a:lnTo>
                    <a:pt x="466" y="486"/>
                  </a:lnTo>
                  <a:lnTo>
                    <a:pt x="512" y="533"/>
                  </a:lnTo>
                  <a:lnTo>
                    <a:pt x="523" y="497"/>
                  </a:lnTo>
                  <a:lnTo>
                    <a:pt x="543" y="486"/>
                  </a:lnTo>
                  <a:lnTo>
                    <a:pt x="559" y="486"/>
                  </a:lnTo>
                  <a:lnTo>
                    <a:pt x="556" y="473"/>
                  </a:lnTo>
                  <a:lnTo>
                    <a:pt x="549" y="458"/>
                  </a:lnTo>
                  <a:lnTo>
                    <a:pt x="559" y="439"/>
                  </a:lnTo>
                  <a:lnTo>
                    <a:pt x="605" y="439"/>
                  </a:lnTo>
                  <a:lnTo>
                    <a:pt x="621" y="423"/>
                  </a:lnTo>
                  <a:lnTo>
                    <a:pt x="633" y="412"/>
                  </a:lnTo>
                  <a:lnTo>
                    <a:pt x="636" y="423"/>
                  </a:lnTo>
                  <a:lnTo>
                    <a:pt x="655" y="377"/>
                  </a:lnTo>
                  <a:lnTo>
                    <a:pt x="669" y="356"/>
                  </a:lnTo>
                  <a:lnTo>
                    <a:pt x="683" y="329"/>
                  </a:lnTo>
                  <a:lnTo>
                    <a:pt x="652" y="329"/>
                  </a:lnTo>
                  <a:lnTo>
                    <a:pt x="590" y="345"/>
                  </a:lnTo>
                  <a:lnTo>
                    <a:pt x="574" y="392"/>
                  </a:lnTo>
                  <a:lnTo>
                    <a:pt x="543" y="408"/>
                  </a:lnTo>
                  <a:lnTo>
                    <a:pt x="559" y="423"/>
                  </a:lnTo>
                  <a:lnTo>
                    <a:pt x="543" y="423"/>
                  </a:lnTo>
                  <a:lnTo>
                    <a:pt x="525" y="413"/>
                  </a:lnTo>
                  <a:lnTo>
                    <a:pt x="490" y="418"/>
                  </a:lnTo>
                  <a:lnTo>
                    <a:pt x="471" y="430"/>
                  </a:lnTo>
                  <a:lnTo>
                    <a:pt x="456" y="416"/>
                  </a:lnTo>
                  <a:lnTo>
                    <a:pt x="433" y="412"/>
                  </a:lnTo>
                  <a:lnTo>
                    <a:pt x="421" y="380"/>
                  </a:lnTo>
                  <a:lnTo>
                    <a:pt x="405" y="347"/>
                  </a:lnTo>
                  <a:lnTo>
                    <a:pt x="404" y="298"/>
                  </a:lnTo>
                  <a:lnTo>
                    <a:pt x="414" y="245"/>
                  </a:lnTo>
                  <a:lnTo>
                    <a:pt x="417" y="218"/>
                  </a:lnTo>
                  <a:lnTo>
                    <a:pt x="435" y="204"/>
                  </a:lnTo>
                  <a:lnTo>
                    <a:pt x="394" y="187"/>
                  </a:lnTo>
                  <a:lnTo>
                    <a:pt x="391" y="151"/>
                  </a:lnTo>
                  <a:lnTo>
                    <a:pt x="379" y="131"/>
                  </a:lnTo>
                  <a:lnTo>
                    <a:pt x="369" y="97"/>
                  </a:lnTo>
                  <a:lnTo>
                    <a:pt x="363" y="85"/>
                  </a:lnTo>
                  <a:lnTo>
                    <a:pt x="330" y="82"/>
                  </a:lnTo>
                  <a:lnTo>
                    <a:pt x="310" y="110"/>
                  </a:lnTo>
                  <a:lnTo>
                    <a:pt x="295" y="110"/>
                  </a:lnTo>
                  <a:lnTo>
                    <a:pt x="279" y="78"/>
                  </a:lnTo>
                  <a:lnTo>
                    <a:pt x="279" y="63"/>
                  </a:lnTo>
                  <a:lnTo>
                    <a:pt x="264" y="31"/>
                  </a:lnTo>
                  <a:lnTo>
                    <a:pt x="216" y="25"/>
                  </a:lnTo>
                  <a:lnTo>
                    <a:pt x="204" y="40"/>
                  </a:lnTo>
                  <a:lnTo>
                    <a:pt x="141" y="41"/>
                  </a:lnTo>
                  <a:lnTo>
                    <a:pt x="51" y="1"/>
                  </a:lnTo>
                  <a:lnTo>
                    <a:pt x="0" y="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94" name="Freeform 127">
              <a:extLst>
                <a:ext uri="{FF2B5EF4-FFF2-40B4-BE49-F238E27FC236}">
                  <a16:creationId xmlns:a16="http://schemas.microsoft.com/office/drawing/2014/main" id="{34176ABF-2C74-F04D-B78B-B9E1906A3BB5}"/>
                </a:ext>
              </a:extLst>
            </p:cNvPr>
            <p:cNvSpPr>
              <a:spLocks/>
            </p:cNvSpPr>
            <p:nvPr/>
          </p:nvSpPr>
          <p:spPr bwMode="auto">
            <a:xfrm>
              <a:off x="1336" y="1552"/>
              <a:ext cx="106" cy="44"/>
            </a:xfrm>
            <a:custGeom>
              <a:avLst/>
              <a:gdLst>
                <a:gd name="T0" fmla="*/ 109 w 159"/>
                <a:gd name="T1" fmla="*/ 21 h 66"/>
                <a:gd name="T2" fmla="*/ 138 w 159"/>
                <a:gd name="T3" fmla="*/ 11 h 66"/>
                <a:gd name="T4" fmla="*/ 130 w 159"/>
                <a:gd name="T5" fmla="*/ 0 h 66"/>
                <a:gd name="T6" fmla="*/ 118 w 159"/>
                <a:gd name="T7" fmla="*/ 3 h 66"/>
                <a:gd name="T8" fmla="*/ 109 w 159"/>
                <a:gd name="T9" fmla="*/ 9 h 66"/>
                <a:gd name="T10" fmla="*/ 54 w 159"/>
                <a:gd name="T11" fmla="*/ 18 h 66"/>
                <a:gd name="T12" fmla="*/ 7 w 159"/>
                <a:gd name="T13" fmla="*/ 24 h 66"/>
                <a:gd name="T14" fmla="*/ 12 w 159"/>
                <a:gd name="T15" fmla="*/ 30 h 66"/>
                <a:gd name="T16" fmla="*/ 54 w 159"/>
                <a:gd name="T17" fmla="*/ 29 h 66"/>
                <a:gd name="T18" fmla="*/ 63 w 159"/>
                <a:gd name="T19" fmla="*/ 33 h 66"/>
                <a:gd name="T20" fmla="*/ 43 w 159"/>
                <a:gd name="T21" fmla="*/ 42 h 66"/>
                <a:gd name="T22" fmla="*/ 19 w 159"/>
                <a:gd name="T23" fmla="*/ 50 h 66"/>
                <a:gd name="T24" fmla="*/ 52 w 159"/>
                <a:gd name="T25" fmla="*/ 53 h 66"/>
                <a:gd name="T26" fmla="*/ 66 w 159"/>
                <a:gd name="T27" fmla="*/ 45 h 66"/>
                <a:gd name="T28" fmla="*/ 90 w 159"/>
                <a:gd name="T29" fmla="*/ 48 h 66"/>
                <a:gd name="T30" fmla="*/ 105 w 159"/>
                <a:gd name="T31" fmla="*/ 38 h 66"/>
                <a:gd name="T32" fmla="*/ 150 w 159"/>
                <a:gd name="T33" fmla="*/ 35 h 66"/>
                <a:gd name="T34" fmla="*/ 159 w 159"/>
                <a:gd name="T35" fmla="*/ 23 h 66"/>
                <a:gd name="T36" fmla="*/ 144 w 159"/>
                <a:gd name="T37" fmla="*/ 23 h 66"/>
                <a:gd name="T38" fmla="*/ 129 w 159"/>
                <a:gd name="T39" fmla="*/ 26 h 66"/>
                <a:gd name="T40" fmla="*/ 109 w 159"/>
                <a:gd name="T41"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6">
                  <a:moveTo>
                    <a:pt x="109" y="21"/>
                  </a:moveTo>
                  <a:cubicBezTo>
                    <a:pt x="121" y="20"/>
                    <a:pt x="127" y="13"/>
                    <a:pt x="138" y="11"/>
                  </a:cubicBezTo>
                  <a:cubicBezTo>
                    <a:pt x="147" y="7"/>
                    <a:pt x="135" y="3"/>
                    <a:pt x="130" y="0"/>
                  </a:cubicBezTo>
                  <a:cubicBezTo>
                    <a:pt x="126" y="1"/>
                    <a:pt x="121" y="1"/>
                    <a:pt x="118" y="3"/>
                  </a:cubicBezTo>
                  <a:cubicBezTo>
                    <a:pt x="106" y="11"/>
                    <a:pt x="125" y="6"/>
                    <a:pt x="109" y="9"/>
                  </a:cubicBezTo>
                  <a:cubicBezTo>
                    <a:pt x="94" y="17"/>
                    <a:pt x="70" y="17"/>
                    <a:pt x="54" y="18"/>
                  </a:cubicBezTo>
                  <a:cubicBezTo>
                    <a:pt x="38" y="20"/>
                    <a:pt x="22" y="21"/>
                    <a:pt x="7" y="24"/>
                  </a:cubicBezTo>
                  <a:cubicBezTo>
                    <a:pt x="0" y="29"/>
                    <a:pt x="6" y="29"/>
                    <a:pt x="12" y="30"/>
                  </a:cubicBezTo>
                  <a:cubicBezTo>
                    <a:pt x="26" y="29"/>
                    <a:pt x="40" y="30"/>
                    <a:pt x="54" y="29"/>
                  </a:cubicBezTo>
                  <a:cubicBezTo>
                    <a:pt x="64" y="24"/>
                    <a:pt x="82" y="30"/>
                    <a:pt x="63" y="33"/>
                  </a:cubicBezTo>
                  <a:cubicBezTo>
                    <a:pt x="56" y="36"/>
                    <a:pt x="51" y="41"/>
                    <a:pt x="43" y="42"/>
                  </a:cubicBezTo>
                  <a:cubicBezTo>
                    <a:pt x="36" y="47"/>
                    <a:pt x="27" y="47"/>
                    <a:pt x="19" y="50"/>
                  </a:cubicBezTo>
                  <a:cubicBezTo>
                    <a:pt x="16" y="66"/>
                    <a:pt x="42" y="54"/>
                    <a:pt x="52" y="53"/>
                  </a:cubicBezTo>
                  <a:cubicBezTo>
                    <a:pt x="57" y="50"/>
                    <a:pt x="61" y="47"/>
                    <a:pt x="66" y="45"/>
                  </a:cubicBezTo>
                  <a:cubicBezTo>
                    <a:pt x="75" y="47"/>
                    <a:pt x="82" y="51"/>
                    <a:pt x="90" y="48"/>
                  </a:cubicBezTo>
                  <a:cubicBezTo>
                    <a:pt x="96" y="43"/>
                    <a:pt x="97" y="40"/>
                    <a:pt x="105" y="38"/>
                  </a:cubicBezTo>
                  <a:cubicBezTo>
                    <a:pt x="123" y="39"/>
                    <a:pt x="132" y="39"/>
                    <a:pt x="150" y="35"/>
                  </a:cubicBezTo>
                  <a:cubicBezTo>
                    <a:pt x="153" y="30"/>
                    <a:pt x="157" y="28"/>
                    <a:pt x="159" y="23"/>
                  </a:cubicBezTo>
                  <a:cubicBezTo>
                    <a:pt x="152" y="19"/>
                    <a:pt x="151" y="21"/>
                    <a:pt x="144" y="23"/>
                  </a:cubicBezTo>
                  <a:cubicBezTo>
                    <a:pt x="139" y="24"/>
                    <a:pt x="129" y="26"/>
                    <a:pt x="129" y="26"/>
                  </a:cubicBezTo>
                  <a:cubicBezTo>
                    <a:pt x="111" y="24"/>
                    <a:pt x="116" y="28"/>
                    <a:pt x="109" y="21"/>
                  </a:cubicBezTo>
                  <a:close/>
                </a:path>
              </a:pathLst>
            </a:custGeom>
            <a:pattFill prst="wave">
              <a:fgClr>
                <a:schemeClr val="accent4"/>
              </a:fgClr>
              <a:bgClr>
                <a:schemeClr val="accent4">
                  <a:lumMod val="40000"/>
                  <a:lumOff val="60000"/>
                </a:schemeClr>
              </a:bgClr>
            </a:pattFill>
            <a:ln w="3175" cmpd="sng">
              <a:solidFill>
                <a:schemeClr val="bg1"/>
              </a:solidFill>
              <a:prstDash val="solid"/>
              <a:round/>
              <a:headEnd/>
              <a:tailEnd/>
            </a:ln>
          </p:spPr>
          <p:txBody>
            <a:bodyPr/>
            <a:lstStyle/>
            <a:p>
              <a:endParaRPr lang="de-DE" sz="1286"/>
            </a:p>
          </p:txBody>
        </p:sp>
        <p:sp>
          <p:nvSpPr>
            <p:cNvPr id="95" name="Freeform 128">
              <a:extLst>
                <a:ext uri="{FF2B5EF4-FFF2-40B4-BE49-F238E27FC236}">
                  <a16:creationId xmlns:a16="http://schemas.microsoft.com/office/drawing/2014/main" id="{0AD589EE-172D-6746-94BE-D82D3F234D49}"/>
                </a:ext>
              </a:extLst>
            </p:cNvPr>
            <p:cNvSpPr>
              <a:spLocks/>
            </p:cNvSpPr>
            <p:nvPr/>
          </p:nvSpPr>
          <p:spPr bwMode="auto">
            <a:xfrm>
              <a:off x="1357" y="1629"/>
              <a:ext cx="127" cy="38"/>
            </a:xfrm>
            <a:custGeom>
              <a:avLst/>
              <a:gdLst>
                <a:gd name="T0" fmla="*/ 74 w 191"/>
                <a:gd name="T1" fmla="*/ 6 h 57"/>
                <a:gd name="T2" fmla="*/ 71 w 191"/>
                <a:gd name="T3" fmla="*/ 21 h 57"/>
                <a:gd name="T4" fmla="*/ 54 w 191"/>
                <a:gd name="T5" fmla="*/ 28 h 57"/>
                <a:gd name="T6" fmla="*/ 42 w 191"/>
                <a:gd name="T7" fmla="*/ 37 h 57"/>
                <a:gd name="T8" fmla="*/ 9 w 191"/>
                <a:gd name="T9" fmla="*/ 42 h 57"/>
                <a:gd name="T10" fmla="*/ 0 w 191"/>
                <a:gd name="T11" fmla="*/ 49 h 57"/>
                <a:gd name="T12" fmla="*/ 9 w 191"/>
                <a:gd name="T13" fmla="*/ 54 h 57"/>
                <a:gd name="T14" fmla="*/ 41 w 191"/>
                <a:gd name="T15" fmla="*/ 55 h 57"/>
                <a:gd name="T16" fmla="*/ 59 w 191"/>
                <a:gd name="T17" fmla="*/ 54 h 57"/>
                <a:gd name="T18" fmla="*/ 72 w 191"/>
                <a:gd name="T19" fmla="*/ 49 h 57"/>
                <a:gd name="T20" fmla="*/ 98 w 191"/>
                <a:gd name="T21" fmla="*/ 39 h 57"/>
                <a:gd name="T22" fmla="*/ 131 w 191"/>
                <a:gd name="T23" fmla="*/ 27 h 57"/>
                <a:gd name="T24" fmla="*/ 180 w 191"/>
                <a:gd name="T25" fmla="*/ 15 h 57"/>
                <a:gd name="T26" fmla="*/ 177 w 191"/>
                <a:gd name="T27" fmla="*/ 0 h 57"/>
                <a:gd name="T28" fmla="*/ 150 w 191"/>
                <a:gd name="T29" fmla="*/ 4 h 57"/>
                <a:gd name="T30" fmla="*/ 117 w 191"/>
                <a:gd name="T31" fmla="*/ 18 h 57"/>
                <a:gd name="T32" fmla="*/ 104 w 191"/>
                <a:gd name="T33" fmla="*/ 24 h 57"/>
                <a:gd name="T34" fmla="*/ 74 w 191"/>
                <a:gd name="T35"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1" h="57">
                  <a:moveTo>
                    <a:pt x="74" y="6"/>
                  </a:moveTo>
                  <a:cubicBezTo>
                    <a:pt x="69" y="12"/>
                    <a:pt x="69" y="14"/>
                    <a:pt x="71" y="21"/>
                  </a:cubicBezTo>
                  <a:cubicBezTo>
                    <a:pt x="66" y="28"/>
                    <a:pt x="62" y="27"/>
                    <a:pt x="54" y="28"/>
                  </a:cubicBezTo>
                  <a:cubicBezTo>
                    <a:pt x="48" y="33"/>
                    <a:pt x="50" y="36"/>
                    <a:pt x="42" y="37"/>
                  </a:cubicBezTo>
                  <a:cubicBezTo>
                    <a:pt x="32" y="42"/>
                    <a:pt x="20" y="38"/>
                    <a:pt x="9" y="42"/>
                  </a:cubicBezTo>
                  <a:cubicBezTo>
                    <a:pt x="6" y="45"/>
                    <a:pt x="0" y="45"/>
                    <a:pt x="0" y="49"/>
                  </a:cubicBezTo>
                  <a:cubicBezTo>
                    <a:pt x="0" y="49"/>
                    <a:pt x="8" y="54"/>
                    <a:pt x="9" y="54"/>
                  </a:cubicBezTo>
                  <a:cubicBezTo>
                    <a:pt x="20" y="55"/>
                    <a:pt x="30" y="55"/>
                    <a:pt x="41" y="55"/>
                  </a:cubicBezTo>
                  <a:cubicBezTo>
                    <a:pt x="49" y="57"/>
                    <a:pt x="51" y="55"/>
                    <a:pt x="59" y="54"/>
                  </a:cubicBezTo>
                  <a:cubicBezTo>
                    <a:pt x="63" y="52"/>
                    <a:pt x="68" y="51"/>
                    <a:pt x="72" y="49"/>
                  </a:cubicBezTo>
                  <a:cubicBezTo>
                    <a:pt x="79" y="40"/>
                    <a:pt x="86" y="40"/>
                    <a:pt x="98" y="39"/>
                  </a:cubicBezTo>
                  <a:cubicBezTo>
                    <a:pt x="102" y="37"/>
                    <a:pt x="126" y="28"/>
                    <a:pt x="131" y="27"/>
                  </a:cubicBezTo>
                  <a:cubicBezTo>
                    <a:pt x="153" y="16"/>
                    <a:pt x="142" y="16"/>
                    <a:pt x="180" y="15"/>
                  </a:cubicBezTo>
                  <a:cubicBezTo>
                    <a:pt x="191" y="8"/>
                    <a:pt x="191" y="2"/>
                    <a:pt x="177" y="0"/>
                  </a:cubicBezTo>
                  <a:cubicBezTo>
                    <a:pt x="166" y="1"/>
                    <a:pt x="160" y="2"/>
                    <a:pt x="150" y="4"/>
                  </a:cubicBezTo>
                  <a:cubicBezTo>
                    <a:pt x="139" y="9"/>
                    <a:pt x="129" y="14"/>
                    <a:pt x="117" y="18"/>
                  </a:cubicBezTo>
                  <a:cubicBezTo>
                    <a:pt x="113" y="21"/>
                    <a:pt x="109" y="22"/>
                    <a:pt x="104" y="24"/>
                  </a:cubicBezTo>
                  <a:cubicBezTo>
                    <a:pt x="93" y="20"/>
                    <a:pt x="85" y="10"/>
                    <a:pt x="74" y="6"/>
                  </a:cubicBezTo>
                  <a:close/>
                </a:path>
              </a:pathLst>
            </a:custGeom>
            <a:pattFill prst="wave">
              <a:fgClr>
                <a:schemeClr val="accent4"/>
              </a:fgClr>
              <a:bgClr>
                <a:schemeClr val="accent4">
                  <a:lumMod val="40000"/>
                  <a:lumOff val="60000"/>
                </a:schemeClr>
              </a:bgClr>
            </a:pattFill>
            <a:ln w="3175" cmpd="sng">
              <a:solidFill>
                <a:schemeClr val="bg1"/>
              </a:solidFill>
              <a:prstDash val="solid"/>
              <a:round/>
              <a:headEnd/>
              <a:tailEnd/>
            </a:ln>
          </p:spPr>
          <p:txBody>
            <a:bodyPr/>
            <a:lstStyle/>
            <a:p>
              <a:endParaRPr lang="de-DE" sz="1286"/>
            </a:p>
          </p:txBody>
        </p:sp>
        <p:sp>
          <p:nvSpPr>
            <p:cNvPr id="96" name="Freeform 129">
              <a:extLst>
                <a:ext uri="{FF2B5EF4-FFF2-40B4-BE49-F238E27FC236}">
                  <a16:creationId xmlns:a16="http://schemas.microsoft.com/office/drawing/2014/main" id="{DE4904C1-5657-3945-BB65-0630A8089809}"/>
                </a:ext>
              </a:extLst>
            </p:cNvPr>
            <p:cNvSpPr>
              <a:spLocks/>
            </p:cNvSpPr>
            <p:nvPr/>
          </p:nvSpPr>
          <p:spPr bwMode="auto">
            <a:xfrm>
              <a:off x="1491" y="1788"/>
              <a:ext cx="31" cy="68"/>
            </a:xfrm>
            <a:custGeom>
              <a:avLst/>
              <a:gdLst>
                <a:gd name="T0" fmla="*/ 40 w 46"/>
                <a:gd name="T1" fmla="*/ 24 h 103"/>
                <a:gd name="T2" fmla="*/ 37 w 46"/>
                <a:gd name="T3" fmla="*/ 9 h 103"/>
                <a:gd name="T4" fmla="*/ 19 w 46"/>
                <a:gd name="T5" fmla="*/ 4 h 103"/>
                <a:gd name="T6" fmla="*/ 6 w 46"/>
                <a:gd name="T7" fmla="*/ 21 h 103"/>
                <a:gd name="T8" fmla="*/ 1 w 46"/>
                <a:gd name="T9" fmla="*/ 36 h 103"/>
                <a:gd name="T10" fmla="*/ 15 w 46"/>
                <a:gd name="T11" fmla="*/ 61 h 103"/>
                <a:gd name="T12" fmla="*/ 25 w 46"/>
                <a:gd name="T13" fmla="*/ 73 h 103"/>
                <a:gd name="T14" fmla="*/ 6 w 46"/>
                <a:gd name="T15" fmla="*/ 97 h 103"/>
                <a:gd name="T16" fmla="*/ 27 w 46"/>
                <a:gd name="T17" fmla="*/ 85 h 103"/>
                <a:gd name="T18" fmla="*/ 28 w 46"/>
                <a:gd name="T19" fmla="*/ 70 h 103"/>
                <a:gd name="T20" fmla="*/ 33 w 46"/>
                <a:gd name="T21" fmla="*/ 54 h 103"/>
                <a:gd name="T22" fmla="*/ 39 w 46"/>
                <a:gd name="T23" fmla="*/ 36 h 103"/>
                <a:gd name="T24" fmla="*/ 40 w 46"/>
                <a:gd name="T25" fmla="*/ 2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03">
                  <a:moveTo>
                    <a:pt x="40" y="24"/>
                  </a:moveTo>
                  <a:cubicBezTo>
                    <a:pt x="44" y="17"/>
                    <a:pt x="42" y="15"/>
                    <a:pt x="37" y="9"/>
                  </a:cubicBezTo>
                  <a:cubicBezTo>
                    <a:pt x="35" y="0"/>
                    <a:pt x="27" y="3"/>
                    <a:pt x="19" y="4"/>
                  </a:cubicBezTo>
                  <a:cubicBezTo>
                    <a:pt x="15" y="10"/>
                    <a:pt x="12" y="17"/>
                    <a:pt x="6" y="21"/>
                  </a:cubicBezTo>
                  <a:cubicBezTo>
                    <a:pt x="4" y="26"/>
                    <a:pt x="3" y="31"/>
                    <a:pt x="1" y="36"/>
                  </a:cubicBezTo>
                  <a:cubicBezTo>
                    <a:pt x="3" y="49"/>
                    <a:pt x="0" y="59"/>
                    <a:pt x="15" y="61"/>
                  </a:cubicBezTo>
                  <a:cubicBezTo>
                    <a:pt x="18" y="66"/>
                    <a:pt x="22" y="68"/>
                    <a:pt x="25" y="73"/>
                  </a:cubicBezTo>
                  <a:cubicBezTo>
                    <a:pt x="20" y="82"/>
                    <a:pt x="12" y="89"/>
                    <a:pt x="6" y="97"/>
                  </a:cubicBezTo>
                  <a:cubicBezTo>
                    <a:pt x="14" y="103"/>
                    <a:pt x="21" y="91"/>
                    <a:pt x="27" y="85"/>
                  </a:cubicBezTo>
                  <a:cubicBezTo>
                    <a:pt x="28" y="78"/>
                    <a:pt x="31" y="76"/>
                    <a:pt x="28" y="70"/>
                  </a:cubicBezTo>
                  <a:cubicBezTo>
                    <a:pt x="30" y="65"/>
                    <a:pt x="30" y="59"/>
                    <a:pt x="33" y="54"/>
                  </a:cubicBezTo>
                  <a:cubicBezTo>
                    <a:pt x="34" y="48"/>
                    <a:pt x="36" y="42"/>
                    <a:pt x="39" y="36"/>
                  </a:cubicBezTo>
                  <a:cubicBezTo>
                    <a:pt x="39" y="35"/>
                    <a:pt x="46" y="10"/>
                    <a:pt x="40" y="24"/>
                  </a:cubicBezTo>
                  <a:close/>
                </a:path>
              </a:pathLst>
            </a:custGeom>
            <a:pattFill prst="wave">
              <a:fgClr>
                <a:schemeClr val="accent4"/>
              </a:fgClr>
              <a:bgClr>
                <a:schemeClr val="accent4">
                  <a:lumMod val="40000"/>
                  <a:lumOff val="60000"/>
                </a:schemeClr>
              </a:bgClr>
            </a:pattFill>
            <a:ln w="3175" cmpd="sng">
              <a:solidFill>
                <a:schemeClr val="bg1"/>
              </a:solidFill>
              <a:prstDash val="solid"/>
              <a:round/>
              <a:headEnd/>
              <a:tailEnd/>
            </a:ln>
          </p:spPr>
          <p:txBody>
            <a:bodyPr/>
            <a:lstStyle/>
            <a:p>
              <a:endParaRPr lang="de-DE" sz="1286"/>
            </a:p>
          </p:txBody>
        </p:sp>
        <p:sp>
          <p:nvSpPr>
            <p:cNvPr id="97" name="Freeform 130">
              <a:extLst>
                <a:ext uri="{FF2B5EF4-FFF2-40B4-BE49-F238E27FC236}">
                  <a16:creationId xmlns:a16="http://schemas.microsoft.com/office/drawing/2014/main" id="{BF94AEF9-52B3-0F4A-BA74-E8A820ABAF8F}"/>
                </a:ext>
              </a:extLst>
            </p:cNvPr>
            <p:cNvSpPr>
              <a:spLocks/>
            </p:cNvSpPr>
            <p:nvPr/>
          </p:nvSpPr>
          <p:spPr bwMode="auto">
            <a:xfrm>
              <a:off x="646" y="1671"/>
              <a:ext cx="27" cy="16"/>
            </a:xfrm>
            <a:custGeom>
              <a:avLst/>
              <a:gdLst>
                <a:gd name="T0" fmla="*/ 37 w 40"/>
                <a:gd name="T1" fmla="*/ 0 h 24"/>
                <a:gd name="T2" fmla="*/ 7 w 40"/>
                <a:gd name="T3" fmla="*/ 6 h 24"/>
                <a:gd name="T4" fmla="*/ 9 w 40"/>
                <a:gd name="T5" fmla="*/ 16 h 24"/>
                <a:gd name="T6" fmla="*/ 37 w 40"/>
                <a:gd name="T7" fmla="*/ 0 h 24"/>
              </a:gdLst>
              <a:ahLst/>
              <a:cxnLst>
                <a:cxn ang="0">
                  <a:pos x="T0" y="T1"/>
                </a:cxn>
                <a:cxn ang="0">
                  <a:pos x="T2" y="T3"/>
                </a:cxn>
                <a:cxn ang="0">
                  <a:pos x="T4" y="T5"/>
                </a:cxn>
                <a:cxn ang="0">
                  <a:pos x="T6" y="T7"/>
                </a:cxn>
              </a:cxnLst>
              <a:rect l="0" t="0" r="r" b="b"/>
              <a:pathLst>
                <a:path w="40" h="24">
                  <a:moveTo>
                    <a:pt x="37" y="0"/>
                  </a:moveTo>
                  <a:cubicBezTo>
                    <a:pt x="26" y="1"/>
                    <a:pt x="17" y="4"/>
                    <a:pt x="7" y="6"/>
                  </a:cubicBezTo>
                  <a:cubicBezTo>
                    <a:pt x="2" y="12"/>
                    <a:pt x="0" y="15"/>
                    <a:pt x="9" y="16"/>
                  </a:cubicBezTo>
                  <a:cubicBezTo>
                    <a:pt x="25" y="24"/>
                    <a:pt x="40" y="15"/>
                    <a:pt x="37" y="0"/>
                  </a:cubicBez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98" name="Freeform 131">
              <a:extLst>
                <a:ext uri="{FF2B5EF4-FFF2-40B4-BE49-F238E27FC236}">
                  <a16:creationId xmlns:a16="http://schemas.microsoft.com/office/drawing/2014/main" id="{1C1119CC-58A5-0043-9F7A-7E93D45D3B32}"/>
                </a:ext>
              </a:extLst>
            </p:cNvPr>
            <p:cNvSpPr>
              <a:spLocks/>
            </p:cNvSpPr>
            <p:nvPr/>
          </p:nvSpPr>
          <p:spPr bwMode="auto">
            <a:xfrm>
              <a:off x="462" y="1788"/>
              <a:ext cx="62" cy="27"/>
            </a:xfrm>
            <a:custGeom>
              <a:avLst/>
              <a:gdLst>
                <a:gd name="T0" fmla="*/ 93 w 93"/>
                <a:gd name="T1" fmla="*/ 2 h 41"/>
                <a:gd name="T2" fmla="*/ 74 w 93"/>
                <a:gd name="T3" fmla="*/ 4 h 41"/>
                <a:gd name="T4" fmla="*/ 36 w 93"/>
                <a:gd name="T5" fmla="*/ 17 h 41"/>
                <a:gd name="T6" fmla="*/ 18 w 93"/>
                <a:gd name="T7" fmla="*/ 26 h 41"/>
                <a:gd name="T8" fmla="*/ 0 w 93"/>
                <a:gd name="T9" fmla="*/ 35 h 41"/>
                <a:gd name="T10" fmla="*/ 2 w 93"/>
                <a:gd name="T11" fmla="*/ 40 h 41"/>
                <a:gd name="T12" fmla="*/ 17 w 93"/>
                <a:gd name="T13" fmla="*/ 37 h 41"/>
                <a:gd name="T14" fmla="*/ 29 w 93"/>
                <a:gd name="T15" fmla="*/ 28 h 41"/>
                <a:gd name="T16" fmla="*/ 72 w 93"/>
                <a:gd name="T17" fmla="*/ 20 h 41"/>
                <a:gd name="T18" fmla="*/ 92 w 93"/>
                <a:gd name="T19" fmla="*/ 5 h 41"/>
                <a:gd name="T20" fmla="*/ 93 w 93"/>
                <a:gd name="T21"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1">
                  <a:moveTo>
                    <a:pt x="93" y="2"/>
                  </a:moveTo>
                  <a:cubicBezTo>
                    <a:pt x="86" y="1"/>
                    <a:pt x="80" y="1"/>
                    <a:pt x="74" y="4"/>
                  </a:cubicBezTo>
                  <a:cubicBezTo>
                    <a:pt x="67" y="18"/>
                    <a:pt x="50" y="16"/>
                    <a:pt x="36" y="17"/>
                  </a:cubicBezTo>
                  <a:cubicBezTo>
                    <a:pt x="30" y="20"/>
                    <a:pt x="24" y="22"/>
                    <a:pt x="18" y="26"/>
                  </a:cubicBezTo>
                  <a:cubicBezTo>
                    <a:pt x="13" y="35"/>
                    <a:pt x="11" y="34"/>
                    <a:pt x="0" y="35"/>
                  </a:cubicBezTo>
                  <a:cubicBezTo>
                    <a:pt x="1" y="37"/>
                    <a:pt x="0" y="40"/>
                    <a:pt x="2" y="40"/>
                  </a:cubicBezTo>
                  <a:cubicBezTo>
                    <a:pt x="7" y="41"/>
                    <a:pt x="17" y="37"/>
                    <a:pt x="17" y="37"/>
                  </a:cubicBezTo>
                  <a:cubicBezTo>
                    <a:pt x="23" y="32"/>
                    <a:pt x="21" y="29"/>
                    <a:pt x="29" y="28"/>
                  </a:cubicBezTo>
                  <a:cubicBezTo>
                    <a:pt x="43" y="21"/>
                    <a:pt x="56" y="21"/>
                    <a:pt x="72" y="20"/>
                  </a:cubicBezTo>
                  <a:cubicBezTo>
                    <a:pt x="83" y="18"/>
                    <a:pt x="83" y="10"/>
                    <a:pt x="92" y="5"/>
                  </a:cubicBezTo>
                  <a:cubicBezTo>
                    <a:pt x="90" y="0"/>
                    <a:pt x="89" y="1"/>
                    <a:pt x="93" y="2"/>
                  </a:cubicBezTo>
                  <a:close/>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99" name="Freeform 132">
              <a:extLst>
                <a:ext uri="{FF2B5EF4-FFF2-40B4-BE49-F238E27FC236}">
                  <a16:creationId xmlns:a16="http://schemas.microsoft.com/office/drawing/2014/main" id="{096994D9-D09E-A543-8F72-DF26D5C90AE8}"/>
                </a:ext>
              </a:extLst>
            </p:cNvPr>
            <p:cNvSpPr>
              <a:spLocks/>
            </p:cNvSpPr>
            <p:nvPr/>
          </p:nvSpPr>
          <p:spPr bwMode="auto">
            <a:xfrm>
              <a:off x="534" y="1781"/>
              <a:ext cx="16" cy="7"/>
            </a:xfrm>
            <a:custGeom>
              <a:avLst/>
              <a:gdLst>
                <a:gd name="T0" fmla="*/ 23 w 25"/>
                <a:gd name="T1" fmla="*/ 0 h 11"/>
                <a:gd name="T2" fmla="*/ 0 w 25"/>
                <a:gd name="T3" fmla="*/ 6 h 11"/>
                <a:gd name="T4" fmla="*/ 20 w 25"/>
                <a:gd name="T5" fmla="*/ 8 h 11"/>
                <a:gd name="T6" fmla="*/ 24 w 25"/>
                <a:gd name="T7" fmla="*/ 5 h 11"/>
                <a:gd name="T8" fmla="*/ 23 w 25"/>
                <a:gd name="T9" fmla="*/ 0 h 11"/>
              </a:gdLst>
              <a:ahLst/>
              <a:cxnLst>
                <a:cxn ang="0">
                  <a:pos x="T0" y="T1"/>
                </a:cxn>
                <a:cxn ang="0">
                  <a:pos x="T2" y="T3"/>
                </a:cxn>
                <a:cxn ang="0">
                  <a:pos x="T4" y="T5"/>
                </a:cxn>
                <a:cxn ang="0">
                  <a:pos x="T6" y="T7"/>
                </a:cxn>
                <a:cxn ang="0">
                  <a:pos x="T8" y="T9"/>
                </a:cxn>
              </a:cxnLst>
              <a:rect l="0" t="0" r="r" b="b"/>
              <a:pathLst>
                <a:path w="25" h="11">
                  <a:moveTo>
                    <a:pt x="23" y="0"/>
                  </a:moveTo>
                  <a:cubicBezTo>
                    <a:pt x="16" y="3"/>
                    <a:pt x="8" y="5"/>
                    <a:pt x="0" y="6"/>
                  </a:cubicBezTo>
                  <a:cubicBezTo>
                    <a:pt x="9" y="11"/>
                    <a:pt x="11" y="10"/>
                    <a:pt x="20" y="8"/>
                  </a:cubicBezTo>
                  <a:cubicBezTo>
                    <a:pt x="21" y="7"/>
                    <a:pt x="23" y="7"/>
                    <a:pt x="24" y="5"/>
                  </a:cubicBezTo>
                  <a:cubicBezTo>
                    <a:pt x="25" y="3"/>
                    <a:pt x="23" y="0"/>
                    <a:pt x="23" y="0"/>
                  </a:cubicBezTo>
                  <a:close/>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0" name="Freeform 133">
              <a:extLst>
                <a:ext uri="{FF2B5EF4-FFF2-40B4-BE49-F238E27FC236}">
                  <a16:creationId xmlns:a16="http://schemas.microsoft.com/office/drawing/2014/main" id="{C1AE5C8A-3A48-EC49-9F0D-C8CF5663EF63}"/>
                </a:ext>
              </a:extLst>
            </p:cNvPr>
            <p:cNvSpPr>
              <a:spLocks/>
            </p:cNvSpPr>
            <p:nvPr/>
          </p:nvSpPr>
          <p:spPr bwMode="auto">
            <a:xfrm>
              <a:off x="756" y="1703"/>
              <a:ext cx="67" cy="34"/>
            </a:xfrm>
            <a:custGeom>
              <a:avLst/>
              <a:gdLst>
                <a:gd name="T0" fmla="*/ 101 w 101"/>
                <a:gd name="T1" fmla="*/ 0 h 52"/>
                <a:gd name="T2" fmla="*/ 87 w 101"/>
                <a:gd name="T3" fmla="*/ 7 h 52"/>
                <a:gd name="T4" fmla="*/ 72 w 101"/>
                <a:gd name="T5" fmla="*/ 13 h 52"/>
                <a:gd name="T6" fmla="*/ 30 w 101"/>
                <a:gd name="T7" fmla="*/ 28 h 52"/>
                <a:gd name="T8" fmla="*/ 12 w 101"/>
                <a:gd name="T9" fmla="*/ 34 h 52"/>
                <a:gd name="T10" fmla="*/ 0 w 101"/>
                <a:gd name="T11" fmla="*/ 42 h 52"/>
                <a:gd name="T12" fmla="*/ 14 w 101"/>
                <a:gd name="T13" fmla="*/ 51 h 52"/>
                <a:gd name="T14" fmla="*/ 39 w 101"/>
                <a:gd name="T15" fmla="*/ 42 h 52"/>
                <a:gd name="T16" fmla="*/ 60 w 101"/>
                <a:gd name="T17" fmla="*/ 33 h 52"/>
                <a:gd name="T18" fmla="*/ 83 w 101"/>
                <a:gd name="T19" fmla="*/ 21 h 52"/>
                <a:gd name="T20" fmla="*/ 95 w 101"/>
                <a:gd name="T21" fmla="*/ 12 h 52"/>
                <a:gd name="T22" fmla="*/ 101 w 101"/>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52">
                  <a:moveTo>
                    <a:pt x="101" y="0"/>
                  </a:moveTo>
                  <a:cubicBezTo>
                    <a:pt x="96" y="3"/>
                    <a:pt x="93" y="6"/>
                    <a:pt x="87" y="7"/>
                  </a:cubicBezTo>
                  <a:cubicBezTo>
                    <a:pt x="82" y="11"/>
                    <a:pt x="78" y="12"/>
                    <a:pt x="72" y="13"/>
                  </a:cubicBezTo>
                  <a:cubicBezTo>
                    <a:pt x="54" y="22"/>
                    <a:pt x="53" y="23"/>
                    <a:pt x="30" y="28"/>
                  </a:cubicBezTo>
                  <a:cubicBezTo>
                    <a:pt x="24" y="31"/>
                    <a:pt x="18" y="33"/>
                    <a:pt x="12" y="34"/>
                  </a:cubicBezTo>
                  <a:cubicBezTo>
                    <a:pt x="6" y="37"/>
                    <a:pt x="4" y="36"/>
                    <a:pt x="0" y="42"/>
                  </a:cubicBezTo>
                  <a:cubicBezTo>
                    <a:pt x="3" y="52"/>
                    <a:pt x="4" y="52"/>
                    <a:pt x="14" y="51"/>
                  </a:cubicBezTo>
                  <a:cubicBezTo>
                    <a:pt x="21" y="47"/>
                    <a:pt x="31" y="43"/>
                    <a:pt x="39" y="42"/>
                  </a:cubicBezTo>
                  <a:cubicBezTo>
                    <a:pt x="47" y="34"/>
                    <a:pt x="47" y="34"/>
                    <a:pt x="60" y="33"/>
                  </a:cubicBezTo>
                  <a:cubicBezTo>
                    <a:pt x="69" y="30"/>
                    <a:pt x="73" y="23"/>
                    <a:pt x="83" y="21"/>
                  </a:cubicBezTo>
                  <a:cubicBezTo>
                    <a:pt x="88" y="17"/>
                    <a:pt x="88" y="13"/>
                    <a:pt x="95" y="12"/>
                  </a:cubicBezTo>
                  <a:cubicBezTo>
                    <a:pt x="101" y="7"/>
                    <a:pt x="99" y="11"/>
                    <a:pt x="101" y="0"/>
                  </a:cubicBez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1" name="Freeform 134">
              <a:extLst>
                <a:ext uri="{FF2B5EF4-FFF2-40B4-BE49-F238E27FC236}">
                  <a16:creationId xmlns:a16="http://schemas.microsoft.com/office/drawing/2014/main" id="{B196AF60-E33F-744E-80BC-C98F97B70245}"/>
                </a:ext>
              </a:extLst>
            </p:cNvPr>
            <p:cNvSpPr>
              <a:spLocks/>
            </p:cNvSpPr>
            <p:nvPr/>
          </p:nvSpPr>
          <p:spPr bwMode="auto">
            <a:xfrm>
              <a:off x="762" y="1742"/>
              <a:ext cx="4" cy="1"/>
            </a:xfrm>
            <a:custGeom>
              <a:avLst/>
              <a:gdLst>
                <a:gd name="T0" fmla="*/ 5 w 5"/>
                <a:gd name="T1" fmla="*/ 1 h 1"/>
                <a:gd name="T2" fmla="*/ 0 w 5"/>
                <a:gd name="T3" fmla="*/ 0 h 1"/>
                <a:gd name="T4" fmla="*/ 5 w 5"/>
                <a:gd name="T5" fmla="*/ 1 h 1"/>
              </a:gdLst>
              <a:ahLst/>
              <a:cxnLst>
                <a:cxn ang="0">
                  <a:pos x="T0" y="T1"/>
                </a:cxn>
                <a:cxn ang="0">
                  <a:pos x="T2" y="T3"/>
                </a:cxn>
                <a:cxn ang="0">
                  <a:pos x="T4" y="T5"/>
                </a:cxn>
              </a:cxnLst>
              <a:rect l="0" t="0" r="r" b="b"/>
              <a:pathLst>
                <a:path w="5" h="1">
                  <a:moveTo>
                    <a:pt x="5" y="1"/>
                  </a:moveTo>
                  <a:cubicBezTo>
                    <a:pt x="3" y="1"/>
                    <a:pt x="0" y="0"/>
                    <a:pt x="0" y="0"/>
                  </a:cubicBezTo>
                  <a:cubicBezTo>
                    <a:pt x="0" y="0"/>
                    <a:pt x="3" y="1"/>
                    <a:pt x="5" y="1"/>
                  </a:cubicBezTo>
                  <a:close/>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2" name="Freeform 135">
              <a:extLst>
                <a:ext uri="{FF2B5EF4-FFF2-40B4-BE49-F238E27FC236}">
                  <a16:creationId xmlns:a16="http://schemas.microsoft.com/office/drawing/2014/main" id="{B9391D65-A79F-9C47-BB60-E82178F81917}"/>
                </a:ext>
              </a:extLst>
            </p:cNvPr>
            <p:cNvSpPr>
              <a:spLocks/>
            </p:cNvSpPr>
            <p:nvPr/>
          </p:nvSpPr>
          <p:spPr bwMode="auto">
            <a:xfrm>
              <a:off x="739" y="1738"/>
              <a:ext cx="19" cy="8"/>
            </a:xfrm>
            <a:custGeom>
              <a:avLst/>
              <a:gdLst>
                <a:gd name="T0" fmla="*/ 29 w 29"/>
                <a:gd name="T1" fmla="*/ 10 h 12"/>
                <a:gd name="T2" fmla="*/ 8 w 29"/>
                <a:gd name="T3" fmla="*/ 5 h 12"/>
                <a:gd name="T4" fmla="*/ 13 w 29"/>
                <a:gd name="T5" fmla="*/ 8 h 12"/>
                <a:gd name="T6" fmla="*/ 29 w 29"/>
                <a:gd name="T7" fmla="*/ 10 h 12"/>
              </a:gdLst>
              <a:ahLst/>
              <a:cxnLst>
                <a:cxn ang="0">
                  <a:pos x="T0" y="T1"/>
                </a:cxn>
                <a:cxn ang="0">
                  <a:pos x="T2" y="T3"/>
                </a:cxn>
                <a:cxn ang="0">
                  <a:pos x="T4" y="T5"/>
                </a:cxn>
                <a:cxn ang="0">
                  <a:pos x="T6" y="T7"/>
                </a:cxn>
              </a:cxnLst>
              <a:rect l="0" t="0" r="r" b="b"/>
              <a:pathLst>
                <a:path w="29" h="12">
                  <a:moveTo>
                    <a:pt x="29" y="10"/>
                  </a:moveTo>
                  <a:cubicBezTo>
                    <a:pt x="27" y="0"/>
                    <a:pt x="17" y="4"/>
                    <a:pt x="8" y="5"/>
                  </a:cubicBezTo>
                  <a:cubicBezTo>
                    <a:pt x="0" y="11"/>
                    <a:pt x="8" y="11"/>
                    <a:pt x="13" y="8"/>
                  </a:cubicBezTo>
                  <a:cubicBezTo>
                    <a:pt x="15" y="8"/>
                    <a:pt x="27" y="12"/>
                    <a:pt x="29" y="10"/>
                  </a:cubicBezTo>
                  <a:close/>
                </a:path>
              </a:pathLst>
            </a:custGeom>
            <a:grp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3" name="Freeform 136">
              <a:extLst>
                <a:ext uri="{FF2B5EF4-FFF2-40B4-BE49-F238E27FC236}">
                  <a16:creationId xmlns:a16="http://schemas.microsoft.com/office/drawing/2014/main" id="{77D34AF7-35E3-3841-B1A7-ED356425BBD7}"/>
                </a:ext>
              </a:extLst>
            </p:cNvPr>
            <p:cNvSpPr>
              <a:spLocks/>
            </p:cNvSpPr>
            <p:nvPr/>
          </p:nvSpPr>
          <p:spPr bwMode="auto">
            <a:xfrm>
              <a:off x="2172" y="1305"/>
              <a:ext cx="680" cy="380"/>
            </a:xfrm>
            <a:custGeom>
              <a:avLst/>
              <a:gdLst>
                <a:gd name="T0" fmla="*/ 190 w 1026"/>
                <a:gd name="T1" fmla="*/ 64 h 573"/>
                <a:gd name="T2" fmla="*/ 270 w 1026"/>
                <a:gd name="T3" fmla="*/ 42 h 573"/>
                <a:gd name="T4" fmla="*/ 391 w 1026"/>
                <a:gd name="T5" fmla="*/ 43 h 573"/>
                <a:gd name="T6" fmla="*/ 442 w 1026"/>
                <a:gd name="T7" fmla="*/ 36 h 573"/>
                <a:gd name="T8" fmla="*/ 484 w 1026"/>
                <a:gd name="T9" fmla="*/ 36 h 573"/>
                <a:gd name="T10" fmla="*/ 616 w 1026"/>
                <a:gd name="T11" fmla="*/ 21 h 573"/>
                <a:gd name="T12" fmla="*/ 781 w 1026"/>
                <a:gd name="T13" fmla="*/ 9 h 573"/>
                <a:gd name="T14" fmla="*/ 895 w 1026"/>
                <a:gd name="T15" fmla="*/ 28 h 573"/>
                <a:gd name="T16" fmla="*/ 855 w 1026"/>
                <a:gd name="T17" fmla="*/ 34 h 573"/>
                <a:gd name="T18" fmla="*/ 850 w 1026"/>
                <a:gd name="T19" fmla="*/ 45 h 573"/>
                <a:gd name="T20" fmla="*/ 859 w 1026"/>
                <a:gd name="T21" fmla="*/ 54 h 573"/>
                <a:gd name="T22" fmla="*/ 958 w 1026"/>
                <a:gd name="T23" fmla="*/ 39 h 573"/>
                <a:gd name="T24" fmla="*/ 1026 w 1026"/>
                <a:gd name="T25" fmla="*/ 48 h 573"/>
                <a:gd name="T26" fmla="*/ 939 w 1026"/>
                <a:gd name="T27" fmla="*/ 73 h 573"/>
                <a:gd name="T28" fmla="*/ 891 w 1026"/>
                <a:gd name="T29" fmla="*/ 96 h 573"/>
                <a:gd name="T30" fmla="*/ 892 w 1026"/>
                <a:gd name="T31" fmla="*/ 123 h 573"/>
                <a:gd name="T32" fmla="*/ 868 w 1026"/>
                <a:gd name="T33" fmla="*/ 142 h 573"/>
                <a:gd name="T34" fmla="*/ 862 w 1026"/>
                <a:gd name="T35" fmla="*/ 184 h 573"/>
                <a:gd name="T36" fmla="*/ 853 w 1026"/>
                <a:gd name="T37" fmla="*/ 205 h 573"/>
                <a:gd name="T38" fmla="*/ 766 w 1026"/>
                <a:gd name="T39" fmla="*/ 229 h 573"/>
                <a:gd name="T40" fmla="*/ 789 w 1026"/>
                <a:gd name="T41" fmla="*/ 256 h 573"/>
                <a:gd name="T42" fmla="*/ 763 w 1026"/>
                <a:gd name="T43" fmla="*/ 292 h 573"/>
                <a:gd name="T44" fmla="*/ 712 w 1026"/>
                <a:gd name="T45" fmla="*/ 291 h 573"/>
                <a:gd name="T46" fmla="*/ 775 w 1026"/>
                <a:gd name="T47" fmla="*/ 306 h 573"/>
                <a:gd name="T48" fmla="*/ 712 w 1026"/>
                <a:gd name="T49" fmla="*/ 334 h 573"/>
                <a:gd name="T50" fmla="*/ 586 w 1026"/>
                <a:gd name="T51" fmla="*/ 346 h 573"/>
                <a:gd name="T52" fmla="*/ 547 w 1026"/>
                <a:gd name="T53" fmla="*/ 382 h 573"/>
                <a:gd name="T54" fmla="*/ 475 w 1026"/>
                <a:gd name="T55" fmla="*/ 406 h 573"/>
                <a:gd name="T56" fmla="*/ 381 w 1026"/>
                <a:gd name="T57" fmla="*/ 432 h 573"/>
                <a:gd name="T58" fmla="*/ 319 w 1026"/>
                <a:gd name="T59" fmla="*/ 501 h 573"/>
                <a:gd name="T60" fmla="*/ 277 w 1026"/>
                <a:gd name="T61" fmla="*/ 564 h 573"/>
                <a:gd name="T62" fmla="*/ 189 w 1026"/>
                <a:gd name="T63" fmla="*/ 540 h 573"/>
                <a:gd name="T64" fmla="*/ 160 w 1026"/>
                <a:gd name="T65" fmla="*/ 480 h 573"/>
                <a:gd name="T66" fmla="*/ 147 w 1026"/>
                <a:gd name="T67" fmla="*/ 402 h 573"/>
                <a:gd name="T68" fmla="*/ 189 w 1026"/>
                <a:gd name="T69" fmla="*/ 343 h 573"/>
                <a:gd name="T70" fmla="*/ 229 w 1026"/>
                <a:gd name="T71" fmla="*/ 303 h 573"/>
                <a:gd name="T72" fmla="*/ 189 w 1026"/>
                <a:gd name="T73" fmla="*/ 319 h 573"/>
                <a:gd name="T74" fmla="*/ 244 w 1026"/>
                <a:gd name="T75" fmla="*/ 294 h 573"/>
                <a:gd name="T76" fmla="*/ 226 w 1026"/>
                <a:gd name="T77" fmla="*/ 261 h 573"/>
                <a:gd name="T78" fmla="*/ 184 w 1026"/>
                <a:gd name="T79" fmla="*/ 268 h 573"/>
                <a:gd name="T80" fmla="*/ 210 w 1026"/>
                <a:gd name="T81" fmla="*/ 220 h 573"/>
                <a:gd name="T82" fmla="*/ 144 w 1026"/>
                <a:gd name="T83" fmla="*/ 156 h 573"/>
                <a:gd name="T84" fmla="*/ 24 w 1026"/>
                <a:gd name="T85" fmla="*/ 153 h 573"/>
                <a:gd name="T86" fmla="*/ 36 w 1026"/>
                <a:gd name="T87" fmla="*/ 136 h 573"/>
                <a:gd name="T88" fmla="*/ 1 w 1026"/>
                <a:gd name="T89" fmla="*/ 118 h 573"/>
                <a:gd name="T90" fmla="*/ 120 w 1026"/>
                <a:gd name="T91" fmla="*/ 102 h 573"/>
                <a:gd name="T92" fmla="*/ 162 w 1026"/>
                <a:gd name="T93" fmla="*/ 78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6" h="573">
                  <a:moveTo>
                    <a:pt x="162" y="78"/>
                  </a:moveTo>
                  <a:cubicBezTo>
                    <a:pt x="137" y="75"/>
                    <a:pt x="140" y="70"/>
                    <a:pt x="162" y="69"/>
                  </a:cubicBezTo>
                  <a:cubicBezTo>
                    <a:pt x="171" y="65"/>
                    <a:pt x="180" y="65"/>
                    <a:pt x="190" y="64"/>
                  </a:cubicBezTo>
                  <a:cubicBezTo>
                    <a:pt x="196" y="55"/>
                    <a:pt x="212" y="58"/>
                    <a:pt x="222" y="57"/>
                  </a:cubicBezTo>
                  <a:cubicBezTo>
                    <a:pt x="235" y="53"/>
                    <a:pt x="244" y="53"/>
                    <a:pt x="259" y="52"/>
                  </a:cubicBezTo>
                  <a:cubicBezTo>
                    <a:pt x="262" y="47"/>
                    <a:pt x="265" y="45"/>
                    <a:pt x="270" y="42"/>
                  </a:cubicBezTo>
                  <a:cubicBezTo>
                    <a:pt x="292" y="43"/>
                    <a:pt x="294" y="40"/>
                    <a:pt x="316" y="39"/>
                  </a:cubicBezTo>
                  <a:cubicBezTo>
                    <a:pt x="322" y="36"/>
                    <a:pt x="329" y="34"/>
                    <a:pt x="336" y="33"/>
                  </a:cubicBezTo>
                  <a:cubicBezTo>
                    <a:pt x="379" y="34"/>
                    <a:pt x="371" y="28"/>
                    <a:pt x="391" y="43"/>
                  </a:cubicBezTo>
                  <a:cubicBezTo>
                    <a:pt x="396" y="42"/>
                    <a:pt x="400" y="40"/>
                    <a:pt x="405" y="39"/>
                  </a:cubicBezTo>
                  <a:cubicBezTo>
                    <a:pt x="415" y="31"/>
                    <a:pt x="429" y="44"/>
                    <a:pt x="441" y="46"/>
                  </a:cubicBezTo>
                  <a:cubicBezTo>
                    <a:pt x="450" y="44"/>
                    <a:pt x="446" y="42"/>
                    <a:pt x="442" y="36"/>
                  </a:cubicBezTo>
                  <a:cubicBezTo>
                    <a:pt x="445" y="29"/>
                    <a:pt x="449" y="28"/>
                    <a:pt x="456" y="27"/>
                  </a:cubicBezTo>
                  <a:cubicBezTo>
                    <a:pt x="460" y="30"/>
                    <a:pt x="464" y="32"/>
                    <a:pt x="469" y="33"/>
                  </a:cubicBezTo>
                  <a:cubicBezTo>
                    <a:pt x="474" y="34"/>
                    <a:pt x="484" y="36"/>
                    <a:pt x="484" y="36"/>
                  </a:cubicBezTo>
                  <a:cubicBezTo>
                    <a:pt x="491" y="34"/>
                    <a:pt x="495" y="31"/>
                    <a:pt x="502" y="30"/>
                  </a:cubicBezTo>
                  <a:cubicBezTo>
                    <a:pt x="527" y="20"/>
                    <a:pt x="557" y="18"/>
                    <a:pt x="583" y="16"/>
                  </a:cubicBezTo>
                  <a:cubicBezTo>
                    <a:pt x="608" y="20"/>
                    <a:pt x="597" y="18"/>
                    <a:pt x="616" y="21"/>
                  </a:cubicBezTo>
                  <a:cubicBezTo>
                    <a:pt x="631" y="18"/>
                    <a:pt x="645" y="17"/>
                    <a:pt x="660" y="15"/>
                  </a:cubicBezTo>
                  <a:cubicBezTo>
                    <a:pt x="690" y="0"/>
                    <a:pt x="726" y="11"/>
                    <a:pt x="759" y="10"/>
                  </a:cubicBezTo>
                  <a:cubicBezTo>
                    <a:pt x="767" y="9"/>
                    <a:pt x="773" y="10"/>
                    <a:pt x="781" y="9"/>
                  </a:cubicBezTo>
                  <a:cubicBezTo>
                    <a:pt x="787" y="10"/>
                    <a:pt x="793" y="12"/>
                    <a:pt x="799" y="13"/>
                  </a:cubicBezTo>
                  <a:cubicBezTo>
                    <a:pt x="805" y="16"/>
                    <a:pt x="808" y="18"/>
                    <a:pt x="814" y="19"/>
                  </a:cubicBezTo>
                  <a:cubicBezTo>
                    <a:pt x="836" y="28"/>
                    <a:pt x="873" y="27"/>
                    <a:pt x="895" y="28"/>
                  </a:cubicBezTo>
                  <a:cubicBezTo>
                    <a:pt x="889" y="38"/>
                    <a:pt x="886" y="32"/>
                    <a:pt x="877" y="30"/>
                  </a:cubicBezTo>
                  <a:cubicBezTo>
                    <a:pt x="871" y="30"/>
                    <a:pt x="865" y="30"/>
                    <a:pt x="859" y="31"/>
                  </a:cubicBezTo>
                  <a:cubicBezTo>
                    <a:pt x="857" y="31"/>
                    <a:pt x="857" y="34"/>
                    <a:pt x="855" y="34"/>
                  </a:cubicBezTo>
                  <a:cubicBezTo>
                    <a:pt x="846" y="36"/>
                    <a:pt x="829" y="37"/>
                    <a:pt x="829" y="37"/>
                  </a:cubicBezTo>
                  <a:cubicBezTo>
                    <a:pt x="823" y="41"/>
                    <a:pt x="818" y="45"/>
                    <a:pt x="811" y="48"/>
                  </a:cubicBezTo>
                  <a:cubicBezTo>
                    <a:pt x="821" y="50"/>
                    <a:pt x="841" y="45"/>
                    <a:pt x="850" y="45"/>
                  </a:cubicBezTo>
                  <a:cubicBezTo>
                    <a:pt x="857" y="41"/>
                    <a:pt x="853" y="38"/>
                    <a:pt x="861" y="36"/>
                  </a:cubicBezTo>
                  <a:cubicBezTo>
                    <a:pt x="868" y="37"/>
                    <a:pt x="875" y="39"/>
                    <a:pt x="882" y="40"/>
                  </a:cubicBezTo>
                  <a:cubicBezTo>
                    <a:pt x="885" y="53"/>
                    <a:pt x="868" y="52"/>
                    <a:pt x="859" y="54"/>
                  </a:cubicBezTo>
                  <a:cubicBezTo>
                    <a:pt x="874" y="63"/>
                    <a:pt x="893" y="48"/>
                    <a:pt x="909" y="46"/>
                  </a:cubicBezTo>
                  <a:cubicBezTo>
                    <a:pt x="915" y="42"/>
                    <a:pt x="917" y="42"/>
                    <a:pt x="924" y="43"/>
                  </a:cubicBezTo>
                  <a:cubicBezTo>
                    <a:pt x="935" y="49"/>
                    <a:pt x="950" y="49"/>
                    <a:pt x="958" y="39"/>
                  </a:cubicBezTo>
                  <a:cubicBezTo>
                    <a:pt x="967" y="40"/>
                    <a:pt x="978" y="38"/>
                    <a:pt x="987" y="40"/>
                  </a:cubicBezTo>
                  <a:cubicBezTo>
                    <a:pt x="995" y="44"/>
                    <a:pt x="1005" y="44"/>
                    <a:pt x="1014" y="46"/>
                  </a:cubicBezTo>
                  <a:cubicBezTo>
                    <a:pt x="1018" y="47"/>
                    <a:pt x="1026" y="48"/>
                    <a:pt x="1026" y="48"/>
                  </a:cubicBezTo>
                  <a:cubicBezTo>
                    <a:pt x="1021" y="66"/>
                    <a:pt x="996" y="62"/>
                    <a:pt x="981" y="63"/>
                  </a:cubicBezTo>
                  <a:cubicBezTo>
                    <a:pt x="973" y="65"/>
                    <a:pt x="966" y="66"/>
                    <a:pt x="958" y="67"/>
                  </a:cubicBezTo>
                  <a:cubicBezTo>
                    <a:pt x="952" y="70"/>
                    <a:pt x="945" y="72"/>
                    <a:pt x="939" y="73"/>
                  </a:cubicBezTo>
                  <a:cubicBezTo>
                    <a:pt x="934" y="76"/>
                    <a:pt x="931" y="78"/>
                    <a:pt x="925" y="79"/>
                  </a:cubicBezTo>
                  <a:cubicBezTo>
                    <a:pt x="921" y="82"/>
                    <a:pt x="916" y="84"/>
                    <a:pt x="912" y="87"/>
                  </a:cubicBezTo>
                  <a:cubicBezTo>
                    <a:pt x="909" y="94"/>
                    <a:pt x="891" y="96"/>
                    <a:pt x="891" y="96"/>
                  </a:cubicBezTo>
                  <a:cubicBezTo>
                    <a:pt x="884" y="100"/>
                    <a:pt x="879" y="105"/>
                    <a:pt x="871" y="106"/>
                  </a:cubicBezTo>
                  <a:cubicBezTo>
                    <a:pt x="866" y="109"/>
                    <a:pt x="863" y="110"/>
                    <a:pt x="859" y="115"/>
                  </a:cubicBezTo>
                  <a:cubicBezTo>
                    <a:pt x="865" y="129"/>
                    <a:pt x="880" y="117"/>
                    <a:pt x="892" y="123"/>
                  </a:cubicBezTo>
                  <a:cubicBezTo>
                    <a:pt x="883" y="135"/>
                    <a:pt x="869" y="134"/>
                    <a:pt x="906" y="136"/>
                  </a:cubicBezTo>
                  <a:cubicBezTo>
                    <a:pt x="916" y="141"/>
                    <a:pt x="899" y="146"/>
                    <a:pt x="895" y="147"/>
                  </a:cubicBezTo>
                  <a:cubicBezTo>
                    <a:pt x="871" y="144"/>
                    <a:pt x="880" y="147"/>
                    <a:pt x="868" y="142"/>
                  </a:cubicBezTo>
                  <a:cubicBezTo>
                    <a:pt x="859" y="144"/>
                    <a:pt x="849" y="152"/>
                    <a:pt x="864" y="154"/>
                  </a:cubicBezTo>
                  <a:cubicBezTo>
                    <a:pt x="870" y="157"/>
                    <a:pt x="875" y="162"/>
                    <a:pt x="882" y="163"/>
                  </a:cubicBezTo>
                  <a:cubicBezTo>
                    <a:pt x="879" y="175"/>
                    <a:pt x="875" y="182"/>
                    <a:pt x="862" y="184"/>
                  </a:cubicBezTo>
                  <a:cubicBezTo>
                    <a:pt x="855" y="187"/>
                    <a:pt x="857" y="192"/>
                    <a:pt x="864" y="193"/>
                  </a:cubicBezTo>
                  <a:cubicBezTo>
                    <a:pt x="870" y="196"/>
                    <a:pt x="877" y="195"/>
                    <a:pt x="883" y="198"/>
                  </a:cubicBezTo>
                  <a:cubicBezTo>
                    <a:pt x="876" y="203"/>
                    <a:pt x="862" y="204"/>
                    <a:pt x="853" y="205"/>
                  </a:cubicBezTo>
                  <a:cubicBezTo>
                    <a:pt x="849" y="207"/>
                    <a:pt x="844" y="208"/>
                    <a:pt x="840" y="210"/>
                  </a:cubicBezTo>
                  <a:cubicBezTo>
                    <a:pt x="851" y="218"/>
                    <a:pt x="839" y="219"/>
                    <a:pt x="831" y="220"/>
                  </a:cubicBezTo>
                  <a:cubicBezTo>
                    <a:pt x="809" y="229"/>
                    <a:pt x="789" y="228"/>
                    <a:pt x="766" y="229"/>
                  </a:cubicBezTo>
                  <a:cubicBezTo>
                    <a:pt x="763" y="230"/>
                    <a:pt x="758" y="228"/>
                    <a:pt x="757" y="231"/>
                  </a:cubicBezTo>
                  <a:cubicBezTo>
                    <a:pt x="751" y="245"/>
                    <a:pt x="766" y="249"/>
                    <a:pt x="774" y="250"/>
                  </a:cubicBezTo>
                  <a:cubicBezTo>
                    <a:pt x="786" y="256"/>
                    <a:pt x="780" y="254"/>
                    <a:pt x="789" y="256"/>
                  </a:cubicBezTo>
                  <a:cubicBezTo>
                    <a:pt x="792" y="262"/>
                    <a:pt x="795" y="264"/>
                    <a:pt x="796" y="271"/>
                  </a:cubicBezTo>
                  <a:cubicBezTo>
                    <a:pt x="796" y="279"/>
                    <a:pt x="801" y="290"/>
                    <a:pt x="795" y="294"/>
                  </a:cubicBezTo>
                  <a:cubicBezTo>
                    <a:pt x="786" y="300"/>
                    <a:pt x="773" y="294"/>
                    <a:pt x="763" y="292"/>
                  </a:cubicBezTo>
                  <a:cubicBezTo>
                    <a:pt x="759" y="291"/>
                    <a:pt x="754" y="285"/>
                    <a:pt x="754" y="285"/>
                  </a:cubicBezTo>
                  <a:cubicBezTo>
                    <a:pt x="753" y="278"/>
                    <a:pt x="751" y="277"/>
                    <a:pt x="745" y="274"/>
                  </a:cubicBezTo>
                  <a:cubicBezTo>
                    <a:pt x="715" y="278"/>
                    <a:pt x="739" y="286"/>
                    <a:pt x="712" y="291"/>
                  </a:cubicBezTo>
                  <a:cubicBezTo>
                    <a:pt x="710" y="292"/>
                    <a:pt x="709" y="298"/>
                    <a:pt x="711" y="298"/>
                  </a:cubicBezTo>
                  <a:cubicBezTo>
                    <a:pt x="718" y="299"/>
                    <a:pt x="726" y="297"/>
                    <a:pt x="733" y="297"/>
                  </a:cubicBezTo>
                  <a:cubicBezTo>
                    <a:pt x="739" y="297"/>
                    <a:pt x="775" y="300"/>
                    <a:pt x="775" y="306"/>
                  </a:cubicBezTo>
                  <a:cubicBezTo>
                    <a:pt x="770" y="312"/>
                    <a:pt x="764" y="315"/>
                    <a:pt x="757" y="316"/>
                  </a:cubicBezTo>
                  <a:cubicBezTo>
                    <a:pt x="751" y="320"/>
                    <a:pt x="746" y="321"/>
                    <a:pt x="739" y="322"/>
                  </a:cubicBezTo>
                  <a:cubicBezTo>
                    <a:pt x="731" y="326"/>
                    <a:pt x="721" y="332"/>
                    <a:pt x="712" y="334"/>
                  </a:cubicBezTo>
                  <a:cubicBezTo>
                    <a:pt x="697" y="341"/>
                    <a:pt x="697" y="341"/>
                    <a:pt x="679" y="342"/>
                  </a:cubicBezTo>
                  <a:cubicBezTo>
                    <a:pt x="672" y="345"/>
                    <a:pt x="653" y="348"/>
                    <a:pt x="646" y="351"/>
                  </a:cubicBezTo>
                  <a:cubicBezTo>
                    <a:pt x="623" y="349"/>
                    <a:pt x="609" y="349"/>
                    <a:pt x="586" y="346"/>
                  </a:cubicBezTo>
                  <a:cubicBezTo>
                    <a:pt x="567" y="350"/>
                    <a:pt x="580" y="356"/>
                    <a:pt x="568" y="358"/>
                  </a:cubicBezTo>
                  <a:cubicBezTo>
                    <a:pt x="571" y="366"/>
                    <a:pt x="567" y="365"/>
                    <a:pt x="561" y="369"/>
                  </a:cubicBezTo>
                  <a:cubicBezTo>
                    <a:pt x="558" y="375"/>
                    <a:pt x="553" y="381"/>
                    <a:pt x="547" y="382"/>
                  </a:cubicBezTo>
                  <a:cubicBezTo>
                    <a:pt x="541" y="385"/>
                    <a:pt x="536" y="390"/>
                    <a:pt x="529" y="391"/>
                  </a:cubicBezTo>
                  <a:cubicBezTo>
                    <a:pt x="524" y="395"/>
                    <a:pt x="520" y="396"/>
                    <a:pt x="513" y="397"/>
                  </a:cubicBezTo>
                  <a:cubicBezTo>
                    <a:pt x="506" y="400"/>
                    <a:pt x="493" y="403"/>
                    <a:pt x="475" y="406"/>
                  </a:cubicBezTo>
                  <a:cubicBezTo>
                    <a:pt x="463" y="409"/>
                    <a:pt x="452" y="416"/>
                    <a:pt x="441" y="417"/>
                  </a:cubicBezTo>
                  <a:cubicBezTo>
                    <a:pt x="430" y="418"/>
                    <a:pt x="416" y="411"/>
                    <a:pt x="406" y="414"/>
                  </a:cubicBezTo>
                  <a:cubicBezTo>
                    <a:pt x="398" y="420"/>
                    <a:pt x="389" y="426"/>
                    <a:pt x="381" y="432"/>
                  </a:cubicBezTo>
                  <a:cubicBezTo>
                    <a:pt x="374" y="446"/>
                    <a:pt x="378" y="455"/>
                    <a:pt x="364" y="463"/>
                  </a:cubicBezTo>
                  <a:cubicBezTo>
                    <a:pt x="359" y="469"/>
                    <a:pt x="354" y="473"/>
                    <a:pt x="346" y="475"/>
                  </a:cubicBezTo>
                  <a:cubicBezTo>
                    <a:pt x="337" y="482"/>
                    <a:pt x="330" y="497"/>
                    <a:pt x="319" y="501"/>
                  </a:cubicBezTo>
                  <a:cubicBezTo>
                    <a:pt x="316" y="517"/>
                    <a:pt x="317" y="540"/>
                    <a:pt x="298" y="544"/>
                  </a:cubicBezTo>
                  <a:cubicBezTo>
                    <a:pt x="293" y="546"/>
                    <a:pt x="289" y="547"/>
                    <a:pt x="285" y="550"/>
                  </a:cubicBezTo>
                  <a:cubicBezTo>
                    <a:pt x="283" y="557"/>
                    <a:pt x="284" y="560"/>
                    <a:pt x="277" y="564"/>
                  </a:cubicBezTo>
                  <a:cubicBezTo>
                    <a:pt x="270" y="573"/>
                    <a:pt x="262" y="568"/>
                    <a:pt x="252" y="567"/>
                  </a:cubicBezTo>
                  <a:cubicBezTo>
                    <a:pt x="243" y="562"/>
                    <a:pt x="241" y="542"/>
                    <a:pt x="228" y="541"/>
                  </a:cubicBezTo>
                  <a:cubicBezTo>
                    <a:pt x="215" y="540"/>
                    <a:pt x="202" y="540"/>
                    <a:pt x="189" y="540"/>
                  </a:cubicBezTo>
                  <a:cubicBezTo>
                    <a:pt x="183" y="536"/>
                    <a:pt x="181" y="533"/>
                    <a:pt x="178" y="526"/>
                  </a:cubicBezTo>
                  <a:cubicBezTo>
                    <a:pt x="177" y="519"/>
                    <a:pt x="173" y="513"/>
                    <a:pt x="169" y="507"/>
                  </a:cubicBezTo>
                  <a:cubicBezTo>
                    <a:pt x="168" y="499"/>
                    <a:pt x="164" y="488"/>
                    <a:pt x="160" y="480"/>
                  </a:cubicBezTo>
                  <a:cubicBezTo>
                    <a:pt x="158" y="470"/>
                    <a:pt x="159" y="464"/>
                    <a:pt x="160" y="453"/>
                  </a:cubicBezTo>
                  <a:cubicBezTo>
                    <a:pt x="159" y="441"/>
                    <a:pt x="158" y="426"/>
                    <a:pt x="154" y="415"/>
                  </a:cubicBezTo>
                  <a:cubicBezTo>
                    <a:pt x="153" y="408"/>
                    <a:pt x="152" y="406"/>
                    <a:pt x="147" y="402"/>
                  </a:cubicBezTo>
                  <a:cubicBezTo>
                    <a:pt x="148" y="395"/>
                    <a:pt x="150" y="394"/>
                    <a:pt x="156" y="390"/>
                  </a:cubicBezTo>
                  <a:cubicBezTo>
                    <a:pt x="159" y="375"/>
                    <a:pt x="161" y="365"/>
                    <a:pt x="174" y="357"/>
                  </a:cubicBezTo>
                  <a:cubicBezTo>
                    <a:pt x="178" y="351"/>
                    <a:pt x="182" y="346"/>
                    <a:pt x="189" y="343"/>
                  </a:cubicBezTo>
                  <a:cubicBezTo>
                    <a:pt x="197" y="333"/>
                    <a:pt x="208" y="338"/>
                    <a:pt x="219" y="340"/>
                  </a:cubicBezTo>
                  <a:cubicBezTo>
                    <a:pt x="225" y="335"/>
                    <a:pt x="232" y="338"/>
                    <a:pt x="238" y="333"/>
                  </a:cubicBezTo>
                  <a:cubicBezTo>
                    <a:pt x="243" y="320"/>
                    <a:pt x="246" y="306"/>
                    <a:pt x="229" y="303"/>
                  </a:cubicBezTo>
                  <a:cubicBezTo>
                    <a:pt x="222" y="299"/>
                    <a:pt x="216" y="300"/>
                    <a:pt x="208" y="301"/>
                  </a:cubicBezTo>
                  <a:cubicBezTo>
                    <a:pt x="212" y="308"/>
                    <a:pt x="219" y="314"/>
                    <a:pt x="208" y="318"/>
                  </a:cubicBezTo>
                  <a:cubicBezTo>
                    <a:pt x="200" y="316"/>
                    <a:pt x="197" y="318"/>
                    <a:pt x="189" y="319"/>
                  </a:cubicBezTo>
                  <a:cubicBezTo>
                    <a:pt x="155" y="317"/>
                    <a:pt x="164" y="299"/>
                    <a:pt x="192" y="297"/>
                  </a:cubicBezTo>
                  <a:cubicBezTo>
                    <a:pt x="194" y="276"/>
                    <a:pt x="208" y="288"/>
                    <a:pt x="225" y="289"/>
                  </a:cubicBezTo>
                  <a:cubicBezTo>
                    <a:pt x="232" y="290"/>
                    <a:pt x="238" y="291"/>
                    <a:pt x="244" y="294"/>
                  </a:cubicBezTo>
                  <a:cubicBezTo>
                    <a:pt x="251" y="292"/>
                    <a:pt x="252" y="290"/>
                    <a:pt x="253" y="283"/>
                  </a:cubicBezTo>
                  <a:cubicBezTo>
                    <a:pt x="249" y="278"/>
                    <a:pt x="246" y="276"/>
                    <a:pt x="241" y="273"/>
                  </a:cubicBezTo>
                  <a:cubicBezTo>
                    <a:pt x="240" y="267"/>
                    <a:pt x="232" y="262"/>
                    <a:pt x="226" y="261"/>
                  </a:cubicBezTo>
                  <a:cubicBezTo>
                    <a:pt x="220" y="258"/>
                    <a:pt x="218" y="260"/>
                    <a:pt x="214" y="265"/>
                  </a:cubicBezTo>
                  <a:cubicBezTo>
                    <a:pt x="212" y="285"/>
                    <a:pt x="211" y="275"/>
                    <a:pt x="199" y="273"/>
                  </a:cubicBezTo>
                  <a:cubicBezTo>
                    <a:pt x="193" y="269"/>
                    <a:pt x="190" y="272"/>
                    <a:pt x="184" y="268"/>
                  </a:cubicBezTo>
                  <a:cubicBezTo>
                    <a:pt x="186" y="260"/>
                    <a:pt x="189" y="254"/>
                    <a:pt x="196" y="249"/>
                  </a:cubicBezTo>
                  <a:cubicBezTo>
                    <a:pt x="199" y="244"/>
                    <a:pt x="201" y="240"/>
                    <a:pt x="204" y="235"/>
                  </a:cubicBezTo>
                  <a:cubicBezTo>
                    <a:pt x="205" y="229"/>
                    <a:pt x="207" y="226"/>
                    <a:pt x="210" y="220"/>
                  </a:cubicBezTo>
                  <a:cubicBezTo>
                    <a:pt x="209" y="206"/>
                    <a:pt x="210" y="193"/>
                    <a:pt x="198" y="184"/>
                  </a:cubicBezTo>
                  <a:cubicBezTo>
                    <a:pt x="193" y="174"/>
                    <a:pt x="184" y="164"/>
                    <a:pt x="172" y="162"/>
                  </a:cubicBezTo>
                  <a:cubicBezTo>
                    <a:pt x="164" y="158"/>
                    <a:pt x="153" y="157"/>
                    <a:pt x="144" y="156"/>
                  </a:cubicBezTo>
                  <a:cubicBezTo>
                    <a:pt x="133" y="152"/>
                    <a:pt x="125" y="153"/>
                    <a:pt x="114" y="156"/>
                  </a:cubicBezTo>
                  <a:cubicBezTo>
                    <a:pt x="96" y="154"/>
                    <a:pt x="79" y="157"/>
                    <a:pt x="60" y="159"/>
                  </a:cubicBezTo>
                  <a:cubicBezTo>
                    <a:pt x="46" y="158"/>
                    <a:pt x="37" y="155"/>
                    <a:pt x="24" y="153"/>
                  </a:cubicBezTo>
                  <a:cubicBezTo>
                    <a:pt x="17" y="150"/>
                    <a:pt x="9" y="144"/>
                    <a:pt x="3" y="139"/>
                  </a:cubicBezTo>
                  <a:cubicBezTo>
                    <a:pt x="0" y="132"/>
                    <a:pt x="2" y="130"/>
                    <a:pt x="9" y="129"/>
                  </a:cubicBezTo>
                  <a:cubicBezTo>
                    <a:pt x="21" y="130"/>
                    <a:pt x="25" y="134"/>
                    <a:pt x="36" y="136"/>
                  </a:cubicBezTo>
                  <a:cubicBezTo>
                    <a:pt x="42" y="139"/>
                    <a:pt x="45" y="139"/>
                    <a:pt x="51" y="138"/>
                  </a:cubicBezTo>
                  <a:cubicBezTo>
                    <a:pt x="57" y="129"/>
                    <a:pt x="44" y="127"/>
                    <a:pt x="36" y="126"/>
                  </a:cubicBezTo>
                  <a:cubicBezTo>
                    <a:pt x="26" y="122"/>
                    <a:pt x="12" y="121"/>
                    <a:pt x="1" y="118"/>
                  </a:cubicBezTo>
                  <a:cubicBezTo>
                    <a:pt x="8" y="96"/>
                    <a:pt x="38" y="107"/>
                    <a:pt x="58" y="105"/>
                  </a:cubicBezTo>
                  <a:cubicBezTo>
                    <a:pt x="69" y="100"/>
                    <a:pt x="82" y="101"/>
                    <a:pt x="94" y="99"/>
                  </a:cubicBezTo>
                  <a:cubicBezTo>
                    <a:pt x="102" y="96"/>
                    <a:pt x="112" y="100"/>
                    <a:pt x="120" y="102"/>
                  </a:cubicBezTo>
                  <a:cubicBezTo>
                    <a:pt x="131" y="101"/>
                    <a:pt x="142" y="100"/>
                    <a:pt x="153" y="97"/>
                  </a:cubicBezTo>
                  <a:cubicBezTo>
                    <a:pt x="158" y="94"/>
                    <a:pt x="162" y="92"/>
                    <a:pt x="165" y="87"/>
                  </a:cubicBezTo>
                  <a:cubicBezTo>
                    <a:pt x="164" y="84"/>
                    <a:pt x="163" y="81"/>
                    <a:pt x="162" y="78"/>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4" name="Freeform 137">
              <a:extLst>
                <a:ext uri="{FF2B5EF4-FFF2-40B4-BE49-F238E27FC236}">
                  <a16:creationId xmlns:a16="http://schemas.microsoft.com/office/drawing/2014/main" id="{C49D26AD-E572-7B4C-955B-B71875489287}"/>
                </a:ext>
              </a:extLst>
            </p:cNvPr>
            <p:cNvSpPr>
              <a:spLocks/>
            </p:cNvSpPr>
            <p:nvPr/>
          </p:nvSpPr>
          <p:spPr bwMode="auto">
            <a:xfrm>
              <a:off x="2646" y="1566"/>
              <a:ext cx="132" cy="53"/>
            </a:xfrm>
            <a:custGeom>
              <a:avLst/>
              <a:gdLst>
                <a:gd name="T0" fmla="*/ 143 w 199"/>
                <a:gd name="T1" fmla="*/ 3 h 80"/>
                <a:gd name="T2" fmla="*/ 173 w 199"/>
                <a:gd name="T3" fmla="*/ 5 h 80"/>
                <a:gd name="T4" fmla="*/ 199 w 199"/>
                <a:gd name="T5" fmla="*/ 26 h 80"/>
                <a:gd name="T6" fmla="*/ 178 w 199"/>
                <a:gd name="T7" fmla="*/ 51 h 80"/>
                <a:gd name="T8" fmla="*/ 164 w 199"/>
                <a:gd name="T9" fmla="*/ 57 h 80"/>
                <a:gd name="T10" fmla="*/ 131 w 199"/>
                <a:gd name="T11" fmla="*/ 66 h 80"/>
                <a:gd name="T12" fmla="*/ 113 w 199"/>
                <a:gd name="T13" fmla="*/ 72 h 80"/>
                <a:gd name="T14" fmla="*/ 100 w 199"/>
                <a:gd name="T15" fmla="*/ 80 h 80"/>
                <a:gd name="T16" fmla="*/ 79 w 199"/>
                <a:gd name="T17" fmla="*/ 77 h 80"/>
                <a:gd name="T18" fmla="*/ 65 w 199"/>
                <a:gd name="T19" fmla="*/ 74 h 80"/>
                <a:gd name="T20" fmla="*/ 47 w 199"/>
                <a:gd name="T21" fmla="*/ 65 h 80"/>
                <a:gd name="T22" fmla="*/ 26 w 199"/>
                <a:gd name="T23" fmla="*/ 69 h 80"/>
                <a:gd name="T24" fmla="*/ 28 w 199"/>
                <a:gd name="T25" fmla="*/ 62 h 80"/>
                <a:gd name="T26" fmla="*/ 28 w 199"/>
                <a:gd name="T27" fmla="*/ 45 h 80"/>
                <a:gd name="T28" fmla="*/ 4 w 199"/>
                <a:gd name="T29" fmla="*/ 47 h 80"/>
                <a:gd name="T30" fmla="*/ 28 w 199"/>
                <a:gd name="T31" fmla="*/ 35 h 80"/>
                <a:gd name="T32" fmla="*/ 38 w 199"/>
                <a:gd name="T33" fmla="*/ 27 h 80"/>
                <a:gd name="T34" fmla="*/ 11 w 199"/>
                <a:gd name="T35" fmla="*/ 26 h 80"/>
                <a:gd name="T36" fmla="*/ 2 w 199"/>
                <a:gd name="T37" fmla="*/ 24 h 80"/>
                <a:gd name="T38" fmla="*/ 16 w 199"/>
                <a:gd name="T39" fmla="*/ 9 h 80"/>
                <a:gd name="T40" fmla="*/ 32 w 199"/>
                <a:gd name="T41" fmla="*/ 14 h 80"/>
                <a:gd name="T42" fmla="*/ 37 w 199"/>
                <a:gd name="T43" fmla="*/ 3 h 80"/>
                <a:gd name="T44" fmla="*/ 53 w 199"/>
                <a:gd name="T45" fmla="*/ 11 h 80"/>
                <a:gd name="T46" fmla="*/ 65 w 199"/>
                <a:gd name="T47" fmla="*/ 32 h 80"/>
                <a:gd name="T48" fmla="*/ 76 w 199"/>
                <a:gd name="T49" fmla="*/ 21 h 80"/>
                <a:gd name="T50" fmla="*/ 83 w 199"/>
                <a:gd name="T51" fmla="*/ 6 h 80"/>
                <a:gd name="T52" fmla="*/ 100 w 199"/>
                <a:gd name="T53" fmla="*/ 20 h 80"/>
                <a:gd name="T54" fmla="*/ 113 w 199"/>
                <a:gd name="T55" fmla="*/ 12 h 80"/>
                <a:gd name="T56" fmla="*/ 125 w 199"/>
                <a:gd name="T57" fmla="*/ 14 h 80"/>
                <a:gd name="T58" fmla="*/ 134 w 199"/>
                <a:gd name="T59" fmla="*/ 11 h 80"/>
                <a:gd name="T60" fmla="*/ 143 w 199"/>
                <a:gd name="T61"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80">
                  <a:moveTo>
                    <a:pt x="143" y="3"/>
                  </a:moveTo>
                  <a:cubicBezTo>
                    <a:pt x="153" y="2"/>
                    <a:pt x="164" y="0"/>
                    <a:pt x="173" y="5"/>
                  </a:cubicBezTo>
                  <a:cubicBezTo>
                    <a:pt x="180" y="14"/>
                    <a:pt x="191" y="18"/>
                    <a:pt x="199" y="26"/>
                  </a:cubicBezTo>
                  <a:cubicBezTo>
                    <a:pt x="197" y="43"/>
                    <a:pt x="195" y="49"/>
                    <a:pt x="178" y="51"/>
                  </a:cubicBezTo>
                  <a:cubicBezTo>
                    <a:pt x="173" y="53"/>
                    <a:pt x="170" y="56"/>
                    <a:pt x="164" y="57"/>
                  </a:cubicBezTo>
                  <a:cubicBezTo>
                    <a:pt x="152" y="66"/>
                    <a:pt x="148" y="65"/>
                    <a:pt x="131" y="66"/>
                  </a:cubicBezTo>
                  <a:cubicBezTo>
                    <a:pt x="125" y="69"/>
                    <a:pt x="119" y="71"/>
                    <a:pt x="113" y="72"/>
                  </a:cubicBezTo>
                  <a:cubicBezTo>
                    <a:pt x="108" y="74"/>
                    <a:pt x="104" y="77"/>
                    <a:pt x="100" y="80"/>
                  </a:cubicBezTo>
                  <a:cubicBezTo>
                    <a:pt x="97" y="80"/>
                    <a:pt x="84" y="78"/>
                    <a:pt x="79" y="77"/>
                  </a:cubicBezTo>
                  <a:cubicBezTo>
                    <a:pt x="74" y="76"/>
                    <a:pt x="65" y="74"/>
                    <a:pt x="65" y="74"/>
                  </a:cubicBezTo>
                  <a:cubicBezTo>
                    <a:pt x="59" y="70"/>
                    <a:pt x="54" y="66"/>
                    <a:pt x="47" y="65"/>
                  </a:cubicBezTo>
                  <a:cubicBezTo>
                    <a:pt x="38" y="66"/>
                    <a:pt x="34" y="67"/>
                    <a:pt x="26" y="69"/>
                  </a:cubicBezTo>
                  <a:cubicBezTo>
                    <a:pt x="6" y="64"/>
                    <a:pt x="18" y="64"/>
                    <a:pt x="28" y="62"/>
                  </a:cubicBezTo>
                  <a:cubicBezTo>
                    <a:pt x="36" y="58"/>
                    <a:pt x="35" y="50"/>
                    <a:pt x="28" y="45"/>
                  </a:cubicBezTo>
                  <a:cubicBezTo>
                    <a:pt x="22" y="46"/>
                    <a:pt x="9" y="44"/>
                    <a:pt x="4" y="47"/>
                  </a:cubicBezTo>
                  <a:cubicBezTo>
                    <a:pt x="0" y="37"/>
                    <a:pt x="20" y="37"/>
                    <a:pt x="28" y="35"/>
                  </a:cubicBezTo>
                  <a:cubicBezTo>
                    <a:pt x="34" y="32"/>
                    <a:pt x="37" y="34"/>
                    <a:pt x="38" y="27"/>
                  </a:cubicBezTo>
                  <a:cubicBezTo>
                    <a:pt x="31" y="18"/>
                    <a:pt x="20" y="24"/>
                    <a:pt x="11" y="26"/>
                  </a:cubicBezTo>
                  <a:cubicBezTo>
                    <a:pt x="8" y="25"/>
                    <a:pt x="4" y="26"/>
                    <a:pt x="2" y="24"/>
                  </a:cubicBezTo>
                  <a:cubicBezTo>
                    <a:pt x="0" y="22"/>
                    <a:pt x="12" y="10"/>
                    <a:pt x="16" y="9"/>
                  </a:cubicBezTo>
                  <a:cubicBezTo>
                    <a:pt x="22" y="11"/>
                    <a:pt x="27" y="11"/>
                    <a:pt x="32" y="14"/>
                  </a:cubicBezTo>
                  <a:cubicBezTo>
                    <a:pt x="40" y="11"/>
                    <a:pt x="34" y="10"/>
                    <a:pt x="37" y="3"/>
                  </a:cubicBezTo>
                  <a:cubicBezTo>
                    <a:pt x="44" y="5"/>
                    <a:pt x="48" y="7"/>
                    <a:pt x="53" y="11"/>
                  </a:cubicBezTo>
                  <a:cubicBezTo>
                    <a:pt x="55" y="25"/>
                    <a:pt x="51" y="34"/>
                    <a:pt x="65" y="32"/>
                  </a:cubicBezTo>
                  <a:cubicBezTo>
                    <a:pt x="69" y="25"/>
                    <a:pt x="72" y="28"/>
                    <a:pt x="76" y="21"/>
                  </a:cubicBezTo>
                  <a:cubicBezTo>
                    <a:pt x="77" y="14"/>
                    <a:pt x="77" y="10"/>
                    <a:pt x="83" y="6"/>
                  </a:cubicBezTo>
                  <a:cubicBezTo>
                    <a:pt x="87" y="13"/>
                    <a:pt x="93" y="16"/>
                    <a:pt x="100" y="20"/>
                  </a:cubicBezTo>
                  <a:cubicBezTo>
                    <a:pt x="105" y="12"/>
                    <a:pt x="104" y="11"/>
                    <a:pt x="113" y="12"/>
                  </a:cubicBezTo>
                  <a:cubicBezTo>
                    <a:pt x="120" y="16"/>
                    <a:pt x="117" y="13"/>
                    <a:pt x="125" y="14"/>
                  </a:cubicBezTo>
                  <a:cubicBezTo>
                    <a:pt x="134" y="19"/>
                    <a:pt x="131" y="16"/>
                    <a:pt x="134" y="11"/>
                  </a:cubicBezTo>
                  <a:cubicBezTo>
                    <a:pt x="137" y="7"/>
                    <a:pt x="143" y="10"/>
                    <a:pt x="143" y="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5" name="Freeform 138">
              <a:extLst>
                <a:ext uri="{FF2B5EF4-FFF2-40B4-BE49-F238E27FC236}">
                  <a16:creationId xmlns:a16="http://schemas.microsoft.com/office/drawing/2014/main" id="{0BEDD001-3477-8044-AA43-3FB7A0596F98}"/>
                </a:ext>
              </a:extLst>
            </p:cNvPr>
            <p:cNvSpPr>
              <a:spLocks/>
            </p:cNvSpPr>
            <p:nvPr/>
          </p:nvSpPr>
          <p:spPr bwMode="auto">
            <a:xfrm>
              <a:off x="1606" y="2346"/>
              <a:ext cx="14" cy="21"/>
            </a:xfrm>
            <a:custGeom>
              <a:avLst/>
              <a:gdLst>
                <a:gd name="T0" fmla="*/ 11 w 22"/>
                <a:gd name="T1" fmla="*/ 0 h 32"/>
                <a:gd name="T2" fmla="*/ 0 w 22"/>
                <a:gd name="T3" fmla="*/ 17 h 32"/>
                <a:gd name="T4" fmla="*/ 14 w 22"/>
                <a:gd name="T5" fmla="*/ 32 h 32"/>
                <a:gd name="T6" fmla="*/ 11 w 22"/>
                <a:gd name="T7" fmla="*/ 0 h 32"/>
              </a:gdLst>
              <a:ahLst/>
              <a:cxnLst>
                <a:cxn ang="0">
                  <a:pos x="T0" y="T1"/>
                </a:cxn>
                <a:cxn ang="0">
                  <a:pos x="T2" y="T3"/>
                </a:cxn>
                <a:cxn ang="0">
                  <a:pos x="T4" y="T5"/>
                </a:cxn>
                <a:cxn ang="0">
                  <a:pos x="T6" y="T7"/>
                </a:cxn>
              </a:cxnLst>
              <a:rect l="0" t="0" r="r" b="b"/>
              <a:pathLst>
                <a:path w="22" h="32">
                  <a:moveTo>
                    <a:pt x="11" y="0"/>
                  </a:moveTo>
                  <a:cubicBezTo>
                    <a:pt x="5" y="4"/>
                    <a:pt x="4" y="10"/>
                    <a:pt x="0" y="17"/>
                  </a:cubicBezTo>
                  <a:cubicBezTo>
                    <a:pt x="4" y="24"/>
                    <a:pt x="7" y="29"/>
                    <a:pt x="14" y="32"/>
                  </a:cubicBezTo>
                  <a:cubicBezTo>
                    <a:pt x="22" y="22"/>
                    <a:pt x="20" y="9"/>
                    <a:pt x="11" y="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6" name="Freeform 139">
              <a:extLst>
                <a:ext uri="{FF2B5EF4-FFF2-40B4-BE49-F238E27FC236}">
                  <a16:creationId xmlns:a16="http://schemas.microsoft.com/office/drawing/2014/main" id="{57A4B08C-D257-864C-89F1-89406382E552}"/>
                </a:ext>
              </a:extLst>
            </p:cNvPr>
            <p:cNvSpPr>
              <a:spLocks/>
            </p:cNvSpPr>
            <p:nvPr/>
          </p:nvSpPr>
          <p:spPr bwMode="auto">
            <a:xfrm>
              <a:off x="3504" y="3024"/>
              <a:ext cx="32" cy="105"/>
            </a:xfrm>
            <a:custGeom>
              <a:avLst/>
              <a:gdLst>
                <a:gd name="T0" fmla="*/ 0 w 48"/>
                <a:gd name="T1" fmla="*/ 0 h 158"/>
                <a:gd name="T2" fmla="*/ 9 w 48"/>
                <a:gd name="T3" fmla="*/ 35 h 158"/>
                <a:gd name="T4" fmla="*/ 1 w 48"/>
                <a:gd name="T5" fmla="*/ 68 h 158"/>
                <a:gd name="T6" fmla="*/ 3 w 48"/>
                <a:gd name="T7" fmla="*/ 96 h 158"/>
                <a:gd name="T8" fmla="*/ 13 w 48"/>
                <a:gd name="T9" fmla="*/ 131 h 158"/>
                <a:gd name="T10" fmla="*/ 48 w 48"/>
                <a:gd name="T11" fmla="*/ 158 h 158"/>
                <a:gd name="T12" fmla="*/ 28 w 48"/>
                <a:gd name="T13" fmla="*/ 125 h 158"/>
                <a:gd name="T14" fmla="*/ 16 w 48"/>
                <a:gd name="T15" fmla="*/ 113 h 158"/>
                <a:gd name="T16" fmla="*/ 16 w 48"/>
                <a:gd name="T17" fmla="*/ 80 h 158"/>
                <a:gd name="T18" fmla="*/ 33 w 48"/>
                <a:gd name="T19" fmla="*/ 62 h 158"/>
                <a:gd name="T20" fmla="*/ 16 w 48"/>
                <a:gd name="T21" fmla="*/ 15 h 158"/>
                <a:gd name="T22" fmla="*/ 0 w 48"/>
                <a:gd name="T2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58">
                  <a:moveTo>
                    <a:pt x="0" y="0"/>
                  </a:moveTo>
                  <a:lnTo>
                    <a:pt x="9" y="35"/>
                  </a:lnTo>
                  <a:lnTo>
                    <a:pt x="1" y="68"/>
                  </a:lnTo>
                  <a:lnTo>
                    <a:pt x="3" y="96"/>
                  </a:lnTo>
                  <a:lnTo>
                    <a:pt x="13" y="131"/>
                  </a:lnTo>
                  <a:lnTo>
                    <a:pt x="48" y="158"/>
                  </a:lnTo>
                  <a:lnTo>
                    <a:pt x="28" y="125"/>
                  </a:lnTo>
                  <a:lnTo>
                    <a:pt x="16" y="113"/>
                  </a:lnTo>
                  <a:lnTo>
                    <a:pt x="16" y="80"/>
                  </a:lnTo>
                  <a:lnTo>
                    <a:pt x="33" y="62"/>
                  </a:lnTo>
                  <a:lnTo>
                    <a:pt x="16" y="15"/>
                  </a:lnTo>
                  <a:lnTo>
                    <a:pt x="0" y="0"/>
                  </a:lnTo>
                  <a:close/>
                </a:path>
              </a:pathLst>
            </a:custGeom>
            <a:pattFill prst="wave">
              <a:fgClr>
                <a:schemeClr val="accent1"/>
              </a:fgClr>
              <a:bgClr>
                <a:srgbClr val="DEEBF7"/>
              </a:bgClr>
            </a:patt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7" name="Freeform 140">
              <a:extLst>
                <a:ext uri="{FF2B5EF4-FFF2-40B4-BE49-F238E27FC236}">
                  <a16:creationId xmlns:a16="http://schemas.microsoft.com/office/drawing/2014/main" id="{406A92E2-C656-1541-9385-C995313F097B}"/>
                </a:ext>
              </a:extLst>
            </p:cNvPr>
            <p:cNvSpPr>
              <a:spLocks/>
            </p:cNvSpPr>
            <p:nvPr/>
          </p:nvSpPr>
          <p:spPr bwMode="auto">
            <a:xfrm>
              <a:off x="3421" y="2902"/>
              <a:ext cx="30" cy="91"/>
            </a:xfrm>
            <a:custGeom>
              <a:avLst/>
              <a:gdLst>
                <a:gd name="T0" fmla="*/ 16 w 46"/>
                <a:gd name="T1" fmla="*/ 0 h 137"/>
                <a:gd name="T2" fmla="*/ 19 w 46"/>
                <a:gd name="T3" fmla="*/ 27 h 137"/>
                <a:gd name="T4" fmla="*/ 21 w 46"/>
                <a:gd name="T5" fmla="*/ 68 h 137"/>
                <a:gd name="T6" fmla="*/ 18 w 46"/>
                <a:gd name="T7" fmla="*/ 92 h 137"/>
                <a:gd name="T8" fmla="*/ 33 w 46"/>
                <a:gd name="T9" fmla="*/ 98 h 137"/>
                <a:gd name="T10" fmla="*/ 40 w 46"/>
                <a:gd name="T11" fmla="*/ 122 h 137"/>
                <a:gd name="T12" fmla="*/ 46 w 46"/>
                <a:gd name="T13" fmla="*/ 137 h 137"/>
                <a:gd name="T14" fmla="*/ 27 w 46"/>
                <a:gd name="T15" fmla="*/ 129 h 137"/>
                <a:gd name="T16" fmla="*/ 6 w 46"/>
                <a:gd name="T17" fmla="*/ 87 h 137"/>
                <a:gd name="T18" fmla="*/ 4 w 46"/>
                <a:gd name="T19" fmla="*/ 69 h 137"/>
                <a:gd name="T20" fmla="*/ 0 w 46"/>
                <a:gd name="T21" fmla="*/ 56 h 137"/>
                <a:gd name="T22" fmla="*/ 0 w 46"/>
                <a:gd name="T23" fmla="*/ 18 h 137"/>
                <a:gd name="T24" fmla="*/ 16 w 46"/>
                <a:gd name="T2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37">
                  <a:moveTo>
                    <a:pt x="16" y="0"/>
                  </a:moveTo>
                  <a:lnTo>
                    <a:pt x="19" y="27"/>
                  </a:lnTo>
                  <a:lnTo>
                    <a:pt x="21" y="68"/>
                  </a:lnTo>
                  <a:lnTo>
                    <a:pt x="18" y="92"/>
                  </a:lnTo>
                  <a:lnTo>
                    <a:pt x="33" y="98"/>
                  </a:lnTo>
                  <a:lnTo>
                    <a:pt x="40" y="122"/>
                  </a:lnTo>
                  <a:lnTo>
                    <a:pt x="46" y="137"/>
                  </a:lnTo>
                  <a:lnTo>
                    <a:pt x="27" y="129"/>
                  </a:lnTo>
                  <a:lnTo>
                    <a:pt x="6" y="87"/>
                  </a:lnTo>
                  <a:lnTo>
                    <a:pt x="4" y="69"/>
                  </a:lnTo>
                  <a:lnTo>
                    <a:pt x="0" y="56"/>
                  </a:lnTo>
                  <a:lnTo>
                    <a:pt x="0" y="18"/>
                  </a:lnTo>
                  <a:lnTo>
                    <a:pt x="16" y="0"/>
                  </a:lnTo>
                  <a:close/>
                </a:path>
              </a:pathLst>
            </a:custGeom>
            <a:pattFill prst="wave">
              <a:fgClr>
                <a:schemeClr val="accent1"/>
              </a:fgClr>
              <a:bgClr>
                <a:srgbClr val="DEEBF7"/>
              </a:bgClr>
            </a:patt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8" name="Freeform 141">
              <a:extLst>
                <a:ext uri="{FF2B5EF4-FFF2-40B4-BE49-F238E27FC236}">
                  <a16:creationId xmlns:a16="http://schemas.microsoft.com/office/drawing/2014/main" id="{147A3C94-4520-814F-AF43-CEBA679D5CFA}"/>
                </a:ext>
              </a:extLst>
            </p:cNvPr>
            <p:cNvSpPr>
              <a:spLocks/>
            </p:cNvSpPr>
            <p:nvPr/>
          </p:nvSpPr>
          <p:spPr bwMode="auto">
            <a:xfrm>
              <a:off x="3467" y="2829"/>
              <a:ext cx="52" cy="66"/>
            </a:xfrm>
            <a:custGeom>
              <a:avLst/>
              <a:gdLst>
                <a:gd name="T0" fmla="*/ 56 w 78"/>
                <a:gd name="T1" fmla="*/ 0 h 99"/>
                <a:gd name="T2" fmla="*/ 42 w 78"/>
                <a:gd name="T3" fmla="*/ 3 h 99"/>
                <a:gd name="T4" fmla="*/ 14 w 78"/>
                <a:gd name="T5" fmla="*/ 9 h 99"/>
                <a:gd name="T6" fmla="*/ 0 w 78"/>
                <a:gd name="T7" fmla="*/ 29 h 99"/>
                <a:gd name="T8" fmla="*/ 9 w 78"/>
                <a:gd name="T9" fmla="*/ 44 h 99"/>
                <a:gd name="T10" fmla="*/ 0 w 78"/>
                <a:gd name="T11" fmla="*/ 75 h 99"/>
                <a:gd name="T12" fmla="*/ 3 w 78"/>
                <a:gd name="T13" fmla="*/ 99 h 99"/>
                <a:gd name="T14" fmla="*/ 17 w 78"/>
                <a:gd name="T15" fmla="*/ 86 h 99"/>
                <a:gd name="T16" fmla="*/ 38 w 78"/>
                <a:gd name="T17" fmla="*/ 89 h 99"/>
                <a:gd name="T18" fmla="*/ 51 w 78"/>
                <a:gd name="T19" fmla="*/ 86 h 99"/>
                <a:gd name="T20" fmla="*/ 50 w 78"/>
                <a:gd name="T21" fmla="*/ 68 h 99"/>
                <a:gd name="T22" fmla="*/ 56 w 78"/>
                <a:gd name="T23" fmla="*/ 47 h 99"/>
                <a:gd name="T24" fmla="*/ 66 w 78"/>
                <a:gd name="T25" fmla="*/ 30 h 99"/>
                <a:gd name="T26" fmla="*/ 78 w 78"/>
                <a:gd name="T27" fmla="*/ 18 h 99"/>
                <a:gd name="T28" fmla="*/ 62 w 78"/>
                <a:gd name="T29" fmla="*/ 18 h 99"/>
                <a:gd name="T30" fmla="*/ 56 w 78"/>
                <a:gd name="T3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99">
                  <a:moveTo>
                    <a:pt x="56" y="0"/>
                  </a:moveTo>
                  <a:lnTo>
                    <a:pt x="42" y="3"/>
                  </a:lnTo>
                  <a:lnTo>
                    <a:pt x="14" y="9"/>
                  </a:lnTo>
                  <a:lnTo>
                    <a:pt x="0" y="29"/>
                  </a:lnTo>
                  <a:lnTo>
                    <a:pt x="9" y="44"/>
                  </a:lnTo>
                  <a:lnTo>
                    <a:pt x="0" y="75"/>
                  </a:lnTo>
                  <a:lnTo>
                    <a:pt x="3" y="99"/>
                  </a:lnTo>
                  <a:lnTo>
                    <a:pt x="17" y="86"/>
                  </a:lnTo>
                  <a:lnTo>
                    <a:pt x="38" y="89"/>
                  </a:lnTo>
                  <a:lnTo>
                    <a:pt x="51" y="86"/>
                  </a:lnTo>
                  <a:lnTo>
                    <a:pt x="50" y="68"/>
                  </a:lnTo>
                  <a:lnTo>
                    <a:pt x="56" y="47"/>
                  </a:lnTo>
                  <a:lnTo>
                    <a:pt x="66" y="30"/>
                  </a:lnTo>
                  <a:lnTo>
                    <a:pt x="78" y="18"/>
                  </a:lnTo>
                  <a:lnTo>
                    <a:pt x="62" y="18"/>
                  </a:lnTo>
                  <a:lnTo>
                    <a:pt x="56" y="0"/>
                  </a:lnTo>
                  <a:close/>
                </a:path>
              </a:pathLst>
            </a:custGeom>
            <a:pattFill prst="wave">
              <a:fgClr>
                <a:schemeClr val="accent1"/>
              </a:fgClr>
              <a:bgClr>
                <a:srgbClr val="DEEBF7"/>
              </a:bgClr>
            </a:patt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09" name="Freeform 142">
              <a:extLst>
                <a:ext uri="{FF2B5EF4-FFF2-40B4-BE49-F238E27FC236}">
                  <a16:creationId xmlns:a16="http://schemas.microsoft.com/office/drawing/2014/main" id="{5D6BD92E-E67C-6F43-8346-9DBBDBDB04BE}"/>
                </a:ext>
              </a:extLst>
            </p:cNvPr>
            <p:cNvSpPr>
              <a:spLocks/>
            </p:cNvSpPr>
            <p:nvPr/>
          </p:nvSpPr>
          <p:spPr bwMode="auto">
            <a:xfrm>
              <a:off x="3628" y="2604"/>
              <a:ext cx="178" cy="266"/>
            </a:xfrm>
            <a:custGeom>
              <a:avLst/>
              <a:gdLst>
                <a:gd name="T0" fmla="*/ 48 w 269"/>
                <a:gd name="T1" fmla="*/ 26 h 401"/>
                <a:gd name="T2" fmla="*/ 39 w 269"/>
                <a:gd name="T3" fmla="*/ 42 h 401"/>
                <a:gd name="T4" fmla="*/ 54 w 269"/>
                <a:gd name="T5" fmla="*/ 63 h 401"/>
                <a:gd name="T6" fmla="*/ 78 w 269"/>
                <a:gd name="T7" fmla="*/ 89 h 401"/>
                <a:gd name="T8" fmla="*/ 158 w 269"/>
                <a:gd name="T9" fmla="*/ 120 h 401"/>
                <a:gd name="T10" fmla="*/ 173 w 269"/>
                <a:gd name="T11" fmla="*/ 120 h 401"/>
                <a:gd name="T12" fmla="*/ 111 w 269"/>
                <a:gd name="T13" fmla="*/ 198 h 401"/>
                <a:gd name="T14" fmla="*/ 65 w 269"/>
                <a:gd name="T15" fmla="*/ 213 h 401"/>
                <a:gd name="T16" fmla="*/ 17 w 269"/>
                <a:gd name="T17" fmla="*/ 230 h 401"/>
                <a:gd name="T18" fmla="*/ 2 w 269"/>
                <a:gd name="T19" fmla="*/ 276 h 401"/>
                <a:gd name="T20" fmla="*/ 0 w 269"/>
                <a:gd name="T21" fmla="*/ 369 h 401"/>
                <a:gd name="T22" fmla="*/ 17 w 269"/>
                <a:gd name="T23" fmla="*/ 401 h 401"/>
                <a:gd name="T24" fmla="*/ 32 w 269"/>
                <a:gd name="T25" fmla="*/ 371 h 401"/>
                <a:gd name="T26" fmla="*/ 45 w 269"/>
                <a:gd name="T27" fmla="*/ 359 h 401"/>
                <a:gd name="T28" fmla="*/ 59 w 269"/>
                <a:gd name="T29" fmla="*/ 347 h 401"/>
                <a:gd name="T30" fmla="*/ 74 w 269"/>
                <a:gd name="T31" fmla="*/ 332 h 401"/>
                <a:gd name="T32" fmla="*/ 95 w 269"/>
                <a:gd name="T33" fmla="*/ 308 h 401"/>
                <a:gd name="T34" fmla="*/ 113 w 269"/>
                <a:gd name="T35" fmla="*/ 302 h 401"/>
                <a:gd name="T36" fmla="*/ 134 w 269"/>
                <a:gd name="T37" fmla="*/ 285 h 401"/>
                <a:gd name="T38" fmla="*/ 155 w 269"/>
                <a:gd name="T39" fmla="*/ 261 h 401"/>
                <a:gd name="T40" fmla="*/ 179 w 269"/>
                <a:gd name="T41" fmla="*/ 230 h 401"/>
                <a:gd name="T42" fmla="*/ 188 w 269"/>
                <a:gd name="T43" fmla="*/ 207 h 401"/>
                <a:gd name="T44" fmla="*/ 201 w 269"/>
                <a:gd name="T45" fmla="*/ 186 h 401"/>
                <a:gd name="T46" fmla="*/ 224 w 269"/>
                <a:gd name="T47" fmla="*/ 140 h 401"/>
                <a:gd name="T48" fmla="*/ 239 w 269"/>
                <a:gd name="T49" fmla="*/ 101 h 401"/>
                <a:gd name="T50" fmla="*/ 245 w 269"/>
                <a:gd name="T51" fmla="*/ 83 h 401"/>
                <a:gd name="T52" fmla="*/ 254 w 269"/>
                <a:gd name="T53" fmla="*/ 65 h 401"/>
                <a:gd name="T54" fmla="*/ 246 w 269"/>
                <a:gd name="T55" fmla="*/ 0 h 401"/>
                <a:gd name="T56" fmla="*/ 216 w 269"/>
                <a:gd name="T57" fmla="*/ 12 h 401"/>
                <a:gd name="T58" fmla="*/ 201 w 269"/>
                <a:gd name="T59" fmla="*/ 15 h 401"/>
                <a:gd name="T60" fmla="*/ 168 w 269"/>
                <a:gd name="T61" fmla="*/ 18 h 401"/>
                <a:gd name="T62" fmla="*/ 141 w 269"/>
                <a:gd name="T63" fmla="*/ 35 h 401"/>
                <a:gd name="T64" fmla="*/ 99 w 269"/>
                <a:gd name="T65" fmla="*/ 42 h 401"/>
                <a:gd name="T66" fmla="*/ 80 w 269"/>
                <a:gd name="T67" fmla="*/ 41 h 401"/>
                <a:gd name="T68" fmla="*/ 57 w 269"/>
                <a:gd name="T69" fmla="*/ 20 h 401"/>
                <a:gd name="T70" fmla="*/ 47 w 269"/>
                <a:gd name="T71" fmla="*/ 12 h 401"/>
                <a:gd name="T72" fmla="*/ 48 w 269"/>
                <a:gd name="T73" fmla="*/ 2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401">
                  <a:moveTo>
                    <a:pt x="48" y="26"/>
                  </a:moveTo>
                  <a:lnTo>
                    <a:pt x="39" y="42"/>
                  </a:lnTo>
                  <a:lnTo>
                    <a:pt x="54" y="63"/>
                  </a:lnTo>
                  <a:lnTo>
                    <a:pt x="78" y="89"/>
                  </a:lnTo>
                  <a:lnTo>
                    <a:pt x="158" y="120"/>
                  </a:lnTo>
                  <a:lnTo>
                    <a:pt x="173" y="120"/>
                  </a:lnTo>
                  <a:lnTo>
                    <a:pt x="111" y="198"/>
                  </a:lnTo>
                  <a:lnTo>
                    <a:pt x="65" y="213"/>
                  </a:lnTo>
                  <a:lnTo>
                    <a:pt x="17" y="230"/>
                  </a:lnTo>
                  <a:lnTo>
                    <a:pt x="2" y="276"/>
                  </a:lnTo>
                  <a:lnTo>
                    <a:pt x="0" y="369"/>
                  </a:lnTo>
                  <a:lnTo>
                    <a:pt x="17" y="401"/>
                  </a:lnTo>
                  <a:cubicBezTo>
                    <a:pt x="22" y="391"/>
                    <a:pt x="26" y="380"/>
                    <a:pt x="32" y="371"/>
                  </a:cubicBezTo>
                  <a:cubicBezTo>
                    <a:pt x="36" y="366"/>
                    <a:pt x="45" y="359"/>
                    <a:pt x="45" y="359"/>
                  </a:cubicBezTo>
                  <a:cubicBezTo>
                    <a:pt x="48" y="354"/>
                    <a:pt x="54" y="351"/>
                    <a:pt x="59" y="347"/>
                  </a:cubicBezTo>
                  <a:cubicBezTo>
                    <a:pt x="64" y="340"/>
                    <a:pt x="66" y="334"/>
                    <a:pt x="74" y="332"/>
                  </a:cubicBezTo>
                  <a:cubicBezTo>
                    <a:pt x="81" y="324"/>
                    <a:pt x="84" y="310"/>
                    <a:pt x="95" y="308"/>
                  </a:cubicBezTo>
                  <a:cubicBezTo>
                    <a:pt x="101" y="305"/>
                    <a:pt x="107" y="306"/>
                    <a:pt x="113" y="302"/>
                  </a:cubicBezTo>
                  <a:cubicBezTo>
                    <a:pt x="118" y="294"/>
                    <a:pt x="126" y="290"/>
                    <a:pt x="134" y="285"/>
                  </a:cubicBezTo>
                  <a:cubicBezTo>
                    <a:pt x="141" y="276"/>
                    <a:pt x="145" y="267"/>
                    <a:pt x="155" y="261"/>
                  </a:cubicBezTo>
                  <a:cubicBezTo>
                    <a:pt x="160" y="251"/>
                    <a:pt x="169" y="236"/>
                    <a:pt x="179" y="230"/>
                  </a:cubicBezTo>
                  <a:cubicBezTo>
                    <a:pt x="180" y="223"/>
                    <a:pt x="183" y="213"/>
                    <a:pt x="188" y="207"/>
                  </a:cubicBezTo>
                  <a:cubicBezTo>
                    <a:pt x="195" y="199"/>
                    <a:pt x="197" y="196"/>
                    <a:pt x="201" y="186"/>
                  </a:cubicBezTo>
                  <a:cubicBezTo>
                    <a:pt x="202" y="166"/>
                    <a:pt x="206" y="151"/>
                    <a:pt x="224" y="140"/>
                  </a:cubicBezTo>
                  <a:cubicBezTo>
                    <a:pt x="227" y="125"/>
                    <a:pt x="230" y="113"/>
                    <a:pt x="239" y="101"/>
                  </a:cubicBezTo>
                  <a:cubicBezTo>
                    <a:pt x="240" y="95"/>
                    <a:pt x="242" y="89"/>
                    <a:pt x="245" y="83"/>
                  </a:cubicBezTo>
                  <a:cubicBezTo>
                    <a:pt x="246" y="76"/>
                    <a:pt x="251" y="71"/>
                    <a:pt x="254" y="65"/>
                  </a:cubicBezTo>
                  <a:cubicBezTo>
                    <a:pt x="259" y="42"/>
                    <a:pt x="269" y="14"/>
                    <a:pt x="246" y="0"/>
                  </a:cubicBezTo>
                  <a:cubicBezTo>
                    <a:pt x="234" y="6"/>
                    <a:pt x="232" y="9"/>
                    <a:pt x="216" y="12"/>
                  </a:cubicBezTo>
                  <a:cubicBezTo>
                    <a:pt x="211" y="13"/>
                    <a:pt x="201" y="15"/>
                    <a:pt x="201" y="15"/>
                  </a:cubicBezTo>
                  <a:cubicBezTo>
                    <a:pt x="188" y="22"/>
                    <a:pt x="203" y="15"/>
                    <a:pt x="168" y="18"/>
                  </a:cubicBezTo>
                  <a:cubicBezTo>
                    <a:pt x="160" y="19"/>
                    <a:pt x="149" y="32"/>
                    <a:pt x="141" y="35"/>
                  </a:cubicBezTo>
                  <a:cubicBezTo>
                    <a:pt x="118" y="32"/>
                    <a:pt x="116" y="39"/>
                    <a:pt x="99" y="42"/>
                  </a:cubicBezTo>
                  <a:cubicBezTo>
                    <a:pt x="93" y="42"/>
                    <a:pt x="86" y="42"/>
                    <a:pt x="80" y="41"/>
                  </a:cubicBezTo>
                  <a:cubicBezTo>
                    <a:pt x="71" y="40"/>
                    <a:pt x="65" y="25"/>
                    <a:pt x="57" y="20"/>
                  </a:cubicBezTo>
                  <a:cubicBezTo>
                    <a:pt x="54" y="15"/>
                    <a:pt x="53" y="12"/>
                    <a:pt x="47" y="12"/>
                  </a:cubicBezTo>
                  <a:lnTo>
                    <a:pt x="48" y="26"/>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dirty="0"/>
            </a:p>
          </p:txBody>
        </p:sp>
        <p:sp>
          <p:nvSpPr>
            <p:cNvPr id="110" name="Freeform 143">
              <a:extLst>
                <a:ext uri="{FF2B5EF4-FFF2-40B4-BE49-F238E27FC236}">
                  <a16:creationId xmlns:a16="http://schemas.microsoft.com/office/drawing/2014/main" id="{C8433973-06D2-E640-9B1F-91E7D2B1F4F0}"/>
                </a:ext>
              </a:extLst>
            </p:cNvPr>
            <p:cNvSpPr>
              <a:spLocks/>
            </p:cNvSpPr>
            <p:nvPr/>
          </p:nvSpPr>
          <p:spPr bwMode="auto">
            <a:xfrm>
              <a:off x="3125" y="2922"/>
              <a:ext cx="17" cy="30"/>
            </a:xfrm>
            <a:custGeom>
              <a:avLst/>
              <a:gdLst>
                <a:gd name="T0" fmla="*/ 0 w 26"/>
                <a:gd name="T1" fmla="*/ 20 h 45"/>
                <a:gd name="T2" fmla="*/ 26 w 26"/>
                <a:gd name="T3" fmla="*/ 0 h 45"/>
                <a:gd name="T4" fmla="*/ 26 w 26"/>
                <a:gd name="T5" fmla="*/ 14 h 45"/>
                <a:gd name="T6" fmla="*/ 9 w 26"/>
                <a:gd name="T7" fmla="*/ 45 h 45"/>
                <a:gd name="T8" fmla="*/ 0 w 26"/>
                <a:gd name="T9" fmla="*/ 20 h 45"/>
              </a:gdLst>
              <a:ahLst/>
              <a:cxnLst>
                <a:cxn ang="0">
                  <a:pos x="T0" y="T1"/>
                </a:cxn>
                <a:cxn ang="0">
                  <a:pos x="T2" y="T3"/>
                </a:cxn>
                <a:cxn ang="0">
                  <a:pos x="T4" y="T5"/>
                </a:cxn>
                <a:cxn ang="0">
                  <a:pos x="T6" y="T7"/>
                </a:cxn>
                <a:cxn ang="0">
                  <a:pos x="T8" y="T9"/>
                </a:cxn>
              </a:cxnLst>
              <a:rect l="0" t="0" r="r" b="b"/>
              <a:pathLst>
                <a:path w="26" h="45">
                  <a:moveTo>
                    <a:pt x="0" y="20"/>
                  </a:moveTo>
                  <a:lnTo>
                    <a:pt x="26" y="0"/>
                  </a:lnTo>
                  <a:lnTo>
                    <a:pt x="26" y="14"/>
                  </a:lnTo>
                  <a:lnTo>
                    <a:pt x="9" y="45"/>
                  </a:lnTo>
                  <a:lnTo>
                    <a:pt x="0" y="2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1" name="Freeform 144">
              <a:extLst>
                <a:ext uri="{FF2B5EF4-FFF2-40B4-BE49-F238E27FC236}">
                  <a16:creationId xmlns:a16="http://schemas.microsoft.com/office/drawing/2014/main" id="{11423AF4-A218-E045-BD0D-A805E94AEDE1}"/>
                </a:ext>
              </a:extLst>
            </p:cNvPr>
            <p:cNvSpPr>
              <a:spLocks/>
            </p:cNvSpPr>
            <p:nvPr/>
          </p:nvSpPr>
          <p:spPr bwMode="auto">
            <a:xfrm>
              <a:off x="2778" y="2013"/>
              <a:ext cx="59" cy="100"/>
            </a:xfrm>
            <a:custGeom>
              <a:avLst/>
              <a:gdLst>
                <a:gd name="T0" fmla="*/ 49 w 88"/>
                <a:gd name="T1" fmla="*/ 145 h 151"/>
                <a:gd name="T2" fmla="*/ 39 w 88"/>
                <a:gd name="T3" fmla="*/ 151 h 151"/>
                <a:gd name="T4" fmla="*/ 13 w 88"/>
                <a:gd name="T5" fmla="*/ 151 h 151"/>
                <a:gd name="T6" fmla="*/ 19 w 88"/>
                <a:gd name="T7" fmla="*/ 108 h 151"/>
                <a:gd name="T8" fmla="*/ 7 w 88"/>
                <a:gd name="T9" fmla="*/ 108 h 151"/>
                <a:gd name="T10" fmla="*/ 0 w 88"/>
                <a:gd name="T11" fmla="*/ 94 h 151"/>
                <a:gd name="T12" fmla="*/ 9 w 88"/>
                <a:gd name="T13" fmla="*/ 79 h 151"/>
                <a:gd name="T14" fmla="*/ 21 w 88"/>
                <a:gd name="T15" fmla="*/ 58 h 151"/>
                <a:gd name="T16" fmla="*/ 25 w 88"/>
                <a:gd name="T17" fmla="*/ 33 h 151"/>
                <a:gd name="T18" fmla="*/ 24 w 88"/>
                <a:gd name="T19" fmla="*/ 16 h 151"/>
                <a:gd name="T20" fmla="*/ 25 w 88"/>
                <a:gd name="T21" fmla="*/ 4 h 151"/>
                <a:gd name="T22" fmla="*/ 45 w 88"/>
                <a:gd name="T23" fmla="*/ 0 h 151"/>
                <a:gd name="T24" fmla="*/ 43 w 88"/>
                <a:gd name="T25" fmla="*/ 12 h 151"/>
                <a:gd name="T26" fmla="*/ 58 w 88"/>
                <a:gd name="T27" fmla="*/ 12 h 151"/>
                <a:gd name="T28" fmla="*/ 67 w 88"/>
                <a:gd name="T29" fmla="*/ 6 h 151"/>
                <a:gd name="T30" fmla="*/ 78 w 88"/>
                <a:gd name="T31" fmla="*/ 6 h 151"/>
                <a:gd name="T32" fmla="*/ 88 w 88"/>
                <a:gd name="T33" fmla="*/ 16 h 151"/>
                <a:gd name="T34" fmla="*/ 76 w 88"/>
                <a:gd name="T35" fmla="*/ 28 h 151"/>
                <a:gd name="T36" fmla="*/ 69 w 88"/>
                <a:gd name="T37" fmla="*/ 52 h 151"/>
                <a:gd name="T38" fmla="*/ 69 w 88"/>
                <a:gd name="T39" fmla="*/ 69 h 151"/>
                <a:gd name="T40" fmla="*/ 63 w 88"/>
                <a:gd name="T41" fmla="*/ 78 h 151"/>
                <a:gd name="T42" fmla="*/ 51 w 88"/>
                <a:gd name="T43" fmla="*/ 75 h 151"/>
                <a:gd name="T44" fmla="*/ 63 w 88"/>
                <a:gd name="T45" fmla="*/ 96 h 151"/>
                <a:gd name="T46" fmla="*/ 54 w 88"/>
                <a:gd name="T47" fmla="*/ 109 h 151"/>
                <a:gd name="T48" fmla="*/ 61 w 88"/>
                <a:gd name="T49" fmla="*/ 118 h 151"/>
                <a:gd name="T50" fmla="*/ 45 w 88"/>
                <a:gd name="T51" fmla="*/ 133 h 151"/>
                <a:gd name="T52" fmla="*/ 49 w 88"/>
                <a:gd name="T53" fmla="*/ 14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151">
                  <a:moveTo>
                    <a:pt x="49" y="145"/>
                  </a:moveTo>
                  <a:lnTo>
                    <a:pt x="39" y="151"/>
                  </a:lnTo>
                  <a:lnTo>
                    <a:pt x="13" y="151"/>
                  </a:lnTo>
                  <a:lnTo>
                    <a:pt x="19" y="108"/>
                  </a:lnTo>
                  <a:lnTo>
                    <a:pt x="7" y="108"/>
                  </a:lnTo>
                  <a:lnTo>
                    <a:pt x="0" y="94"/>
                  </a:lnTo>
                  <a:lnTo>
                    <a:pt x="9" y="79"/>
                  </a:lnTo>
                  <a:lnTo>
                    <a:pt x="21" y="58"/>
                  </a:lnTo>
                  <a:lnTo>
                    <a:pt x="25" y="33"/>
                  </a:lnTo>
                  <a:lnTo>
                    <a:pt x="24" y="16"/>
                  </a:lnTo>
                  <a:lnTo>
                    <a:pt x="25" y="4"/>
                  </a:lnTo>
                  <a:lnTo>
                    <a:pt x="45" y="0"/>
                  </a:lnTo>
                  <a:lnTo>
                    <a:pt x="43" y="12"/>
                  </a:lnTo>
                  <a:lnTo>
                    <a:pt x="58" y="12"/>
                  </a:lnTo>
                  <a:lnTo>
                    <a:pt x="67" y="6"/>
                  </a:lnTo>
                  <a:lnTo>
                    <a:pt x="78" y="6"/>
                  </a:lnTo>
                  <a:lnTo>
                    <a:pt x="88" y="16"/>
                  </a:lnTo>
                  <a:lnTo>
                    <a:pt x="76" y="28"/>
                  </a:lnTo>
                  <a:lnTo>
                    <a:pt x="69" y="52"/>
                  </a:lnTo>
                  <a:lnTo>
                    <a:pt x="69" y="69"/>
                  </a:lnTo>
                  <a:lnTo>
                    <a:pt x="63" y="78"/>
                  </a:lnTo>
                  <a:lnTo>
                    <a:pt x="51" y="75"/>
                  </a:lnTo>
                  <a:lnTo>
                    <a:pt x="63" y="96"/>
                  </a:lnTo>
                  <a:lnTo>
                    <a:pt x="54" y="109"/>
                  </a:lnTo>
                  <a:lnTo>
                    <a:pt x="61" y="118"/>
                  </a:lnTo>
                  <a:lnTo>
                    <a:pt x="45" y="133"/>
                  </a:lnTo>
                  <a:lnTo>
                    <a:pt x="49" y="145"/>
                  </a:ln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2" name="Freeform 145">
              <a:extLst>
                <a:ext uri="{FF2B5EF4-FFF2-40B4-BE49-F238E27FC236}">
                  <a16:creationId xmlns:a16="http://schemas.microsoft.com/office/drawing/2014/main" id="{1F83EA74-10A6-F248-B015-59D1ACB64584}"/>
                </a:ext>
              </a:extLst>
            </p:cNvPr>
            <p:cNvSpPr>
              <a:spLocks/>
            </p:cNvSpPr>
            <p:nvPr/>
          </p:nvSpPr>
          <p:spPr bwMode="auto">
            <a:xfrm>
              <a:off x="2791" y="1981"/>
              <a:ext cx="195" cy="151"/>
            </a:xfrm>
            <a:custGeom>
              <a:avLst/>
              <a:gdLst>
                <a:gd name="T0" fmla="*/ 30 w 294"/>
                <a:gd name="T1" fmla="*/ 193 h 228"/>
                <a:gd name="T2" fmla="*/ 51 w 294"/>
                <a:gd name="T3" fmla="*/ 198 h 228"/>
                <a:gd name="T4" fmla="*/ 54 w 294"/>
                <a:gd name="T5" fmla="*/ 214 h 228"/>
                <a:gd name="T6" fmla="*/ 71 w 294"/>
                <a:gd name="T7" fmla="*/ 228 h 228"/>
                <a:gd name="T8" fmla="*/ 86 w 294"/>
                <a:gd name="T9" fmla="*/ 214 h 228"/>
                <a:gd name="T10" fmla="*/ 95 w 294"/>
                <a:gd name="T11" fmla="*/ 217 h 228"/>
                <a:gd name="T12" fmla="*/ 107 w 294"/>
                <a:gd name="T13" fmla="*/ 208 h 228"/>
                <a:gd name="T14" fmla="*/ 158 w 294"/>
                <a:gd name="T15" fmla="*/ 210 h 228"/>
                <a:gd name="T16" fmla="*/ 177 w 294"/>
                <a:gd name="T17" fmla="*/ 186 h 228"/>
                <a:gd name="T18" fmla="*/ 197 w 294"/>
                <a:gd name="T19" fmla="*/ 184 h 228"/>
                <a:gd name="T20" fmla="*/ 192 w 294"/>
                <a:gd name="T21" fmla="*/ 174 h 228"/>
                <a:gd name="T22" fmla="*/ 201 w 294"/>
                <a:gd name="T23" fmla="*/ 157 h 228"/>
                <a:gd name="T24" fmla="*/ 216 w 294"/>
                <a:gd name="T25" fmla="*/ 150 h 228"/>
                <a:gd name="T26" fmla="*/ 206 w 294"/>
                <a:gd name="T27" fmla="*/ 127 h 228"/>
                <a:gd name="T28" fmla="*/ 233 w 294"/>
                <a:gd name="T29" fmla="*/ 94 h 228"/>
                <a:gd name="T30" fmla="*/ 237 w 294"/>
                <a:gd name="T31" fmla="*/ 79 h 228"/>
                <a:gd name="T32" fmla="*/ 261 w 294"/>
                <a:gd name="T33" fmla="*/ 76 h 228"/>
                <a:gd name="T34" fmla="*/ 291 w 294"/>
                <a:gd name="T35" fmla="*/ 60 h 228"/>
                <a:gd name="T36" fmla="*/ 294 w 294"/>
                <a:gd name="T37" fmla="*/ 39 h 228"/>
                <a:gd name="T38" fmla="*/ 266 w 294"/>
                <a:gd name="T39" fmla="*/ 40 h 228"/>
                <a:gd name="T40" fmla="*/ 231 w 294"/>
                <a:gd name="T41" fmla="*/ 33 h 228"/>
                <a:gd name="T42" fmla="*/ 209 w 294"/>
                <a:gd name="T43" fmla="*/ 33 h 228"/>
                <a:gd name="T44" fmla="*/ 177 w 294"/>
                <a:gd name="T45" fmla="*/ 15 h 228"/>
                <a:gd name="T46" fmla="*/ 138 w 294"/>
                <a:gd name="T47" fmla="*/ 7 h 228"/>
                <a:gd name="T48" fmla="*/ 116 w 294"/>
                <a:gd name="T49" fmla="*/ 15 h 228"/>
                <a:gd name="T50" fmla="*/ 78 w 294"/>
                <a:gd name="T51" fmla="*/ 6 h 228"/>
                <a:gd name="T52" fmla="*/ 38 w 294"/>
                <a:gd name="T53" fmla="*/ 0 h 228"/>
                <a:gd name="T54" fmla="*/ 27 w 294"/>
                <a:gd name="T55" fmla="*/ 10 h 228"/>
                <a:gd name="T56" fmla="*/ 0 w 294"/>
                <a:gd name="T57" fmla="*/ 19 h 228"/>
                <a:gd name="T58" fmla="*/ 12 w 294"/>
                <a:gd name="T59" fmla="*/ 48 h 228"/>
                <a:gd name="T60" fmla="*/ 26 w 294"/>
                <a:gd name="T61" fmla="*/ 48 h 228"/>
                <a:gd name="T62" fmla="*/ 24 w 294"/>
                <a:gd name="T63" fmla="*/ 60 h 228"/>
                <a:gd name="T64" fmla="*/ 39 w 294"/>
                <a:gd name="T65" fmla="*/ 60 h 228"/>
                <a:gd name="T66" fmla="*/ 48 w 294"/>
                <a:gd name="T67" fmla="*/ 54 h 228"/>
                <a:gd name="T68" fmla="*/ 59 w 294"/>
                <a:gd name="T69" fmla="*/ 54 h 228"/>
                <a:gd name="T70" fmla="*/ 69 w 294"/>
                <a:gd name="T71" fmla="*/ 64 h 228"/>
                <a:gd name="T72" fmla="*/ 57 w 294"/>
                <a:gd name="T73" fmla="*/ 76 h 228"/>
                <a:gd name="T74" fmla="*/ 50 w 294"/>
                <a:gd name="T75" fmla="*/ 100 h 228"/>
                <a:gd name="T76" fmla="*/ 50 w 294"/>
                <a:gd name="T77" fmla="*/ 117 h 228"/>
                <a:gd name="T78" fmla="*/ 44 w 294"/>
                <a:gd name="T79" fmla="*/ 126 h 228"/>
                <a:gd name="T80" fmla="*/ 32 w 294"/>
                <a:gd name="T81" fmla="*/ 123 h 228"/>
                <a:gd name="T82" fmla="*/ 44 w 294"/>
                <a:gd name="T83" fmla="*/ 144 h 228"/>
                <a:gd name="T84" fmla="*/ 35 w 294"/>
                <a:gd name="T85" fmla="*/ 157 h 228"/>
                <a:gd name="T86" fmla="*/ 42 w 294"/>
                <a:gd name="T87" fmla="*/ 166 h 228"/>
                <a:gd name="T88" fmla="*/ 26 w 294"/>
                <a:gd name="T89" fmla="*/ 181 h 228"/>
                <a:gd name="T90" fmla="*/ 30 w 294"/>
                <a:gd name="T91" fmla="*/ 193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4" h="228">
                  <a:moveTo>
                    <a:pt x="30" y="193"/>
                  </a:moveTo>
                  <a:lnTo>
                    <a:pt x="51" y="198"/>
                  </a:lnTo>
                  <a:lnTo>
                    <a:pt x="54" y="214"/>
                  </a:lnTo>
                  <a:lnTo>
                    <a:pt x="71" y="228"/>
                  </a:lnTo>
                  <a:lnTo>
                    <a:pt x="86" y="214"/>
                  </a:lnTo>
                  <a:lnTo>
                    <a:pt x="95" y="217"/>
                  </a:lnTo>
                  <a:lnTo>
                    <a:pt x="107" y="208"/>
                  </a:lnTo>
                  <a:lnTo>
                    <a:pt x="158" y="210"/>
                  </a:lnTo>
                  <a:lnTo>
                    <a:pt x="177" y="186"/>
                  </a:lnTo>
                  <a:lnTo>
                    <a:pt x="197" y="184"/>
                  </a:lnTo>
                  <a:lnTo>
                    <a:pt x="192" y="174"/>
                  </a:lnTo>
                  <a:lnTo>
                    <a:pt x="201" y="157"/>
                  </a:lnTo>
                  <a:lnTo>
                    <a:pt x="216" y="150"/>
                  </a:lnTo>
                  <a:lnTo>
                    <a:pt x="206" y="127"/>
                  </a:lnTo>
                  <a:lnTo>
                    <a:pt x="233" y="94"/>
                  </a:lnTo>
                  <a:lnTo>
                    <a:pt x="237" y="79"/>
                  </a:lnTo>
                  <a:lnTo>
                    <a:pt x="261" y="76"/>
                  </a:lnTo>
                  <a:lnTo>
                    <a:pt x="291" y="60"/>
                  </a:lnTo>
                  <a:lnTo>
                    <a:pt x="294" y="39"/>
                  </a:lnTo>
                  <a:lnTo>
                    <a:pt x="266" y="40"/>
                  </a:lnTo>
                  <a:lnTo>
                    <a:pt x="231" y="33"/>
                  </a:lnTo>
                  <a:lnTo>
                    <a:pt x="209" y="33"/>
                  </a:lnTo>
                  <a:lnTo>
                    <a:pt x="177" y="15"/>
                  </a:lnTo>
                  <a:lnTo>
                    <a:pt x="138" y="7"/>
                  </a:lnTo>
                  <a:lnTo>
                    <a:pt x="116" y="15"/>
                  </a:lnTo>
                  <a:lnTo>
                    <a:pt x="78" y="6"/>
                  </a:lnTo>
                  <a:lnTo>
                    <a:pt x="38" y="0"/>
                  </a:lnTo>
                  <a:lnTo>
                    <a:pt x="27" y="10"/>
                  </a:lnTo>
                  <a:lnTo>
                    <a:pt x="0" y="19"/>
                  </a:lnTo>
                  <a:lnTo>
                    <a:pt x="12" y="48"/>
                  </a:lnTo>
                  <a:lnTo>
                    <a:pt x="26" y="48"/>
                  </a:lnTo>
                  <a:lnTo>
                    <a:pt x="24" y="60"/>
                  </a:lnTo>
                  <a:lnTo>
                    <a:pt x="39" y="60"/>
                  </a:lnTo>
                  <a:lnTo>
                    <a:pt x="48" y="54"/>
                  </a:lnTo>
                  <a:lnTo>
                    <a:pt x="59" y="54"/>
                  </a:lnTo>
                  <a:lnTo>
                    <a:pt x="69" y="64"/>
                  </a:lnTo>
                  <a:lnTo>
                    <a:pt x="57" y="76"/>
                  </a:lnTo>
                  <a:lnTo>
                    <a:pt x="50" y="100"/>
                  </a:lnTo>
                  <a:lnTo>
                    <a:pt x="50" y="117"/>
                  </a:lnTo>
                  <a:lnTo>
                    <a:pt x="44" y="126"/>
                  </a:lnTo>
                  <a:lnTo>
                    <a:pt x="32" y="123"/>
                  </a:lnTo>
                  <a:lnTo>
                    <a:pt x="44" y="144"/>
                  </a:lnTo>
                  <a:lnTo>
                    <a:pt x="35" y="157"/>
                  </a:lnTo>
                  <a:lnTo>
                    <a:pt x="42" y="166"/>
                  </a:lnTo>
                  <a:lnTo>
                    <a:pt x="26" y="181"/>
                  </a:lnTo>
                  <a:lnTo>
                    <a:pt x="30" y="193"/>
                  </a:ln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3" name="Freeform 146">
              <a:extLst>
                <a:ext uri="{FF2B5EF4-FFF2-40B4-BE49-F238E27FC236}">
                  <a16:creationId xmlns:a16="http://schemas.microsoft.com/office/drawing/2014/main" id="{B0024C10-1FB9-9541-8B42-6A4A38878BE4}"/>
                </a:ext>
              </a:extLst>
            </p:cNvPr>
            <p:cNvSpPr>
              <a:spLocks/>
            </p:cNvSpPr>
            <p:nvPr/>
          </p:nvSpPr>
          <p:spPr bwMode="auto">
            <a:xfrm>
              <a:off x="2872" y="1842"/>
              <a:ext cx="193" cy="166"/>
            </a:xfrm>
            <a:custGeom>
              <a:avLst/>
              <a:gdLst>
                <a:gd name="T0" fmla="*/ 55 w 292"/>
                <a:gd name="T1" fmla="*/ 227 h 251"/>
                <a:gd name="T2" fmla="*/ 87 w 292"/>
                <a:gd name="T3" fmla="*/ 243 h 251"/>
                <a:gd name="T4" fmla="*/ 109 w 292"/>
                <a:gd name="T5" fmla="*/ 243 h 251"/>
                <a:gd name="T6" fmla="*/ 144 w 292"/>
                <a:gd name="T7" fmla="*/ 251 h 251"/>
                <a:gd name="T8" fmla="*/ 172 w 292"/>
                <a:gd name="T9" fmla="*/ 249 h 251"/>
                <a:gd name="T10" fmla="*/ 169 w 292"/>
                <a:gd name="T11" fmla="*/ 234 h 251"/>
                <a:gd name="T12" fmla="*/ 190 w 292"/>
                <a:gd name="T13" fmla="*/ 219 h 251"/>
                <a:gd name="T14" fmla="*/ 213 w 292"/>
                <a:gd name="T15" fmla="*/ 224 h 251"/>
                <a:gd name="T16" fmla="*/ 225 w 292"/>
                <a:gd name="T17" fmla="*/ 228 h 251"/>
                <a:gd name="T18" fmla="*/ 247 w 292"/>
                <a:gd name="T19" fmla="*/ 233 h 251"/>
                <a:gd name="T20" fmla="*/ 274 w 292"/>
                <a:gd name="T21" fmla="*/ 215 h 251"/>
                <a:gd name="T22" fmla="*/ 268 w 292"/>
                <a:gd name="T23" fmla="*/ 201 h 251"/>
                <a:gd name="T24" fmla="*/ 256 w 292"/>
                <a:gd name="T25" fmla="*/ 194 h 251"/>
                <a:gd name="T26" fmla="*/ 264 w 292"/>
                <a:gd name="T27" fmla="*/ 183 h 251"/>
                <a:gd name="T28" fmla="*/ 253 w 292"/>
                <a:gd name="T29" fmla="*/ 177 h 251"/>
                <a:gd name="T30" fmla="*/ 265 w 292"/>
                <a:gd name="T31" fmla="*/ 167 h 251"/>
                <a:gd name="T32" fmla="*/ 261 w 292"/>
                <a:gd name="T33" fmla="*/ 156 h 251"/>
                <a:gd name="T34" fmla="*/ 258 w 292"/>
                <a:gd name="T35" fmla="*/ 135 h 251"/>
                <a:gd name="T36" fmla="*/ 238 w 292"/>
                <a:gd name="T37" fmla="*/ 144 h 251"/>
                <a:gd name="T38" fmla="*/ 243 w 292"/>
                <a:gd name="T39" fmla="*/ 128 h 251"/>
                <a:gd name="T40" fmla="*/ 267 w 292"/>
                <a:gd name="T41" fmla="*/ 102 h 251"/>
                <a:gd name="T42" fmla="*/ 280 w 292"/>
                <a:gd name="T43" fmla="*/ 104 h 251"/>
                <a:gd name="T44" fmla="*/ 280 w 292"/>
                <a:gd name="T45" fmla="*/ 86 h 251"/>
                <a:gd name="T46" fmla="*/ 292 w 292"/>
                <a:gd name="T47" fmla="*/ 63 h 251"/>
                <a:gd name="T48" fmla="*/ 258 w 292"/>
                <a:gd name="T49" fmla="*/ 59 h 251"/>
                <a:gd name="T50" fmla="*/ 243 w 292"/>
                <a:gd name="T51" fmla="*/ 51 h 251"/>
                <a:gd name="T52" fmla="*/ 211 w 292"/>
                <a:gd name="T53" fmla="*/ 39 h 251"/>
                <a:gd name="T54" fmla="*/ 187 w 292"/>
                <a:gd name="T55" fmla="*/ 24 h 251"/>
                <a:gd name="T56" fmla="*/ 160 w 292"/>
                <a:gd name="T57" fmla="*/ 0 h 251"/>
                <a:gd name="T58" fmla="*/ 145 w 292"/>
                <a:gd name="T59" fmla="*/ 12 h 251"/>
                <a:gd name="T60" fmla="*/ 141 w 292"/>
                <a:gd name="T61" fmla="*/ 33 h 251"/>
                <a:gd name="T62" fmla="*/ 106 w 292"/>
                <a:gd name="T63" fmla="*/ 44 h 251"/>
                <a:gd name="T64" fmla="*/ 109 w 292"/>
                <a:gd name="T65" fmla="*/ 54 h 251"/>
                <a:gd name="T66" fmla="*/ 81 w 292"/>
                <a:gd name="T67" fmla="*/ 51 h 251"/>
                <a:gd name="T68" fmla="*/ 76 w 292"/>
                <a:gd name="T69" fmla="*/ 38 h 251"/>
                <a:gd name="T70" fmla="*/ 58 w 292"/>
                <a:gd name="T71" fmla="*/ 38 h 251"/>
                <a:gd name="T72" fmla="*/ 70 w 292"/>
                <a:gd name="T73" fmla="*/ 72 h 251"/>
                <a:gd name="T74" fmla="*/ 43 w 292"/>
                <a:gd name="T75" fmla="*/ 75 h 251"/>
                <a:gd name="T76" fmla="*/ 33 w 292"/>
                <a:gd name="T77" fmla="*/ 60 h 251"/>
                <a:gd name="T78" fmla="*/ 27 w 292"/>
                <a:gd name="T79" fmla="*/ 71 h 251"/>
                <a:gd name="T80" fmla="*/ 0 w 292"/>
                <a:gd name="T81" fmla="*/ 71 h 251"/>
                <a:gd name="T82" fmla="*/ 0 w 292"/>
                <a:gd name="T83" fmla="*/ 93 h 251"/>
                <a:gd name="T84" fmla="*/ 19 w 292"/>
                <a:gd name="T85" fmla="*/ 98 h 251"/>
                <a:gd name="T86" fmla="*/ 48 w 292"/>
                <a:gd name="T87" fmla="*/ 107 h 251"/>
                <a:gd name="T88" fmla="*/ 54 w 292"/>
                <a:gd name="T89" fmla="*/ 123 h 251"/>
                <a:gd name="T90" fmla="*/ 66 w 292"/>
                <a:gd name="T91" fmla="*/ 138 h 251"/>
                <a:gd name="T92" fmla="*/ 79 w 292"/>
                <a:gd name="T93" fmla="*/ 143 h 251"/>
                <a:gd name="T94" fmla="*/ 73 w 292"/>
                <a:gd name="T95" fmla="*/ 155 h 251"/>
                <a:gd name="T96" fmla="*/ 85 w 292"/>
                <a:gd name="T97" fmla="*/ 177 h 251"/>
                <a:gd name="T98" fmla="*/ 70 w 292"/>
                <a:gd name="T99" fmla="*/ 168 h 251"/>
                <a:gd name="T100" fmla="*/ 69 w 292"/>
                <a:gd name="T101" fmla="*/ 203 h 251"/>
                <a:gd name="T102" fmla="*/ 63 w 292"/>
                <a:gd name="T103" fmla="*/ 218 h 251"/>
                <a:gd name="T104" fmla="*/ 55 w 292"/>
                <a:gd name="T105" fmla="*/ 22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51">
                  <a:moveTo>
                    <a:pt x="55" y="227"/>
                  </a:moveTo>
                  <a:lnTo>
                    <a:pt x="87" y="243"/>
                  </a:lnTo>
                  <a:lnTo>
                    <a:pt x="109" y="243"/>
                  </a:lnTo>
                  <a:lnTo>
                    <a:pt x="144" y="251"/>
                  </a:lnTo>
                  <a:lnTo>
                    <a:pt x="172" y="249"/>
                  </a:lnTo>
                  <a:lnTo>
                    <a:pt x="169" y="234"/>
                  </a:lnTo>
                  <a:lnTo>
                    <a:pt x="190" y="219"/>
                  </a:lnTo>
                  <a:lnTo>
                    <a:pt x="213" y="224"/>
                  </a:lnTo>
                  <a:lnTo>
                    <a:pt x="225" y="228"/>
                  </a:lnTo>
                  <a:lnTo>
                    <a:pt x="247" y="233"/>
                  </a:lnTo>
                  <a:lnTo>
                    <a:pt x="274" y="215"/>
                  </a:lnTo>
                  <a:lnTo>
                    <a:pt x="268" y="201"/>
                  </a:lnTo>
                  <a:lnTo>
                    <a:pt x="256" y="194"/>
                  </a:lnTo>
                  <a:lnTo>
                    <a:pt x="264" y="183"/>
                  </a:lnTo>
                  <a:lnTo>
                    <a:pt x="253" y="177"/>
                  </a:lnTo>
                  <a:lnTo>
                    <a:pt x="265" y="167"/>
                  </a:lnTo>
                  <a:lnTo>
                    <a:pt x="261" y="156"/>
                  </a:lnTo>
                  <a:lnTo>
                    <a:pt x="258" y="135"/>
                  </a:lnTo>
                  <a:lnTo>
                    <a:pt x="238" y="144"/>
                  </a:lnTo>
                  <a:lnTo>
                    <a:pt x="243" y="128"/>
                  </a:lnTo>
                  <a:lnTo>
                    <a:pt x="267" y="102"/>
                  </a:lnTo>
                  <a:lnTo>
                    <a:pt x="280" y="104"/>
                  </a:lnTo>
                  <a:lnTo>
                    <a:pt x="280" y="86"/>
                  </a:lnTo>
                  <a:lnTo>
                    <a:pt x="292" y="63"/>
                  </a:lnTo>
                  <a:lnTo>
                    <a:pt x="258" y="59"/>
                  </a:lnTo>
                  <a:lnTo>
                    <a:pt x="243" y="51"/>
                  </a:lnTo>
                  <a:lnTo>
                    <a:pt x="211" y="39"/>
                  </a:lnTo>
                  <a:lnTo>
                    <a:pt x="187" y="24"/>
                  </a:lnTo>
                  <a:lnTo>
                    <a:pt x="160" y="0"/>
                  </a:lnTo>
                  <a:lnTo>
                    <a:pt x="145" y="12"/>
                  </a:lnTo>
                  <a:lnTo>
                    <a:pt x="141" y="33"/>
                  </a:lnTo>
                  <a:lnTo>
                    <a:pt x="106" y="44"/>
                  </a:lnTo>
                  <a:lnTo>
                    <a:pt x="109" y="54"/>
                  </a:lnTo>
                  <a:lnTo>
                    <a:pt x="81" y="51"/>
                  </a:lnTo>
                  <a:lnTo>
                    <a:pt x="76" y="38"/>
                  </a:lnTo>
                  <a:lnTo>
                    <a:pt x="58" y="38"/>
                  </a:lnTo>
                  <a:lnTo>
                    <a:pt x="70" y="72"/>
                  </a:lnTo>
                  <a:lnTo>
                    <a:pt x="43" y="75"/>
                  </a:lnTo>
                  <a:lnTo>
                    <a:pt x="33" y="60"/>
                  </a:lnTo>
                  <a:lnTo>
                    <a:pt x="27" y="71"/>
                  </a:lnTo>
                  <a:lnTo>
                    <a:pt x="0" y="71"/>
                  </a:lnTo>
                  <a:lnTo>
                    <a:pt x="0" y="93"/>
                  </a:lnTo>
                  <a:lnTo>
                    <a:pt x="19" y="98"/>
                  </a:lnTo>
                  <a:lnTo>
                    <a:pt x="48" y="107"/>
                  </a:lnTo>
                  <a:lnTo>
                    <a:pt x="54" y="123"/>
                  </a:lnTo>
                  <a:lnTo>
                    <a:pt x="66" y="138"/>
                  </a:lnTo>
                  <a:lnTo>
                    <a:pt x="79" y="143"/>
                  </a:lnTo>
                  <a:lnTo>
                    <a:pt x="73" y="155"/>
                  </a:lnTo>
                  <a:lnTo>
                    <a:pt x="85" y="177"/>
                  </a:lnTo>
                  <a:lnTo>
                    <a:pt x="70" y="168"/>
                  </a:lnTo>
                  <a:lnTo>
                    <a:pt x="69" y="203"/>
                  </a:lnTo>
                  <a:lnTo>
                    <a:pt x="63" y="218"/>
                  </a:lnTo>
                  <a:lnTo>
                    <a:pt x="55" y="227"/>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4" name="Freeform 147">
              <a:extLst>
                <a:ext uri="{FF2B5EF4-FFF2-40B4-BE49-F238E27FC236}">
                  <a16:creationId xmlns:a16="http://schemas.microsoft.com/office/drawing/2014/main" id="{CE703A57-13B5-404E-9B76-BD025B128374}"/>
                </a:ext>
              </a:extLst>
            </p:cNvPr>
            <p:cNvSpPr>
              <a:spLocks/>
            </p:cNvSpPr>
            <p:nvPr/>
          </p:nvSpPr>
          <p:spPr bwMode="auto">
            <a:xfrm>
              <a:off x="2859" y="1701"/>
              <a:ext cx="109" cy="163"/>
            </a:xfrm>
            <a:custGeom>
              <a:avLst/>
              <a:gdLst>
                <a:gd name="T0" fmla="*/ 76 w 164"/>
                <a:gd name="T1" fmla="*/ 0 h 246"/>
                <a:gd name="T2" fmla="*/ 58 w 164"/>
                <a:gd name="T3" fmla="*/ 15 h 246"/>
                <a:gd name="T4" fmla="*/ 47 w 164"/>
                <a:gd name="T5" fmla="*/ 26 h 246"/>
                <a:gd name="T6" fmla="*/ 79 w 164"/>
                <a:gd name="T7" fmla="*/ 27 h 246"/>
                <a:gd name="T8" fmla="*/ 101 w 164"/>
                <a:gd name="T9" fmla="*/ 29 h 246"/>
                <a:gd name="T10" fmla="*/ 89 w 164"/>
                <a:gd name="T11" fmla="*/ 50 h 246"/>
                <a:gd name="T12" fmla="*/ 77 w 164"/>
                <a:gd name="T13" fmla="*/ 60 h 246"/>
                <a:gd name="T14" fmla="*/ 73 w 164"/>
                <a:gd name="T15" fmla="*/ 66 h 246"/>
                <a:gd name="T16" fmla="*/ 62 w 164"/>
                <a:gd name="T17" fmla="*/ 72 h 246"/>
                <a:gd name="T18" fmla="*/ 67 w 164"/>
                <a:gd name="T19" fmla="*/ 78 h 246"/>
                <a:gd name="T20" fmla="*/ 71 w 164"/>
                <a:gd name="T21" fmla="*/ 80 h 246"/>
                <a:gd name="T22" fmla="*/ 88 w 164"/>
                <a:gd name="T23" fmla="*/ 81 h 246"/>
                <a:gd name="T24" fmla="*/ 95 w 164"/>
                <a:gd name="T25" fmla="*/ 89 h 246"/>
                <a:gd name="T26" fmla="*/ 113 w 164"/>
                <a:gd name="T27" fmla="*/ 113 h 246"/>
                <a:gd name="T28" fmla="*/ 130 w 164"/>
                <a:gd name="T29" fmla="*/ 134 h 246"/>
                <a:gd name="T30" fmla="*/ 136 w 164"/>
                <a:gd name="T31" fmla="*/ 149 h 246"/>
                <a:gd name="T32" fmla="*/ 133 w 164"/>
                <a:gd name="T33" fmla="*/ 165 h 246"/>
                <a:gd name="T34" fmla="*/ 151 w 164"/>
                <a:gd name="T35" fmla="*/ 164 h 246"/>
                <a:gd name="T36" fmla="*/ 164 w 164"/>
                <a:gd name="T37" fmla="*/ 176 h 246"/>
                <a:gd name="T38" fmla="*/ 140 w 164"/>
                <a:gd name="T39" fmla="*/ 197 h 246"/>
                <a:gd name="T40" fmla="*/ 158 w 164"/>
                <a:gd name="T41" fmla="*/ 206 h 246"/>
                <a:gd name="T42" fmla="*/ 94 w 164"/>
                <a:gd name="T43" fmla="*/ 221 h 246"/>
                <a:gd name="T44" fmla="*/ 38 w 164"/>
                <a:gd name="T45" fmla="*/ 227 h 246"/>
                <a:gd name="T46" fmla="*/ 10 w 164"/>
                <a:gd name="T47" fmla="*/ 237 h 246"/>
                <a:gd name="T48" fmla="*/ 1 w 164"/>
                <a:gd name="T49" fmla="*/ 243 h 246"/>
                <a:gd name="T50" fmla="*/ 8 w 164"/>
                <a:gd name="T51" fmla="*/ 234 h 246"/>
                <a:gd name="T52" fmla="*/ 40 w 164"/>
                <a:gd name="T53" fmla="*/ 215 h 246"/>
                <a:gd name="T54" fmla="*/ 55 w 164"/>
                <a:gd name="T55" fmla="*/ 209 h 246"/>
                <a:gd name="T56" fmla="*/ 68 w 164"/>
                <a:gd name="T57" fmla="*/ 203 h 246"/>
                <a:gd name="T58" fmla="*/ 59 w 164"/>
                <a:gd name="T59" fmla="*/ 197 h 246"/>
                <a:gd name="T60" fmla="*/ 46 w 164"/>
                <a:gd name="T61" fmla="*/ 203 h 246"/>
                <a:gd name="T62" fmla="*/ 14 w 164"/>
                <a:gd name="T63" fmla="*/ 195 h 246"/>
                <a:gd name="T64" fmla="*/ 25 w 164"/>
                <a:gd name="T65" fmla="*/ 188 h 246"/>
                <a:gd name="T66" fmla="*/ 37 w 164"/>
                <a:gd name="T67" fmla="*/ 171 h 246"/>
                <a:gd name="T68" fmla="*/ 59 w 164"/>
                <a:gd name="T69" fmla="*/ 147 h 246"/>
                <a:gd name="T70" fmla="*/ 61 w 164"/>
                <a:gd name="T71" fmla="*/ 128 h 246"/>
                <a:gd name="T72" fmla="*/ 62 w 164"/>
                <a:gd name="T73" fmla="*/ 111 h 246"/>
                <a:gd name="T74" fmla="*/ 37 w 164"/>
                <a:gd name="T75" fmla="*/ 116 h 246"/>
                <a:gd name="T76" fmla="*/ 28 w 164"/>
                <a:gd name="T77" fmla="*/ 92 h 246"/>
                <a:gd name="T78" fmla="*/ 31 w 164"/>
                <a:gd name="T79" fmla="*/ 78 h 246"/>
                <a:gd name="T80" fmla="*/ 17 w 164"/>
                <a:gd name="T81" fmla="*/ 71 h 246"/>
                <a:gd name="T82" fmla="*/ 11 w 164"/>
                <a:gd name="T83" fmla="*/ 62 h 246"/>
                <a:gd name="T84" fmla="*/ 19 w 164"/>
                <a:gd name="T85" fmla="*/ 44 h 246"/>
                <a:gd name="T86" fmla="*/ 23 w 164"/>
                <a:gd name="T87" fmla="*/ 24 h 246"/>
                <a:gd name="T88" fmla="*/ 46 w 164"/>
                <a:gd name="T89" fmla="*/ 5 h 246"/>
                <a:gd name="T90" fmla="*/ 59 w 164"/>
                <a:gd name="T91" fmla="*/ 0 h 246"/>
                <a:gd name="T92" fmla="*/ 76 w 164"/>
                <a:gd name="T93"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 h="246">
                  <a:moveTo>
                    <a:pt x="76" y="0"/>
                  </a:moveTo>
                  <a:cubicBezTo>
                    <a:pt x="72" y="11"/>
                    <a:pt x="69" y="13"/>
                    <a:pt x="58" y="15"/>
                  </a:cubicBezTo>
                  <a:cubicBezTo>
                    <a:pt x="52" y="18"/>
                    <a:pt x="50" y="20"/>
                    <a:pt x="47" y="26"/>
                  </a:cubicBezTo>
                  <a:cubicBezTo>
                    <a:pt x="52" y="35"/>
                    <a:pt x="70" y="28"/>
                    <a:pt x="79" y="27"/>
                  </a:cubicBezTo>
                  <a:cubicBezTo>
                    <a:pt x="86" y="28"/>
                    <a:pt x="94" y="27"/>
                    <a:pt x="101" y="29"/>
                  </a:cubicBezTo>
                  <a:cubicBezTo>
                    <a:pt x="112" y="33"/>
                    <a:pt x="91" y="49"/>
                    <a:pt x="89" y="50"/>
                  </a:cubicBezTo>
                  <a:cubicBezTo>
                    <a:pt x="81" y="60"/>
                    <a:pt x="86" y="58"/>
                    <a:pt x="77" y="60"/>
                  </a:cubicBezTo>
                  <a:cubicBezTo>
                    <a:pt x="67" y="65"/>
                    <a:pt x="55" y="62"/>
                    <a:pt x="73" y="66"/>
                  </a:cubicBezTo>
                  <a:cubicBezTo>
                    <a:pt x="82" y="73"/>
                    <a:pt x="67" y="72"/>
                    <a:pt x="62" y="72"/>
                  </a:cubicBezTo>
                  <a:cubicBezTo>
                    <a:pt x="54" y="76"/>
                    <a:pt x="63" y="77"/>
                    <a:pt x="67" y="78"/>
                  </a:cubicBezTo>
                  <a:cubicBezTo>
                    <a:pt x="68" y="79"/>
                    <a:pt x="70" y="80"/>
                    <a:pt x="71" y="80"/>
                  </a:cubicBezTo>
                  <a:cubicBezTo>
                    <a:pt x="77" y="81"/>
                    <a:pt x="83" y="79"/>
                    <a:pt x="88" y="81"/>
                  </a:cubicBezTo>
                  <a:cubicBezTo>
                    <a:pt x="91" y="82"/>
                    <a:pt x="92" y="87"/>
                    <a:pt x="95" y="89"/>
                  </a:cubicBezTo>
                  <a:cubicBezTo>
                    <a:pt x="100" y="100"/>
                    <a:pt x="101" y="107"/>
                    <a:pt x="113" y="113"/>
                  </a:cubicBezTo>
                  <a:cubicBezTo>
                    <a:pt x="119" y="121"/>
                    <a:pt x="125" y="124"/>
                    <a:pt x="130" y="134"/>
                  </a:cubicBezTo>
                  <a:cubicBezTo>
                    <a:pt x="131" y="140"/>
                    <a:pt x="134" y="143"/>
                    <a:pt x="136" y="149"/>
                  </a:cubicBezTo>
                  <a:cubicBezTo>
                    <a:pt x="137" y="156"/>
                    <a:pt x="137" y="159"/>
                    <a:pt x="133" y="165"/>
                  </a:cubicBezTo>
                  <a:cubicBezTo>
                    <a:pt x="135" y="173"/>
                    <a:pt x="143" y="165"/>
                    <a:pt x="151" y="164"/>
                  </a:cubicBezTo>
                  <a:cubicBezTo>
                    <a:pt x="163" y="165"/>
                    <a:pt x="162" y="165"/>
                    <a:pt x="164" y="176"/>
                  </a:cubicBezTo>
                  <a:cubicBezTo>
                    <a:pt x="162" y="187"/>
                    <a:pt x="149" y="192"/>
                    <a:pt x="140" y="197"/>
                  </a:cubicBezTo>
                  <a:cubicBezTo>
                    <a:pt x="133" y="207"/>
                    <a:pt x="152" y="205"/>
                    <a:pt x="158" y="206"/>
                  </a:cubicBezTo>
                  <a:cubicBezTo>
                    <a:pt x="140" y="224"/>
                    <a:pt x="119" y="220"/>
                    <a:pt x="94" y="221"/>
                  </a:cubicBezTo>
                  <a:cubicBezTo>
                    <a:pt x="78" y="230"/>
                    <a:pt x="52" y="226"/>
                    <a:pt x="38" y="227"/>
                  </a:cubicBezTo>
                  <a:cubicBezTo>
                    <a:pt x="36" y="237"/>
                    <a:pt x="10" y="237"/>
                    <a:pt x="10" y="237"/>
                  </a:cubicBezTo>
                  <a:cubicBezTo>
                    <a:pt x="7" y="239"/>
                    <a:pt x="2" y="246"/>
                    <a:pt x="1" y="243"/>
                  </a:cubicBezTo>
                  <a:cubicBezTo>
                    <a:pt x="0" y="239"/>
                    <a:pt x="6" y="235"/>
                    <a:pt x="8" y="234"/>
                  </a:cubicBezTo>
                  <a:cubicBezTo>
                    <a:pt x="18" y="228"/>
                    <a:pt x="29" y="217"/>
                    <a:pt x="40" y="215"/>
                  </a:cubicBezTo>
                  <a:cubicBezTo>
                    <a:pt x="45" y="211"/>
                    <a:pt x="49" y="210"/>
                    <a:pt x="55" y="209"/>
                  </a:cubicBezTo>
                  <a:cubicBezTo>
                    <a:pt x="60" y="207"/>
                    <a:pt x="64" y="206"/>
                    <a:pt x="68" y="203"/>
                  </a:cubicBezTo>
                  <a:cubicBezTo>
                    <a:pt x="71" y="194"/>
                    <a:pt x="66" y="195"/>
                    <a:pt x="59" y="197"/>
                  </a:cubicBezTo>
                  <a:cubicBezTo>
                    <a:pt x="55" y="200"/>
                    <a:pt x="51" y="201"/>
                    <a:pt x="46" y="203"/>
                  </a:cubicBezTo>
                  <a:cubicBezTo>
                    <a:pt x="33" y="198"/>
                    <a:pt x="30" y="197"/>
                    <a:pt x="14" y="195"/>
                  </a:cubicBezTo>
                  <a:cubicBezTo>
                    <a:pt x="17" y="189"/>
                    <a:pt x="19" y="189"/>
                    <a:pt x="25" y="188"/>
                  </a:cubicBezTo>
                  <a:cubicBezTo>
                    <a:pt x="29" y="181"/>
                    <a:pt x="34" y="178"/>
                    <a:pt x="37" y="171"/>
                  </a:cubicBezTo>
                  <a:cubicBezTo>
                    <a:pt x="38" y="152"/>
                    <a:pt x="42" y="152"/>
                    <a:pt x="59" y="147"/>
                  </a:cubicBezTo>
                  <a:cubicBezTo>
                    <a:pt x="67" y="142"/>
                    <a:pt x="76" y="130"/>
                    <a:pt x="61" y="128"/>
                  </a:cubicBezTo>
                  <a:cubicBezTo>
                    <a:pt x="55" y="122"/>
                    <a:pt x="54" y="117"/>
                    <a:pt x="62" y="111"/>
                  </a:cubicBezTo>
                  <a:cubicBezTo>
                    <a:pt x="55" y="101"/>
                    <a:pt x="45" y="112"/>
                    <a:pt x="37" y="116"/>
                  </a:cubicBezTo>
                  <a:cubicBezTo>
                    <a:pt x="23" y="113"/>
                    <a:pt x="21" y="106"/>
                    <a:pt x="28" y="92"/>
                  </a:cubicBezTo>
                  <a:cubicBezTo>
                    <a:pt x="29" y="86"/>
                    <a:pt x="32" y="85"/>
                    <a:pt x="31" y="78"/>
                  </a:cubicBezTo>
                  <a:cubicBezTo>
                    <a:pt x="23" y="79"/>
                    <a:pt x="0" y="84"/>
                    <a:pt x="17" y="71"/>
                  </a:cubicBezTo>
                  <a:cubicBezTo>
                    <a:pt x="23" y="61"/>
                    <a:pt x="34" y="64"/>
                    <a:pt x="11" y="62"/>
                  </a:cubicBezTo>
                  <a:cubicBezTo>
                    <a:pt x="10" y="55"/>
                    <a:pt x="16" y="51"/>
                    <a:pt x="19" y="44"/>
                  </a:cubicBezTo>
                  <a:cubicBezTo>
                    <a:pt x="17" y="33"/>
                    <a:pt x="14" y="29"/>
                    <a:pt x="23" y="24"/>
                  </a:cubicBezTo>
                  <a:cubicBezTo>
                    <a:pt x="31" y="15"/>
                    <a:pt x="34" y="7"/>
                    <a:pt x="46" y="5"/>
                  </a:cubicBezTo>
                  <a:cubicBezTo>
                    <a:pt x="50" y="3"/>
                    <a:pt x="55" y="2"/>
                    <a:pt x="59" y="0"/>
                  </a:cubicBezTo>
                  <a:cubicBezTo>
                    <a:pt x="75" y="2"/>
                    <a:pt x="70" y="6"/>
                    <a:pt x="76"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5" name="Freeform 148">
              <a:extLst>
                <a:ext uri="{FF2B5EF4-FFF2-40B4-BE49-F238E27FC236}">
                  <a16:creationId xmlns:a16="http://schemas.microsoft.com/office/drawing/2014/main" id="{5C02F38E-DC1A-C24C-80E3-489EF64C5EE8}"/>
                </a:ext>
              </a:extLst>
            </p:cNvPr>
            <p:cNvSpPr>
              <a:spLocks/>
            </p:cNvSpPr>
            <p:nvPr/>
          </p:nvSpPr>
          <p:spPr bwMode="auto">
            <a:xfrm>
              <a:off x="2824" y="1764"/>
              <a:ext cx="42" cy="27"/>
            </a:xfrm>
            <a:custGeom>
              <a:avLst/>
              <a:gdLst>
                <a:gd name="T0" fmla="*/ 54 w 64"/>
                <a:gd name="T1" fmla="*/ 2 h 41"/>
                <a:gd name="T2" fmla="*/ 64 w 64"/>
                <a:gd name="T3" fmla="*/ 22 h 41"/>
                <a:gd name="T4" fmla="*/ 55 w 64"/>
                <a:gd name="T5" fmla="*/ 35 h 41"/>
                <a:gd name="T6" fmla="*/ 42 w 64"/>
                <a:gd name="T7" fmla="*/ 37 h 41"/>
                <a:gd name="T8" fmla="*/ 31 w 64"/>
                <a:gd name="T9" fmla="*/ 29 h 41"/>
                <a:gd name="T10" fmla="*/ 16 w 64"/>
                <a:gd name="T11" fmla="*/ 35 h 41"/>
                <a:gd name="T12" fmla="*/ 39 w 64"/>
                <a:gd name="T13" fmla="*/ 4 h 41"/>
                <a:gd name="T14" fmla="*/ 54 w 64"/>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1">
                  <a:moveTo>
                    <a:pt x="54" y="2"/>
                  </a:moveTo>
                  <a:cubicBezTo>
                    <a:pt x="62" y="6"/>
                    <a:pt x="59" y="14"/>
                    <a:pt x="64" y="22"/>
                  </a:cubicBezTo>
                  <a:cubicBezTo>
                    <a:pt x="63" y="30"/>
                    <a:pt x="63" y="33"/>
                    <a:pt x="55" y="35"/>
                  </a:cubicBezTo>
                  <a:cubicBezTo>
                    <a:pt x="50" y="39"/>
                    <a:pt x="48" y="41"/>
                    <a:pt x="42" y="37"/>
                  </a:cubicBezTo>
                  <a:cubicBezTo>
                    <a:pt x="38" y="30"/>
                    <a:pt x="39" y="28"/>
                    <a:pt x="31" y="29"/>
                  </a:cubicBezTo>
                  <a:cubicBezTo>
                    <a:pt x="26" y="37"/>
                    <a:pt x="26" y="37"/>
                    <a:pt x="16" y="35"/>
                  </a:cubicBezTo>
                  <a:cubicBezTo>
                    <a:pt x="0" y="23"/>
                    <a:pt x="27" y="6"/>
                    <a:pt x="39" y="4"/>
                  </a:cubicBezTo>
                  <a:cubicBezTo>
                    <a:pt x="46" y="0"/>
                    <a:pt x="42" y="2"/>
                    <a:pt x="54" y="2"/>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6" name="Freeform 149">
              <a:extLst>
                <a:ext uri="{FF2B5EF4-FFF2-40B4-BE49-F238E27FC236}">
                  <a16:creationId xmlns:a16="http://schemas.microsoft.com/office/drawing/2014/main" id="{45760172-8B5A-844F-A9D9-EB7053E0F51D}"/>
                </a:ext>
              </a:extLst>
            </p:cNvPr>
            <p:cNvSpPr>
              <a:spLocks/>
            </p:cNvSpPr>
            <p:nvPr/>
          </p:nvSpPr>
          <p:spPr bwMode="auto">
            <a:xfrm>
              <a:off x="2787" y="1760"/>
              <a:ext cx="71" cy="77"/>
            </a:xfrm>
            <a:custGeom>
              <a:avLst/>
              <a:gdLst>
                <a:gd name="T0" fmla="*/ 86 w 107"/>
                <a:gd name="T1" fmla="*/ 10 h 115"/>
                <a:gd name="T2" fmla="*/ 55 w 107"/>
                <a:gd name="T3" fmla="*/ 9 h 115"/>
                <a:gd name="T4" fmla="*/ 47 w 107"/>
                <a:gd name="T5" fmla="*/ 22 h 115"/>
                <a:gd name="T6" fmla="*/ 41 w 107"/>
                <a:gd name="T7" fmla="*/ 37 h 115"/>
                <a:gd name="T8" fmla="*/ 19 w 107"/>
                <a:gd name="T9" fmla="*/ 36 h 115"/>
                <a:gd name="T10" fmla="*/ 28 w 107"/>
                <a:gd name="T11" fmla="*/ 55 h 115"/>
                <a:gd name="T12" fmla="*/ 23 w 107"/>
                <a:gd name="T13" fmla="*/ 76 h 115"/>
                <a:gd name="T14" fmla="*/ 2 w 107"/>
                <a:gd name="T15" fmla="*/ 93 h 115"/>
                <a:gd name="T16" fmla="*/ 1 w 107"/>
                <a:gd name="T17" fmla="*/ 99 h 115"/>
                <a:gd name="T18" fmla="*/ 7 w 107"/>
                <a:gd name="T19" fmla="*/ 100 h 115"/>
                <a:gd name="T20" fmla="*/ 8 w 107"/>
                <a:gd name="T21" fmla="*/ 105 h 115"/>
                <a:gd name="T22" fmla="*/ 22 w 107"/>
                <a:gd name="T23" fmla="*/ 112 h 115"/>
                <a:gd name="T24" fmla="*/ 37 w 107"/>
                <a:gd name="T25" fmla="*/ 111 h 115"/>
                <a:gd name="T26" fmla="*/ 61 w 107"/>
                <a:gd name="T27" fmla="*/ 99 h 115"/>
                <a:gd name="T28" fmla="*/ 85 w 107"/>
                <a:gd name="T29" fmla="*/ 93 h 115"/>
                <a:gd name="T30" fmla="*/ 98 w 107"/>
                <a:gd name="T31" fmla="*/ 87 h 115"/>
                <a:gd name="T32" fmla="*/ 106 w 107"/>
                <a:gd name="T33" fmla="*/ 64 h 115"/>
                <a:gd name="T34" fmla="*/ 98 w 107"/>
                <a:gd name="T35" fmla="*/ 45 h 115"/>
                <a:gd name="T36" fmla="*/ 83 w 107"/>
                <a:gd name="T37" fmla="*/ 37 h 115"/>
                <a:gd name="T38" fmla="*/ 76 w 107"/>
                <a:gd name="T39" fmla="*/ 21 h 115"/>
                <a:gd name="T40" fmla="*/ 86 w 107"/>
                <a:gd name="T41" fmla="*/ 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15">
                  <a:moveTo>
                    <a:pt x="86" y="10"/>
                  </a:moveTo>
                  <a:cubicBezTo>
                    <a:pt x="79" y="0"/>
                    <a:pt x="65" y="4"/>
                    <a:pt x="55" y="9"/>
                  </a:cubicBezTo>
                  <a:cubicBezTo>
                    <a:pt x="52" y="13"/>
                    <a:pt x="49" y="17"/>
                    <a:pt x="47" y="22"/>
                  </a:cubicBezTo>
                  <a:cubicBezTo>
                    <a:pt x="62" y="28"/>
                    <a:pt x="52" y="35"/>
                    <a:pt x="41" y="37"/>
                  </a:cubicBezTo>
                  <a:cubicBezTo>
                    <a:pt x="30" y="35"/>
                    <a:pt x="32" y="34"/>
                    <a:pt x="19" y="36"/>
                  </a:cubicBezTo>
                  <a:cubicBezTo>
                    <a:pt x="5" y="45"/>
                    <a:pt x="16" y="53"/>
                    <a:pt x="28" y="55"/>
                  </a:cubicBezTo>
                  <a:cubicBezTo>
                    <a:pt x="32" y="62"/>
                    <a:pt x="32" y="74"/>
                    <a:pt x="23" y="76"/>
                  </a:cubicBezTo>
                  <a:cubicBezTo>
                    <a:pt x="18" y="84"/>
                    <a:pt x="10" y="88"/>
                    <a:pt x="2" y="93"/>
                  </a:cubicBezTo>
                  <a:cubicBezTo>
                    <a:pt x="2" y="95"/>
                    <a:pt x="0" y="97"/>
                    <a:pt x="1" y="99"/>
                  </a:cubicBezTo>
                  <a:cubicBezTo>
                    <a:pt x="2" y="101"/>
                    <a:pt x="5" y="99"/>
                    <a:pt x="7" y="100"/>
                  </a:cubicBezTo>
                  <a:cubicBezTo>
                    <a:pt x="8" y="101"/>
                    <a:pt x="7" y="104"/>
                    <a:pt x="8" y="105"/>
                  </a:cubicBezTo>
                  <a:cubicBezTo>
                    <a:pt x="11" y="109"/>
                    <a:pt x="18" y="111"/>
                    <a:pt x="22" y="112"/>
                  </a:cubicBezTo>
                  <a:cubicBezTo>
                    <a:pt x="28" y="115"/>
                    <a:pt x="31" y="112"/>
                    <a:pt x="37" y="111"/>
                  </a:cubicBezTo>
                  <a:cubicBezTo>
                    <a:pt x="45" y="105"/>
                    <a:pt x="51" y="101"/>
                    <a:pt x="61" y="99"/>
                  </a:cubicBezTo>
                  <a:cubicBezTo>
                    <a:pt x="69" y="95"/>
                    <a:pt x="76" y="94"/>
                    <a:pt x="85" y="93"/>
                  </a:cubicBezTo>
                  <a:cubicBezTo>
                    <a:pt x="90" y="91"/>
                    <a:pt x="94" y="90"/>
                    <a:pt x="98" y="87"/>
                  </a:cubicBezTo>
                  <a:cubicBezTo>
                    <a:pt x="100" y="78"/>
                    <a:pt x="103" y="72"/>
                    <a:pt x="106" y="64"/>
                  </a:cubicBezTo>
                  <a:cubicBezTo>
                    <a:pt x="107" y="57"/>
                    <a:pt x="105" y="46"/>
                    <a:pt x="98" y="45"/>
                  </a:cubicBezTo>
                  <a:cubicBezTo>
                    <a:pt x="93" y="36"/>
                    <a:pt x="94" y="36"/>
                    <a:pt x="83" y="37"/>
                  </a:cubicBezTo>
                  <a:cubicBezTo>
                    <a:pt x="66" y="45"/>
                    <a:pt x="60" y="24"/>
                    <a:pt x="76" y="21"/>
                  </a:cubicBezTo>
                  <a:cubicBezTo>
                    <a:pt x="78" y="20"/>
                    <a:pt x="93" y="10"/>
                    <a:pt x="86" y="1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7" name="Freeform 150">
              <a:extLst>
                <a:ext uri="{FF2B5EF4-FFF2-40B4-BE49-F238E27FC236}">
                  <a16:creationId xmlns:a16="http://schemas.microsoft.com/office/drawing/2014/main" id="{D5BB83BD-1D20-C843-92B8-50595C83F77A}"/>
                </a:ext>
              </a:extLst>
            </p:cNvPr>
            <p:cNvSpPr>
              <a:spLocks/>
            </p:cNvSpPr>
            <p:nvPr/>
          </p:nvSpPr>
          <p:spPr bwMode="auto">
            <a:xfrm>
              <a:off x="2642" y="1564"/>
              <a:ext cx="140" cy="57"/>
            </a:xfrm>
            <a:custGeom>
              <a:avLst/>
              <a:gdLst>
                <a:gd name="T0" fmla="*/ 194 w 211"/>
                <a:gd name="T1" fmla="*/ 15 h 85"/>
                <a:gd name="T2" fmla="*/ 211 w 211"/>
                <a:gd name="T3" fmla="*/ 29 h 85"/>
                <a:gd name="T4" fmla="*/ 173 w 211"/>
                <a:gd name="T5" fmla="*/ 60 h 85"/>
                <a:gd name="T6" fmla="*/ 149 w 211"/>
                <a:gd name="T7" fmla="*/ 69 h 85"/>
                <a:gd name="T8" fmla="*/ 119 w 211"/>
                <a:gd name="T9" fmla="*/ 78 h 85"/>
                <a:gd name="T10" fmla="*/ 74 w 211"/>
                <a:gd name="T11" fmla="*/ 77 h 85"/>
                <a:gd name="T12" fmla="*/ 58 w 211"/>
                <a:gd name="T13" fmla="*/ 63 h 85"/>
                <a:gd name="T14" fmla="*/ 22 w 211"/>
                <a:gd name="T15" fmla="*/ 62 h 85"/>
                <a:gd name="T16" fmla="*/ 40 w 211"/>
                <a:gd name="T17" fmla="*/ 57 h 85"/>
                <a:gd name="T18" fmla="*/ 7 w 211"/>
                <a:gd name="T19" fmla="*/ 45 h 85"/>
                <a:gd name="T20" fmla="*/ 2 w 211"/>
                <a:gd name="T21" fmla="*/ 44 h 85"/>
                <a:gd name="T22" fmla="*/ 4 w 211"/>
                <a:gd name="T23" fmla="*/ 39 h 85"/>
                <a:gd name="T24" fmla="*/ 23 w 211"/>
                <a:gd name="T25" fmla="*/ 36 h 85"/>
                <a:gd name="T26" fmla="*/ 29 w 211"/>
                <a:gd name="T27" fmla="*/ 35 h 85"/>
                <a:gd name="T28" fmla="*/ 38 w 211"/>
                <a:gd name="T29" fmla="*/ 24 h 85"/>
                <a:gd name="T30" fmla="*/ 8 w 211"/>
                <a:gd name="T31" fmla="*/ 30 h 85"/>
                <a:gd name="T32" fmla="*/ 20 w 211"/>
                <a:gd name="T33" fmla="*/ 9 h 85"/>
                <a:gd name="T34" fmla="*/ 37 w 211"/>
                <a:gd name="T35" fmla="*/ 0 h 85"/>
                <a:gd name="T36" fmla="*/ 56 w 211"/>
                <a:gd name="T37" fmla="*/ 6 h 85"/>
                <a:gd name="T38" fmla="*/ 56 w 211"/>
                <a:gd name="T39" fmla="*/ 23 h 85"/>
                <a:gd name="T40" fmla="*/ 61 w 211"/>
                <a:gd name="T41" fmla="*/ 33 h 85"/>
                <a:gd name="T42" fmla="*/ 64 w 211"/>
                <a:gd name="T43" fmla="*/ 29 h 85"/>
                <a:gd name="T44" fmla="*/ 82 w 211"/>
                <a:gd name="T45" fmla="*/ 24 h 85"/>
                <a:gd name="T46" fmla="*/ 85 w 211"/>
                <a:gd name="T47" fmla="*/ 11 h 85"/>
                <a:gd name="T48" fmla="*/ 97 w 211"/>
                <a:gd name="T49" fmla="*/ 23 h 85"/>
                <a:gd name="T50" fmla="*/ 115 w 211"/>
                <a:gd name="T51" fmla="*/ 14 h 85"/>
                <a:gd name="T52" fmla="*/ 130 w 211"/>
                <a:gd name="T53" fmla="*/ 18 h 85"/>
                <a:gd name="T54" fmla="*/ 167 w 211"/>
                <a:gd name="T55" fmla="*/ 9 h 85"/>
                <a:gd name="T56" fmla="*/ 181 w 211"/>
                <a:gd name="T57" fmla="*/ 5 h 85"/>
                <a:gd name="T58" fmla="*/ 194 w 211"/>
                <a:gd name="T59" fmla="*/ 3 h 85"/>
                <a:gd name="T60" fmla="*/ 194 w 211"/>
                <a:gd name="T61"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1" h="85">
                  <a:moveTo>
                    <a:pt x="194" y="15"/>
                  </a:moveTo>
                  <a:cubicBezTo>
                    <a:pt x="202" y="20"/>
                    <a:pt x="206" y="21"/>
                    <a:pt x="211" y="29"/>
                  </a:cubicBezTo>
                  <a:cubicBezTo>
                    <a:pt x="208" y="47"/>
                    <a:pt x="191" y="57"/>
                    <a:pt x="173" y="60"/>
                  </a:cubicBezTo>
                  <a:cubicBezTo>
                    <a:pt x="165" y="64"/>
                    <a:pt x="159" y="67"/>
                    <a:pt x="149" y="69"/>
                  </a:cubicBezTo>
                  <a:cubicBezTo>
                    <a:pt x="139" y="73"/>
                    <a:pt x="130" y="76"/>
                    <a:pt x="119" y="78"/>
                  </a:cubicBezTo>
                  <a:cubicBezTo>
                    <a:pt x="105" y="85"/>
                    <a:pt x="89" y="80"/>
                    <a:pt x="74" y="77"/>
                  </a:cubicBezTo>
                  <a:cubicBezTo>
                    <a:pt x="68" y="73"/>
                    <a:pt x="64" y="66"/>
                    <a:pt x="58" y="63"/>
                  </a:cubicBezTo>
                  <a:cubicBezTo>
                    <a:pt x="52" y="64"/>
                    <a:pt x="1" y="66"/>
                    <a:pt x="22" y="62"/>
                  </a:cubicBezTo>
                  <a:cubicBezTo>
                    <a:pt x="28" y="59"/>
                    <a:pt x="34" y="59"/>
                    <a:pt x="40" y="57"/>
                  </a:cubicBezTo>
                  <a:cubicBezTo>
                    <a:pt x="36" y="41"/>
                    <a:pt x="26" y="46"/>
                    <a:pt x="7" y="45"/>
                  </a:cubicBezTo>
                  <a:cubicBezTo>
                    <a:pt x="5" y="45"/>
                    <a:pt x="3" y="46"/>
                    <a:pt x="2" y="44"/>
                  </a:cubicBezTo>
                  <a:cubicBezTo>
                    <a:pt x="1" y="42"/>
                    <a:pt x="2" y="40"/>
                    <a:pt x="4" y="39"/>
                  </a:cubicBezTo>
                  <a:cubicBezTo>
                    <a:pt x="10" y="37"/>
                    <a:pt x="17" y="37"/>
                    <a:pt x="23" y="36"/>
                  </a:cubicBezTo>
                  <a:cubicBezTo>
                    <a:pt x="25" y="36"/>
                    <a:pt x="29" y="35"/>
                    <a:pt x="29" y="35"/>
                  </a:cubicBezTo>
                  <a:cubicBezTo>
                    <a:pt x="37" y="31"/>
                    <a:pt x="41" y="33"/>
                    <a:pt x="38" y="24"/>
                  </a:cubicBezTo>
                  <a:cubicBezTo>
                    <a:pt x="28" y="26"/>
                    <a:pt x="18" y="28"/>
                    <a:pt x="8" y="30"/>
                  </a:cubicBezTo>
                  <a:cubicBezTo>
                    <a:pt x="0" y="19"/>
                    <a:pt x="11" y="13"/>
                    <a:pt x="20" y="9"/>
                  </a:cubicBezTo>
                  <a:cubicBezTo>
                    <a:pt x="33" y="11"/>
                    <a:pt x="34" y="13"/>
                    <a:pt x="37" y="0"/>
                  </a:cubicBezTo>
                  <a:cubicBezTo>
                    <a:pt x="54" y="3"/>
                    <a:pt x="48" y="0"/>
                    <a:pt x="56" y="6"/>
                  </a:cubicBezTo>
                  <a:cubicBezTo>
                    <a:pt x="61" y="14"/>
                    <a:pt x="66" y="17"/>
                    <a:pt x="56" y="23"/>
                  </a:cubicBezTo>
                  <a:cubicBezTo>
                    <a:pt x="56" y="23"/>
                    <a:pt x="59" y="33"/>
                    <a:pt x="61" y="33"/>
                  </a:cubicBezTo>
                  <a:cubicBezTo>
                    <a:pt x="63" y="33"/>
                    <a:pt x="63" y="30"/>
                    <a:pt x="64" y="29"/>
                  </a:cubicBezTo>
                  <a:cubicBezTo>
                    <a:pt x="68" y="26"/>
                    <a:pt x="77" y="25"/>
                    <a:pt x="82" y="24"/>
                  </a:cubicBezTo>
                  <a:cubicBezTo>
                    <a:pt x="77" y="18"/>
                    <a:pt x="79" y="16"/>
                    <a:pt x="85" y="11"/>
                  </a:cubicBezTo>
                  <a:cubicBezTo>
                    <a:pt x="95" y="12"/>
                    <a:pt x="93" y="15"/>
                    <a:pt x="97" y="23"/>
                  </a:cubicBezTo>
                  <a:cubicBezTo>
                    <a:pt x="103" y="19"/>
                    <a:pt x="108" y="15"/>
                    <a:pt x="115" y="14"/>
                  </a:cubicBezTo>
                  <a:cubicBezTo>
                    <a:pt x="128" y="16"/>
                    <a:pt x="115" y="24"/>
                    <a:pt x="130" y="18"/>
                  </a:cubicBezTo>
                  <a:cubicBezTo>
                    <a:pt x="140" y="5"/>
                    <a:pt x="145" y="10"/>
                    <a:pt x="167" y="9"/>
                  </a:cubicBezTo>
                  <a:cubicBezTo>
                    <a:pt x="172" y="3"/>
                    <a:pt x="174" y="3"/>
                    <a:pt x="181" y="5"/>
                  </a:cubicBezTo>
                  <a:cubicBezTo>
                    <a:pt x="187" y="9"/>
                    <a:pt x="189" y="7"/>
                    <a:pt x="194" y="3"/>
                  </a:cubicBezTo>
                  <a:cubicBezTo>
                    <a:pt x="197" y="9"/>
                    <a:pt x="194" y="9"/>
                    <a:pt x="194" y="15"/>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8" name="Freeform 151">
              <a:extLst>
                <a:ext uri="{FF2B5EF4-FFF2-40B4-BE49-F238E27FC236}">
                  <a16:creationId xmlns:a16="http://schemas.microsoft.com/office/drawing/2014/main" id="{D0D20DE9-CAAD-B245-B536-67A51E0753C9}"/>
                </a:ext>
              </a:extLst>
            </p:cNvPr>
            <p:cNvSpPr>
              <a:spLocks/>
            </p:cNvSpPr>
            <p:nvPr/>
          </p:nvSpPr>
          <p:spPr bwMode="auto">
            <a:xfrm>
              <a:off x="3027" y="1868"/>
              <a:ext cx="14" cy="10"/>
            </a:xfrm>
            <a:custGeom>
              <a:avLst/>
              <a:gdLst>
                <a:gd name="T0" fmla="*/ 0 w 20"/>
                <a:gd name="T1" fmla="*/ 9 h 15"/>
                <a:gd name="T2" fmla="*/ 5 w 20"/>
                <a:gd name="T3" fmla="*/ 0 h 15"/>
                <a:gd name="T4" fmla="*/ 20 w 20"/>
                <a:gd name="T5" fmla="*/ 0 h 15"/>
                <a:gd name="T6" fmla="*/ 12 w 20"/>
                <a:gd name="T7" fmla="*/ 15 h 15"/>
                <a:gd name="T8" fmla="*/ 0 w 20"/>
                <a:gd name="T9" fmla="*/ 9 h 15"/>
              </a:gdLst>
              <a:ahLst/>
              <a:cxnLst>
                <a:cxn ang="0">
                  <a:pos x="T0" y="T1"/>
                </a:cxn>
                <a:cxn ang="0">
                  <a:pos x="T2" y="T3"/>
                </a:cxn>
                <a:cxn ang="0">
                  <a:pos x="T4" y="T5"/>
                </a:cxn>
                <a:cxn ang="0">
                  <a:pos x="T6" y="T7"/>
                </a:cxn>
                <a:cxn ang="0">
                  <a:pos x="T8" y="T9"/>
                </a:cxn>
              </a:cxnLst>
              <a:rect l="0" t="0" r="r" b="b"/>
              <a:pathLst>
                <a:path w="20" h="15">
                  <a:moveTo>
                    <a:pt x="0" y="9"/>
                  </a:moveTo>
                  <a:lnTo>
                    <a:pt x="5" y="0"/>
                  </a:lnTo>
                  <a:lnTo>
                    <a:pt x="20" y="0"/>
                  </a:lnTo>
                  <a:lnTo>
                    <a:pt x="12" y="15"/>
                  </a:lnTo>
                  <a:lnTo>
                    <a:pt x="0" y="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19" name="Freeform 152">
              <a:extLst>
                <a:ext uri="{FF2B5EF4-FFF2-40B4-BE49-F238E27FC236}">
                  <a16:creationId xmlns:a16="http://schemas.microsoft.com/office/drawing/2014/main" id="{84475B4B-41E0-D049-8C62-71629901A256}"/>
                </a:ext>
              </a:extLst>
            </p:cNvPr>
            <p:cNvSpPr>
              <a:spLocks/>
            </p:cNvSpPr>
            <p:nvPr/>
          </p:nvSpPr>
          <p:spPr bwMode="auto">
            <a:xfrm>
              <a:off x="2977" y="1836"/>
              <a:ext cx="58" cy="38"/>
            </a:xfrm>
            <a:custGeom>
              <a:avLst/>
              <a:gdLst>
                <a:gd name="T0" fmla="*/ 87 w 87"/>
                <a:gd name="T1" fmla="*/ 48 h 57"/>
                <a:gd name="T2" fmla="*/ 87 w 87"/>
                <a:gd name="T3" fmla="*/ 33 h 57"/>
                <a:gd name="T4" fmla="*/ 81 w 87"/>
                <a:gd name="T5" fmla="*/ 12 h 57"/>
                <a:gd name="T6" fmla="*/ 64 w 87"/>
                <a:gd name="T7" fmla="*/ 0 h 57"/>
                <a:gd name="T8" fmla="*/ 40 w 87"/>
                <a:gd name="T9" fmla="*/ 3 h 57"/>
                <a:gd name="T10" fmla="*/ 15 w 87"/>
                <a:gd name="T11" fmla="*/ 3 h 57"/>
                <a:gd name="T12" fmla="*/ 0 w 87"/>
                <a:gd name="T13" fmla="*/ 10 h 57"/>
                <a:gd name="T14" fmla="*/ 28 w 87"/>
                <a:gd name="T15" fmla="*/ 34 h 57"/>
                <a:gd name="T16" fmla="*/ 52 w 87"/>
                <a:gd name="T17" fmla="*/ 48 h 57"/>
                <a:gd name="T18" fmla="*/ 75 w 87"/>
                <a:gd name="T19" fmla="*/ 57 h 57"/>
                <a:gd name="T20" fmla="*/ 87 w 87"/>
                <a:gd name="T21"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57">
                  <a:moveTo>
                    <a:pt x="87" y="48"/>
                  </a:moveTo>
                  <a:lnTo>
                    <a:pt x="87" y="33"/>
                  </a:lnTo>
                  <a:lnTo>
                    <a:pt x="81" y="12"/>
                  </a:lnTo>
                  <a:lnTo>
                    <a:pt x="64" y="0"/>
                  </a:lnTo>
                  <a:lnTo>
                    <a:pt x="40" y="3"/>
                  </a:lnTo>
                  <a:lnTo>
                    <a:pt x="15" y="3"/>
                  </a:lnTo>
                  <a:lnTo>
                    <a:pt x="0" y="10"/>
                  </a:lnTo>
                  <a:lnTo>
                    <a:pt x="28" y="34"/>
                  </a:lnTo>
                  <a:lnTo>
                    <a:pt x="52" y="48"/>
                  </a:lnTo>
                  <a:lnTo>
                    <a:pt x="75" y="57"/>
                  </a:lnTo>
                  <a:lnTo>
                    <a:pt x="87" y="48"/>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0" name="Freeform 153">
              <a:extLst>
                <a:ext uri="{FF2B5EF4-FFF2-40B4-BE49-F238E27FC236}">
                  <a16:creationId xmlns:a16="http://schemas.microsoft.com/office/drawing/2014/main" id="{008873AD-FC89-394F-B8D1-60D69A102DFF}"/>
                </a:ext>
              </a:extLst>
            </p:cNvPr>
            <p:cNvSpPr>
              <a:spLocks/>
            </p:cNvSpPr>
            <p:nvPr/>
          </p:nvSpPr>
          <p:spPr bwMode="auto">
            <a:xfrm>
              <a:off x="2997" y="1796"/>
              <a:ext cx="56" cy="48"/>
            </a:xfrm>
            <a:custGeom>
              <a:avLst/>
              <a:gdLst>
                <a:gd name="T0" fmla="*/ 0 w 84"/>
                <a:gd name="T1" fmla="*/ 60 h 72"/>
                <a:gd name="T2" fmla="*/ 16 w 84"/>
                <a:gd name="T3" fmla="*/ 40 h 72"/>
                <a:gd name="T4" fmla="*/ 25 w 84"/>
                <a:gd name="T5" fmla="*/ 28 h 72"/>
                <a:gd name="T6" fmla="*/ 39 w 84"/>
                <a:gd name="T7" fmla="*/ 36 h 72"/>
                <a:gd name="T8" fmla="*/ 51 w 84"/>
                <a:gd name="T9" fmla="*/ 31 h 72"/>
                <a:gd name="T10" fmla="*/ 30 w 84"/>
                <a:gd name="T11" fmla="*/ 24 h 72"/>
                <a:gd name="T12" fmla="*/ 33 w 84"/>
                <a:gd name="T13" fmla="*/ 12 h 72"/>
                <a:gd name="T14" fmla="*/ 57 w 84"/>
                <a:gd name="T15" fmla="*/ 0 h 72"/>
                <a:gd name="T16" fmla="*/ 78 w 84"/>
                <a:gd name="T17" fmla="*/ 4 h 72"/>
                <a:gd name="T18" fmla="*/ 84 w 84"/>
                <a:gd name="T19" fmla="*/ 22 h 72"/>
                <a:gd name="T20" fmla="*/ 69 w 84"/>
                <a:gd name="T21" fmla="*/ 31 h 72"/>
                <a:gd name="T22" fmla="*/ 79 w 84"/>
                <a:gd name="T23" fmla="*/ 37 h 72"/>
                <a:gd name="T24" fmla="*/ 69 w 84"/>
                <a:gd name="T25" fmla="*/ 51 h 72"/>
                <a:gd name="T26" fmla="*/ 55 w 84"/>
                <a:gd name="T27" fmla="*/ 43 h 72"/>
                <a:gd name="T28" fmla="*/ 51 w 84"/>
                <a:gd name="T29" fmla="*/ 52 h 72"/>
                <a:gd name="T30" fmla="*/ 60 w 84"/>
                <a:gd name="T31" fmla="*/ 63 h 72"/>
                <a:gd name="T32" fmla="*/ 49 w 84"/>
                <a:gd name="T33" fmla="*/ 72 h 72"/>
                <a:gd name="T34" fmla="*/ 36 w 84"/>
                <a:gd name="T35" fmla="*/ 58 h 72"/>
                <a:gd name="T36" fmla="*/ 15 w 84"/>
                <a:gd name="T37" fmla="*/ 63 h 72"/>
                <a:gd name="T38" fmla="*/ 0 w 84"/>
                <a:gd name="T39"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72">
                  <a:moveTo>
                    <a:pt x="0" y="60"/>
                  </a:moveTo>
                  <a:lnTo>
                    <a:pt x="16" y="40"/>
                  </a:lnTo>
                  <a:lnTo>
                    <a:pt x="25" y="28"/>
                  </a:lnTo>
                  <a:lnTo>
                    <a:pt x="39" y="36"/>
                  </a:lnTo>
                  <a:lnTo>
                    <a:pt x="51" y="31"/>
                  </a:lnTo>
                  <a:lnTo>
                    <a:pt x="30" y="24"/>
                  </a:lnTo>
                  <a:lnTo>
                    <a:pt x="33" y="12"/>
                  </a:lnTo>
                  <a:lnTo>
                    <a:pt x="57" y="0"/>
                  </a:lnTo>
                  <a:lnTo>
                    <a:pt x="78" y="4"/>
                  </a:lnTo>
                  <a:lnTo>
                    <a:pt x="84" y="22"/>
                  </a:lnTo>
                  <a:lnTo>
                    <a:pt x="69" y="31"/>
                  </a:lnTo>
                  <a:lnTo>
                    <a:pt x="79" y="37"/>
                  </a:lnTo>
                  <a:lnTo>
                    <a:pt x="69" y="51"/>
                  </a:lnTo>
                  <a:lnTo>
                    <a:pt x="55" y="43"/>
                  </a:lnTo>
                  <a:lnTo>
                    <a:pt x="51" y="52"/>
                  </a:lnTo>
                  <a:lnTo>
                    <a:pt x="60" y="63"/>
                  </a:lnTo>
                  <a:lnTo>
                    <a:pt x="49" y="72"/>
                  </a:lnTo>
                  <a:lnTo>
                    <a:pt x="36" y="58"/>
                  </a:lnTo>
                  <a:lnTo>
                    <a:pt x="15" y="63"/>
                  </a:lnTo>
                  <a:lnTo>
                    <a:pt x="0" y="60"/>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1" name="Freeform 154">
              <a:extLst>
                <a:ext uri="{FF2B5EF4-FFF2-40B4-BE49-F238E27FC236}">
                  <a16:creationId xmlns:a16="http://schemas.microsoft.com/office/drawing/2014/main" id="{92CAF6ED-73A1-8C41-AB2D-A360CF3EDC07}"/>
                </a:ext>
              </a:extLst>
            </p:cNvPr>
            <p:cNvSpPr>
              <a:spLocks/>
            </p:cNvSpPr>
            <p:nvPr/>
          </p:nvSpPr>
          <p:spPr bwMode="auto">
            <a:xfrm>
              <a:off x="3029" y="1770"/>
              <a:ext cx="138" cy="143"/>
            </a:xfrm>
            <a:custGeom>
              <a:avLst/>
              <a:gdLst>
                <a:gd name="T0" fmla="*/ 29 w 207"/>
                <a:gd name="T1" fmla="*/ 45 h 216"/>
                <a:gd name="T2" fmla="*/ 35 w 207"/>
                <a:gd name="T3" fmla="*/ 33 h 216"/>
                <a:gd name="T4" fmla="*/ 48 w 207"/>
                <a:gd name="T5" fmla="*/ 31 h 216"/>
                <a:gd name="T6" fmla="*/ 59 w 207"/>
                <a:gd name="T7" fmla="*/ 46 h 216"/>
                <a:gd name="T8" fmla="*/ 63 w 207"/>
                <a:gd name="T9" fmla="*/ 31 h 216"/>
                <a:gd name="T10" fmla="*/ 75 w 207"/>
                <a:gd name="T11" fmla="*/ 31 h 216"/>
                <a:gd name="T12" fmla="*/ 69 w 207"/>
                <a:gd name="T13" fmla="*/ 21 h 216"/>
                <a:gd name="T14" fmla="*/ 68 w 207"/>
                <a:gd name="T15" fmla="*/ 9 h 216"/>
                <a:gd name="T16" fmla="*/ 59 w 207"/>
                <a:gd name="T17" fmla="*/ 0 h 216"/>
                <a:gd name="T18" fmla="*/ 72 w 207"/>
                <a:gd name="T19" fmla="*/ 0 h 216"/>
                <a:gd name="T20" fmla="*/ 81 w 207"/>
                <a:gd name="T21" fmla="*/ 4 h 216"/>
                <a:gd name="T22" fmla="*/ 93 w 207"/>
                <a:gd name="T23" fmla="*/ 3 h 216"/>
                <a:gd name="T24" fmla="*/ 93 w 207"/>
                <a:gd name="T25" fmla="*/ 13 h 216"/>
                <a:gd name="T26" fmla="*/ 107 w 207"/>
                <a:gd name="T27" fmla="*/ 16 h 216"/>
                <a:gd name="T28" fmla="*/ 120 w 207"/>
                <a:gd name="T29" fmla="*/ 15 h 216"/>
                <a:gd name="T30" fmla="*/ 113 w 207"/>
                <a:gd name="T31" fmla="*/ 27 h 216"/>
                <a:gd name="T32" fmla="*/ 123 w 207"/>
                <a:gd name="T33" fmla="*/ 31 h 216"/>
                <a:gd name="T34" fmla="*/ 141 w 207"/>
                <a:gd name="T35" fmla="*/ 19 h 216"/>
                <a:gd name="T36" fmla="*/ 152 w 207"/>
                <a:gd name="T37" fmla="*/ 13 h 216"/>
                <a:gd name="T38" fmla="*/ 170 w 207"/>
                <a:gd name="T39" fmla="*/ 10 h 216"/>
                <a:gd name="T40" fmla="*/ 180 w 207"/>
                <a:gd name="T41" fmla="*/ 25 h 216"/>
                <a:gd name="T42" fmla="*/ 192 w 207"/>
                <a:gd name="T43" fmla="*/ 45 h 216"/>
                <a:gd name="T44" fmla="*/ 188 w 207"/>
                <a:gd name="T45" fmla="*/ 58 h 216"/>
                <a:gd name="T46" fmla="*/ 198 w 207"/>
                <a:gd name="T47" fmla="*/ 70 h 216"/>
                <a:gd name="T48" fmla="*/ 198 w 207"/>
                <a:gd name="T49" fmla="*/ 90 h 216"/>
                <a:gd name="T50" fmla="*/ 207 w 207"/>
                <a:gd name="T51" fmla="*/ 103 h 216"/>
                <a:gd name="T52" fmla="*/ 207 w 207"/>
                <a:gd name="T53" fmla="*/ 115 h 216"/>
                <a:gd name="T54" fmla="*/ 194 w 207"/>
                <a:gd name="T55" fmla="*/ 111 h 216"/>
                <a:gd name="T56" fmla="*/ 162 w 207"/>
                <a:gd name="T57" fmla="*/ 129 h 216"/>
                <a:gd name="T58" fmla="*/ 141 w 207"/>
                <a:gd name="T59" fmla="*/ 130 h 216"/>
                <a:gd name="T60" fmla="*/ 152 w 207"/>
                <a:gd name="T61" fmla="*/ 151 h 216"/>
                <a:gd name="T62" fmla="*/ 168 w 207"/>
                <a:gd name="T63" fmla="*/ 166 h 216"/>
                <a:gd name="T64" fmla="*/ 180 w 207"/>
                <a:gd name="T65" fmla="*/ 177 h 216"/>
                <a:gd name="T66" fmla="*/ 167 w 207"/>
                <a:gd name="T67" fmla="*/ 186 h 216"/>
                <a:gd name="T68" fmla="*/ 158 w 207"/>
                <a:gd name="T69" fmla="*/ 193 h 216"/>
                <a:gd name="T70" fmla="*/ 164 w 207"/>
                <a:gd name="T71" fmla="*/ 211 h 216"/>
                <a:gd name="T72" fmla="*/ 149 w 207"/>
                <a:gd name="T73" fmla="*/ 205 h 216"/>
                <a:gd name="T74" fmla="*/ 117 w 207"/>
                <a:gd name="T75" fmla="*/ 213 h 216"/>
                <a:gd name="T76" fmla="*/ 105 w 207"/>
                <a:gd name="T77" fmla="*/ 205 h 216"/>
                <a:gd name="T78" fmla="*/ 98 w 207"/>
                <a:gd name="T79" fmla="*/ 216 h 216"/>
                <a:gd name="T80" fmla="*/ 90 w 207"/>
                <a:gd name="T81" fmla="*/ 208 h 216"/>
                <a:gd name="T82" fmla="*/ 75 w 207"/>
                <a:gd name="T83" fmla="*/ 208 h 216"/>
                <a:gd name="T84" fmla="*/ 42 w 207"/>
                <a:gd name="T85" fmla="*/ 210 h 216"/>
                <a:gd name="T86" fmla="*/ 42 w 207"/>
                <a:gd name="T87" fmla="*/ 195 h 216"/>
                <a:gd name="T88" fmla="*/ 54 w 207"/>
                <a:gd name="T89" fmla="*/ 169 h 216"/>
                <a:gd name="T90" fmla="*/ 20 w 207"/>
                <a:gd name="T91" fmla="*/ 168 h 216"/>
                <a:gd name="T92" fmla="*/ 9 w 207"/>
                <a:gd name="T93" fmla="*/ 160 h 216"/>
                <a:gd name="T94" fmla="*/ 17 w 207"/>
                <a:gd name="T95" fmla="*/ 145 h 216"/>
                <a:gd name="T96" fmla="*/ 6 w 207"/>
                <a:gd name="T97" fmla="*/ 145 h 216"/>
                <a:gd name="T98" fmla="*/ 9 w 207"/>
                <a:gd name="T99" fmla="*/ 132 h 216"/>
                <a:gd name="T100" fmla="*/ 0 w 207"/>
                <a:gd name="T101" fmla="*/ 111 h 216"/>
                <a:gd name="T102" fmla="*/ 9 w 207"/>
                <a:gd name="T103" fmla="*/ 103 h 216"/>
                <a:gd name="T104" fmla="*/ 2 w 207"/>
                <a:gd name="T105" fmla="*/ 90 h 216"/>
                <a:gd name="T106" fmla="*/ 6 w 207"/>
                <a:gd name="T107" fmla="*/ 81 h 216"/>
                <a:gd name="T108" fmla="*/ 20 w 207"/>
                <a:gd name="T109" fmla="*/ 90 h 216"/>
                <a:gd name="T110" fmla="*/ 30 w 207"/>
                <a:gd name="T111" fmla="*/ 75 h 216"/>
                <a:gd name="T112" fmla="*/ 21 w 207"/>
                <a:gd name="T113" fmla="*/ 70 h 216"/>
                <a:gd name="T114" fmla="*/ 35 w 207"/>
                <a:gd name="T115" fmla="*/ 61 h 216"/>
                <a:gd name="T116" fmla="*/ 29 w 207"/>
                <a:gd name="T117" fmla="*/ 4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7" h="216">
                  <a:moveTo>
                    <a:pt x="29" y="45"/>
                  </a:moveTo>
                  <a:lnTo>
                    <a:pt x="35" y="33"/>
                  </a:lnTo>
                  <a:lnTo>
                    <a:pt x="48" y="31"/>
                  </a:lnTo>
                  <a:lnTo>
                    <a:pt x="59" y="46"/>
                  </a:lnTo>
                  <a:lnTo>
                    <a:pt x="63" y="31"/>
                  </a:lnTo>
                  <a:lnTo>
                    <a:pt x="75" y="31"/>
                  </a:lnTo>
                  <a:lnTo>
                    <a:pt x="69" y="21"/>
                  </a:lnTo>
                  <a:lnTo>
                    <a:pt x="68" y="9"/>
                  </a:lnTo>
                  <a:lnTo>
                    <a:pt x="59" y="0"/>
                  </a:lnTo>
                  <a:lnTo>
                    <a:pt x="72" y="0"/>
                  </a:lnTo>
                  <a:lnTo>
                    <a:pt x="81" y="4"/>
                  </a:lnTo>
                  <a:lnTo>
                    <a:pt x="93" y="3"/>
                  </a:lnTo>
                  <a:lnTo>
                    <a:pt x="93" y="13"/>
                  </a:lnTo>
                  <a:lnTo>
                    <a:pt x="107" y="16"/>
                  </a:lnTo>
                  <a:lnTo>
                    <a:pt x="120" y="15"/>
                  </a:lnTo>
                  <a:lnTo>
                    <a:pt x="113" y="27"/>
                  </a:lnTo>
                  <a:lnTo>
                    <a:pt x="123" y="31"/>
                  </a:lnTo>
                  <a:lnTo>
                    <a:pt x="141" y="19"/>
                  </a:lnTo>
                  <a:lnTo>
                    <a:pt x="152" y="13"/>
                  </a:lnTo>
                  <a:lnTo>
                    <a:pt x="170" y="10"/>
                  </a:lnTo>
                  <a:lnTo>
                    <a:pt x="180" y="25"/>
                  </a:lnTo>
                  <a:lnTo>
                    <a:pt x="192" y="45"/>
                  </a:lnTo>
                  <a:lnTo>
                    <a:pt x="188" y="58"/>
                  </a:lnTo>
                  <a:lnTo>
                    <a:pt x="198" y="70"/>
                  </a:lnTo>
                  <a:lnTo>
                    <a:pt x="198" y="90"/>
                  </a:lnTo>
                  <a:lnTo>
                    <a:pt x="207" y="103"/>
                  </a:lnTo>
                  <a:lnTo>
                    <a:pt x="207" y="115"/>
                  </a:lnTo>
                  <a:lnTo>
                    <a:pt x="194" y="111"/>
                  </a:lnTo>
                  <a:lnTo>
                    <a:pt x="162" y="129"/>
                  </a:lnTo>
                  <a:lnTo>
                    <a:pt x="141" y="130"/>
                  </a:lnTo>
                  <a:lnTo>
                    <a:pt x="152" y="151"/>
                  </a:lnTo>
                  <a:lnTo>
                    <a:pt x="168" y="166"/>
                  </a:lnTo>
                  <a:lnTo>
                    <a:pt x="180" y="177"/>
                  </a:lnTo>
                  <a:lnTo>
                    <a:pt x="167" y="186"/>
                  </a:lnTo>
                  <a:lnTo>
                    <a:pt x="158" y="193"/>
                  </a:lnTo>
                  <a:lnTo>
                    <a:pt x="164" y="211"/>
                  </a:lnTo>
                  <a:lnTo>
                    <a:pt x="149" y="205"/>
                  </a:lnTo>
                  <a:lnTo>
                    <a:pt x="117" y="213"/>
                  </a:lnTo>
                  <a:lnTo>
                    <a:pt x="105" y="205"/>
                  </a:lnTo>
                  <a:lnTo>
                    <a:pt x="98" y="216"/>
                  </a:lnTo>
                  <a:lnTo>
                    <a:pt x="90" y="208"/>
                  </a:lnTo>
                  <a:lnTo>
                    <a:pt x="75" y="208"/>
                  </a:lnTo>
                  <a:lnTo>
                    <a:pt x="42" y="210"/>
                  </a:lnTo>
                  <a:lnTo>
                    <a:pt x="42" y="195"/>
                  </a:lnTo>
                  <a:lnTo>
                    <a:pt x="54" y="169"/>
                  </a:lnTo>
                  <a:lnTo>
                    <a:pt x="20" y="168"/>
                  </a:lnTo>
                  <a:lnTo>
                    <a:pt x="9" y="160"/>
                  </a:lnTo>
                  <a:lnTo>
                    <a:pt x="17" y="145"/>
                  </a:lnTo>
                  <a:lnTo>
                    <a:pt x="6" y="145"/>
                  </a:lnTo>
                  <a:lnTo>
                    <a:pt x="9" y="132"/>
                  </a:lnTo>
                  <a:lnTo>
                    <a:pt x="0" y="111"/>
                  </a:lnTo>
                  <a:lnTo>
                    <a:pt x="9" y="103"/>
                  </a:lnTo>
                  <a:lnTo>
                    <a:pt x="2" y="90"/>
                  </a:lnTo>
                  <a:lnTo>
                    <a:pt x="6" y="81"/>
                  </a:lnTo>
                  <a:lnTo>
                    <a:pt x="20" y="90"/>
                  </a:lnTo>
                  <a:lnTo>
                    <a:pt x="30" y="75"/>
                  </a:lnTo>
                  <a:lnTo>
                    <a:pt x="21" y="70"/>
                  </a:lnTo>
                  <a:lnTo>
                    <a:pt x="35" y="61"/>
                  </a:lnTo>
                  <a:lnTo>
                    <a:pt x="29" y="45"/>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2" name="Freeform 155">
              <a:extLst>
                <a:ext uri="{FF2B5EF4-FFF2-40B4-BE49-F238E27FC236}">
                  <a16:creationId xmlns:a16="http://schemas.microsoft.com/office/drawing/2014/main" id="{DD4DF153-7893-C049-AB7D-76A1B25CDB34}"/>
                </a:ext>
              </a:extLst>
            </p:cNvPr>
            <p:cNvSpPr>
              <a:spLocks/>
            </p:cNvSpPr>
            <p:nvPr/>
          </p:nvSpPr>
          <p:spPr bwMode="auto">
            <a:xfrm>
              <a:off x="3063" y="1719"/>
              <a:ext cx="37" cy="54"/>
            </a:xfrm>
            <a:custGeom>
              <a:avLst/>
              <a:gdLst>
                <a:gd name="T0" fmla="*/ 8 w 56"/>
                <a:gd name="T1" fmla="*/ 79 h 82"/>
                <a:gd name="T2" fmla="*/ 9 w 56"/>
                <a:gd name="T3" fmla="*/ 69 h 82"/>
                <a:gd name="T4" fmla="*/ 0 w 56"/>
                <a:gd name="T5" fmla="*/ 61 h 82"/>
                <a:gd name="T6" fmla="*/ 2 w 56"/>
                <a:gd name="T7" fmla="*/ 43 h 82"/>
                <a:gd name="T8" fmla="*/ 6 w 56"/>
                <a:gd name="T9" fmla="*/ 27 h 82"/>
                <a:gd name="T10" fmla="*/ 20 w 56"/>
                <a:gd name="T11" fmla="*/ 15 h 82"/>
                <a:gd name="T12" fmla="*/ 33 w 56"/>
                <a:gd name="T13" fmla="*/ 15 h 82"/>
                <a:gd name="T14" fmla="*/ 50 w 56"/>
                <a:gd name="T15" fmla="*/ 0 h 82"/>
                <a:gd name="T16" fmla="*/ 56 w 56"/>
                <a:gd name="T17" fmla="*/ 19 h 82"/>
                <a:gd name="T18" fmla="*/ 50 w 56"/>
                <a:gd name="T19" fmla="*/ 33 h 82"/>
                <a:gd name="T20" fmla="*/ 51 w 56"/>
                <a:gd name="T21" fmla="*/ 49 h 82"/>
                <a:gd name="T22" fmla="*/ 39 w 56"/>
                <a:gd name="T23" fmla="*/ 58 h 82"/>
                <a:gd name="T24" fmla="*/ 36 w 56"/>
                <a:gd name="T25" fmla="*/ 69 h 82"/>
                <a:gd name="T26" fmla="*/ 41 w 56"/>
                <a:gd name="T27" fmla="*/ 82 h 82"/>
                <a:gd name="T28" fmla="*/ 27 w 56"/>
                <a:gd name="T29" fmla="*/ 82 h 82"/>
                <a:gd name="T30" fmla="*/ 8 w 56"/>
                <a:gd name="T31"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82">
                  <a:moveTo>
                    <a:pt x="8" y="79"/>
                  </a:moveTo>
                  <a:lnTo>
                    <a:pt x="9" y="69"/>
                  </a:lnTo>
                  <a:lnTo>
                    <a:pt x="0" y="61"/>
                  </a:lnTo>
                  <a:lnTo>
                    <a:pt x="2" y="43"/>
                  </a:lnTo>
                  <a:lnTo>
                    <a:pt x="6" y="27"/>
                  </a:lnTo>
                  <a:lnTo>
                    <a:pt x="20" y="15"/>
                  </a:lnTo>
                  <a:lnTo>
                    <a:pt x="33" y="15"/>
                  </a:lnTo>
                  <a:lnTo>
                    <a:pt x="50" y="0"/>
                  </a:lnTo>
                  <a:lnTo>
                    <a:pt x="56" y="19"/>
                  </a:lnTo>
                  <a:lnTo>
                    <a:pt x="50" y="33"/>
                  </a:lnTo>
                  <a:lnTo>
                    <a:pt x="51" y="49"/>
                  </a:lnTo>
                  <a:lnTo>
                    <a:pt x="39" y="58"/>
                  </a:lnTo>
                  <a:lnTo>
                    <a:pt x="36" y="69"/>
                  </a:lnTo>
                  <a:lnTo>
                    <a:pt x="41" y="82"/>
                  </a:lnTo>
                  <a:lnTo>
                    <a:pt x="27" y="82"/>
                  </a:lnTo>
                  <a:lnTo>
                    <a:pt x="8" y="79"/>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3" name="Freeform 156">
              <a:extLst>
                <a:ext uri="{FF2B5EF4-FFF2-40B4-BE49-F238E27FC236}">
                  <a16:creationId xmlns:a16="http://schemas.microsoft.com/office/drawing/2014/main" id="{73AB5A1D-361C-1D4A-BD32-4F30B82BD42A}"/>
                </a:ext>
              </a:extLst>
            </p:cNvPr>
            <p:cNvSpPr>
              <a:spLocks/>
            </p:cNvSpPr>
            <p:nvPr/>
          </p:nvSpPr>
          <p:spPr bwMode="auto">
            <a:xfrm>
              <a:off x="3104" y="1755"/>
              <a:ext cx="28" cy="22"/>
            </a:xfrm>
            <a:custGeom>
              <a:avLst/>
              <a:gdLst>
                <a:gd name="T0" fmla="*/ 4 w 41"/>
                <a:gd name="T1" fmla="*/ 3 h 33"/>
                <a:gd name="T2" fmla="*/ 28 w 41"/>
                <a:gd name="T3" fmla="*/ 2 h 33"/>
                <a:gd name="T4" fmla="*/ 13 w 41"/>
                <a:gd name="T5" fmla="*/ 33 h 33"/>
                <a:gd name="T6" fmla="*/ 13 w 41"/>
                <a:gd name="T7" fmla="*/ 20 h 33"/>
                <a:gd name="T8" fmla="*/ 12 w 41"/>
                <a:gd name="T9" fmla="*/ 12 h 33"/>
                <a:gd name="T10" fmla="*/ 7 w 41"/>
                <a:gd name="T11" fmla="*/ 11 h 33"/>
                <a:gd name="T12" fmla="*/ 4 w 41"/>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 y="3"/>
                  </a:moveTo>
                  <a:cubicBezTo>
                    <a:pt x="16" y="1"/>
                    <a:pt x="12" y="0"/>
                    <a:pt x="28" y="2"/>
                  </a:cubicBezTo>
                  <a:cubicBezTo>
                    <a:pt x="41" y="19"/>
                    <a:pt x="31" y="31"/>
                    <a:pt x="13" y="33"/>
                  </a:cubicBezTo>
                  <a:cubicBezTo>
                    <a:pt x="0" y="31"/>
                    <a:pt x="8" y="26"/>
                    <a:pt x="13" y="20"/>
                  </a:cubicBezTo>
                  <a:cubicBezTo>
                    <a:pt x="13" y="17"/>
                    <a:pt x="13" y="14"/>
                    <a:pt x="12" y="12"/>
                  </a:cubicBezTo>
                  <a:cubicBezTo>
                    <a:pt x="11" y="11"/>
                    <a:pt x="8" y="12"/>
                    <a:pt x="7" y="11"/>
                  </a:cubicBezTo>
                  <a:cubicBezTo>
                    <a:pt x="5" y="9"/>
                    <a:pt x="6" y="5"/>
                    <a:pt x="4" y="3"/>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4" name="Freeform 157">
              <a:extLst>
                <a:ext uri="{FF2B5EF4-FFF2-40B4-BE49-F238E27FC236}">
                  <a16:creationId xmlns:a16="http://schemas.microsoft.com/office/drawing/2014/main" id="{00D51FA7-7BE9-A040-A970-77B277CCEDF3}"/>
                </a:ext>
              </a:extLst>
            </p:cNvPr>
            <p:cNvSpPr>
              <a:spLocks/>
            </p:cNvSpPr>
            <p:nvPr/>
          </p:nvSpPr>
          <p:spPr bwMode="auto">
            <a:xfrm>
              <a:off x="3123" y="1844"/>
              <a:ext cx="101" cy="46"/>
            </a:xfrm>
            <a:custGeom>
              <a:avLst/>
              <a:gdLst>
                <a:gd name="T0" fmla="*/ 66 w 153"/>
                <a:gd name="T1" fmla="*/ 1 h 69"/>
                <a:gd name="T2" fmla="*/ 86 w 153"/>
                <a:gd name="T3" fmla="*/ 7 h 69"/>
                <a:gd name="T4" fmla="*/ 101 w 153"/>
                <a:gd name="T5" fmla="*/ 16 h 69"/>
                <a:gd name="T6" fmla="*/ 113 w 153"/>
                <a:gd name="T7" fmla="*/ 24 h 69"/>
                <a:gd name="T8" fmla="*/ 125 w 153"/>
                <a:gd name="T9" fmla="*/ 19 h 69"/>
                <a:gd name="T10" fmla="*/ 153 w 153"/>
                <a:gd name="T11" fmla="*/ 37 h 69"/>
                <a:gd name="T12" fmla="*/ 129 w 153"/>
                <a:gd name="T13" fmla="*/ 61 h 69"/>
                <a:gd name="T14" fmla="*/ 105 w 153"/>
                <a:gd name="T15" fmla="*/ 66 h 69"/>
                <a:gd name="T16" fmla="*/ 75 w 153"/>
                <a:gd name="T17" fmla="*/ 60 h 69"/>
                <a:gd name="T18" fmla="*/ 57 w 153"/>
                <a:gd name="T19" fmla="*/ 69 h 69"/>
                <a:gd name="T20" fmla="*/ 36 w 153"/>
                <a:gd name="T21" fmla="*/ 64 h 69"/>
                <a:gd name="T22" fmla="*/ 11 w 153"/>
                <a:gd name="T23" fmla="*/ 42 h 69"/>
                <a:gd name="T24" fmla="*/ 0 w 153"/>
                <a:gd name="T25" fmla="*/ 18 h 69"/>
                <a:gd name="T26" fmla="*/ 18 w 153"/>
                <a:gd name="T27" fmla="*/ 18 h 69"/>
                <a:gd name="T28" fmla="*/ 51 w 153"/>
                <a:gd name="T29" fmla="*/ 0 h 69"/>
                <a:gd name="T30" fmla="*/ 66 w 153"/>
                <a:gd name="T31"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69">
                  <a:moveTo>
                    <a:pt x="66" y="1"/>
                  </a:moveTo>
                  <a:lnTo>
                    <a:pt x="86" y="7"/>
                  </a:lnTo>
                  <a:lnTo>
                    <a:pt x="101" y="16"/>
                  </a:lnTo>
                  <a:lnTo>
                    <a:pt x="113" y="24"/>
                  </a:lnTo>
                  <a:lnTo>
                    <a:pt x="125" y="19"/>
                  </a:lnTo>
                  <a:lnTo>
                    <a:pt x="153" y="37"/>
                  </a:lnTo>
                  <a:lnTo>
                    <a:pt x="129" y="61"/>
                  </a:lnTo>
                  <a:lnTo>
                    <a:pt x="105" y="66"/>
                  </a:lnTo>
                  <a:lnTo>
                    <a:pt x="75" y="60"/>
                  </a:lnTo>
                  <a:lnTo>
                    <a:pt x="57" y="69"/>
                  </a:lnTo>
                  <a:lnTo>
                    <a:pt x="36" y="64"/>
                  </a:lnTo>
                  <a:lnTo>
                    <a:pt x="11" y="42"/>
                  </a:lnTo>
                  <a:lnTo>
                    <a:pt x="0" y="18"/>
                  </a:lnTo>
                  <a:lnTo>
                    <a:pt x="18" y="18"/>
                  </a:lnTo>
                  <a:lnTo>
                    <a:pt x="51" y="0"/>
                  </a:lnTo>
                  <a:lnTo>
                    <a:pt x="66" y="1"/>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5" name="Freeform 158">
              <a:extLst>
                <a:ext uri="{FF2B5EF4-FFF2-40B4-BE49-F238E27FC236}">
                  <a16:creationId xmlns:a16="http://schemas.microsoft.com/office/drawing/2014/main" id="{2A071E10-DC71-4E44-8766-66FFFB6A01D6}"/>
                </a:ext>
              </a:extLst>
            </p:cNvPr>
            <p:cNvSpPr>
              <a:spLocks/>
            </p:cNvSpPr>
            <p:nvPr/>
          </p:nvSpPr>
          <p:spPr bwMode="auto">
            <a:xfrm>
              <a:off x="3027" y="1908"/>
              <a:ext cx="72" cy="35"/>
            </a:xfrm>
            <a:custGeom>
              <a:avLst/>
              <a:gdLst>
                <a:gd name="T0" fmla="*/ 33 w 108"/>
                <a:gd name="T1" fmla="*/ 3 h 54"/>
                <a:gd name="T2" fmla="*/ 47 w 108"/>
                <a:gd name="T3" fmla="*/ 3 h 54"/>
                <a:gd name="T4" fmla="*/ 92 w 108"/>
                <a:gd name="T5" fmla="*/ 0 h 54"/>
                <a:gd name="T6" fmla="*/ 87 w 108"/>
                <a:gd name="T7" fmla="*/ 18 h 54"/>
                <a:gd name="T8" fmla="*/ 108 w 108"/>
                <a:gd name="T9" fmla="*/ 24 h 54"/>
                <a:gd name="T10" fmla="*/ 99 w 108"/>
                <a:gd name="T11" fmla="*/ 40 h 54"/>
                <a:gd name="T12" fmla="*/ 83 w 108"/>
                <a:gd name="T13" fmla="*/ 36 h 54"/>
                <a:gd name="T14" fmla="*/ 71 w 108"/>
                <a:gd name="T15" fmla="*/ 54 h 54"/>
                <a:gd name="T16" fmla="*/ 57 w 108"/>
                <a:gd name="T17" fmla="*/ 34 h 54"/>
                <a:gd name="T18" fmla="*/ 47 w 108"/>
                <a:gd name="T19" fmla="*/ 49 h 54"/>
                <a:gd name="T20" fmla="*/ 24 w 108"/>
                <a:gd name="T21" fmla="*/ 51 h 54"/>
                <a:gd name="T22" fmla="*/ 23 w 108"/>
                <a:gd name="T23" fmla="*/ 36 h 54"/>
                <a:gd name="T24" fmla="*/ 0 w 108"/>
                <a:gd name="T25" fmla="*/ 45 h 54"/>
                <a:gd name="T26" fmla="*/ 8 w 108"/>
                <a:gd name="T27" fmla="*/ 30 h 54"/>
                <a:gd name="T28" fmla="*/ 33 w 108"/>
                <a:gd name="T29" fmla="*/ 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54">
                  <a:moveTo>
                    <a:pt x="33" y="3"/>
                  </a:moveTo>
                  <a:lnTo>
                    <a:pt x="47" y="3"/>
                  </a:lnTo>
                  <a:lnTo>
                    <a:pt x="92" y="0"/>
                  </a:lnTo>
                  <a:lnTo>
                    <a:pt x="87" y="18"/>
                  </a:lnTo>
                  <a:lnTo>
                    <a:pt x="108" y="24"/>
                  </a:lnTo>
                  <a:lnTo>
                    <a:pt x="99" y="40"/>
                  </a:lnTo>
                  <a:lnTo>
                    <a:pt x="83" y="36"/>
                  </a:lnTo>
                  <a:lnTo>
                    <a:pt x="71" y="54"/>
                  </a:lnTo>
                  <a:lnTo>
                    <a:pt x="57" y="34"/>
                  </a:lnTo>
                  <a:lnTo>
                    <a:pt x="47" y="49"/>
                  </a:lnTo>
                  <a:lnTo>
                    <a:pt x="24" y="51"/>
                  </a:lnTo>
                  <a:lnTo>
                    <a:pt x="23" y="36"/>
                  </a:lnTo>
                  <a:lnTo>
                    <a:pt x="0" y="45"/>
                  </a:lnTo>
                  <a:lnTo>
                    <a:pt x="8" y="30"/>
                  </a:lnTo>
                  <a:lnTo>
                    <a:pt x="33" y="3"/>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6" name="Freeform 159">
              <a:extLst>
                <a:ext uri="{FF2B5EF4-FFF2-40B4-BE49-F238E27FC236}">
                  <a16:creationId xmlns:a16="http://schemas.microsoft.com/office/drawing/2014/main" id="{05BE496B-47D7-5C4F-8864-7537C8B38398}"/>
                </a:ext>
              </a:extLst>
            </p:cNvPr>
            <p:cNvSpPr>
              <a:spLocks/>
            </p:cNvSpPr>
            <p:nvPr/>
          </p:nvSpPr>
          <p:spPr bwMode="auto">
            <a:xfrm>
              <a:off x="3085" y="1884"/>
              <a:ext cx="117" cy="48"/>
            </a:xfrm>
            <a:custGeom>
              <a:avLst/>
              <a:gdLst>
                <a:gd name="T0" fmla="*/ 162 w 176"/>
                <a:gd name="T1" fmla="*/ 6 h 73"/>
                <a:gd name="T2" fmla="*/ 132 w 176"/>
                <a:gd name="T3" fmla="*/ 0 h 73"/>
                <a:gd name="T4" fmla="*/ 111 w 176"/>
                <a:gd name="T5" fmla="*/ 10 h 73"/>
                <a:gd name="T6" fmla="*/ 96 w 176"/>
                <a:gd name="T7" fmla="*/ 4 h 73"/>
                <a:gd name="T8" fmla="*/ 74 w 176"/>
                <a:gd name="T9" fmla="*/ 21 h 73"/>
                <a:gd name="T10" fmla="*/ 78 w 176"/>
                <a:gd name="T11" fmla="*/ 40 h 73"/>
                <a:gd name="T12" fmla="*/ 66 w 176"/>
                <a:gd name="T13" fmla="*/ 33 h 73"/>
                <a:gd name="T14" fmla="*/ 30 w 176"/>
                <a:gd name="T15" fmla="*/ 40 h 73"/>
                <a:gd name="T16" fmla="*/ 21 w 176"/>
                <a:gd name="T17" fmla="*/ 33 h 73"/>
                <a:gd name="T18" fmla="*/ 12 w 176"/>
                <a:gd name="T19" fmla="*/ 45 h 73"/>
                <a:gd name="T20" fmla="*/ 6 w 176"/>
                <a:gd name="T21" fmla="*/ 36 h 73"/>
                <a:gd name="T22" fmla="*/ 0 w 176"/>
                <a:gd name="T23" fmla="*/ 54 h 73"/>
                <a:gd name="T24" fmla="*/ 21 w 176"/>
                <a:gd name="T25" fmla="*/ 61 h 73"/>
                <a:gd name="T26" fmla="*/ 36 w 176"/>
                <a:gd name="T27" fmla="*/ 58 h 73"/>
                <a:gd name="T28" fmla="*/ 60 w 176"/>
                <a:gd name="T29" fmla="*/ 52 h 73"/>
                <a:gd name="T30" fmla="*/ 63 w 176"/>
                <a:gd name="T31" fmla="*/ 67 h 73"/>
                <a:gd name="T32" fmla="*/ 78 w 176"/>
                <a:gd name="T33" fmla="*/ 64 h 73"/>
                <a:gd name="T34" fmla="*/ 92 w 176"/>
                <a:gd name="T35" fmla="*/ 73 h 73"/>
                <a:gd name="T36" fmla="*/ 102 w 176"/>
                <a:gd name="T37" fmla="*/ 69 h 73"/>
                <a:gd name="T38" fmla="*/ 125 w 176"/>
                <a:gd name="T39" fmla="*/ 66 h 73"/>
                <a:gd name="T40" fmla="*/ 146 w 176"/>
                <a:gd name="T41" fmla="*/ 66 h 73"/>
                <a:gd name="T42" fmla="*/ 158 w 176"/>
                <a:gd name="T43" fmla="*/ 54 h 73"/>
                <a:gd name="T44" fmla="*/ 162 w 176"/>
                <a:gd name="T45" fmla="*/ 34 h 73"/>
                <a:gd name="T46" fmla="*/ 173 w 176"/>
                <a:gd name="T47" fmla="*/ 34 h 73"/>
                <a:gd name="T48" fmla="*/ 176 w 176"/>
                <a:gd name="T49" fmla="*/ 21 h 73"/>
                <a:gd name="T50" fmla="*/ 162 w 176"/>
                <a:gd name="T51"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 h="73">
                  <a:moveTo>
                    <a:pt x="162" y="6"/>
                  </a:moveTo>
                  <a:lnTo>
                    <a:pt x="132" y="0"/>
                  </a:lnTo>
                  <a:lnTo>
                    <a:pt x="111" y="10"/>
                  </a:lnTo>
                  <a:lnTo>
                    <a:pt x="96" y="4"/>
                  </a:lnTo>
                  <a:lnTo>
                    <a:pt x="74" y="21"/>
                  </a:lnTo>
                  <a:lnTo>
                    <a:pt x="78" y="40"/>
                  </a:lnTo>
                  <a:lnTo>
                    <a:pt x="66" y="33"/>
                  </a:lnTo>
                  <a:lnTo>
                    <a:pt x="30" y="40"/>
                  </a:lnTo>
                  <a:lnTo>
                    <a:pt x="21" y="33"/>
                  </a:lnTo>
                  <a:lnTo>
                    <a:pt x="12" y="45"/>
                  </a:lnTo>
                  <a:lnTo>
                    <a:pt x="6" y="36"/>
                  </a:lnTo>
                  <a:lnTo>
                    <a:pt x="0" y="54"/>
                  </a:lnTo>
                  <a:lnTo>
                    <a:pt x="21" y="61"/>
                  </a:lnTo>
                  <a:lnTo>
                    <a:pt x="36" y="58"/>
                  </a:lnTo>
                  <a:lnTo>
                    <a:pt x="60" y="52"/>
                  </a:lnTo>
                  <a:lnTo>
                    <a:pt x="63" y="67"/>
                  </a:lnTo>
                  <a:lnTo>
                    <a:pt x="78" y="64"/>
                  </a:lnTo>
                  <a:lnTo>
                    <a:pt x="92" y="73"/>
                  </a:lnTo>
                  <a:lnTo>
                    <a:pt x="102" y="69"/>
                  </a:lnTo>
                  <a:lnTo>
                    <a:pt x="125" y="66"/>
                  </a:lnTo>
                  <a:lnTo>
                    <a:pt x="146" y="66"/>
                  </a:lnTo>
                  <a:lnTo>
                    <a:pt x="158" y="54"/>
                  </a:lnTo>
                  <a:lnTo>
                    <a:pt x="162" y="34"/>
                  </a:lnTo>
                  <a:lnTo>
                    <a:pt x="173" y="34"/>
                  </a:lnTo>
                  <a:lnTo>
                    <a:pt x="176" y="21"/>
                  </a:lnTo>
                  <a:lnTo>
                    <a:pt x="162" y="6"/>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7" name="Freeform 160">
              <a:extLst>
                <a:ext uri="{FF2B5EF4-FFF2-40B4-BE49-F238E27FC236}">
                  <a16:creationId xmlns:a16="http://schemas.microsoft.com/office/drawing/2014/main" id="{0848098B-A5C9-0648-8FCB-90D7D6B499A7}"/>
                </a:ext>
              </a:extLst>
            </p:cNvPr>
            <p:cNvSpPr>
              <a:spLocks/>
            </p:cNvSpPr>
            <p:nvPr/>
          </p:nvSpPr>
          <p:spPr bwMode="auto">
            <a:xfrm>
              <a:off x="3039" y="1918"/>
              <a:ext cx="195" cy="182"/>
            </a:xfrm>
            <a:custGeom>
              <a:avLst/>
              <a:gdLst>
                <a:gd name="T0" fmla="*/ 159 w 293"/>
                <a:gd name="T1" fmla="*/ 21 h 275"/>
                <a:gd name="T2" fmla="*/ 147 w 293"/>
                <a:gd name="T3" fmla="*/ 12 h 275"/>
                <a:gd name="T4" fmla="*/ 132 w 293"/>
                <a:gd name="T5" fmla="*/ 14 h 275"/>
                <a:gd name="T6" fmla="*/ 129 w 293"/>
                <a:gd name="T7" fmla="*/ 0 h 275"/>
                <a:gd name="T8" fmla="*/ 87 w 293"/>
                <a:gd name="T9" fmla="*/ 9 h 275"/>
                <a:gd name="T10" fmla="*/ 81 w 293"/>
                <a:gd name="T11" fmla="*/ 24 h 275"/>
                <a:gd name="T12" fmla="*/ 65 w 293"/>
                <a:gd name="T13" fmla="*/ 20 h 275"/>
                <a:gd name="T14" fmla="*/ 53 w 293"/>
                <a:gd name="T15" fmla="*/ 38 h 275"/>
                <a:gd name="T16" fmla="*/ 38 w 293"/>
                <a:gd name="T17" fmla="*/ 18 h 275"/>
                <a:gd name="T18" fmla="*/ 27 w 293"/>
                <a:gd name="T19" fmla="*/ 35 h 275"/>
                <a:gd name="T20" fmla="*/ 6 w 293"/>
                <a:gd name="T21" fmla="*/ 33 h 275"/>
                <a:gd name="T22" fmla="*/ 12 w 293"/>
                <a:gd name="T23" fmla="*/ 53 h 275"/>
                <a:gd name="T24" fmla="*/ 0 w 293"/>
                <a:gd name="T25" fmla="*/ 62 h 275"/>
                <a:gd name="T26" fmla="*/ 9 w 293"/>
                <a:gd name="T27" fmla="*/ 68 h 275"/>
                <a:gd name="T28" fmla="*/ 3 w 293"/>
                <a:gd name="T29" fmla="*/ 81 h 275"/>
                <a:gd name="T30" fmla="*/ 14 w 293"/>
                <a:gd name="T31" fmla="*/ 84 h 275"/>
                <a:gd name="T32" fmla="*/ 20 w 293"/>
                <a:gd name="T33" fmla="*/ 96 h 275"/>
                <a:gd name="T34" fmla="*/ 33 w 293"/>
                <a:gd name="T35" fmla="*/ 96 h 275"/>
                <a:gd name="T36" fmla="*/ 45 w 293"/>
                <a:gd name="T37" fmla="*/ 84 h 275"/>
                <a:gd name="T38" fmla="*/ 68 w 293"/>
                <a:gd name="T39" fmla="*/ 81 h 275"/>
                <a:gd name="T40" fmla="*/ 86 w 293"/>
                <a:gd name="T41" fmla="*/ 93 h 275"/>
                <a:gd name="T42" fmla="*/ 92 w 293"/>
                <a:gd name="T43" fmla="*/ 108 h 275"/>
                <a:gd name="T44" fmla="*/ 101 w 293"/>
                <a:gd name="T45" fmla="*/ 126 h 275"/>
                <a:gd name="T46" fmla="*/ 141 w 293"/>
                <a:gd name="T47" fmla="*/ 158 h 275"/>
                <a:gd name="T48" fmla="*/ 161 w 293"/>
                <a:gd name="T49" fmla="*/ 174 h 275"/>
                <a:gd name="T50" fmla="*/ 180 w 293"/>
                <a:gd name="T51" fmla="*/ 186 h 275"/>
                <a:gd name="T52" fmla="*/ 213 w 293"/>
                <a:gd name="T53" fmla="*/ 213 h 275"/>
                <a:gd name="T54" fmla="*/ 224 w 293"/>
                <a:gd name="T55" fmla="*/ 222 h 275"/>
                <a:gd name="T56" fmla="*/ 218 w 293"/>
                <a:gd name="T57" fmla="*/ 264 h 275"/>
                <a:gd name="T58" fmla="*/ 233 w 293"/>
                <a:gd name="T59" fmla="*/ 267 h 275"/>
                <a:gd name="T60" fmla="*/ 237 w 293"/>
                <a:gd name="T61" fmla="*/ 251 h 275"/>
                <a:gd name="T62" fmla="*/ 248 w 293"/>
                <a:gd name="T63" fmla="*/ 242 h 275"/>
                <a:gd name="T64" fmla="*/ 243 w 293"/>
                <a:gd name="T65" fmla="*/ 224 h 275"/>
                <a:gd name="T66" fmla="*/ 237 w 293"/>
                <a:gd name="T67" fmla="*/ 210 h 275"/>
                <a:gd name="T68" fmla="*/ 251 w 293"/>
                <a:gd name="T69" fmla="*/ 200 h 275"/>
                <a:gd name="T70" fmla="*/ 278 w 293"/>
                <a:gd name="T71" fmla="*/ 215 h 275"/>
                <a:gd name="T72" fmla="*/ 270 w 293"/>
                <a:gd name="T73" fmla="*/ 189 h 275"/>
                <a:gd name="T74" fmla="*/ 240 w 293"/>
                <a:gd name="T75" fmla="*/ 170 h 275"/>
                <a:gd name="T76" fmla="*/ 225 w 293"/>
                <a:gd name="T77" fmla="*/ 165 h 275"/>
                <a:gd name="T78" fmla="*/ 230 w 293"/>
                <a:gd name="T79" fmla="*/ 155 h 275"/>
                <a:gd name="T80" fmla="*/ 191 w 293"/>
                <a:gd name="T81" fmla="*/ 143 h 275"/>
                <a:gd name="T82" fmla="*/ 168 w 293"/>
                <a:gd name="T83" fmla="*/ 120 h 275"/>
                <a:gd name="T84" fmla="*/ 158 w 293"/>
                <a:gd name="T85" fmla="*/ 101 h 275"/>
                <a:gd name="T86" fmla="*/ 132 w 293"/>
                <a:gd name="T87" fmla="*/ 84 h 275"/>
                <a:gd name="T88" fmla="*/ 132 w 293"/>
                <a:gd name="T89" fmla="*/ 53 h 275"/>
                <a:gd name="T90" fmla="*/ 158 w 293"/>
                <a:gd name="T91" fmla="*/ 42 h 275"/>
                <a:gd name="T92" fmla="*/ 159 w 293"/>
                <a:gd name="T93" fmla="*/ 2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3" h="275">
                  <a:moveTo>
                    <a:pt x="159" y="21"/>
                  </a:moveTo>
                  <a:lnTo>
                    <a:pt x="147" y="12"/>
                  </a:lnTo>
                  <a:lnTo>
                    <a:pt x="132" y="14"/>
                  </a:lnTo>
                  <a:lnTo>
                    <a:pt x="129" y="0"/>
                  </a:lnTo>
                  <a:lnTo>
                    <a:pt x="87" y="9"/>
                  </a:lnTo>
                  <a:lnTo>
                    <a:pt x="81" y="24"/>
                  </a:lnTo>
                  <a:lnTo>
                    <a:pt x="65" y="20"/>
                  </a:lnTo>
                  <a:lnTo>
                    <a:pt x="53" y="38"/>
                  </a:lnTo>
                  <a:lnTo>
                    <a:pt x="38" y="18"/>
                  </a:lnTo>
                  <a:lnTo>
                    <a:pt x="27" y="35"/>
                  </a:lnTo>
                  <a:lnTo>
                    <a:pt x="6" y="33"/>
                  </a:lnTo>
                  <a:lnTo>
                    <a:pt x="12" y="53"/>
                  </a:lnTo>
                  <a:lnTo>
                    <a:pt x="0" y="62"/>
                  </a:lnTo>
                  <a:lnTo>
                    <a:pt x="9" y="68"/>
                  </a:lnTo>
                  <a:lnTo>
                    <a:pt x="3" y="81"/>
                  </a:lnTo>
                  <a:lnTo>
                    <a:pt x="14" y="84"/>
                  </a:lnTo>
                  <a:lnTo>
                    <a:pt x="20" y="96"/>
                  </a:lnTo>
                  <a:lnTo>
                    <a:pt x="33" y="96"/>
                  </a:lnTo>
                  <a:lnTo>
                    <a:pt x="45" y="84"/>
                  </a:lnTo>
                  <a:cubicBezTo>
                    <a:pt x="52" y="75"/>
                    <a:pt x="57" y="79"/>
                    <a:pt x="68" y="81"/>
                  </a:cubicBezTo>
                  <a:cubicBezTo>
                    <a:pt x="74" y="85"/>
                    <a:pt x="80" y="89"/>
                    <a:pt x="86" y="93"/>
                  </a:cubicBezTo>
                  <a:cubicBezTo>
                    <a:pt x="87" y="99"/>
                    <a:pt x="88" y="103"/>
                    <a:pt x="92" y="108"/>
                  </a:cubicBezTo>
                  <a:cubicBezTo>
                    <a:pt x="93" y="115"/>
                    <a:pt x="95" y="121"/>
                    <a:pt x="101" y="126"/>
                  </a:cubicBezTo>
                  <a:cubicBezTo>
                    <a:pt x="104" y="141"/>
                    <a:pt x="130" y="149"/>
                    <a:pt x="141" y="158"/>
                  </a:cubicBezTo>
                  <a:cubicBezTo>
                    <a:pt x="145" y="165"/>
                    <a:pt x="153" y="172"/>
                    <a:pt x="161" y="174"/>
                  </a:cubicBezTo>
                  <a:cubicBezTo>
                    <a:pt x="166" y="180"/>
                    <a:pt x="172" y="185"/>
                    <a:pt x="180" y="186"/>
                  </a:cubicBezTo>
                  <a:cubicBezTo>
                    <a:pt x="196" y="192"/>
                    <a:pt x="195" y="210"/>
                    <a:pt x="213" y="213"/>
                  </a:cubicBezTo>
                  <a:cubicBezTo>
                    <a:pt x="219" y="215"/>
                    <a:pt x="221" y="217"/>
                    <a:pt x="224" y="222"/>
                  </a:cubicBezTo>
                  <a:cubicBezTo>
                    <a:pt x="225" y="237"/>
                    <a:pt x="228" y="251"/>
                    <a:pt x="218" y="264"/>
                  </a:cubicBezTo>
                  <a:cubicBezTo>
                    <a:pt x="220" y="275"/>
                    <a:pt x="226" y="271"/>
                    <a:pt x="233" y="267"/>
                  </a:cubicBezTo>
                  <a:cubicBezTo>
                    <a:pt x="238" y="260"/>
                    <a:pt x="242" y="260"/>
                    <a:pt x="237" y="251"/>
                  </a:cubicBezTo>
                  <a:cubicBezTo>
                    <a:pt x="240" y="245"/>
                    <a:pt x="241" y="243"/>
                    <a:pt x="248" y="242"/>
                  </a:cubicBezTo>
                  <a:cubicBezTo>
                    <a:pt x="255" y="233"/>
                    <a:pt x="256" y="227"/>
                    <a:pt x="243" y="224"/>
                  </a:cubicBezTo>
                  <a:cubicBezTo>
                    <a:pt x="242" y="218"/>
                    <a:pt x="239" y="215"/>
                    <a:pt x="237" y="210"/>
                  </a:cubicBezTo>
                  <a:cubicBezTo>
                    <a:pt x="243" y="205"/>
                    <a:pt x="243" y="201"/>
                    <a:pt x="251" y="200"/>
                  </a:cubicBezTo>
                  <a:cubicBezTo>
                    <a:pt x="263" y="201"/>
                    <a:pt x="268" y="209"/>
                    <a:pt x="278" y="215"/>
                  </a:cubicBezTo>
                  <a:cubicBezTo>
                    <a:pt x="293" y="207"/>
                    <a:pt x="279" y="194"/>
                    <a:pt x="270" y="189"/>
                  </a:cubicBezTo>
                  <a:cubicBezTo>
                    <a:pt x="264" y="181"/>
                    <a:pt x="250" y="172"/>
                    <a:pt x="240" y="170"/>
                  </a:cubicBezTo>
                  <a:cubicBezTo>
                    <a:pt x="235" y="168"/>
                    <a:pt x="230" y="167"/>
                    <a:pt x="225" y="165"/>
                  </a:cubicBezTo>
                  <a:cubicBezTo>
                    <a:pt x="220" y="158"/>
                    <a:pt x="226" y="161"/>
                    <a:pt x="230" y="155"/>
                  </a:cubicBezTo>
                  <a:cubicBezTo>
                    <a:pt x="226" y="139"/>
                    <a:pt x="205" y="145"/>
                    <a:pt x="191" y="143"/>
                  </a:cubicBezTo>
                  <a:cubicBezTo>
                    <a:pt x="181" y="139"/>
                    <a:pt x="174" y="129"/>
                    <a:pt x="168" y="120"/>
                  </a:cubicBezTo>
                  <a:cubicBezTo>
                    <a:pt x="167" y="112"/>
                    <a:pt x="164" y="106"/>
                    <a:pt x="158" y="101"/>
                  </a:cubicBezTo>
                  <a:cubicBezTo>
                    <a:pt x="153" y="93"/>
                    <a:pt x="140" y="89"/>
                    <a:pt x="132" y="84"/>
                  </a:cubicBezTo>
                  <a:cubicBezTo>
                    <a:pt x="133" y="73"/>
                    <a:pt x="143" y="60"/>
                    <a:pt x="132" y="53"/>
                  </a:cubicBezTo>
                  <a:cubicBezTo>
                    <a:pt x="135" y="44"/>
                    <a:pt x="158" y="42"/>
                    <a:pt x="158" y="42"/>
                  </a:cubicBezTo>
                  <a:cubicBezTo>
                    <a:pt x="162" y="36"/>
                    <a:pt x="165" y="27"/>
                    <a:pt x="159" y="21"/>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8" name="Freeform 161">
              <a:extLst>
                <a:ext uri="{FF2B5EF4-FFF2-40B4-BE49-F238E27FC236}">
                  <a16:creationId xmlns:a16="http://schemas.microsoft.com/office/drawing/2014/main" id="{6EE9B683-886B-C847-BFF2-88D330BD968F}"/>
                </a:ext>
              </a:extLst>
            </p:cNvPr>
            <p:cNvSpPr>
              <a:spLocks/>
            </p:cNvSpPr>
            <p:nvPr/>
          </p:nvSpPr>
          <p:spPr bwMode="auto">
            <a:xfrm>
              <a:off x="3065" y="1996"/>
              <a:ext cx="21" cy="33"/>
            </a:xfrm>
            <a:custGeom>
              <a:avLst/>
              <a:gdLst>
                <a:gd name="T0" fmla="*/ 27 w 32"/>
                <a:gd name="T1" fmla="*/ 0 h 50"/>
                <a:gd name="T2" fmla="*/ 14 w 32"/>
                <a:gd name="T3" fmla="*/ 9 h 50"/>
                <a:gd name="T4" fmla="*/ 17 w 32"/>
                <a:gd name="T5" fmla="*/ 45 h 50"/>
                <a:gd name="T6" fmla="*/ 26 w 32"/>
                <a:gd name="T7" fmla="*/ 39 h 50"/>
                <a:gd name="T8" fmla="*/ 32 w 32"/>
                <a:gd name="T9" fmla="*/ 18 h 50"/>
                <a:gd name="T10" fmla="*/ 27 w 32"/>
                <a:gd name="T11" fmla="*/ 0 h 50"/>
              </a:gdLst>
              <a:ahLst/>
              <a:cxnLst>
                <a:cxn ang="0">
                  <a:pos x="T0" y="T1"/>
                </a:cxn>
                <a:cxn ang="0">
                  <a:pos x="T2" y="T3"/>
                </a:cxn>
                <a:cxn ang="0">
                  <a:pos x="T4" y="T5"/>
                </a:cxn>
                <a:cxn ang="0">
                  <a:pos x="T6" y="T7"/>
                </a:cxn>
                <a:cxn ang="0">
                  <a:pos x="T8" y="T9"/>
                </a:cxn>
                <a:cxn ang="0">
                  <a:pos x="T10" y="T11"/>
                </a:cxn>
              </a:cxnLst>
              <a:rect l="0" t="0" r="r" b="b"/>
              <a:pathLst>
                <a:path w="32" h="50">
                  <a:moveTo>
                    <a:pt x="27" y="0"/>
                  </a:moveTo>
                  <a:cubicBezTo>
                    <a:pt x="23" y="7"/>
                    <a:pt x="22" y="8"/>
                    <a:pt x="14" y="9"/>
                  </a:cubicBezTo>
                  <a:cubicBezTo>
                    <a:pt x="8" y="20"/>
                    <a:pt x="0" y="42"/>
                    <a:pt x="17" y="45"/>
                  </a:cubicBezTo>
                  <a:cubicBezTo>
                    <a:pt x="23" y="50"/>
                    <a:pt x="22" y="45"/>
                    <a:pt x="26" y="39"/>
                  </a:cubicBezTo>
                  <a:cubicBezTo>
                    <a:pt x="27" y="32"/>
                    <a:pt x="30" y="25"/>
                    <a:pt x="32" y="18"/>
                  </a:cubicBezTo>
                  <a:cubicBezTo>
                    <a:pt x="30" y="3"/>
                    <a:pt x="32" y="9"/>
                    <a:pt x="27"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29" name="Freeform 162">
              <a:extLst>
                <a:ext uri="{FF2B5EF4-FFF2-40B4-BE49-F238E27FC236}">
                  <a16:creationId xmlns:a16="http://schemas.microsoft.com/office/drawing/2014/main" id="{C39348ED-DDFE-1048-B85F-E6AB9FC3F1B0}"/>
                </a:ext>
              </a:extLst>
            </p:cNvPr>
            <p:cNvSpPr>
              <a:spLocks/>
            </p:cNvSpPr>
            <p:nvPr/>
          </p:nvSpPr>
          <p:spPr bwMode="auto">
            <a:xfrm>
              <a:off x="3061" y="2031"/>
              <a:ext cx="29" cy="46"/>
            </a:xfrm>
            <a:custGeom>
              <a:avLst/>
              <a:gdLst>
                <a:gd name="T0" fmla="*/ 30 w 45"/>
                <a:gd name="T1" fmla="*/ 0 h 70"/>
                <a:gd name="T2" fmla="*/ 10 w 45"/>
                <a:gd name="T3" fmla="*/ 10 h 70"/>
                <a:gd name="T4" fmla="*/ 0 w 45"/>
                <a:gd name="T5" fmla="*/ 15 h 70"/>
                <a:gd name="T6" fmla="*/ 9 w 45"/>
                <a:gd name="T7" fmla="*/ 34 h 70"/>
                <a:gd name="T8" fmla="*/ 4 w 45"/>
                <a:gd name="T9" fmla="*/ 55 h 70"/>
                <a:gd name="T10" fmla="*/ 15 w 45"/>
                <a:gd name="T11" fmla="*/ 70 h 70"/>
                <a:gd name="T12" fmla="*/ 36 w 45"/>
                <a:gd name="T13" fmla="*/ 61 h 70"/>
                <a:gd name="T14" fmla="*/ 42 w 45"/>
                <a:gd name="T15" fmla="*/ 52 h 70"/>
                <a:gd name="T16" fmla="*/ 39 w 45"/>
                <a:gd name="T17" fmla="*/ 34 h 70"/>
                <a:gd name="T18" fmla="*/ 45 w 45"/>
                <a:gd name="T19" fmla="*/ 19 h 70"/>
                <a:gd name="T20" fmla="*/ 36 w 45"/>
                <a:gd name="T21" fmla="*/ 7 h 70"/>
                <a:gd name="T22" fmla="*/ 30 w 45"/>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70">
                  <a:moveTo>
                    <a:pt x="30" y="0"/>
                  </a:moveTo>
                  <a:cubicBezTo>
                    <a:pt x="23" y="4"/>
                    <a:pt x="18" y="9"/>
                    <a:pt x="10" y="10"/>
                  </a:cubicBezTo>
                  <a:cubicBezTo>
                    <a:pt x="3" y="5"/>
                    <a:pt x="1" y="8"/>
                    <a:pt x="0" y="15"/>
                  </a:cubicBezTo>
                  <a:cubicBezTo>
                    <a:pt x="1" y="22"/>
                    <a:pt x="6" y="27"/>
                    <a:pt x="9" y="34"/>
                  </a:cubicBezTo>
                  <a:cubicBezTo>
                    <a:pt x="10" y="41"/>
                    <a:pt x="7" y="49"/>
                    <a:pt x="4" y="55"/>
                  </a:cubicBezTo>
                  <a:cubicBezTo>
                    <a:pt x="6" y="66"/>
                    <a:pt x="5" y="68"/>
                    <a:pt x="15" y="70"/>
                  </a:cubicBezTo>
                  <a:cubicBezTo>
                    <a:pt x="25" y="63"/>
                    <a:pt x="19" y="63"/>
                    <a:pt x="36" y="61"/>
                  </a:cubicBezTo>
                  <a:cubicBezTo>
                    <a:pt x="37" y="60"/>
                    <a:pt x="42" y="53"/>
                    <a:pt x="42" y="52"/>
                  </a:cubicBezTo>
                  <a:cubicBezTo>
                    <a:pt x="42" y="46"/>
                    <a:pt x="39" y="34"/>
                    <a:pt x="39" y="34"/>
                  </a:cubicBezTo>
                  <a:cubicBezTo>
                    <a:pt x="40" y="28"/>
                    <a:pt x="42" y="25"/>
                    <a:pt x="45" y="19"/>
                  </a:cubicBezTo>
                  <a:cubicBezTo>
                    <a:pt x="42" y="14"/>
                    <a:pt x="41" y="10"/>
                    <a:pt x="36" y="7"/>
                  </a:cubicBezTo>
                  <a:cubicBezTo>
                    <a:pt x="35" y="4"/>
                    <a:pt x="30" y="0"/>
                    <a:pt x="30"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0" name="Freeform 163">
              <a:extLst>
                <a:ext uri="{FF2B5EF4-FFF2-40B4-BE49-F238E27FC236}">
                  <a16:creationId xmlns:a16="http://schemas.microsoft.com/office/drawing/2014/main" id="{C9C48CD0-0969-C74F-A35B-53F3528416D5}"/>
                </a:ext>
              </a:extLst>
            </p:cNvPr>
            <p:cNvSpPr>
              <a:spLocks/>
            </p:cNvSpPr>
            <p:nvPr/>
          </p:nvSpPr>
          <p:spPr bwMode="auto">
            <a:xfrm>
              <a:off x="2972" y="2055"/>
              <a:ext cx="16" cy="16"/>
            </a:xfrm>
            <a:custGeom>
              <a:avLst/>
              <a:gdLst>
                <a:gd name="T0" fmla="*/ 20 w 25"/>
                <a:gd name="T1" fmla="*/ 3 h 24"/>
                <a:gd name="T2" fmla="*/ 3 w 25"/>
                <a:gd name="T3" fmla="*/ 6 h 24"/>
                <a:gd name="T4" fmla="*/ 11 w 25"/>
                <a:gd name="T5" fmla="*/ 19 h 24"/>
                <a:gd name="T6" fmla="*/ 23 w 25"/>
                <a:gd name="T7" fmla="*/ 18 h 24"/>
                <a:gd name="T8" fmla="*/ 20 w 25"/>
                <a:gd name="T9" fmla="*/ 3 h 24"/>
              </a:gdLst>
              <a:ahLst/>
              <a:cxnLst>
                <a:cxn ang="0">
                  <a:pos x="T0" y="T1"/>
                </a:cxn>
                <a:cxn ang="0">
                  <a:pos x="T2" y="T3"/>
                </a:cxn>
                <a:cxn ang="0">
                  <a:pos x="T4" y="T5"/>
                </a:cxn>
                <a:cxn ang="0">
                  <a:pos x="T6" y="T7"/>
                </a:cxn>
                <a:cxn ang="0">
                  <a:pos x="T8" y="T9"/>
                </a:cxn>
              </a:cxnLst>
              <a:rect l="0" t="0" r="r" b="b"/>
              <a:pathLst>
                <a:path w="25" h="24">
                  <a:moveTo>
                    <a:pt x="20" y="3"/>
                  </a:moveTo>
                  <a:cubicBezTo>
                    <a:pt x="14" y="3"/>
                    <a:pt x="4" y="0"/>
                    <a:pt x="3" y="6"/>
                  </a:cubicBezTo>
                  <a:cubicBezTo>
                    <a:pt x="0" y="19"/>
                    <a:pt x="4" y="18"/>
                    <a:pt x="11" y="19"/>
                  </a:cubicBezTo>
                  <a:cubicBezTo>
                    <a:pt x="17" y="22"/>
                    <a:pt x="19" y="24"/>
                    <a:pt x="23" y="18"/>
                  </a:cubicBezTo>
                  <a:cubicBezTo>
                    <a:pt x="24" y="12"/>
                    <a:pt x="25" y="8"/>
                    <a:pt x="20" y="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1" name="Freeform 164">
              <a:extLst>
                <a:ext uri="{FF2B5EF4-FFF2-40B4-BE49-F238E27FC236}">
                  <a16:creationId xmlns:a16="http://schemas.microsoft.com/office/drawing/2014/main" id="{12D7A2B3-E83C-3D4A-9FE5-84C771633688}"/>
                </a:ext>
              </a:extLst>
            </p:cNvPr>
            <p:cNvSpPr>
              <a:spLocks/>
            </p:cNvSpPr>
            <p:nvPr/>
          </p:nvSpPr>
          <p:spPr bwMode="auto">
            <a:xfrm>
              <a:off x="3128" y="2087"/>
              <a:ext cx="55" cy="35"/>
            </a:xfrm>
            <a:custGeom>
              <a:avLst/>
              <a:gdLst>
                <a:gd name="T0" fmla="*/ 80 w 84"/>
                <a:gd name="T1" fmla="*/ 2 h 53"/>
                <a:gd name="T2" fmla="*/ 59 w 84"/>
                <a:gd name="T3" fmla="*/ 11 h 53"/>
                <a:gd name="T4" fmla="*/ 26 w 84"/>
                <a:gd name="T5" fmla="*/ 0 h 53"/>
                <a:gd name="T6" fmla="*/ 14 w 84"/>
                <a:gd name="T7" fmla="*/ 11 h 53"/>
                <a:gd name="T8" fmla="*/ 16 w 84"/>
                <a:gd name="T9" fmla="*/ 24 h 53"/>
                <a:gd name="T10" fmla="*/ 49 w 84"/>
                <a:gd name="T11" fmla="*/ 41 h 53"/>
                <a:gd name="T12" fmla="*/ 67 w 84"/>
                <a:gd name="T13" fmla="*/ 53 h 53"/>
                <a:gd name="T14" fmla="*/ 73 w 84"/>
                <a:gd name="T15" fmla="*/ 27 h 53"/>
                <a:gd name="T16" fmla="*/ 80 w 84"/>
                <a:gd name="T17"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3">
                  <a:moveTo>
                    <a:pt x="80" y="2"/>
                  </a:moveTo>
                  <a:cubicBezTo>
                    <a:pt x="72" y="3"/>
                    <a:pt x="67" y="8"/>
                    <a:pt x="59" y="11"/>
                  </a:cubicBezTo>
                  <a:cubicBezTo>
                    <a:pt x="33" y="9"/>
                    <a:pt x="43" y="7"/>
                    <a:pt x="26" y="0"/>
                  </a:cubicBezTo>
                  <a:cubicBezTo>
                    <a:pt x="17" y="3"/>
                    <a:pt x="22" y="6"/>
                    <a:pt x="14" y="11"/>
                  </a:cubicBezTo>
                  <a:cubicBezTo>
                    <a:pt x="2" y="2"/>
                    <a:pt x="0" y="21"/>
                    <a:pt x="16" y="24"/>
                  </a:cubicBezTo>
                  <a:cubicBezTo>
                    <a:pt x="28" y="30"/>
                    <a:pt x="37" y="37"/>
                    <a:pt x="49" y="41"/>
                  </a:cubicBezTo>
                  <a:cubicBezTo>
                    <a:pt x="55" y="45"/>
                    <a:pt x="61" y="49"/>
                    <a:pt x="67" y="53"/>
                  </a:cubicBezTo>
                  <a:cubicBezTo>
                    <a:pt x="81" y="48"/>
                    <a:pt x="75" y="39"/>
                    <a:pt x="73" y="27"/>
                  </a:cubicBezTo>
                  <a:cubicBezTo>
                    <a:pt x="75" y="17"/>
                    <a:pt x="84" y="14"/>
                    <a:pt x="80" y="2"/>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2" name="Freeform 165">
              <a:extLst>
                <a:ext uri="{FF2B5EF4-FFF2-40B4-BE49-F238E27FC236}">
                  <a16:creationId xmlns:a16="http://schemas.microsoft.com/office/drawing/2014/main" id="{C4D1A942-3656-FE4E-AECC-718163768C7E}"/>
                </a:ext>
              </a:extLst>
            </p:cNvPr>
            <p:cNvSpPr>
              <a:spLocks/>
            </p:cNvSpPr>
            <p:nvPr/>
          </p:nvSpPr>
          <p:spPr bwMode="auto">
            <a:xfrm>
              <a:off x="3147" y="1922"/>
              <a:ext cx="45" cy="27"/>
            </a:xfrm>
            <a:custGeom>
              <a:avLst/>
              <a:gdLst>
                <a:gd name="T0" fmla="*/ 60 w 68"/>
                <a:gd name="T1" fmla="*/ 0 h 41"/>
                <a:gd name="T2" fmla="*/ 51 w 68"/>
                <a:gd name="T3" fmla="*/ 8 h 41"/>
                <a:gd name="T4" fmla="*/ 23 w 68"/>
                <a:gd name="T5" fmla="*/ 9 h 41"/>
                <a:gd name="T6" fmla="*/ 3 w 68"/>
                <a:gd name="T7" fmla="*/ 12 h 41"/>
                <a:gd name="T8" fmla="*/ 0 w 68"/>
                <a:gd name="T9" fmla="*/ 26 h 41"/>
                <a:gd name="T10" fmla="*/ 8 w 68"/>
                <a:gd name="T11" fmla="*/ 39 h 41"/>
                <a:gd name="T12" fmla="*/ 24 w 68"/>
                <a:gd name="T13" fmla="*/ 35 h 41"/>
                <a:gd name="T14" fmla="*/ 41 w 68"/>
                <a:gd name="T15" fmla="*/ 41 h 41"/>
                <a:gd name="T16" fmla="*/ 41 w 68"/>
                <a:gd name="T17" fmla="*/ 30 h 41"/>
                <a:gd name="T18" fmla="*/ 51 w 68"/>
                <a:gd name="T19" fmla="*/ 30 h 41"/>
                <a:gd name="T20" fmla="*/ 68 w 68"/>
                <a:gd name="T21" fmla="*/ 6 h 41"/>
                <a:gd name="T22" fmla="*/ 60 w 68"/>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41">
                  <a:moveTo>
                    <a:pt x="60" y="0"/>
                  </a:moveTo>
                  <a:lnTo>
                    <a:pt x="51" y="8"/>
                  </a:lnTo>
                  <a:lnTo>
                    <a:pt x="23" y="9"/>
                  </a:lnTo>
                  <a:lnTo>
                    <a:pt x="3" y="12"/>
                  </a:lnTo>
                  <a:lnTo>
                    <a:pt x="0" y="26"/>
                  </a:lnTo>
                  <a:lnTo>
                    <a:pt x="8" y="39"/>
                  </a:lnTo>
                  <a:lnTo>
                    <a:pt x="24" y="35"/>
                  </a:lnTo>
                  <a:lnTo>
                    <a:pt x="41" y="41"/>
                  </a:lnTo>
                  <a:lnTo>
                    <a:pt x="41" y="30"/>
                  </a:lnTo>
                  <a:lnTo>
                    <a:pt x="51" y="30"/>
                  </a:lnTo>
                  <a:lnTo>
                    <a:pt x="68" y="6"/>
                  </a:lnTo>
                  <a:lnTo>
                    <a:pt x="60" y="0"/>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3" name="Freeform 166">
              <a:extLst>
                <a:ext uri="{FF2B5EF4-FFF2-40B4-BE49-F238E27FC236}">
                  <a16:creationId xmlns:a16="http://schemas.microsoft.com/office/drawing/2014/main" id="{410DA4F7-9C2F-C144-B35A-DE61A088D79F}"/>
                </a:ext>
              </a:extLst>
            </p:cNvPr>
            <p:cNvSpPr>
              <a:spLocks/>
            </p:cNvSpPr>
            <p:nvPr/>
          </p:nvSpPr>
          <p:spPr bwMode="auto">
            <a:xfrm>
              <a:off x="3152" y="1926"/>
              <a:ext cx="82" cy="66"/>
            </a:xfrm>
            <a:custGeom>
              <a:avLst/>
              <a:gdLst>
                <a:gd name="T0" fmla="*/ 45 w 123"/>
                <a:gd name="T1" fmla="*/ 54 h 99"/>
                <a:gd name="T2" fmla="*/ 66 w 123"/>
                <a:gd name="T3" fmla="*/ 80 h 99"/>
                <a:gd name="T4" fmla="*/ 67 w 123"/>
                <a:gd name="T5" fmla="*/ 99 h 99"/>
                <a:gd name="T6" fmla="*/ 48 w 123"/>
                <a:gd name="T7" fmla="*/ 89 h 99"/>
                <a:gd name="T8" fmla="*/ 28 w 123"/>
                <a:gd name="T9" fmla="*/ 68 h 99"/>
                <a:gd name="T10" fmla="*/ 10 w 123"/>
                <a:gd name="T11" fmla="*/ 53 h 99"/>
                <a:gd name="T12" fmla="*/ 0 w 123"/>
                <a:gd name="T13" fmla="*/ 33 h 99"/>
                <a:gd name="T14" fmla="*/ 16 w 123"/>
                <a:gd name="T15" fmla="*/ 29 h 99"/>
                <a:gd name="T16" fmla="*/ 33 w 123"/>
                <a:gd name="T17" fmla="*/ 35 h 99"/>
                <a:gd name="T18" fmla="*/ 33 w 123"/>
                <a:gd name="T19" fmla="*/ 24 h 99"/>
                <a:gd name="T20" fmla="*/ 43 w 123"/>
                <a:gd name="T21" fmla="*/ 24 h 99"/>
                <a:gd name="T22" fmla="*/ 60 w 123"/>
                <a:gd name="T23" fmla="*/ 0 h 99"/>
                <a:gd name="T24" fmla="*/ 75 w 123"/>
                <a:gd name="T25" fmla="*/ 18 h 99"/>
                <a:gd name="T26" fmla="*/ 91 w 123"/>
                <a:gd name="T27" fmla="*/ 29 h 99"/>
                <a:gd name="T28" fmla="*/ 115 w 123"/>
                <a:gd name="T29" fmla="*/ 26 h 99"/>
                <a:gd name="T30" fmla="*/ 123 w 123"/>
                <a:gd name="T31" fmla="*/ 53 h 99"/>
                <a:gd name="T32" fmla="*/ 94 w 123"/>
                <a:gd name="T33" fmla="*/ 47 h 99"/>
                <a:gd name="T34" fmla="*/ 69 w 123"/>
                <a:gd name="T35" fmla="*/ 41 h 99"/>
                <a:gd name="T36" fmla="*/ 58 w 123"/>
                <a:gd name="T37" fmla="*/ 47 h 99"/>
                <a:gd name="T38" fmla="*/ 43 w 123"/>
                <a:gd name="T39" fmla="*/ 44 h 99"/>
                <a:gd name="T40" fmla="*/ 45 w 123"/>
                <a:gd name="T41" fmla="*/ 5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9">
                  <a:moveTo>
                    <a:pt x="45" y="54"/>
                  </a:moveTo>
                  <a:lnTo>
                    <a:pt x="66" y="80"/>
                  </a:lnTo>
                  <a:lnTo>
                    <a:pt x="67" y="99"/>
                  </a:lnTo>
                  <a:lnTo>
                    <a:pt x="48" y="89"/>
                  </a:lnTo>
                  <a:lnTo>
                    <a:pt x="28" y="68"/>
                  </a:lnTo>
                  <a:lnTo>
                    <a:pt x="10" y="53"/>
                  </a:lnTo>
                  <a:lnTo>
                    <a:pt x="0" y="33"/>
                  </a:lnTo>
                  <a:lnTo>
                    <a:pt x="16" y="29"/>
                  </a:lnTo>
                  <a:lnTo>
                    <a:pt x="33" y="35"/>
                  </a:lnTo>
                  <a:lnTo>
                    <a:pt x="33" y="24"/>
                  </a:lnTo>
                  <a:lnTo>
                    <a:pt x="43" y="24"/>
                  </a:lnTo>
                  <a:lnTo>
                    <a:pt x="60" y="0"/>
                  </a:lnTo>
                  <a:lnTo>
                    <a:pt x="75" y="18"/>
                  </a:lnTo>
                  <a:lnTo>
                    <a:pt x="91" y="29"/>
                  </a:lnTo>
                  <a:lnTo>
                    <a:pt x="115" y="26"/>
                  </a:lnTo>
                  <a:lnTo>
                    <a:pt x="123" y="53"/>
                  </a:lnTo>
                  <a:lnTo>
                    <a:pt x="94" y="47"/>
                  </a:lnTo>
                  <a:lnTo>
                    <a:pt x="69" y="41"/>
                  </a:lnTo>
                  <a:lnTo>
                    <a:pt x="58" y="47"/>
                  </a:lnTo>
                  <a:lnTo>
                    <a:pt x="43" y="44"/>
                  </a:lnTo>
                  <a:lnTo>
                    <a:pt x="45" y="54"/>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4" name="Freeform 167">
              <a:extLst>
                <a:ext uri="{FF2B5EF4-FFF2-40B4-BE49-F238E27FC236}">
                  <a16:creationId xmlns:a16="http://schemas.microsoft.com/office/drawing/2014/main" id="{ADD2DE87-9275-974D-A751-8CE46D4338AE}"/>
                </a:ext>
              </a:extLst>
            </p:cNvPr>
            <p:cNvSpPr>
              <a:spLocks/>
            </p:cNvSpPr>
            <p:nvPr/>
          </p:nvSpPr>
          <p:spPr bwMode="auto">
            <a:xfrm>
              <a:off x="3179" y="1952"/>
              <a:ext cx="61" cy="54"/>
            </a:xfrm>
            <a:custGeom>
              <a:avLst/>
              <a:gdLst>
                <a:gd name="T0" fmla="*/ 27 w 93"/>
                <a:gd name="T1" fmla="*/ 59 h 81"/>
                <a:gd name="T2" fmla="*/ 72 w 93"/>
                <a:gd name="T3" fmla="*/ 81 h 81"/>
                <a:gd name="T4" fmla="*/ 72 w 93"/>
                <a:gd name="T5" fmla="*/ 62 h 81"/>
                <a:gd name="T6" fmla="*/ 93 w 93"/>
                <a:gd name="T7" fmla="*/ 50 h 81"/>
                <a:gd name="T8" fmla="*/ 89 w 93"/>
                <a:gd name="T9" fmla="*/ 41 h 81"/>
                <a:gd name="T10" fmla="*/ 83 w 93"/>
                <a:gd name="T11" fmla="*/ 26 h 81"/>
                <a:gd name="T12" fmla="*/ 83 w 93"/>
                <a:gd name="T13" fmla="*/ 12 h 81"/>
                <a:gd name="T14" fmla="*/ 51 w 93"/>
                <a:gd name="T15" fmla="*/ 8 h 81"/>
                <a:gd name="T16" fmla="*/ 27 w 93"/>
                <a:gd name="T17" fmla="*/ 0 h 81"/>
                <a:gd name="T18" fmla="*/ 18 w 93"/>
                <a:gd name="T19" fmla="*/ 8 h 81"/>
                <a:gd name="T20" fmla="*/ 0 w 93"/>
                <a:gd name="T21" fmla="*/ 8 h 81"/>
                <a:gd name="T22" fmla="*/ 26 w 93"/>
                <a:gd name="T23" fmla="*/ 42 h 81"/>
                <a:gd name="T24" fmla="*/ 27 w 93"/>
                <a:gd name="T25" fmla="*/ 5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81">
                  <a:moveTo>
                    <a:pt x="27" y="59"/>
                  </a:moveTo>
                  <a:lnTo>
                    <a:pt x="72" y="81"/>
                  </a:lnTo>
                  <a:lnTo>
                    <a:pt x="72" y="62"/>
                  </a:lnTo>
                  <a:lnTo>
                    <a:pt x="93" y="50"/>
                  </a:lnTo>
                  <a:lnTo>
                    <a:pt x="89" y="41"/>
                  </a:lnTo>
                  <a:lnTo>
                    <a:pt x="83" y="26"/>
                  </a:lnTo>
                  <a:lnTo>
                    <a:pt x="83" y="12"/>
                  </a:lnTo>
                  <a:lnTo>
                    <a:pt x="51" y="8"/>
                  </a:lnTo>
                  <a:lnTo>
                    <a:pt x="27" y="0"/>
                  </a:lnTo>
                  <a:lnTo>
                    <a:pt x="18" y="8"/>
                  </a:lnTo>
                  <a:lnTo>
                    <a:pt x="0" y="8"/>
                  </a:lnTo>
                  <a:lnTo>
                    <a:pt x="26" y="42"/>
                  </a:lnTo>
                  <a:lnTo>
                    <a:pt x="27" y="59"/>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5" name="Freeform 168">
              <a:extLst>
                <a:ext uri="{FF2B5EF4-FFF2-40B4-BE49-F238E27FC236}">
                  <a16:creationId xmlns:a16="http://schemas.microsoft.com/office/drawing/2014/main" id="{5A490583-0763-EE42-BBC3-1F72527F7EAC}"/>
                </a:ext>
              </a:extLst>
            </p:cNvPr>
            <p:cNvSpPr>
              <a:spLocks/>
            </p:cNvSpPr>
            <p:nvPr/>
          </p:nvSpPr>
          <p:spPr bwMode="auto">
            <a:xfrm>
              <a:off x="3228" y="1934"/>
              <a:ext cx="65" cy="90"/>
            </a:xfrm>
            <a:custGeom>
              <a:avLst/>
              <a:gdLst>
                <a:gd name="T0" fmla="*/ 0 w 65"/>
                <a:gd name="T1" fmla="*/ 8 h 90"/>
                <a:gd name="T2" fmla="*/ 13 w 65"/>
                <a:gd name="T3" fmla="*/ 0 h 90"/>
                <a:gd name="T4" fmla="*/ 30 w 65"/>
                <a:gd name="T5" fmla="*/ 8 h 90"/>
                <a:gd name="T6" fmla="*/ 31 w 65"/>
                <a:gd name="T7" fmla="*/ 17 h 90"/>
                <a:gd name="T8" fmla="*/ 42 w 65"/>
                <a:gd name="T9" fmla="*/ 17 h 90"/>
                <a:gd name="T10" fmla="*/ 45 w 65"/>
                <a:gd name="T11" fmla="*/ 31 h 90"/>
                <a:gd name="T12" fmla="*/ 61 w 65"/>
                <a:gd name="T13" fmla="*/ 33 h 90"/>
                <a:gd name="T14" fmla="*/ 62 w 65"/>
                <a:gd name="T15" fmla="*/ 42 h 90"/>
                <a:gd name="T16" fmla="*/ 56 w 65"/>
                <a:gd name="T17" fmla="*/ 46 h 90"/>
                <a:gd name="T18" fmla="*/ 59 w 65"/>
                <a:gd name="T19" fmla="*/ 56 h 90"/>
                <a:gd name="T20" fmla="*/ 65 w 65"/>
                <a:gd name="T21" fmla="*/ 60 h 90"/>
                <a:gd name="T22" fmla="*/ 57 w 65"/>
                <a:gd name="T23" fmla="*/ 68 h 90"/>
                <a:gd name="T24" fmla="*/ 59 w 65"/>
                <a:gd name="T25" fmla="*/ 79 h 90"/>
                <a:gd name="T26" fmla="*/ 46 w 65"/>
                <a:gd name="T27" fmla="*/ 77 h 90"/>
                <a:gd name="T28" fmla="*/ 35 w 65"/>
                <a:gd name="T29" fmla="*/ 83 h 90"/>
                <a:gd name="T30" fmla="*/ 30 w 65"/>
                <a:gd name="T31" fmla="*/ 90 h 90"/>
                <a:gd name="T32" fmla="*/ 30 w 65"/>
                <a:gd name="T33" fmla="*/ 79 h 90"/>
                <a:gd name="T34" fmla="*/ 20 w 65"/>
                <a:gd name="T35" fmla="*/ 72 h 90"/>
                <a:gd name="T36" fmla="*/ 12 w 65"/>
                <a:gd name="T37" fmla="*/ 51 h 90"/>
                <a:gd name="T38" fmla="*/ 8 w 65"/>
                <a:gd name="T39" fmla="*/ 44 h 90"/>
                <a:gd name="T40" fmla="*/ 5 w 65"/>
                <a:gd name="T41" fmla="*/ 34 h 90"/>
                <a:gd name="T42" fmla="*/ 5 w 65"/>
                <a:gd name="T43" fmla="*/ 25 h 90"/>
                <a:gd name="T44" fmla="*/ 0 w 65"/>
                <a:gd name="T45"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90">
                  <a:moveTo>
                    <a:pt x="0" y="8"/>
                  </a:moveTo>
                  <a:lnTo>
                    <a:pt x="13" y="0"/>
                  </a:lnTo>
                  <a:lnTo>
                    <a:pt x="30" y="8"/>
                  </a:lnTo>
                  <a:lnTo>
                    <a:pt x="31" y="17"/>
                  </a:lnTo>
                  <a:lnTo>
                    <a:pt x="42" y="17"/>
                  </a:lnTo>
                  <a:lnTo>
                    <a:pt x="45" y="31"/>
                  </a:lnTo>
                  <a:lnTo>
                    <a:pt x="61" y="33"/>
                  </a:lnTo>
                  <a:lnTo>
                    <a:pt x="62" y="42"/>
                  </a:lnTo>
                  <a:lnTo>
                    <a:pt x="56" y="46"/>
                  </a:lnTo>
                  <a:lnTo>
                    <a:pt x="59" y="56"/>
                  </a:lnTo>
                  <a:lnTo>
                    <a:pt x="65" y="60"/>
                  </a:lnTo>
                  <a:lnTo>
                    <a:pt x="57" y="68"/>
                  </a:lnTo>
                  <a:lnTo>
                    <a:pt x="59" y="79"/>
                  </a:lnTo>
                  <a:lnTo>
                    <a:pt x="46" y="77"/>
                  </a:lnTo>
                  <a:lnTo>
                    <a:pt x="35" y="83"/>
                  </a:lnTo>
                  <a:lnTo>
                    <a:pt x="30" y="90"/>
                  </a:lnTo>
                  <a:lnTo>
                    <a:pt x="30" y="79"/>
                  </a:lnTo>
                  <a:lnTo>
                    <a:pt x="20" y="72"/>
                  </a:lnTo>
                  <a:lnTo>
                    <a:pt x="12" y="51"/>
                  </a:lnTo>
                  <a:lnTo>
                    <a:pt x="8" y="44"/>
                  </a:lnTo>
                  <a:lnTo>
                    <a:pt x="5" y="34"/>
                  </a:lnTo>
                  <a:lnTo>
                    <a:pt x="5" y="25"/>
                  </a:lnTo>
                  <a:lnTo>
                    <a:pt x="0" y="8"/>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6" name="Freeform 169">
              <a:extLst>
                <a:ext uri="{FF2B5EF4-FFF2-40B4-BE49-F238E27FC236}">
                  <a16:creationId xmlns:a16="http://schemas.microsoft.com/office/drawing/2014/main" id="{245B5050-5AF0-7542-A675-E25C1BDAEECF}"/>
                </a:ext>
              </a:extLst>
            </p:cNvPr>
            <p:cNvSpPr>
              <a:spLocks/>
            </p:cNvSpPr>
            <p:nvPr/>
          </p:nvSpPr>
          <p:spPr bwMode="auto">
            <a:xfrm>
              <a:off x="3236" y="2006"/>
              <a:ext cx="31" cy="57"/>
            </a:xfrm>
            <a:custGeom>
              <a:avLst/>
              <a:gdLst>
                <a:gd name="T0" fmla="*/ 0 w 47"/>
                <a:gd name="T1" fmla="*/ 11 h 86"/>
                <a:gd name="T2" fmla="*/ 17 w 47"/>
                <a:gd name="T3" fmla="*/ 0 h 86"/>
                <a:gd name="T4" fmla="*/ 32 w 47"/>
                <a:gd name="T5" fmla="*/ 9 h 86"/>
                <a:gd name="T6" fmla="*/ 33 w 47"/>
                <a:gd name="T7" fmla="*/ 26 h 86"/>
                <a:gd name="T8" fmla="*/ 32 w 47"/>
                <a:gd name="T9" fmla="*/ 42 h 86"/>
                <a:gd name="T10" fmla="*/ 47 w 47"/>
                <a:gd name="T11" fmla="*/ 56 h 86"/>
                <a:gd name="T12" fmla="*/ 27 w 47"/>
                <a:gd name="T13" fmla="*/ 86 h 86"/>
                <a:gd name="T14" fmla="*/ 17 w 47"/>
                <a:gd name="T15" fmla="*/ 74 h 86"/>
                <a:gd name="T16" fmla="*/ 5 w 47"/>
                <a:gd name="T17" fmla="*/ 66 h 86"/>
                <a:gd name="T18" fmla="*/ 6 w 47"/>
                <a:gd name="T19" fmla="*/ 48 h 86"/>
                <a:gd name="T20" fmla="*/ 8 w 47"/>
                <a:gd name="T21" fmla="*/ 35 h 86"/>
                <a:gd name="T22" fmla="*/ 9 w 47"/>
                <a:gd name="T23" fmla="*/ 23 h 86"/>
                <a:gd name="T24" fmla="*/ 0 w 47"/>
                <a:gd name="T25" fmla="*/ 1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86">
                  <a:moveTo>
                    <a:pt x="0" y="11"/>
                  </a:moveTo>
                  <a:lnTo>
                    <a:pt x="17" y="0"/>
                  </a:lnTo>
                  <a:lnTo>
                    <a:pt x="32" y="9"/>
                  </a:lnTo>
                  <a:lnTo>
                    <a:pt x="33" y="26"/>
                  </a:lnTo>
                  <a:lnTo>
                    <a:pt x="32" y="42"/>
                  </a:lnTo>
                  <a:lnTo>
                    <a:pt x="47" y="56"/>
                  </a:lnTo>
                  <a:lnTo>
                    <a:pt x="27" y="86"/>
                  </a:lnTo>
                  <a:lnTo>
                    <a:pt x="17" y="74"/>
                  </a:lnTo>
                  <a:lnTo>
                    <a:pt x="5" y="66"/>
                  </a:lnTo>
                  <a:lnTo>
                    <a:pt x="6" y="48"/>
                  </a:lnTo>
                  <a:lnTo>
                    <a:pt x="8" y="35"/>
                  </a:lnTo>
                  <a:lnTo>
                    <a:pt x="9" y="23"/>
                  </a:lnTo>
                  <a:lnTo>
                    <a:pt x="0" y="11"/>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7" name="Freeform 170">
              <a:extLst>
                <a:ext uri="{FF2B5EF4-FFF2-40B4-BE49-F238E27FC236}">
                  <a16:creationId xmlns:a16="http://schemas.microsoft.com/office/drawing/2014/main" id="{3CFE9ACD-6C02-D14C-8EEA-CCE1586EAE94}"/>
                </a:ext>
              </a:extLst>
            </p:cNvPr>
            <p:cNvSpPr>
              <a:spLocks/>
            </p:cNvSpPr>
            <p:nvPr/>
          </p:nvSpPr>
          <p:spPr bwMode="auto">
            <a:xfrm>
              <a:off x="3258" y="2010"/>
              <a:ext cx="38" cy="31"/>
            </a:xfrm>
            <a:custGeom>
              <a:avLst/>
              <a:gdLst>
                <a:gd name="T0" fmla="*/ 0 w 57"/>
                <a:gd name="T1" fmla="*/ 18 h 48"/>
                <a:gd name="T2" fmla="*/ 12 w 57"/>
                <a:gd name="T3" fmla="*/ 8 h 48"/>
                <a:gd name="T4" fmla="*/ 24 w 57"/>
                <a:gd name="T5" fmla="*/ 0 h 48"/>
                <a:gd name="T6" fmla="*/ 44 w 57"/>
                <a:gd name="T7" fmla="*/ 5 h 48"/>
                <a:gd name="T8" fmla="*/ 57 w 57"/>
                <a:gd name="T9" fmla="*/ 14 h 48"/>
                <a:gd name="T10" fmla="*/ 54 w 57"/>
                <a:gd name="T11" fmla="*/ 32 h 48"/>
                <a:gd name="T12" fmla="*/ 36 w 57"/>
                <a:gd name="T13" fmla="*/ 35 h 48"/>
                <a:gd name="T14" fmla="*/ 14 w 57"/>
                <a:gd name="T15" fmla="*/ 48 h 48"/>
                <a:gd name="T16" fmla="*/ 0 w 57"/>
                <a:gd name="T17" fmla="*/ 36 h 48"/>
                <a:gd name="T18" fmla="*/ 0 w 57"/>
                <a:gd name="T19"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8">
                  <a:moveTo>
                    <a:pt x="0" y="18"/>
                  </a:moveTo>
                  <a:lnTo>
                    <a:pt x="12" y="8"/>
                  </a:lnTo>
                  <a:lnTo>
                    <a:pt x="24" y="0"/>
                  </a:lnTo>
                  <a:lnTo>
                    <a:pt x="44" y="5"/>
                  </a:lnTo>
                  <a:lnTo>
                    <a:pt x="57" y="14"/>
                  </a:lnTo>
                  <a:lnTo>
                    <a:pt x="54" y="32"/>
                  </a:lnTo>
                  <a:lnTo>
                    <a:pt x="36" y="35"/>
                  </a:lnTo>
                  <a:lnTo>
                    <a:pt x="14" y="48"/>
                  </a:lnTo>
                  <a:lnTo>
                    <a:pt x="0" y="36"/>
                  </a:lnTo>
                  <a:lnTo>
                    <a:pt x="0" y="1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8" name="Freeform 171">
              <a:extLst>
                <a:ext uri="{FF2B5EF4-FFF2-40B4-BE49-F238E27FC236}">
                  <a16:creationId xmlns:a16="http://schemas.microsoft.com/office/drawing/2014/main" id="{09EA27C9-E383-3847-BF0D-485CAD26C07B}"/>
                </a:ext>
              </a:extLst>
            </p:cNvPr>
            <p:cNvSpPr>
              <a:spLocks/>
            </p:cNvSpPr>
            <p:nvPr/>
          </p:nvSpPr>
          <p:spPr bwMode="auto">
            <a:xfrm>
              <a:off x="3254" y="2021"/>
              <a:ext cx="101" cy="110"/>
            </a:xfrm>
            <a:custGeom>
              <a:avLst/>
              <a:gdLst>
                <a:gd name="T0" fmla="*/ 0 w 152"/>
                <a:gd name="T1" fmla="*/ 63 h 166"/>
                <a:gd name="T2" fmla="*/ 21 w 152"/>
                <a:gd name="T3" fmla="*/ 30 h 166"/>
                <a:gd name="T4" fmla="*/ 42 w 152"/>
                <a:gd name="T5" fmla="*/ 16 h 166"/>
                <a:gd name="T6" fmla="*/ 59 w 152"/>
                <a:gd name="T7" fmla="*/ 13 h 166"/>
                <a:gd name="T8" fmla="*/ 74 w 152"/>
                <a:gd name="T9" fmla="*/ 10 h 166"/>
                <a:gd name="T10" fmla="*/ 87 w 152"/>
                <a:gd name="T11" fmla="*/ 6 h 166"/>
                <a:gd name="T12" fmla="*/ 102 w 152"/>
                <a:gd name="T13" fmla="*/ 6 h 166"/>
                <a:gd name="T14" fmla="*/ 120 w 152"/>
                <a:gd name="T15" fmla="*/ 15 h 166"/>
                <a:gd name="T16" fmla="*/ 137 w 152"/>
                <a:gd name="T17" fmla="*/ 12 h 166"/>
                <a:gd name="T18" fmla="*/ 138 w 152"/>
                <a:gd name="T19" fmla="*/ 1 h 166"/>
                <a:gd name="T20" fmla="*/ 150 w 152"/>
                <a:gd name="T21" fmla="*/ 0 h 166"/>
                <a:gd name="T22" fmla="*/ 152 w 152"/>
                <a:gd name="T23" fmla="*/ 10 h 166"/>
                <a:gd name="T24" fmla="*/ 144 w 152"/>
                <a:gd name="T25" fmla="*/ 30 h 166"/>
                <a:gd name="T26" fmla="*/ 129 w 152"/>
                <a:gd name="T27" fmla="*/ 24 h 166"/>
                <a:gd name="T28" fmla="*/ 87 w 152"/>
                <a:gd name="T29" fmla="*/ 28 h 166"/>
                <a:gd name="T30" fmla="*/ 95 w 152"/>
                <a:gd name="T31" fmla="*/ 39 h 166"/>
                <a:gd name="T32" fmla="*/ 96 w 152"/>
                <a:gd name="T33" fmla="*/ 52 h 166"/>
                <a:gd name="T34" fmla="*/ 78 w 152"/>
                <a:gd name="T35" fmla="*/ 40 h 166"/>
                <a:gd name="T36" fmla="*/ 63 w 152"/>
                <a:gd name="T37" fmla="*/ 42 h 166"/>
                <a:gd name="T38" fmla="*/ 53 w 152"/>
                <a:gd name="T39" fmla="*/ 43 h 166"/>
                <a:gd name="T40" fmla="*/ 65 w 152"/>
                <a:gd name="T41" fmla="*/ 58 h 166"/>
                <a:gd name="T42" fmla="*/ 74 w 152"/>
                <a:gd name="T43" fmla="*/ 70 h 166"/>
                <a:gd name="T44" fmla="*/ 89 w 152"/>
                <a:gd name="T45" fmla="*/ 91 h 166"/>
                <a:gd name="T46" fmla="*/ 98 w 152"/>
                <a:gd name="T47" fmla="*/ 94 h 166"/>
                <a:gd name="T48" fmla="*/ 107 w 152"/>
                <a:gd name="T49" fmla="*/ 105 h 166"/>
                <a:gd name="T50" fmla="*/ 123 w 152"/>
                <a:gd name="T51" fmla="*/ 117 h 166"/>
                <a:gd name="T52" fmla="*/ 111 w 152"/>
                <a:gd name="T53" fmla="*/ 120 h 166"/>
                <a:gd name="T54" fmla="*/ 95 w 152"/>
                <a:gd name="T55" fmla="*/ 105 h 166"/>
                <a:gd name="T56" fmla="*/ 96 w 152"/>
                <a:gd name="T57" fmla="*/ 118 h 166"/>
                <a:gd name="T58" fmla="*/ 93 w 152"/>
                <a:gd name="T59" fmla="*/ 123 h 166"/>
                <a:gd name="T60" fmla="*/ 86 w 152"/>
                <a:gd name="T61" fmla="*/ 117 h 166"/>
                <a:gd name="T62" fmla="*/ 59 w 152"/>
                <a:gd name="T63" fmla="*/ 97 h 166"/>
                <a:gd name="T64" fmla="*/ 56 w 152"/>
                <a:gd name="T65" fmla="*/ 106 h 166"/>
                <a:gd name="T66" fmla="*/ 74 w 152"/>
                <a:gd name="T67" fmla="*/ 117 h 166"/>
                <a:gd name="T68" fmla="*/ 80 w 152"/>
                <a:gd name="T69" fmla="*/ 130 h 166"/>
                <a:gd name="T70" fmla="*/ 66 w 152"/>
                <a:gd name="T71" fmla="*/ 130 h 166"/>
                <a:gd name="T72" fmla="*/ 77 w 152"/>
                <a:gd name="T73" fmla="*/ 148 h 166"/>
                <a:gd name="T74" fmla="*/ 75 w 152"/>
                <a:gd name="T75" fmla="*/ 166 h 166"/>
                <a:gd name="T76" fmla="*/ 66 w 152"/>
                <a:gd name="T77" fmla="*/ 147 h 166"/>
                <a:gd name="T78" fmla="*/ 56 w 152"/>
                <a:gd name="T79" fmla="*/ 160 h 166"/>
                <a:gd name="T80" fmla="*/ 48 w 152"/>
                <a:gd name="T81" fmla="*/ 144 h 166"/>
                <a:gd name="T82" fmla="*/ 36 w 152"/>
                <a:gd name="T83" fmla="*/ 150 h 166"/>
                <a:gd name="T84" fmla="*/ 38 w 152"/>
                <a:gd name="T85" fmla="*/ 133 h 166"/>
                <a:gd name="T86" fmla="*/ 24 w 152"/>
                <a:gd name="T87" fmla="*/ 135 h 166"/>
                <a:gd name="T88" fmla="*/ 21 w 152"/>
                <a:gd name="T89" fmla="*/ 117 h 166"/>
                <a:gd name="T90" fmla="*/ 39 w 152"/>
                <a:gd name="T91" fmla="*/ 108 h 166"/>
                <a:gd name="T92" fmla="*/ 26 w 152"/>
                <a:gd name="T93" fmla="*/ 102 h 166"/>
                <a:gd name="T94" fmla="*/ 23 w 152"/>
                <a:gd name="T95" fmla="*/ 97 h 166"/>
                <a:gd name="T96" fmla="*/ 5 w 152"/>
                <a:gd name="T97" fmla="*/ 90 h 166"/>
                <a:gd name="T98" fmla="*/ 12 w 152"/>
                <a:gd name="T99" fmla="*/ 82 h 166"/>
                <a:gd name="T100" fmla="*/ 0 w 152"/>
                <a:gd name="T101" fmla="*/ 6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2" h="166">
                  <a:moveTo>
                    <a:pt x="0" y="63"/>
                  </a:moveTo>
                  <a:lnTo>
                    <a:pt x="21" y="30"/>
                  </a:lnTo>
                  <a:lnTo>
                    <a:pt x="42" y="16"/>
                  </a:lnTo>
                  <a:lnTo>
                    <a:pt x="59" y="13"/>
                  </a:lnTo>
                  <a:lnTo>
                    <a:pt x="74" y="10"/>
                  </a:lnTo>
                  <a:lnTo>
                    <a:pt x="87" y="6"/>
                  </a:lnTo>
                  <a:lnTo>
                    <a:pt x="102" y="6"/>
                  </a:lnTo>
                  <a:lnTo>
                    <a:pt x="120" y="15"/>
                  </a:lnTo>
                  <a:lnTo>
                    <a:pt x="137" y="12"/>
                  </a:lnTo>
                  <a:lnTo>
                    <a:pt x="138" y="1"/>
                  </a:lnTo>
                  <a:lnTo>
                    <a:pt x="150" y="0"/>
                  </a:lnTo>
                  <a:lnTo>
                    <a:pt x="152" y="10"/>
                  </a:lnTo>
                  <a:lnTo>
                    <a:pt x="144" y="30"/>
                  </a:lnTo>
                  <a:cubicBezTo>
                    <a:pt x="139" y="26"/>
                    <a:pt x="135" y="25"/>
                    <a:pt x="129" y="24"/>
                  </a:cubicBezTo>
                  <a:cubicBezTo>
                    <a:pt x="115" y="25"/>
                    <a:pt x="101" y="26"/>
                    <a:pt x="87" y="28"/>
                  </a:cubicBezTo>
                  <a:cubicBezTo>
                    <a:pt x="78" y="32"/>
                    <a:pt x="90" y="37"/>
                    <a:pt x="95" y="39"/>
                  </a:cubicBezTo>
                  <a:cubicBezTo>
                    <a:pt x="99" y="44"/>
                    <a:pt x="100" y="46"/>
                    <a:pt x="96" y="52"/>
                  </a:cubicBezTo>
                  <a:cubicBezTo>
                    <a:pt x="89" y="49"/>
                    <a:pt x="85" y="43"/>
                    <a:pt x="78" y="40"/>
                  </a:cubicBezTo>
                  <a:cubicBezTo>
                    <a:pt x="72" y="43"/>
                    <a:pt x="69" y="43"/>
                    <a:pt x="63" y="42"/>
                  </a:cubicBezTo>
                  <a:cubicBezTo>
                    <a:pt x="61" y="33"/>
                    <a:pt x="57" y="38"/>
                    <a:pt x="53" y="43"/>
                  </a:cubicBezTo>
                  <a:cubicBezTo>
                    <a:pt x="54" y="53"/>
                    <a:pt x="55" y="56"/>
                    <a:pt x="65" y="58"/>
                  </a:cubicBezTo>
                  <a:cubicBezTo>
                    <a:pt x="70" y="61"/>
                    <a:pt x="71" y="65"/>
                    <a:pt x="74" y="70"/>
                  </a:cubicBezTo>
                  <a:cubicBezTo>
                    <a:pt x="67" y="86"/>
                    <a:pt x="72" y="90"/>
                    <a:pt x="89" y="91"/>
                  </a:cubicBezTo>
                  <a:cubicBezTo>
                    <a:pt x="92" y="92"/>
                    <a:pt x="96" y="92"/>
                    <a:pt x="98" y="94"/>
                  </a:cubicBezTo>
                  <a:cubicBezTo>
                    <a:pt x="104" y="100"/>
                    <a:pt x="96" y="101"/>
                    <a:pt x="107" y="105"/>
                  </a:cubicBezTo>
                  <a:cubicBezTo>
                    <a:pt x="113" y="109"/>
                    <a:pt x="117" y="113"/>
                    <a:pt x="123" y="117"/>
                  </a:cubicBezTo>
                  <a:cubicBezTo>
                    <a:pt x="121" y="127"/>
                    <a:pt x="119" y="122"/>
                    <a:pt x="111" y="120"/>
                  </a:cubicBezTo>
                  <a:cubicBezTo>
                    <a:pt x="107" y="114"/>
                    <a:pt x="101" y="109"/>
                    <a:pt x="95" y="105"/>
                  </a:cubicBezTo>
                  <a:cubicBezTo>
                    <a:pt x="91" y="111"/>
                    <a:pt x="92" y="113"/>
                    <a:pt x="96" y="118"/>
                  </a:cubicBezTo>
                  <a:cubicBezTo>
                    <a:pt x="95" y="120"/>
                    <a:pt x="95" y="122"/>
                    <a:pt x="93" y="123"/>
                  </a:cubicBezTo>
                  <a:cubicBezTo>
                    <a:pt x="90" y="124"/>
                    <a:pt x="87" y="118"/>
                    <a:pt x="86" y="117"/>
                  </a:cubicBezTo>
                  <a:cubicBezTo>
                    <a:pt x="78" y="108"/>
                    <a:pt x="70" y="101"/>
                    <a:pt x="59" y="97"/>
                  </a:cubicBezTo>
                  <a:cubicBezTo>
                    <a:pt x="47" y="99"/>
                    <a:pt x="43" y="104"/>
                    <a:pt x="56" y="106"/>
                  </a:cubicBezTo>
                  <a:cubicBezTo>
                    <a:pt x="62" y="109"/>
                    <a:pt x="68" y="113"/>
                    <a:pt x="74" y="117"/>
                  </a:cubicBezTo>
                  <a:cubicBezTo>
                    <a:pt x="77" y="121"/>
                    <a:pt x="78" y="125"/>
                    <a:pt x="80" y="130"/>
                  </a:cubicBezTo>
                  <a:cubicBezTo>
                    <a:pt x="73" y="133"/>
                    <a:pt x="73" y="129"/>
                    <a:pt x="66" y="130"/>
                  </a:cubicBezTo>
                  <a:cubicBezTo>
                    <a:pt x="70" y="136"/>
                    <a:pt x="73" y="142"/>
                    <a:pt x="77" y="148"/>
                  </a:cubicBezTo>
                  <a:cubicBezTo>
                    <a:pt x="78" y="155"/>
                    <a:pt x="78" y="160"/>
                    <a:pt x="75" y="166"/>
                  </a:cubicBezTo>
                  <a:cubicBezTo>
                    <a:pt x="63" y="164"/>
                    <a:pt x="70" y="156"/>
                    <a:pt x="66" y="147"/>
                  </a:cubicBezTo>
                  <a:cubicBezTo>
                    <a:pt x="60" y="153"/>
                    <a:pt x="65" y="164"/>
                    <a:pt x="56" y="160"/>
                  </a:cubicBezTo>
                  <a:cubicBezTo>
                    <a:pt x="54" y="152"/>
                    <a:pt x="56" y="146"/>
                    <a:pt x="48" y="144"/>
                  </a:cubicBezTo>
                  <a:cubicBezTo>
                    <a:pt x="43" y="148"/>
                    <a:pt x="43" y="151"/>
                    <a:pt x="36" y="150"/>
                  </a:cubicBezTo>
                  <a:cubicBezTo>
                    <a:pt x="35" y="143"/>
                    <a:pt x="36" y="139"/>
                    <a:pt x="38" y="133"/>
                  </a:cubicBezTo>
                  <a:cubicBezTo>
                    <a:pt x="34" y="121"/>
                    <a:pt x="29" y="127"/>
                    <a:pt x="24" y="135"/>
                  </a:cubicBezTo>
                  <a:cubicBezTo>
                    <a:pt x="4" y="132"/>
                    <a:pt x="0" y="120"/>
                    <a:pt x="21" y="117"/>
                  </a:cubicBezTo>
                  <a:cubicBezTo>
                    <a:pt x="29" y="114"/>
                    <a:pt x="30" y="109"/>
                    <a:pt x="39" y="108"/>
                  </a:cubicBezTo>
                  <a:cubicBezTo>
                    <a:pt x="37" y="97"/>
                    <a:pt x="41" y="108"/>
                    <a:pt x="26" y="102"/>
                  </a:cubicBezTo>
                  <a:cubicBezTo>
                    <a:pt x="24" y="101"/>
                    <a:pt x="24" y="98"/>
                    <a:pt x="23" y="97"/>
                  </a:cubicBezTo>
                  <a:cubicBezTo>
                    <a:pt x="18" y="92"/>
                    <a:pt x="12" y="91"/>
                    <a:pt x="5" y="90"/>
                  </a:cubicBezTo>
                  <a:cubicBezTo>
                    <a:pt x="7" y="87"/>
                    <a:pt x="11" y="85"/>
                    <a:pt x="12" y="82"/>
                  </a:cubicBezTo>
                  <a:cubicBezTo>
                    <a:pt x="15" y="70"/>
                    <a:pt x="5" y="70"/>
                    <a:pt x="0" y="63"/>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39" name="Freeform 172">
              <a:extLst>
                <a:ext uri="{FF2B5EF4-FFF2-40B4-BE49-F238E27FC236}">
                  <a16:creationId xmlns:a16="http://schemas.microsoft.com/office/drawing/2014/main" id="{9C2BF02C-06BB-544E-930A-6CDE7407EF8A}"/>
                </a:ext>
              </a:extLst>
            </p:cNvPr>
            <p:cNvSpPr>
              <a:spLocks/>
            </p:cNvSpPr>
            <p:nvPr/>
          </p:nvSpPr>
          <p:spPr bwMode="auto">
            <a:xfrm>
              <a:off x="3304" y="2140"/>
              <a:ext cx="54" cy="18"/>
            </a:xfrm>
            <a:custGeom>
              <a:avLst/>
              <a:gdLst>
                <a:gd name="T0" fmla="*/ 78 w 82"/>
                <a:gd name="T1" fmla="*/ 11 h 28"/>
                <a:gd name="T2" fmla="*/ 54 w 82"/>
                <a:gd name="T3" fmla="*/ 7 h 28"/>
                <a:gd name="T4" fmla="*/ 27 w 82"/>
                <a:gd name="T5" fmla="*/ 11 h 28"/>
                <a:gd name="T6" fmla="*/ 12 w 82"/>
                <a:gd name="T7" fmla="*/ 2 h 28"/>
                <a:gd name="T8" fmla="*/ 38 w 82"/>
                <a:gd name="T9" fmla="*/ 20 h 28"/>
                <a:gd name="T10" fmla="*/ 54 w 82"/>
                <a:gd name="T11" fmla="*/ 28 h 28"/>
                <a:gd name="T12" fmla="*/ 77 w 82"/>
                <a:gd name="T13" fmla="*/ 23 h 28"/>
                <a:gd name="T14" fmla="*/ 78 w 82"/>
                <a:gd name="T15" fmla="*/ 1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8">
                  <a:moveTo>
                    <a:pt x="78" y="11"/>
                  </a:moveTo>
                  <a:cubicBezTo>
                    <a:pt x="66" y="10"/>
                    <a:pt x="64" y="9"/>
                    <a:pt x="54" y="7"/>
                  </a:cubicBezTo>
                  <a:cubicBezTo>
                    <a:pt x="43" y="2"/>
                    <a:pt x="38" y="9"/>
                    <a:pt x="27" y="11"/>
                  </a:cubicBezTo>
                  <a:cubicBezTo>
                    <a:pt x="25" y="0"/>
                    <a:pt x="23" y="1"/>
                    <a:pt x="12" y="2"/>
                  </a:cubicBezTo>
                  <a:cubicBezTo>
                    <a:pt x="0" y="21"/>
                    <a:pt x="24" y="19"/>
                    <a:pt x="38" y="20"/>
                  </a:cubicBezTo>
                  <a:cubicBezTo>
                    <a:pt x="46" y="24"/>
                    <a:pt x="44" y="26"/>
                    <a:pt x="54" y="28"/>
                  </a:cubicBezTo>
                  <a:cubicBezTo>
                    <a:pt x="62" y="27"/>
                    <a:pt x="70" y="26"/>
                    <a:pt x="77" y="23"/>
                  </a:cubicBezTo>
                  <a:cubicBezTo>
                    <a:pt x="82" y="17"/>
                    <a:pt x="80" y="21"/>
                    <a:pt x="78" y="11"/>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0" name="Freeform 173">
              <a:extLst>
                <a:ext uri="{FF2B5EF4-FFF2-40B4-BE49-F238E27FC236}">
                  <a16:creationId xmlns:a16="http://schemas.microsoft.com/office/drawing/2014/main" id="{3FC6C962-7698-7548-8A80-2A35A2142590}"/>
                </a:ext>
              </a:extLst>
            </p:cNvPr>
            <p:cNvSpPr>
              <a:spLocks/>
            </p:cNvSpPr>
            <p:nvPr/>
          </p:nvSpPr>
          <p:spPr bwMode="auto">
            <a:xfrm>
              <a:off x="3152" y="1772"/>
              <a:ext cx="151" cy="112"/>
            </a:xfrm>
            <a:custGeom>
              <a:avLst/>
              <a:gdLst>
                <a:gd name="T0" fmla="*/ 0 w 228"/>
                <a:gd name="T1" fmla="*/ 27 h 168"/>
                <a:gd name="T2" fmla="*/ 42 w 228"/>
                <a:gd name="T3" fmla="*/ 16 h 168"/>
                <a:gd name="T4" fmla="*/ 48 w 228"/>
                <a:gd name="T5" fmla="*/ 7 h 168"/>
                <a:gd name="T6" fmla="*/ 75 w 228"/>
                <a:gd name="T7" fmla="*/ 0 h 168"/>
                <a:gd name="T8" fmla="*/ 99 w 228"/>
                <a:gd name="T9" fmla="*/ 1 h 168"/>
                <a:gd name="T10" fmla="*/ 109 w 228"/>
                <a:gd name="T11" fmla="*/ 15 h 168"/>
                <a:gd name="T12" fmla="*/ 124 w 228"/>
                <a:gd name="T13" fmla="*/ 6 h 168"/>
                <a:gd name="T14" fmla="*/ 139 w 228"/>
                <a:gd name="T15" fmla="*/ 13 h 168"/>
                <a:gd name="T16" fmla="*/ 186 w 228"/>
                <a:gd name="T17" fmla="*/ 15 h 168"/>
                <a:gd name="T18" fmla="*/ 205 w 228"/>
                <a:gd name="T19" fmla="*/ 18 h 168"/>
                <a:gd name="T20" fmla="*/ 216 w 228"/>
                <a:gd name="T21" fmla="*/ 55 h 168"/>
                <a:gd name="T22" fmla="*/ 204 w 228"/>
                <a:gd name="T23" fmla="*/ 70 h 168"/>
                <a:gd name="T24" fmla="*/ 213 w 228"/>
                <a:gd name="T25" fmla="*/ 78 h 168"/>
                <a:gd name="T26" fmla="*/ 213 w 228"/>
                <a:gd name="T27" fmla="*/ 94 h 168"/>
                <a:gd name="T28" fmla="*/ 228 w 228"/>
                <a:gd name="T29" fmla="*/ 118 h 168"/>
                <a:gd name="T30" fmla="*/ 214 w 228"/>
                <a:gd name="T31" fmla="*/ 133 h 168"/>
                <a:gd name="T32" fmla="*/ 196 w 228"/>
                <a:gd name="T33" fmla="*/ 147 h 168"/>
                <a:gd name="T34" fmla="*/ 202 w 228"/>
                <a:gd name="T35" fmla="*/ 163 h 168"/>
                <a:gd name="T36" fmla="*/ 193 w 228"/>
                <a:gd name="T37" fmla="*/ 168 h 168"/>
                <a:gd name="T38" fmla="*/ 180 w 228"/>
                <a:gd name="T39" fmla="*/ 154 h 168"/>
                <a:gd name="T40" fmla="*/ 145 w 228"/>
                <a:gd name="T41" fmla="*/ 154 h 168"/>
                <a:gd name="T42" fmla="*/ 138 w 228"/>
                <a:gd name="T43" fmla="*/ 162 h 168"/>
                <a:gd name="T44" fmla="*/ 126 w 228"/>
                <a:gd name="T45" fmla="*/ 145 h 168"/>
                <a:gd name="T46" fmla="*/ 108 w 228"/>
                <a:gd name="T47" fmla="*/ 145 h 168"/>
                <a:gd name="T48" fmla="*/ 82 w 228"/>
                <a:gd name="T49" fmla="*/ 127 h 168"/>
                <a:gd name="T50" fmla="*/ 69 w 228"/>
                <a:gd name="T51" fmla="*/ 132 h 168"/>
                <a:gd name="T52" fmla="*/ 46 w 228"/>
                <a:gd name="T53" fmla="*/ 117 h 168"/>
                <a:gd name="T54" fmla="*/ 21 w 228"/>
                <a:gd name="T55" fmla="*/ 109 h 168"/>
                <a:gd name="T56" fmla="*/ 22 w 228"/>
                <a:gd name="T57" fmla="*/ 97 h 168"/>
                <a:gd name="T58" fmla="*/ 13 w 228"/>
                <a:gd name="T59" fmla="*/ 85 h 168"/>
                <a:gd name="T60" fmla="*/ 12 w 228"/>
                <a:gd name="T61" fmla="*/ 63 h 168"/>
                <a:gd name="T62" fmla="*/ 4 w 228"/>
                <a:gd name="T63" fmla="*/ 55 h 168"/>
                <a:gd name="T64" fmla="*/ 7 w 228"/>
                <a:gd name="T65" fmla="*/ 39 h 168"/>
                <a:gd name="T66" fmla="*/ 0 w 228"/>
                <a:gd name="T67"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8" h="168">
                  <a:moveTo>
                    <a:pt x="0" y="27"/>
                  </a:moveTo>
                  <a:lnTo>
                    <a:pt x="42" y="16"/>
                  </a:lnTo>
                  <a:lnTo>
                    <a:pt x="48" y="7"/>
                  </a:lnTo>
                  <a:lnTo>
                    <a:pt x="75" y="0"/>
                  </a:lnTo>
                  <a:lnTo>
                    <a:pt x="99" y="1"/>
                  </a:lnTo>
                  <a:lnTo>
                    <a:pt x="109" y="15"/>
                  </a:lnTo>
                  <a:lnTo>
                    <a:pt x="124" y="6"/>
                  </a:lnTo>
                  <a:lnTo>
                    <a:pt x="139" y="13"/>
                  </a:lnTo>
                  <a:lnTo>
                    <a:pt x="186" y="15"/>
                  </a:lnTo>
                  <a:lnTo>
                    <a:pt x="205" y="18"/>
                  </a:lnTo>
                  <a:lnTo>
                    <a:pt x="216" y="55"/>
                  </a:lnTo>
                  <a:lnTo>
                    <a:pt x="204" y="70"/>
                  </a:lnTo>
                  <a:lnTo>
                    <a:pt x="213" y="78"/>
                  </a:lnTo>
                  <a:lnTo>
                    <a:pt x="213" y="94"/>
                  </a:lnTo>
                  <a:lnTo>
                    <a:pt x="228" y="118"/>
                  </a:lnTo>
                  <a:lnTo>
                    <a:pt x="214" y="133"/>
                  </a:lnTo>
                  <a:lnTo>
                    <a:pt x="196" y="147"/>
                  </a:lnTo>
                  <a:lnTo>
                    <a:pt x="202" y="163"/>
                  </a:lnTo>
                  <a:lnTo>
                    <a:pt x="193" y="168"/>
                  </a:lnTo>
                  <a:lnTo>
                    <a:pt x="180" y="154"/>
                  </a:lnTo>
                  <a:lnTo>
                    <a:pt x="145" y="154"/>
                  </a:lnTo>
                  <a:lnTo>
                    <a:pt x="138" y="162"/>
                  </a:lnTo>
                  <a:lnTo>
                    <a:pt x="126" y="145"/>
                  </a:lnTo>
                  <a:lnTo>
                    <a:pt x="108" y="145"/>
                  </a:lnTo>
                  <a:lnTo>
                    <a:pt x="82" y="127"/>
                  </a:lnTo>
                  <a:lnTo>
                    <a:pt x="69" y="132"/>
                  </a:lnTo>
                  <a:lnTo>
                    <a:pt x="46" y="117"/>
                  </a:lnTo>
                  <a:lnTo>
                    <a:pt x="21" y="109"/>
                  </a:lnTo>
                  <a:lnTo>
                    <a:pt x="22" y="97"/>
                  </a:lnTo>
                  <a:lnTo>
                    <a:pt x="13" y="85"/>
                  </a:lnTo>
                  <a:lnTo>
                    <a:pt x="12" y="63"/>
                  </a:lnTo>
                  <a:lnTo>
                    <a:pt x="4" y="55"/>
                  </a:lnTo>
                  <a:lnTo>
                    <a:pt x="7" y="39"/>
                  </a:lnTo>
                  <a:lnTo>
                    <a:pt x="0" y="27"/>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1" name="Freeform 174">
              <a:extLst>
                <a:ext uri="{FF2B5EF4-FFF2-40B4-BE49-F238E27FC236}">
                  <a16:creationId xmlns:a16="http://schemas.microsoft.com/office/drawing/2014/main" id="{25C4F2E2-4886-6C4F-9135-3231EB0FE6CE}"/>
                </a:ext>
              </a:extLst>
            </p:cNvPr>
            <p:cNvSpPr>
              <a:spLocks/>
            </p:cNvSpPr>
            <p:nvPr/>
          </p:nvSpPr>
          <p:spPr bwMode="auto">
            <a:xfrm>
              <a:off x="3193" y="1868"/>
              <a:ext cx="88" cy="38"/>
            </a:xfrm>
            <a:custGeom>
              <a:avLst/>
              <a:gdLst>
                <a:gd name="T0" fmla="*/ 0 w 134"/>
                <a:gd name="T1" fmla="*/ 30 h 57"/>
                <a:gd name="T2" fmla="*/ 24 w 134"/>
                <a:gd name="T3" fmla="*/ 25 h 57"/>
                <a:gd name="T4" fmla="*/ 47 w 134"/>
                <a:gd name="T5" fmla="*/ 0 h 57"/>
                <a:gd name="T6" fmla="*/ 66 w 134"/>
                <a:gd name="T7" fmla="*/ 0 h 57"/>
                <a:gd name="T8" fmla="*/ 78 w 134"/>
                <a:gd name="T9" fmla="*/ 15 h 57"/>
                <a:gd name="T10" fmla="*/ 87 w 134"/>
                <a:gd name="T11" fmla="*/ 10 h 57"/>
                <a:gd name="T12" fmla="*/ 122 w 134"/>
                <a:gd name="T13" fmla="*/ 9 h 57"/>
                <a:gd name="T14" fmla="*/ 134 w 134"/>
                <a:gd name="T15" fmla="*/ 21 h 57"/>
                <a:gd name="T16" fmla="*/ 128 w 134"/>
                <a:gd name="T17" fmla="*/ 36 h 57"/>
                <a:gd name="T18" fmla="*/ 108 w 134"/>
                <a:gd name="T19" fmla="*/ 36 h 57"/>
                <a:gd name="T20" fmla="*/ 89 w 134"/>
                <a:gd name="T21" fmla="*/ 34 h 57"/>
                <a:gd name="T22" fmla="*/ 74 w 134"/>
                <a:gd name="T23" fmla="*/ 45 h 57"/>
                <a:gd name="T24" fmla="*/ 48 w 134"/>
                <a:gd name="T25" fmla="*/ 46 h 57"/>
                <a:gd name="T26" fmla="*/ 51 w 134"/>
                <a:gd name="T27" fmla="*/ 57 h 57"/>
                <a:gd name="T28" fmla="*/ 27 w 134"/>
                <a:gd name="T29" fmla="*/ 57 h 57"/>
                <a:gd name="T30" fmla="*/ 11 w 134"/>
                <a:gd name="T31" fmla="*/ 43 h 57"/>
                <a:gd name="T32" fmla="*/ 0 w 134"/>
                <a:gd name="T33"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57">
                  <a:moveTo>
                    <a:pt x="0" y="30"/>
                  </a:moveTo>
                  <a:lnTo>
                    <a:pt x="24" y="25"/>
                  </a:lnTo>
                  <a:lnTo>
                    <a:pt x="47" y="0"/>
                  </a:lnTo>
                  <a:lnTo>
                    <a:pt x="66" y="0"/>
                  </a:lnTo>
                  <a:lnTo>
                    <a:pt x="78" y="15"/>
                  </a:lnTo>
                  <a:lnTo>
                    <a:pt x="87" y="10"/>
                  </a:lnTo>
                  <a:lnTo>
                    <a:pt x="122" y="9"/>
                  </a:lnTo>
                  <a:lnTo>
                    <a:pt x="134" y="21"/>
                  </a:lnTo>
                  <a:lnTo>
                    <a:pt x="128" y="36"/>
                  </a:lnTo>
                  <a:lnTo>
                    <a:pt x="108" y="36"/>
                  </a:lnTo>
                  <a:lnTo>
                    <a:pt x="89" y="34"/>
                  </a:lnTo>
                  <a:lnTo>
                    <a:pt x="74" y="45"/>
                  </a:lnTo>
                  <a:lnTo>
                    <a:pt x="48" y="46"/>
                  </a:lnTo>
                  <a:lnTo>
                    <a:pt x="51" y="57"/>
                  </a:lnTo>
                  <a:lnTo>
                    <a:pt x="27" y="57"/>
                  </a:lnTo>
                  <a:lnTo>
                    <a:pt x="11" y="43"/>
                  </a:lnTo>
                  <a:lnTo>
                    <a:pt x="0" y="30"/>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2" name="Freeform 175">
              <a:extLst>
                <a:ext uri="{FF2B5EF4-FFF2-40B4-BE49-F238E27FC236}">
                  <a16:creationId xmlns:a16="http://schemas.microsoft.com/office/drawing/2014/main" id="{620BDF71-819D-9842-9866-C3C6650B012F}"/>
                </a:ext>
              </a:extLst>
            </p:cNvPr>
            <p:cNvSpPr>
              <a:spLocks/>
            </p:cNvSpPr>
            <p:nvPr/>
          </p:nvSpPr>
          <p:spPr bwMode="auto">
            <a:xfrm>
              <a:off x="3190" y="1890"/>
              <a:ext cx="100" cy="55"/>
            </a:xfrm>
            <a:custGeom>
              <a:avLst/>
              <a:gdLst>
                <a:gd name="T0" fmla="*/ 132 w 151"/>
                <a:gd name="T1" fmla="*/ 0 h 83"/>
                <a:gd name="T2" fmla="*/ 112 w 151"/>
                <a:gd name="T3" fmla="*/ 2 h 83"/>
                <a:gd name="T4" fmla="*/ 91 w 151"/>
                <a:gd name="T5" fmla="*/ 0 h 83"/>
                <a:gd name="T6" fmla="*/ 78 w 151"/>
                <a:gd name="T7" fmla="*/ 11 h 83"/>
                <a:gd name="T8" fmla="*/ 51 w 151"/>
                <a:gd name="T9" fmla="*/ 11 h 83"/>
                <a:gd name="T10" fmla="*/ 55 w 151"/>
                <a:gd name="T11" fmla="*/ 23 h 83"/>
                <a:gd name="T12" fmla="*/ 30 w 151"/>
                <a:gd name="T13" fmla="*/ 21 h 83"/>
                <a:gd name="T14" fmla="*/ 13 w 151"/>
                <a:gd name="T15" fmla="*/ 8 h 83"/>
                <a:gd name="T16" fmla="*/ 15 w 151"/>
                <a:gd name="T17" fmla="*/ 24 h 83"/>
                <a:gd name="T18" fmla="*/ 3 w 151"/>
                <a:gd name="T19" fmla="*/ 24 h 83"/>
                <a:gd name="T20" fmla="*/ 0 w 151"/>
                <a:gd name="T21" fmla="*/ 48 h 83"/>
                <a:gd name="T22" fmla="*/ 6 w 151"/>
                <a:gd name="T23" fmla="*/ 59 h 83"/>
                <a:gd name="T24" fmla="*/ 16 w 151"/>
                <a:gd name="T25" fmla="*/ 71 h 83"/>
                <a:gd name="T26" fmla="*/ 31 w 151"/>
                <a:gd name="T27" fmla="*/ 83 h 83"/>
                <a:gd name="T28" fmla="*/ 55 w 151"/>
                <a:gd name="T29" fmla="*/ 81 h 83"/>
                <a:gd name="T30" fmla="*/ 76 w 151"/>
                <a:gd name="T31" fmla="*/ 65 h 83"/>
                <a:gd name="T32" fmla="*/ 87 w 151"/>
                <a:gd name="T33" fmla="*/ 71 h 83"/>
                <a:gd name="T34" fmla="*/ 109 w 151"/>
                <a:gd name="T35" fmla="*/ 63 h 83"/>
                <a:gd name="T36" fmla="*/ 120 w 151"/>
                <a:gd name="T37" fmla="*/ 47 h 83"/>
                <a:gd name="T38" fmla="*/ 132 w 151"/>
                <a:gd name="T39" fmla="*/ 27 h 83"/>
                <a:gd name="T40" fmla="*/ 151 w 151"/>
                <a:gd name="T41" fmla="*/ 15 h 83"/>
                <a:gd name="T42" fmla="*/ 139 w 151"/>
                <a:gd name="T43" fmla="*/ 11 h 83"/>
                <a:gd name="T44" fmla="*/ 132 w 151"/>
                <a:gd name="T4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83">
                  <a:moveTo>
                    <a:pt x="132" y="0"/>
                  </a:moveTo>
                  <a:lnTo>
                    <a:pt x="112" y="2"/>
                  </a:lnTo>
                  <a:lnTo>
                    <a:pt x="91" y="0"/>
                  </a:lnTo>
                  <a:lnTo>
                    <a:pt x="78" y="11"/>
                  </a:lnTo>
                  <a:lnTo>
                    <a:pt x="51" y="11"/>
                  </a:lnTo>
                  <a:lnTo>
                    <a:pt x="55" y="23"/>
                  </a:lnTo>
                  <a:lnTo>
                    <a:pt x="30" y="21"/>
                  </a:lnTo>
                  <a:lnTo>
                    <a:pt x="13" y="8"/>
                  </a:lnTo>
                  <a:lnTo>
                    <a:pt x="15" y="24"/>
                  </a:lnTo>
                  <a:lnTo>
                    <a:pt x="3" y="24"/>
                  </a:lnTo>
                  <a:lnTo>
                    <a:pt x="0" y="48"/>
                  </a:lnTo>
                  <a:lnTo>
                    <a:pt x="6" y="59"/>
                  </a:lnTo>
                  <a:lnTo>
                    <a:pt x="16" y="71"/>
                  </a:lnTo>
                  <a:lnTo>
                    <a:pt x="31" y="83"/>
                  </a:lnTo>
                  <a:lnTo>
                    <a:pt x="55" y="81"/>
                  </a:lnTo>
                  <a:lnTo>
                    <a:pt x="76" y="65"/>
                  </a:lnTo>
                  <a:lnTo>
                    <a:pt x="87" y="71"/>
                  </a:lnTo>
                  <a:lnTo>
                    <a:pt x="109" y="63"/>
                  </a:lnTo>
                  <a:lnTo>
                    <a:pt x="120" y="47"/>
                  </a:lnTo>
                  <a:lnTo>
                    <a:pt x="132" y="27"/>
                  </a:lnTo>
                  <a:lnTo>
                    <a:pt x="151" y="15"/>
                  </a:lnTo>
                  <a:lnTo>
                    <a:pt x="139" y="11"/>
                  </a:lnTo>
                  <a:lnTo>
                    <a:pt x="132" y="0"/>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3" name="Freeform 176">
              <a:extLst>
                <a:ext uri="{FF2B5EF4-FFF2-40B4-BE49-F238E27FC236}">
                  <a16:creationId xmlns:a16="http://schemas.microsoft.com/office/drawing/2014/main" id="{02E1F83E-9DAD-7647-813A-083D7CDCA8D6}"/>
                </a:ext>
              </a:extLst>
            </p:cNvPr>
            <p:cNvSpPr>
              <a:spLocks/>
            </p:cNvSpPr>
            <p:nvPr/>
          </p:nvSpPr>
          <p:spPr bwMode="auto">
            <a:xfrm>
              <a:off x="3285" y="1972"/>
              <a:ext cx="96" cy="59"/>
            </a:xfrm>
            <a:custGeom>
              <a:avLst/>
              <a:gdLst>
                <a:gd name="T0" fmla="*/ 103 w 144"/>
                <a:gd name="T1" fmla="*/ 74 h 89"/>
                <a:gd name="T2" fmla="*/ 117 w 144"/>
                <a:gd name="T3" fmla="*/ 63 h 89"/>
                <a:gd name="T4" fmla="*/ 135 w 144"/>
                <a:gd name="T5" fmla="*/ 72 h 89"/>
                <a:gd name="T6" fmla="*/ 132 w 144"/>
                <a:gd name="T7" fmla="*/ 60 h 89"/>
                <a:gd name="T8" fmla="*/ 124 w 144"/>
                <a:gd name="T9" fmla="*/ 51 h 89"/>
                <a:gd name="T10" fmla="*/ 133 w 144"/>
                <a:gd name="T11" fmla="*/ 47 h 89"/>
                <a:gd name="T12" fmla="*/ 132 w 144"/>
                <a:gd name="T13" fmla="*/ 35 h 89"/>
                <a:gd name="T14" fmla="*/ 144 w 144"/>
                <a:gd name="T15" fmla="*/ 20 h 89"/>
                <a:gd name="T16" fmla="*/ 118 w 144"/>
                <a:gd name="T17" fmla="*/ 9 h 89"/>
                <a:gd name="T18" fmla="*/ 105 w 144"/>
                <a:gd name="T19" fmla="*/ 3 h 89"/>
                <a:gd name="T20" fmla="*/ 88 w 144"/>
                <a:gd name="T21" fmla="*/ 9 h 89"/>
                <a:gd name="T22" fmla="*/ 75 w 144"/>
                <a:gd name="T23" fmla="*/ 21 h 89"/>
                <a:gd name="T24" fmla="*/ 60 w 144"/>
                <a:gd name="T25" fmla="*/ 17 h 89"/>
                <a:gd name="T26" fmla="*/ 39 w 144"/>
                <a:gd name="T27" fmla="*/ 18 h 89"/>
                <a:gd name="T28" fmla="*/ 27 w 144"/>
                <a:gd name="T29" fmla="*/ 12 h 89"/>
                <a:gd name="T30" fmla="*/ 13 w 144"/>
                <a:gd name="T31" fmla="*/ 14 h 89"/>
                <a:gd name="T32" fmla="*/ 7 w 144"/>
                <a:gd name="T33" fmla="*/ 0 h 89"/>
                <a:gd name="T34" fmla="*/ 0 w 144"/>
                <a:gd name="T35" fmla="*/ 12 h 89"/>
                <a:gd name="T36" fmla="*/ 1 w 144"/>
                <a:gd name="T37" fmla="*/ 24 h 89"/>
                <a:gd name="T38" fmla="*/ 12 w 144"/>
                <a:gd name="T39" fmla="*/ 32 h 89"/>
                <a:gd name="T40" fmla="*/ 0 w 144"/>
                <a:gd name="T41" fmla="*/ 45 h 89"/>
                <a:gd name="T42" fmla="*/ 1 w 144"/>
                <a:gd name="T43" fmla="*/ 62 h 89"/>
                <a:gd name="T44" fmla="*/ 16 w 144"/>
                <a:gd name="T45" fmla="*/ 69 h 89"/>
                <a:gd name="T46" fmla="*/ 12 w 144"/>
                <a:gd name="T47" fmla="*/ 87 h 89"/>
                <a:gd name="T48" fmla="*/ 28 w 144"/>
                <a:gd name="T49" fmla="*/ 84 h 89"/>
                <a:gd name="T50" fmla="*/ 40 w 144"/>
                <a:gd name="T51" fmla="*/ 80 h 89"/>
                <a:gd name="T52" fmla="*/ 52 w 144"/>
                <a:gd name="T53" fmla="*/ 78 h 89"/>
                <a:gd name="T54" fmla="*/ 72 w 144"/>
                <a:gd name="T55" fmla="*/ 89 h 89"/>
                <a:gd name="T56" fmla="*/ 90 w 144"/>
                <a:gd name="T57" fmla="*/ 84 h 89"/>
                <a:gd name="T58" fmla="*/ 90 w 144"/>
                <a:gd name="T59" fmla="*/ 72 h 89"/>
                <a:gd name="T60" fmla="*/ 103 w 144"/>
                <a:gd name="T61" fmla="*/ 7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89">
                  <a:moveTo>
                    <a:pt x="103" y="74"/>
                  </a:moveTo>
                  <a:lnTo>
                    <a:pt x="117" y="63"/>
                  </a:lnTo>
                  <a:lnTo>
                    <a:pt x="135" y="72"/>
                  </a:lnTo>
                  <a:lnTo>
                    <a:pt x="132" y="60"/>
                  </a:lnTo>
                  <a:lnTo>
                    <a:pt x="124" y="51"/>
                  </a:lnTo>
                  <a:lnTo>
                    <a:pt x="133" y="47"/>
                  </a:lnTo>
                  <a:lnTo>
                    <a:pt x="132" y="35"/>
                  </a:lnTo>
                  <a:lnTo>
                    <a:pt x="144" y="20"/>
                  </a:lnTo>
                  <a:lnTo>
                    <a:pt x="118" y="9"/>
                  </a:lnTo>
                  <a:lnTo>
                    <a:pt x="105" y="3"/>
                  </a:lnTo>
                  <a:lnTo>
                    <a:pt x="88" y="9"/>
                  </a:lnTo>
                  <a:lnTo>
                    <a:pt x="75" y="21"/>
                  </a:lnTo>
                  <a:lnTo>
                    <a:pt x="60" y="17"/>
                  </a:lnTo>
                  <a:lnTo>
                    <a:pt x="39" y="18"/>
                  </a:lnTo>
                  <a:lnTo>
                    <a:pt x="27" y="12"/>
                  </a:lnTo>
                  <a:lnTo>
                    <a:pt x="13" y="14"/>
                  </a:lnTo>
                  <a:lnTo>
                    <a:pt x="7" y="0"/>
                  </a:lnTo>
                  <a:lnTo>
                    <a:pt x="0" y="12"/>
                  </a:lnTo>
                  <a:lnTo>
                    <a:pt x="1" y="24"/>
                  </a:lnTo>
                  <a:lnTo>
                    <a:pt x="12" y="32"/>
                  </a:lnTo>
                  <a:lnTo>
                    <a:pt x="0" y="45"/>
                  </a:lnTo>
                  <a:lnTo>
                    <a:pt x="1" y="62"/>
                  </a:lnTo>
                  <a:lnTo>
                    <a:pt x="16" y="69"/>
                  </a:lnTo>
                  <a:lnTo>
                    <a:pt x="12" y="87"/>
                  </a:lnTo>
                  <a:lnTo>
                    <a:pt x="28" y="84"/>
                  </a:lnTo>
                  <a:lnTo>
                    <a:pt x="40" y="80"/>
                  </a:lnTo>
                  <a:lnTo>
                    <a:pt x="52" y="78"/>
                  </a:lnTo>
                  <a:lnTo>
                    <a:pt x="72" y="89"/>
                  </a:lnTo>
                  <a:lnTo>
                    <a:pt x="90" y="84"/>
                  </a:lnTo>
                  <a:lnTo>
                    <a:pt x="90" y="72"/>
                  </a:lnTo>
                  <a:lnTo>
                    <a:pt x="103" y="74"/>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4" name="Freeform 177">
              <a:extLst>
                <a:ext uri="{FF2B5EF4-FFF2-40B4-BE49-F238E27FC236}">
                  <a16:creationId xmlns:a16="http://schemas.microsoft.com/office/drawing/2014/main" id="{8790A2D8-6F25-6E47-AEDC-EBEE3A1C6EA6}"/>
                </a:ext>
              </a:extLst>
            </p:cNvPr>
            <p:cNvSpPr>
              <a:spLocks/>
            </p:cNvSpPr>
            <p:nvPr/>
          </p:nvSpPr>
          <p:spPr bwMode="auto">
            <a:xfrm>
              <a:off x="3248" y="1894"/>
              <a:ext cx="151" cy="92"/>
            </a:xfrm>
            <a:custGeom>
              <a:avLst/>
              <a:gdLst>
                <a:gd name="T0" fmla="*/ 63 w 227"/>
                <a:gd name="T1" fmla="*/ 8 h 138"/>
                <a:gd name="T2" fmla="*/ 42 w 227"/>
                <a:gd name="T3" fmla="*/ 23 h 138"/>
                <a:gd name="T4" fmla="*/ 21 w 227"/>
                <a:gd name="T5" fmla="*/ 57 h 138"/>
                <a:gd name="T6" fmla="*/ 0 w 227"/>
                <a:gd name="T7" fmla="*/ 65 h 138"/>
                <a:gd name="T8" fmla="*/ 15 w 227"/>
                <a:gd name="T9" fmla="*/ 72 h 138"/>
                <a:gd name="T10" fmla="*/ 15 w 227"/>
                <a:gd name="T11" fmla="*/ 86 h 138"/>
                <a:gd name="T12" fmla="*/ 32 w 227"/>
                <a:gd name="T13" fmla="*/ 86 h 138"/>
                <a:gd name="T14" fmla="*/ 38 w 227"/>
                <a:gd name="T15" fmla="*/ 107 h 138"/>
                <a:gd name="T16" fmla="*/ 60 w 227"/>
                <a:gd name="T17" fmla="*/ 108 h 138"/>
                <a:gd name="T18" fmla="*/ 62 w 227"/>
                <a:gd name="T19" fmla="*/ 119 h 138"/>
                <a:gd name="T20" fmla="*/ 69 w 227"/>
                <a:gd name="T21" fmla="*/ 129 h 138"/>
                <a:gd name="T22" fmla="*/ 81 w 227"/>
                <a:gd name="T23" fmla="*/ 128 h 138"/>
                <a:gd name="T24" fmla="*/ 93 w 227"/>
                <a:gd name="T25" fmla="*/ 135 h 138"/>
                <a:gd name="T26" fmla="*/ 116 w 227"/>
                <a:gd name="T27" fmla="*/ 132 h 138"/>
                <a:gd name="T28" fmla="*/ 131 w 227"/>
                <a:gd name="T29" fmla="*/ 138 h 138"/>
                <a:gd name="T30" fmla="*/ 141 w 227"/>
                <a:gd name="T31" fmla="*/ 128 h 138"/>
                <a:gd name="T32" fmla="*/ 159 w 227"/>
                <a:gd name="T33" fmla="*/ 120 h 138"/>
                <a:gd name="T34" fmla="*/ 200 w 227"/>
                <a:gd name="T35" fmla="*/ 137 h 138"/>
                <a:gd name="T36" fmla="*/ 204 w 227"/>
                <a:gd name="T37" fmla="*/ 123 h 138"/>
                <a:gd name="T38" fmla="*/ 203 w 227"/>
                <a:gd name="T39" fmla="*/ 107 h 138"/>
                <a:gd name="T40" fmla="*/ 219 w 227"/>
                <a:gd name="T41" fmla="*/ 101 h 138"/>
                <a:gd name="T42" fmla="*/ 227 w 227"/>
                <a:gd name="T43" fmla="*/ 90 h 138"/>
                <a:gd name="T44" fmla="*/ 215 w 227"/>
                <a:gd name="T45" fmla="*/ 81 h 138"/>
                <a:gd name="T46" fmla="*/ 198 w 227"/>
                <a:gd name="T47" fmla="*/ 90 h 138"/>
                <a:gd name="T48" fmla="*/ 186 w 227"/>
                <a:gd name="T49" fmla="*/ 83 h 138"/>
                <a:gd name="T50" fmla="*/ 185 w 227"/>
                <a:gd name="T51" fmla="*/ 66 h 138"/>
                <a:gd name="T52" fmla="*/ 188 w 227"/>
                <a:gd name="T53" fmla="*/ 51 h 138"/>
                <a:gd name="T54" fmla="*/ 174 w 227"/>
                <a:gd name="T55" fmla="*/ 35 h 138"/>
                <a:gd name="T56" fmla="*/ 161 w 227"/>
                <a:gd name="T57" fmla="*/ 17 h 138"/>
                <a:gd name="T58" fmla="*/ 149 w 227"/>
                <a:gd name="T59" fmla="*/ 0 h 138"/>
                <a:gd name="T60" fmla="*/ 128 w 227"/>
                <a:gd name="T61" fmla="*/ 12 h 138"/>
                <a:gd name="T62" fmla="*/ 105 w 227"/>
                <a:gd name="T63" fmla="*/ 17 h 138"/>
                <a:gd name="T64" fmla="*/ 96 w 227"/>
                <a:gd name="T65" fmla="*/ 8 h 138"/>
                <a:gd name="T66" fmla="*/ 63 w 227"/>
                <a:gd name="T67" fmla="*/ 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138">
                  <a:moveTo>
                    <a:pt x="63" y="8"/>
                  </a:moveTo>
                  <a:lnTo>
                    <a:pt x="42" y="23"/>
                  </a:lnTo>
                  <a:lnTo>
                    <a:pt x="21" y="57"/>
                  </a:lnTo>
                  <a:lnTo>
                    <a:pt x="0" y="65"/>
                  </a:lnTo>
                  <a:lnTo>
                    <a:pt x="15" y="72"/>
                  </a:lnTo>
                  <a:lnTo>
                    <a:pt x="15" y="86"/>
                  </a:lnTo>
                  <a:lnTo>
                    <a:pt x="32" y="86"/>
                  </a:lnTo>
                  <a:lnTo>
                    <a:pt x="38" y="107"/>
                  </a:lnTo>
                  <a:lnTo>
                    <a:pt x="60" y="108"/>
                  </a:lnTo>
                  <a:lnTo>
                    <a:pt x="62" y="119"/>
                  </a:lnTo>
                  <a:lnTo>
                    <a:pt x="69" y="129"/>
                  </a:lnTo>
                  <a:lnTo>
                    <a:pt x="81" y="128"/>
                  </a:lnTo>
                  <a:lnTo>
                    <a:pt x="93" y="135"/>
                  </a:lnTo>
                  <a:lnTo>
                    <a:pt x="116" y="132"/>
                  </a:lnTo>
                  <a:lnTo>
                    <a:pt x="131" y="138"/>
                  </a:lnTo>
                  <a:lnTo>
                    <a:pt x="141" y="128"/>
                  </a:lnTo>
                  <a:lnTo>
                    <a:pt x="159" y="120"/>
                  </a:lnTo>
                  <a:lnTo>
                    <a:pt x="200" y="137"/>
                  </a:lnTo>
                  <a:lnTo>
                    <a:pt x="204" y="123"/>
                  </a:lnTo>
                  <a:lnTo>
                    <a:pt x="203" y="107"/>
                  </a:lnTo>
                  <a:lnTo>
                    <a:pt x="219" y="101"/>
                  </a:lnTo>
                  <a:lnTo>
                    <a:pt x="227" y="90"/>
                  </a:lnTo>
                  <a:lnTo>
                    <a:pt x="215" y="81"/>
                  </a:lnTo>
                  <a:lnTo>
                    <a:pt x="198" y="90"/>
                  </a:lnTo>
                  <a:lnTo>
                    <a:pt x="186" y="83"/>
                  </a:lnTo>
                  <a:lnTo>
                    <a:pt x="185" y="66"/>
                  </a:lnTo>
                  <a:lnTo>
                    <a:pt x="188" y="51"/>
                  </a:lnTo>
                  <a:lnTo>
                    <a:pt x="174" y="35"/>
                  </a:lnTo>
                  <a:lnTo>
                    <a:pt x="161" y="17"/>
                  </a:lnTo>
                  <a:lnTo>
                    <a:pt x="149" y="0"/>
                  </a:lnTo>
                  <a:lnTo>
                    <a:pt x="128" y="12"/>
                  </a:lnTo>
                  <a:lnTo>
                    <a:pt x="105" y="17"/>
                  </a:lnTo>
                  <a:lnTo>
                    <a:pt x="96" y="8"/>
                  </a:lnTo>
                  <a:lnTo>
                    <a:pt x="63" y="8"/>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5" name="Freeform 178">
              <a:extLst>
                <a:ext uri="{FF2B5EF4-FFF2-40B4-BE49-F238E27FC236}">
                  <a16:creationId xmlns:a16="http://schemas.microsoft.com/office/drawing/2014/main" id="{67190FBF-819F-444C-BB1C-BBEF22C48034}"/>
                </a:ext>
              </a:extLst>
            </p:cNvPr>
            <p:cNvSpPr>
              <a:spLocks/>
            </p:cNvSpPr>
            <p:nvPr/>
          </p:nvSpPr>
          <p:spPr bwMode="auto">
            <a:xfrm>
              <a:off x="3234" y="1761"/>
              <a:ext cx="42" cy="21"/>
            </a:xfrm>
            <a:custGeom>
              <a:avLst/>
              <a:gdLst>
                <a:gd name="T0" fmla="*/ 0 w 63"/>
                <a:gd name="T1" fmla="*/ 21 h 32"/>
                <a:gd name="T2" fmla="*/ 2 w 63"/>
                <a:gd name="T3" fmla="*/ 11 h 32"/>
                <a:gd name="T4" fmla="*/ 27 w 63"/>
                <a:gd name="T5" fmla="*/ 14 h 32"/>
                <a:gd name="T6" fmla="*/ 30 w 63"/>
                <a:gd name="T7" fmla="*/ 0 h 32"/>
                <a:gd name="T8" fmla="*/ 47 w 63"/>
                <a:gd name="T9" fmla="*/ 8 h 32"/>
                <a:gd name="T10" fmla="*/ 63 w 63"/>
                <a:gd name="T11" fmla="*/ 14 h 32"/>
                <a:gd name="T12" fmla="*/ 62 w 63"/>
                <a:gd name="T13" fmla="*/ 32 h 32"/>
                <a:gd name="T14" fmla="*/ 12 w 63"/>
                <a:gd name="T15" fmla="*/ 30 h 32"/>
                <a:gd name="T16" fmla="*/ 0 w 63"/>
                <a:gd name="T1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2">
                  <a:moveTo>
                    <a:pt x="0" y="21"/>
                  </a:moveTo>
                  <a:lnTo>
                    <a:pt x="2" y="11"/>
                  </a:lnTo>
                  <a:lnTo>
                    <a:pt x="27" y="14"/>
                  </a:lnTo>
                  <a:lnTo>
                    <a:pt x="30" y="0"/>
                  </a:lnTo>
                  <a:lnTo>
                    <a:pt x="47" y="8"/>
                  </a:lnTo>
                  <a:lnTo>
                    <a:pt x="63" y="14"/>
                  </a:lnTo>
                  <a:lnTo>
                    <a:pt x="62" y="32"/>
                  </a:lnTo>
                  <a:lnTo>
                    <a:pt x="12" y="30"/>
                  </a:lnTo>
                  <a:lnTo>
                    <a:pt x="0" y="2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6" name="Freeform 179">
              <a:extLst>
                <a:ext uri="{FF2B5EF4-FFF2-40B4-BE49-F238E27FC236}">
                  <a16:creationId xmlns:a16="http://schemas.microsoft.com/office/drawing/2014/main" id="{E064DF72-A74E-3245-9F36-91669B3F58BD}"/>
                </a:ext>
              </a:extLst>
            </p:cNvPr>
            <p:cNvSpPr>
              <a:spLocks/>
            </p:cNvSpPr>
            <p:nvPr/>
          </p:nvSpPr>
          <p:spPr bwMode="auto">
            <a:xfrm>
              <a:off x="3252" y="1741"/>
              <a:ext cx="84" cy="49"/>
            </a:xfrm>
            <a:custGeom>
              <a:avLst/>
              <a:gdLst>
                <a:gd name="T0" fmla="*/ 6 w 127"/>
                <a:gd name="T1" fmla="*/ 32 h 74"/>
                <a:gd name="T2" fmla="*/ 0 w 127"/>
                <a:gd name="T3" fmla="*/ 14 h 74"/>
                <a:gd name="T4" fmla="*/ 12 w 127"/>
                <a:gd name="T5" fmla="*/ 5 h 74"/>
                <a:gd name="T6" fmla="*/ 34 w 127"/>
                <a:gd name="T7" fmla="*/ 5 h 74"/>
                <a:gd name="T8" fmla="*/ 66 w 127"/>
                <a:gd name="T9" fmla="*/ 8 h 74"/>
                <a:gd name="T10" fmla="*/ 79 w 127"/>
                <a:gd name="T11" fmla="*/ 0 h 74"/>
                <a:gd name="T12" fmla="*/ 85 w 127"/>
                <a:gd name="T13" fmla="*/ 9 h 74"/>
                <a:gd name="T14" fmla="*/ 100 w 127"/>
                <a:gd name="T15" fmla="*/ 9 h 74"/>
                <a:gd name="T16" fmla="*/ 120 w 127"/>
                <a:gd name="T17" fmla="*/ 27 h 74"/>
                <a:gd name="T18" fmla="*/ 127 w 127"/>
                <a:gd name="T19" fmla="*/ 35 h 74"/>
                <a:gd name="T20" fmla="*/ 97 w 127"/>
                <a:gd name="T21" fmla="*/ 50 h 74"/>
                <a:gd name="T22" fmla="*/ 108 w 127"/>
                <a:gd name="T23" fmla="*/ 65 h 74"/>
                <a:gd name="T24" fmla="*/ 87 w 127"/>
                <a:gd name="T25" fmla="*/ 66 h 74"/>
                <a:gd name="T26" fmla="*/ 78 w 127"/>
                <a:gd name="T27" fmla="*/ 74 h 74"/>
                <a:gd name="T28" fmla="*/ 55 w 127"/>
                <a:gd name="T29" fmla="*/ 74 h 74"/>
                <a:gd name="T30" fmla="*/ 54 w 127"/>
                <a:gd name="T31" fmla="*/ 63 h 74"/>
                <a:gd name="T32" fmla="*/ 36 w 127"/>
                <a:gd name="T33" fmla="*/ 62 h 74"/>
                <a:gd name="T34" fmla="*/ 36 w 127"/>
                <a:gd name="T35" fmla="*/ 44 h 74"/>
                <a:gd name="T36" fmla="*/ 6 w 127"/>
                <a:gd name="T3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74">
                  <a:moveTo>
                    <a:pt x="6" y="32"/>
                  </a:moveTo>
                  <a:lnTo>
                    <a:pt x="0" y="14"/>
                  </a:lnTo>
                  <a:lnTo>
                    <a:pt x="12" y="5"/>
                  </a:lnTo>
                  <a:lnTo>
                    <a:pt x="34" y="5"/>
                  </a:lnTo>
                  <a:lnTo>
                    <a:pt x="66" y="8"/>
                  </a:lnTo>
                  <a:lnTo>
                    <a:pt x="79" y="0"/>
                  </a:lnTo>
                  <a:lnTo>
                    <a:pt x="85" y="9"/>
                  </a:lnTo>
                  <a:lnTo>
                    <a:pt x="100" y="9"/>
                  </a:lnTo>
                  <a:lnTo>
                    <a:pt x="120" y="27"/>
                  </a:lnTo>
                  <a:lnTo>
                    <a:pt x="127" y="35"/>
                  </a:lnTo>
                  <a:lnTo>
                    <a:pt x="97" y="50"/>
                  </a:lnTo>
                  <a:lnTo>
                    <a:pt x="108" y="65"/>
                  </a:lnTo>
                  <a:lnTo>
                    <a:pt x="87" y="66"/>
                  </a:lnTo>
                  <a:lnTo>
                    <a:pt x="78" y="74"/>
                  </a:lnTo>
                  <a:lnTo>
                    <a:pt x="55" y="74"/>
                  </a:lnTo>
                  <a:lnTo>
                    <a:pt x="54" y="63"/>
                  </a:lnTo>
                  <a:lnTo>
                    <a:pt x="36" y="62"/>
                  </a:lnTo>
                  <a:lnTo>
                    <a:pt x="36" y="44"/>
                  </a:lnTo>
                  <a:lnTo>
                    <a:pt x="6" y="32"/>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7" name="Freeform 180">
              <a:extLst>
                <a:ext uri="{FF2B5EF4-FFF2-40B4-BE49-F238E27FC236}">
                  <a16:creationId xmlns:a16="http://schemas.microsoft.com/office/drawing/2014/main" id="{8B8804DF-6138-B146-AE04-2AB66BC554DA}"/>
                </a:ext>
              </a:extLst>
            </p:cNvPr>
            <p:cNvSpPr>
              <a:spLocks/>
            </p:cNvSpPr>
            <p:nvPr/>
          </p:nvSpPr>
          <p:spPr bwMode="auto">
            <a:xfrm>
              <a:off x="3248" y="1713"/>
              <a:ext cx="105" cy="45"/>
            </a:xfrm>
            <a:custGeom>
              <a:avLst/>
              <a:gdLst>
                <a:gd name="T0" fmla="*/ 123 w 158"/>
                <a:gd name="T1" fmla="*/ 69 h 69"/>
                <a:gd name="T2" fmla="*/ 105 w 158"/>
                <a:gd name="T3" fmla="*/ 51 h 69"/>
                <a:gd name="T4" fmla="*/ 89 w 158"/>
                <a:gd name="T5" fmla="*/ 52 h 69"/>
                <a:gd name="T6" fmla="*/ 84 w 158"/>
                <a:gd name="T7" fmla="*/ 42 h 69"/>
                <a:gd name="T8" fmla="*/ 71 w 158"/>
                <a:gd name="T9" fmla="*/ 51 h 69"/>
                <a:gd name="T10" fmla="*/ 38 w 158"/>
                <a:gd name="T11" fmla="*/ 48 h 69"/>
                <a:gd name="T12" fmla="*/ 15 w 158"/>
                <a:gd name="T13" fmla="*/ 46 h 69"/>
                <a:gd name="T14" fmla="*/ 3 w 158"/>
                <a:gd name="T15" fmla="*/ 57 h 69"/>
                <a:gd name="T16" fmla="*/ 0 w 158"/>
                <a:gd name="T17" fmla="*/ 34 h 69"/>
                <a:gd name="T18" fmla="*/ 9 w 158"/>
                <a:gd name="T19" fmla="*/ 27 h 69"/>
                <a:gd name="T20" fmla="*/ 11 w 158"/>
                <a:gd name="T21" fmla="*/ 13 h 69"/>
                <a:gd name="T22" fmla="*/ 32 w 158"/>
                <a:gd name="T23" fmla="*/ 10 h 69"/>
                <a:gd name="T24" fmla="*/ 48 w 158"/>
                <a:gd name="T25" fmla="*/ 18 h 69"/>
                <a:gd name="T26" fmla="*/ 54 w 158"/>
                <a:gd name="T27" fmla="*/ 27 h 69"/>
                <a:gd name="T28" fmla="*/ 71 w 158"/>
                <a:gd name="T29" fmla="*/ 27 h 69"/>
                <a:gd name="T30" fmla="*/ 69 w 158"/>
                <a:gd name="T31" fmla="*/ 10 h 69"/>
                <a:gd name="T32" fmla="*/ 90 w 158"/>
                <a:gd name="T33" fmla="*/ 0 h 69"/>
                <a:gd name="T34" fmla="*/ 111 w 158"/>
                <a:gd name="T35" fmla="*/ 9 h 69"/>
                <a:gd name="T36" fmla="*/ 120 w 158"/>
                <a:gd name="T37" fmla="*/ 16 h 69"/>
                <a:gd name="T38" fmla="*/ 140 w 158"/>
                <a:gd name="T39" fmla="*/ 13 h 69"/>
                <a:gd name="T40" fmla="*/ 158 w 158"/>
                <a:gd name="T41" fmla="*/ 52 h 69"/>
                <a:gd name="T42" fmla="*/ 144 w 158"/>
                <a:gd name="T43" fmla="*/ 63 h 69"/>
                <a:gd name="T44" fmla="*/ 123 w 158"/>
                <a:gd name="T4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69">
                  <a:moveTo>
                    <a:pt x="123" y="69"/>
                  </a:moveTo>
                  <a:lnTo>
                    <a:pt x="105" y="51"/>
                  </a:lnTo>
                  <a:lnTo>
                    <a:pt x="89" y="52"/>
                  </a:lnTo>
                  <a:lnTo>
                    <a:pt x="84" y="42"/>
                  </a:lnTo>
                  <a:lnTo>
                    <a:pt x="71" y="51"/>
                  </a:lnTo>
                  <a:lnTo>
                    <a:pt x="38" y="48"/>
                  </a:lnTo>
                  <a:lnTo>
                    <a:pt x="15" y="46"/>
                  </a:lnTo>
                  <a:lnTo>
                    <a:pt x="3" y="57"/>
                  </a:lnTo>
                  <a:lnTo>
                    <a:pt x="0" y="34"/>
                  </a:lnTo>
                  <a:lnTo>
                    <a:pt x="9" y="27"/>
                  </a:lnTo>
                  <a:lnTo>
                    <a:pt x="11" y="13"/>
                  </a:lnTo>
                  <a:lnTo>
                    <a:pt x="32" y="10"/>
                  </a:lnTo>
                  <a:lnTo>
                    <a:pt x="48" y="18"/>
                  </a:lnTo>
                  <a:lnTo>
                    <a:pt x="54" y="27"/>
                  </a:lnTo>
                  <a:lnTo>
                    <a:pt x="71" y="27"/>
                  </a:lnTo>
                  <a:lnTo>
                    <a:pt x="69" y="10"/>
                  </a:lnTo>
                  <a:lnTo>
                    <a:pt x="90" y="0"/>
                  </a:lnTo>
                  <a:lnTo>
                    <a:pt x="111" y="9"/>
                  </a:lnTo>
                  <a:lnTo>
                    <a:pt x="120" y="16"/>
                  </a:lnTo>
                  <a:lnTo>
                    <a:pt x="140" y="13"/>
                  </a:lnTo>
                  <a:lnTo>
                    <a:pt x="158" y="52"/>
                  </a:lnTo>
                  <a:lnTo>
                    <a:pt x="144" y="63"/>
                  </a:lnTo>
                  <a:lnTo>
                    <a:pt x="123" y="69"/>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8" name="Freeform 181">
              <a:extLst>
                <a:ext uri="{FF2B5EF4-FFF2-40B4-BE49-F238E27FC236}">
                  <a16:creationId xmlns:a16="http://schemas.microsoft.com/office/drawing/2014/main" id="{9F3D732C-F08C-7A42-AEE5-0905C2548838}"/>
                </a:ext>
              </a:extLst>
            </p:cNvPr>
            <p:cNvSpPr>
              <a:spLocks/>
            </p:cNvSpPr>
            <p:nvPr/>
          </p:nvSpPr>
          <p:spPr bwMode="auto">
            <a:xfrm>
              <a:off x="3258" y="1685"/>
              <a:ext cx="87" cy="38"/>
            </a:xfrm>
            <a:custGeom>
              <a:avLst/>
              <a:gdLst>
                <a:gd name="T0" fmla="*/ 56 w 131"/>
                <a:gd name="T1" fmla="*/ 48 h 56"/>
                <a:gd name="T2" fmla="*/ 57 w 131"/>
                <a:gd name="T3" fmla="*/ 32 h 56"/>
                <a:gd name="T4" fmla="*/ 42 w 131"/>
                <a:gd name="T5" fmla="*/ 32 h 56"/>
                <a:gd name="T6" fmla="*/ 17 w 131"/>
                <a:gd name="T7" fmla="*/ 36 h 56"/>
                <a:gd name="T8" fmla="*/ 5 w 131"/>
                <a:gd name="T9" fmla="*/ 42 h 56"/>
                <a:gd name="T10" fmla="*/ 0 w 131"/>
                <a:gd name="T11" fmla="*/ 30 h 56"/>
                <a:gd name="T12" fmla="*/ 32 w 131"/>
                <a:gd name="T13" fmla="*/ 11 h 56"/>
                <a:gd name="T14" fmla="*/ 57 w 131"/>
                <a:gd name="T15" fmla="*/ 0 h 56"/>
                <a:gd name="T16" fmla="*/ 84 w 131"/>
                <a:gd name="T17" fmla="*/ 2 h 56"/>
                <a:gd name="T18" fmla="*/ 110 w 131"/>
                <a:gd name="T19" fmla="*/ 5 h 56"/>
                <a:gd name="T20" fmla="*/ 128 w 131"/>
                <a:gd name="T21" fmla="*/ 5 h 56"/>
                <a:gd name="T22" fmla="*/ 119 w 131"/>
                <a:gd name="T23" fmla="*/ 23 h 56"/>
                <a:gd name="T24" fmla="*/ 131 w 131"/>
                <a:gd name="T25" fmla="*/ 44 h 56"/>
                <a:gd name="T26" fmla="*/ 126 w 131"/>
                <a:gd name="T27" fmla="*/ 53 h 56"/>
                <a:gd name="T28" fmla="*/ 104 w 131"/>
                <a:gd name="T29" fmla="*/ 56 h 56"/>
                <a:gd name="T30" fmla="*/ 90 w 131"/>
                <a:gd name="T31" fmla="*/ 47 h 56"/>
                <a:gd name="T32" fmla="*/ 74 w 131"/>
                <a:gd name="T33" fmla="*/ 41 h 56"/>
                <a:gd name="T34" fmla="*/ 56 w 131"/>
                <a:gd name="T3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56">
                  <a:moveTo>
                    <a:pt x="56" y="48"/>
                  </a:moveTo>
                  <a:lnTo>
                    <a:pt x="57" y="32"/>
                  </a:lnTo>
                  <a:lnTo>
                    <a:pt x="42" y="32"/>
                  </a:lnTo>
                  <a:lnTo>
                    <a:pt x="17" y="36"/>
                  </a:lnTo>
                  <a:lnTo>
                    <a:pt x="5" y="42"/>
                  </a:lnTo>
                  <a:lnTo>
                    <a:pt x="0" y="30"/>
                  </a:lnTo>
                  <a:lnTo>
                    <a:pt x="32" y="11"/>
                  </a:lnTo>
                  <a:lnTo>
                    <a:pt x="57" y="0"/>
                  </a:lnTo>
                  <a:lnTo>
                    <a:pt x="84" y="2"/>
                  </a:lnTo>
                  <a:lnTo>
                    <a:pt x="110" y="5"/>
                  </a:lnTo>
                  <a:lnTo>
                    <a:pt x="128" y="5"/>
                  </a:lnTo>
                  <a:lnTo>
                    <a:pt x="119" y="23"/>
                  </a:lnTo>
                  <a:lnTo>
                    <a:pt x="131" y="44"/>
                  </a:lnTo>
                  <a:lnTo>
                    <a:pt x="126" y="53"/>
                  </a:lnTo>
                  <a:lnTo>
                    <a:pt x="104" y="56"/>
                  </a:lnTo>
                  <a:lnTo>
                    <a:pt x="90" y="47"/>
                  </a:lnTo>
                  <a:lnTo>
                    <a:pt x="74" y="41"/>
                  </a:lnTo>
                  <a:lnTo>
                    <a:pt x="56" y="48"/>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49" name="Freeform 182">
              <a:extLst>
                <a:ext uri="{FF2B5EF4-FFF2-40B4-BE49-F238E27FC236}">
                  <a16:creationId xmlns:a16="http://schemas.microsoft.com/office/drawing/2014/main" id="{514CD1EE-2F79-A642-8892-48337EBE1F35}"/>
                </a:ext>
              </a:extLst>
            </p:cNvPr>
            <p:cNvSpPr>
              <a:spLocks/>
            </p:cNvSpPr>
            <p:nvPr/>
          </p:nvSpPr>
          <p:spPr bwMode="auto">
            <a:xfrm>
              <a:off x="3287" y="1747"/>
              <a:ext cx="138" cy="93"/>
            </a:xfrm>
            <a:custGeom>
              <a:avLst/>
              <a:gdLst>
                <a:gd name="T0" fmla="*/ 97 w 208"/>
                <a:gd name="T1" fmla="*/ 0 h 140"/>
                <a:gd name="T2" fmla="*/ 112 w 208"/>
                <a:gd name="T3" fmla="*/ 6 h 140"/>
                <a:gd name="T4" fmla="*/ 124 w 208"/>
                <a:gd name="T5" fmla="*/ 3 h 140"/>
                <a:gd name="T6" fmla="*/ 130 w 208"/>
                <a:gd name="T7" fmla="*/ 14 h 140"/>
                <a:gd name="T8" fmla="*/ 151 w 208"/>
                <a:gd name="T9" fmla="*/ 11 h 140"/>
                <a:gd name="T10" fmla="*/ 160 w 208"/>
                <a:gd name="T11" fmla="*/ 23 h 140"/>
                <a:gd name="T12" fmla="*/ 163 w 208"/>
                <a:gd name="T13" fmla="*/ 39 h 140"/>
                <a:gd name="T14" fmla="*/ 186 w 208"/>
                <a:gd name="T15" fmla="*/ 65 h 140"/>
                <a:gd name="T16" fmla="*/ 208 w 208"/>
                <a:gd name="T17" fmla="*/ 75 h 140"/>
                <a:gd name="T18" fmla="*/ 196 w 208"/>
                <a:gd name="T19" fmla="*/ 87 h 140"/>
                <a:gd name="T20" fmla="*/ 181 w 208"/>
                <a:gd name="T21" fmla="*/ 83 h 140"/>
                <a:gd name="T22" fmla="*/ 187 w 208"/>
                <a:gd name="T23" fmla="*/ 114 h 140"/>
                <a:gd name="T24" fmla="*/ 171 w 208"/>
                <a:gd name="T25" fmla="*/ 117 h 140"/>
                <a:gd name="T26" fmla="*/ 166 w 208"/>
                <a:gd name="T27" fmla="*/ 140 h 140"/>
                <a:gd name="T28" fmla="*/ 147 w 208"/>
                <a:gd name="T29" fmla="*/ 135 h 140"/>
                <a:gd name="T30" fmla="*/ 85 w 208"/>
                <a:gd name="T31" fmla="*/ 129 h 140"/>
                <a:gd name="T32" fmla="*/ 64 w 208"/>
                <a:gd name="T33" fmla="*/ 119 h 140"/>
                <a:gd name="T34" fmla="*/ 28 w 208"/>
                <a:gd name="T35" fmla="*/ 123 h 140"/>
                <a:gd name="T36" fmla="*/ 7 w 208"/>
                <a:gd name="T37" fmla="*/ 131 h 140"/>
                <a:gd name="T38" fmla="*/ 10 w 208"/>
                <a:gd name="T39" fmla="*/ 116 h 140"/>
                <a:gd name="T40" fmla="*/ 0 w 208"/>
                <a:gd name="T41" fmla="*/ 108 h 140"/>
                <a:gd name="T42" fmla="*/ 13 w 208"/>
                <a:gd name="T43" fmla="*/ 90 h 140"/>
                <a:gd name="T44" fmla="*/ 4 w 208"/>
                <a:gd name="T45" fmla="*/ 65 h 140"/>
                <a:gd name="T46" fmla="*/ 22 w 208"/>
                <a:gd name="T47" fmla="*/ 65 h 140"/>
                <a:gd name="T48" fmla="*/ 34 w 208"/>
                <a:gd name="T49" fmla="*/ 56 h 140"/>
                <a:gd name="T50" fmla="*/ 52 w 208"/>
                <a:gd name="T51" fmla="*/ 56 h 140"/>
                <a:gd name="T52" fmla="*/ 45 w 208"/>
                <a:gd name="T53" fmla="*/ 39 h 140"/>
                <a:gd name="T54" fmla="*/ 73 w 208"/>
                <a:gd name="T55" fmla="*/ 26 h 140"/>
                <a:gd name="T56" fmla="*/ 66 w 208"/>
                <a:gd name="T57" fmla="*/ 17 h 140"/>
                <a:gd name="T58" fmla="*/ 84 w 208"/>
                <a:gd name="T59" fmla="*/ 11 h 140"/>
                <a:gd name="T60" fmla="*/ 97 w 208"/>
                <a:gd name="T6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8" h="140">
                  <a:moveTo>
                    <a:pt x="97" y="0"/>
                  </a:moveTo>
                  <a:lnTo>
                    <a:pt x="112" y="6"/>
                  </a:lnTo>
                  <a:lnTo>
                    <a:pt x="124" y="3"/>
                  </a:lnTo>
                  <a:lnTo>
                    <a:pt x="130" y="14"/>
                  </a:lnTo>
                  <a:lnTo>
                    <a:pt x="151" y="11"/>
                  </a:lnTo>
                  <a:lnTo>
                    <a:pt x="160" y="23"/>
                  </a:lnTo>
                  <a:lnTo>
                    <a:pt x="163" y="39"/>
                  </a:lnTo>
                  <a:lnTo>
                    <a:pt x="186" y="65"/>
                  </a:lnTo>
                  <a:lnTo>
                    <a:pt x="208" y="75"/>
                  </a:lnTo>
                  <a:lnTo>
                    <a:pt x="196" y="87"/>
                  </a:lnTo>
                  <a:lnTo>
                    <a:pt x="181" y="83"/>
                  </a:lnTo>
                  <a:lnTo>
                    <a:pt x="187" y="114"/>
                  </a:lnTo>
                  <a:lnTo>
                    <a:pt x="171" y="117"/>
                  </a:lnTo>
                  <a:lnTo>
                    <a:pt x="166" y="140"/>
                  </a:lnTo>
                  <a:lnTo>
                    <a:pt x="147" y="135"/>
                  </a:lnTo>
                  <a:lnTo>
                    <a:pt x="85" y="129"/>
                  </a:lnTo>
                  <a:lnTo>
                    <a:pt x="64" y="119"/>
                  </a:lnTo>
                  <a:lnTo>
                    <a:pt x="28" y="123"/>
                  </a:lnTo>
                  <a:lnTo>
                    <a:pt x="7" y="131"/>
                  </a:lnTo>
                  <a:lnTo>
                    <a:pt x="10" y="116"/>
                  </a:lnTo>
                  <a:lnTo>
                    <a:pt x="0" y="108"/>
                  </a:lnTo>
                  <a:lnTo>
                    <a:pt x="13" y="90"/>
                  </a:lnTo>
                  <a:lnTo>
                    <a:pt x="4" y="65"/>
                  </a:lnTo>
                  <a:lnTo>
                    <a:pt x="22" y="65"/>
                  </a:lnTo>
                  <a:lnTo>
                    <a:pt x="34" y="56"/>
                  </a:lnTo>
                  <a:lnTo>
                    <a:pt x="52" y="56"/>
                  </a:lnTo>
                  <a:lnTo>
                    <a:pt x="45" y="39"/>
                  </a:lnTo>
                  <a:lnTo>
                    <a:pt x="73" y="26"/>
                  </a:lnTo>
                  <a:lnTo>
                    <a:pt x="66" y="17"/>
                  </a:lnTo>
                  <a:lnTo>
                    <a:pt x="84" y="11"/>
                  </a:lnTo>
                  <a:lnTo>
                    <a:pt x="97" y="0"/>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0" name="Freeform 183">
              <a:extLst>
                <a:ext uri="{FF2B5EF4-FFF2-40B4-BE49-F238E27FC236}">
                  <a16:creationId xmlns:a16="http://schemas.microsoft.com/office/drawing/2014/main" id="{BBE6D005-5ECD-D84C-9881-B62FE494FB78}"/>
                </a:ext>
              </a:extLst>
            </p:cNvPr>
            <p:cNvSpPr>
              <a:spLocks/>
            </p:cNvSpPr>
            <p:nvPr/>
          </p:nvSpPr>
          <p:spPr bwMode="auto">
            <a:xfrm>
              <a:off x="3347" y="1892"/>
              <a:ext cx="54" cy="58"/>
            </a:xfrm>
            <a:custGeom>
              <a:avLst/>
              <a:gdLst>
                <a:gd name="T0" fmla="*/ 0 w 82"/>
                <a:gd name="T1" fmla="*/ 6 h 88"/>
                <a:gd name="T2" fmla="*/ 16 w 82"/>
                <a:gd name="T3" fmla="*/ 0 h 88"/>
                <a:gd name="T4" fmla="*/ 34 w 82"/>
                <a:gd name="T5" fmla="*/ 7 h 88"/>
                <a:gd name="T6" fmla="*/ 51 w 82"/>
                <a:gd name="T7" fmla="*/ 10 h 88"/>
                <a:gd name="T8" fmla="*/ 61 w 82"/>
                <a:gd name="T9" fmla="*/ 30 h 88"/>
                <a:gd name="T10" fmla="*/ 82 w 82"/>
                <a:gd name="T11" fmla="*/ 55 h 88"/>
                <a:gd name="T12" fmla="*/ 76 w 82"/>
                <a:gd name="T13" fmla="*/ 63 h 88"/>
                <a:gd name="T14" fmla="*/ 54 w 82"/>
                <a:gd name="T15" fmla="*/ 57 h 88"/>
                <a:gd name="T16" fmla="*/ 58 w 82"/>
                <a:gd name="T17" fmla="*/ 72 h 88"/>
                <a:gd name="T18" fmla="*/ 37 w 82"/>
                <a:gd name="T19" fmla="*/ 88 h 88"/>
                <a:gd name="T20" fmla="*/ 34 w 82"/>
                <a:gd name="T21" fmla="*/ 69 h 88"/>
                <a:gd name="T22" fmla="*/ 39 w 82"/>
                <a:gd name="T23" fmla="*/ 52 h 88"/>
                <a:gd name="T24" fmla="*/ 19 w 82"/>
                <a:gd name="T25" fmla="*/ 34 h 88"/>
                <a:gd name="T26" fmla="*/ 0 w 82"/>
                <a:gd name="T2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88">
                  <a:moveTo>
                    <a:pt x="0" y="6"/>
                  </a:moveTo>
                  <a:lnTo>
                    <a:pt x="16" y="0"/>
                  </a:lnTo>
                  <a:lnTo>
                    <a:pt x="34" y="7"/>
                  </a:lnTo>
                  <a:lnTo>
                    <a:pt x="51" y="10"/>
                  </a:lnTo>
                  <a:lnTo>
                    <a:pt x="61" y="30"/>
                  </a:lnTo>
                  <a:lnTo>
                    <a:pt x="82" y="55"/>
                  </a:lnTo>
                  <a:lnTo>
                    <a:pt x="76" y="63"/>
                  </a:lnTo>
                  <a:lnTo>
                    <a:pt x="54" y="57"/>
                  </a:lnTo>
                  <a:lnTo>
                    <a:pt x="58" y="72"/>
                  </a:lnTo>
                  <a:lnTo>
                    <a:pt x="37" y="88"/>
                  </a:lnTo>
                  <a:lnTo>
                    <a:pt x="34" y="69"/>
                  </a:lnTo>
                  <a:lnTo>
                    <a:pt x="39" y="52"/>
                  </a:lnTo>
                  <a:lnTo>
                    <a:pt x="19" y="34"/>
                  </a:lnTo>
                  <a:lnTo>
                    <a:pt x="0" y="6"/>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1" name="Freeform 184">
              <a:extLst>
                <a:ext uri="{FF2B5EF4-FFF2-40B4-BE49-F238E27FC236}">
                  <a16:creationId xmlns:a16="http://schemas.microsoft.com/office/drawing/2014/main" id="{990BDB14-53B7-344A-930D-2E034C462344}"/>
                </a:ext>
              </a:extLst>
            </p:cNvPr>
            <p:cNvSpPr>
              <a:spLocks/>
            </p:cNvSpPr>
            <p:nvPr/>
          </p:nvSpPr>
          <p:spPr bwMode="auto">
            <a:xfrm>
              <a:off x="3276" y="1819"/>
              <a:ext cx="272" cy="135"/>
            </a:xfrm>
            <a:custGeom>
              <a:avLst/>
              <a:gdLst>
                <a:gd name="T0" fmla="*/ 174 w 411"/>
                <a:gd name="T1" fmla="*/ 195 h 204"/>
                <a:gd name="T2" fmla="*/ 155 w 411"/>
                <a:gd name="T3" fmla="*/ 204 h 204"/>
                <a:gd name="T4" fmla="*/ 146 w 411"/>
                <a:gd name="T5" fmla="*/ 195 h 204"/>
                <a:gd name="T6" fmla="*/ 164 w 411"/>
                <a:gd name="T7" fmla="*/ 183 h 204"/>
                <a:gd name="T8" fmla="*/ 162 w 411"/>
                <a:gd name="T9" fmla="*/ 165 h 204"/>
                <a:gd name="T10" fmla="*/ 182 w 411"/>
                <a:gd name="T11" fmla="*/ 171 h 204"/>
                <a:gd name="T12" fmla="*/ 185 w 411"/>
                <a:gd name="T13" fmla="*/ 159 h 204"/>
                <a:gd name="T14" fmla="*/ 168 w 411"/>
                <a:gd name="T15" fmla="*/ 141 h 204"/>
                <a:gd name="T16" fmla="*/ 158 w 411"/>
                <a:gd name="T17" fmla="*/ 117 h 204"/>
                <a:gd name="T18" fmla="*/ 143 w 411"/>
                <a:gd name="T19" fmla="*/ 119 h 204"/>
                <a:gd name="T20" fmla="*/ 125 w 411"/>
                <a:gd name="T21" fmla="*/ 110 h 204"/>
                <a:gd name="T22" fmla="*/ 107 w 411"/>
                <a:gd name="T23" fmla="*/ 114 h 204"/>
                <a:gd name="T24" fmla="*/ 87 w 411"/>
                <a:gd name="T25" fmla="*/ 125 h 204"/>
                <a:gd name="T26" fmla="*/ 62 w 411"/>
                <a:gd name="T27" fmla="*/ 131 h 204"/>
                <a:gd name="T28" fmla="*/ 53 w 411"/>
                <a:gd name="T29" fmla="*/ 120 h 204"/>
                <a:gd name="T30" fmla="*/ 15 w 411"/>
                <a:gd name="T31" fmla="*/ 120 h 204"/>
                <a:gd name="T32" fmla="*/ 0 w 411"/>
                <a:gd name="T33" fmla="*/ 110 h 204"/>
                <a:gd name="T34" fmla="*/ 8 w 411"/>
                <a:gd name="T35" fmla="*/ 95 h 204"/>
                <a:gd name="T36" fmla="*/ 18 w 411"/>
                <a:gd name="T37" fmla="*/ 92 h 204"/>
                <a:gd name="T38" fmla="*/ 9 w 411"/>
                <a:gd name="T39" fmla="*/ 78 h 204"/>
                <a:gd name="T40" fmla="*/ 24 w 411"/>
                <a:gd name="T41" fmla="*/ 66 h 204"/>
                <a:gd name="T42" fmla="*/ 42 w 411"/>
                <a:gd name="T43" fmla="*/ 47 h 204"/>
                <a:gd name="T44" fmla="*/ 26 w 411"/>
                <a:gd name="T45" fmla="*/ 23 h 204"/>
                <a:gd name="T46" fmla="*/ 45 w 411"/>
                <a:gd name="T47" fmla="*/ 12 h 204"/>
                <a:gd name="T48" fmla="*/ 81 w 411"/>
                <a:gd name="T49" fmla="*/ 12 h 204"/>
                <a:gd name="T50" fmla="*/ 105 w 411"/>
                <a:gd name="T51" fmla="*/ 23 h 204"/>
                <a:gd name="T52" fmla="*/ 158 w 411"/>
                <a:gd name="T53" fmla="*/ 26 h 204"/>
                <a:gd name="T54" fmla="*/ 183 w 411"/>
                <a:gd name="T55" fmla="*/ 32 h 204"/>
                <a:gd name="T56" fmla="*/ 188 w 411"/>
                <a:gd name="T57" fmla="*/ 9 h 204"/>
                <a:gd name="T58" fmla="*/ 201 w 411"/>
                <a:gd name="T59" fmla="*/ 5 h 204"/>
                <a:gd name="T60" fmla="*/ 212 w 411"/>
                <a:gd name="T61" fmla="*/ 9 h 204"/>
                <a:gd name="T62" fmla="*/ 224 w 411"/>
                <a:gd name="T63" fmla="*/ 0 h 204"/>
                <a:gd name="T64" fmla="*/ 255 w 411"/>
                <a:gd name="T65" fmla="*/ 0 h 204"/>
                <a:gd name="T66" fmla="*/ 270 w 411"/>
                <a:gd name="T67" fmla="*/ 11 h 204"/>
                <a:gd name="T68" fmla="*/ 266 w 411"/>
                <a:gd name="T69" fmla="*/ 24 h 204"/>
                <a:gd name="T70" fmla="*/ 291 w 411"/>
                <a:gd name="T71" fmla="*/ 35 h 204"/>
                <a:gd name="T72" fmla="*/ 299 w 411"/>
                <a:gd name="T73" fmla="*/ 56 h 204"/>
                <a:gd name="T74" fmla="*/ 339 w 411"/>
                <a:gd name="T75" fmla="*/ 56 h 204"/>
                <a:gd name="T76" fmla="*/ 371 w 411"/>
                <a:gd name="T77" fmla="*/ 71 h 204"/>
                <a:gd name="T78" fmla="*/ 408 w 411"/>
                <a:gd name="T79" fmla="*/ 78 h 204"/>
                <a:gd name="T80" fmla="*/ 405 w 411"/>
                <a:gd name="T81" fmla="*/ 111 h 204"/>
                <a:gd name="T82" fmla="*/ 411 w 411"/>
                <a:gd name="T83" fmla="*/ 125 h 204"/>
                <a:gd name="T84" fmla="*/ 402 w 411"/>
                <a:gd name="T85" fmla="*/ 134 h 204"/>
                <a:gd name="T86" fmla="*/ 381 w 411"/>
                <a:gd name="T87" fmla="*/ 134 h 204"/>
                <a:gd name="T88" fmla="*/ 377 w 411"/>
                <a:gd name="T89" fmla="*/ 147 h 204"/>
                <a:gd name="T90" fmla="*/ 300 w 411"/>
                <a:gd name="T91" fmla="*/ 180 h 204"/>
                <a:gd name="T92" fmla="*/ 272 w 411"/>
                <a:gd name="T93" fmla="*/ 176 h 204"/>
                <a:gd name="T94" fmla="*/ 231 w 411"/>
                <a:gd name="T95" fmla="*/ 179 h 204"/>
                <a:gd name="T96" fmla="*/ 245 w 411"/>
                <a:gd name="T97" fmla="*/ 161 h 204"/>
                <a:gd name="T98" fmla="*/ 213 w 411"/>
                <a:gd name="T99" fmla="*/ 161 h 204"/>
                <a:gd name="T100" fmla="*/ 201 w 411"/>
                <a:gd name="T101" fmla="*/ 185 h 204"/>
                <a:gd name="T102" fmla="*/ 174 w 411"/>
                <a:gd name="T103" fmla="*/ 19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1" h="204">
                  <a:moveTo>
                    <a:pt x="174" y="195"/>
                  </a:moveTo>
                  <a:lnTo>
                    <a:pt x="155" y="204"/>
                  </a:lnTo>
                  <a:lnTo>
                    <a:pt x="146" y="195"/>
                  </a:lnTo>
                  <a:lnTo>
                    <a:pt x="164" y="183"/>
                  </a:lnTo>
                  <a:lnTo>
                    <a:pt x="162" y="165"/>
                  </a:lnTo>
                  <a:lnTo>
                    <a:pt x="182" y="171"/>
                  </a:lnTo>
                  <a:lnTo>
                    <a:pt x="185" y="159"/>
                  </a:lnTo>
                  <a:lnTo>
                    <a:pt x="168" y="141"/>
                  </a:lnTo>
                  <a:lnTo>
                    <a:pt x="158" y="117"/>
                  </a:lnTo>
                  <a:lnTo>
                    <a:pt x="143" y="119"/>
                  </a:lnTo>
                  <a:lnTo>
                    <a:pt x="125" y="110"/>
                  </a:lnTo>
                  <a:lnTo>
                    <a:pt x="107" y="114"/>
                  </a:lnTo>
                  <a:lnTo>
                    <a:pt x="87" y="125"/>
                  </a:lnTo>
                  <a:lnTo>
                    <a:pt x="62" y="131"/>
                  </a:lnTo>
                  <a:lnTo>
                    <a:pt x="53" y="120"/>
                  </a:lnTo>
                  <a:lnTo>
                    <a:pt x="15" y="120"/>
                  </a:lnTo>
                  <a:lnTo>
                    <a:pt x="0" y="110"/>
                  </a:lnTo>
                  <a:lnTo>
                    <a:pt x="8" y="95"/>
                  </a:lnTo>
                  <a:lnTo>
                    <a:pt x="18" y="92"/>
                  </a:lnTo>
                  <a:lnTo>
                    <a:pt x="9" y="78"/>
                  </a:lnTo>
                  <a:lnTo>
                    <a:pt x="24" y="66"/>
                  </a:lnTo>
                  <a:lnTo>
                    <a:pt x="42" y="47"/>
                  </a:lnTo>
                  <a:lnTo>
                    <a:pt x="26" y="23"/>
                  </a:lnTo>
                  <a:lnTo>
                    <a:pt x="45" y="12"/>
                  </a:lnTo>
                  <a:lnTo>
                    <a:pt x="81" y="12"/>
                  </a:lnTo>
                  <a:lnTo>
                    <a:pt x="105" y="23"/>
                  </a:lnTo>
                  <a:lnTo>
                    <a:pt x="158" y="26"/>
                  </a:lnTo>
                  <a:lnTo>
                    <a:pt x="183" y="32"/>
                  </a:lnTo>
                  <a:lnTo>
                    <a:pt x="188" y="9"/>
                  </a:lnTo>
                  <a:lnTo>
                    <a:pt x="201" y="5"/>
                  </a:lnTo>
                  <a:lnTo>
                    <a:pt x="212" y="9"/>
                  </a:lnTo>
                  <a:lnTo>
                    <a:pt x="224" y="0"/>
                  </a:lnTo>
                  <a:lnTo>
                    <a:pt x="255" y="0"/>
                  </a:lnTo>
                  <a:lnTo>
                    <a:pt x="270" y="11"/>
                  </a:lnTo>
                  <a:lnTo>
                    <a:pt x="266" y="24"/>
                  </a:lnTo>
                  <a:lnTo>
                    <a:pt x="291" y="35"/>
                  </a:lnTo>
                  <a:lnTo>
                    <a:pt x="299" y="56"/>
                  </a:lnTo>
                  <a:lnTo>
                    <a:pt x="339" y="56"/>
                  </a:lnTo>
                  <a:lnTo>
                    <a:pt x="371" y="71"/>
                  </a:lnTo>
                  <a:lnTo>
                    <a:pt x="408" y="78"/>
                  </a:lnTo>
                  <a:lnTo>
                    <a:pt x="405" y="111"/>
                  </a:lnTo>
                  <a:lnTo>
                    <a:pt x="411" y="125"/>
                  </a:lnTo>
                  <a:lnTo>
                    <a:pt x="402" y="134"/>
                  </a:lnTo>
                  <a:lnTo>
                    <a:pt x="381" y="134"/>
                  </a:lnTo>
                  <a:lnTo>
                    <a:pt x="377" y="147"/>
                  </a:lnTo>
                  <a:lnTo>
                    <a:pt x="300" y="180"/>
                  </a:lnTo>
                  <a:lnTo>
                    <a:pt x="272" y="176"/>
                  </a:lnTo>
                  <a:lnTo>
                    <a:pt x="231" y="179"/>
                  </a:lnTo>
                  <a:lnTo>
                    <a:pt x="245" y="161"/>
                  </a:lnTo>
                  <a:lnTo>
                    <a:pt x="213" y="161"/>
                  </a:lnTo>
                  <a:lnTo>
                    <a:pt x="201" y="185"/>
                  </a:lnTo>
                  <a:lnTo>
                    <a:pt x="174" y="195"/>
                  </a:lnTo>
                  <a:close/>
                </a:path>
              </a:pathLst>
            </a:custGeom>
            <a:solidFill>
              <a:schemeClr val="accent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2" name="Freeform 185">
              <a:extLst>
                <a:ext uri="{FF2B5EF4-FFF2-40B4-BE49-F238E27FC236}">
                  <a16:creationId xmlns:a16="http://schemas.microsoft.com/office/drawing/2014/main" id="{FD1AC765-9C85-B745-B193-98761C36BAE6}"/>
                </a:ext>
              </a:extLst>
            </p:cNvPr>
            <p:cNvSpPr>
              <a:spLocks/>
            </p:cNvSpPr>
            <p:nvPr/>
          </p:nvSpPr>
          <p:spPr bwMode="auto">
            <a:xfrm>
              <a:off x="3441" y="1936"/>
              <a:ext cx="62" cy="36"/>
            </a:xfrm>
            <a:custGeom>
              <a:avLst/>
              <a:gdLst>
                <a:gd name="T0" fmla="*/ 89 w 94"/>
                <a:gd name="T1" fmla="*/ 21 h 54"/>
                <a:gd name="T2" fmla="*/ 63 w 94"/>
                <a:gd name="T3" fmla="*/ 23 h 54"/>
                <a:gd name="T4" fmla="*/ 42 w 94"/>
                <a:gd name="T5" fmla="*/ 8 h 54"/>
                <a:gd name="T6" fmla="*/ 0 w 94"/>
                <a:gd name="T7" fmla="*/ 24 h 54"/>
                <a:gd name="T8" fmla="*/ 23 w 94"/>
                <a:gd name="T9" fmla="*/ 38 h 54"/>
                <a:gd name="T10" fmla="*/ 38 w 94"/>
                <a:gd name="T11" fmla="*/ 51 h 54"/>
                <a:gd name="T12" fmla="*/ 56 w 94"/>
                <a:gd name="T13" fmla="*/ 41 h 54"/>
                <a:gd name="T14" fmla="*/ 90 w 94"/>
                <a:gd name="T15" fmla="*/ 33 h 54"/>
                <a:gd name="T16" fmla="*/ 89 w 94"/>
                <a:gd name="T1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4">
                  <a:moveTo>
                    <a:pt x="89" y="21"/>
                  </a:moveTo>
                  <a:cubicBezTo>
                    <a:pt x="69" y="25"/>
                    <a:pt x="78" y="25"/>
                    <a:pt x="63" y="23"/>
                  </a:cubicBezTo>
                  <a:cubicBezTo>
                    <a:pt x="57" y="14"/>
                    <a:pt x="53" y="10"/>
                    <a:pt x="42" y="8"/>
                  </a:cubicBezTo>
                  <a:cubicBezTo>
                    <a:pt x="26" y="0"/>
                    <a:pt x="9" y="12"/>
                    <a:pt x="0" y="24"/>
                  </a:cubicBezTo>
                  <a:cubicBezTo>
                    <a:pt x="10" y="30"/>
                    <a:pt x="18" y="26"/>
                    <a:pt x="23" y="38"/>
                  </a:cubicBezTo>
                  <a:cubicBezTo>
                    <a:pt x="24" y="52"/>
                    <a:pt x="24" y="54"/>
                    <a:pt x="38" y="51"/>
                  </a:cubicBezTo>
                  <a:cubicBezTo>
                    <a:pt x="44" y="47"/>
                    <a:pt x="49" y="42"/>
                    <a:pt x="56" y="41"/>
                  </a:cubicBezTo>
                  <a:cubicBezTo>
                    <a:pt x="66" y="33"/>
                    <a:pt x="78" y="34"/>
                    <a:pt x="90" y="33"/>
                  </a:cubicBezTo>
                  <a:cubicBezTo>
                    <a:pt x="94" y="28"/>
                    <a:pt x="94" y="26"/>
                    <a:pt x="89" y="21"/>
                  </a:cubicBezTo>
                  <a:close/>
                </a:path>
              </a:pathLst>
            </a:custGeom>
            <a:solidFill>
              <a:srgbClr val="70AD4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3" name="Freeform 186">
              <a:extLst>
                <a:ext uri="{FF2B5EF4-FFF2-40B4-BE49-F238E27FC236}">
                  <a16:creationId xmlns:a16="http://schemas.microsoft.com/office/drawing/2014/main" id="{BC32F9F1-8B75-504E-9EC9-5C050F958B5F}"/>
                </a:ext>
              </a:extLst>
            </p:cNvPr>
            <p:cNvSpPr>
              <a:spLocks/>
            </p:cNvSpPr>
            <p:nvPr/>
          </p:nvSpPr>
          <p:spPr bwMode="auto">
            <a:xfrm>
              <a:off x="5160" y="1479"/>
              <a:ext cx="47" cy="20"/>
            </a:xfrm>
            <a:custGeom>
              <a:avLst/>
              <a:gdLst>
                <a:gd name="T0" fmla="*/ 41 w 71"/>
                <a:gd name="T1" fmla="*/ 4 h 29"/>
                <a:gd name="T2" fmla="*/ 4 w 71"/>
                <a:gd name="T3" fmla="*/ 5 h 29"/>
                <a:gd name="T4" fmla="*/ 10 w 71"/>
                <a:gd name="T5" fmla="*/ 14 h 29"/>
                <a:gd name="T6" fmla="*/ 29 w 71"/>
                <a:gd name="T7" fmla="*/ 20 h 29"/>
                <a:gd name="T8" fmla="*/ 71 w 71"/>
                <a:gd name="T9" fmla="*/ 16 h 29"/>
                <a:gd name="T10" fmla="*/ 41 w 71"/>
                <a:gd name="T11" fmla="*/ 4 h 29"/>
              </a:gdLst>
              <a:ahLst/>
              <a:cxnLst>
                <a:cxn ang="0">
                  <a:pos x="T0" y="T1"/>
                </a:cxn>
                <a:cxn ang="0">
                  <a:pos x="T2" y="T3"/>
                </a:cxn>
                <a:cxn ang="0">
                  <a:pos x="T4" y="T5"/>
                </a:cxn>
                <a:cxn ang="0">
                  <a:pos x="T6" y="T7"/>
                </a:cxn>
                <a:cxn ang="0">
                  <a:pos x="T8" y="T9"/>
                </a:cxn>
                <a:cxn ang="0">
                  <a:pos x="T10" y="T11"/>
                </a:cxn>
              </a:cxnLst>
              <a:rect l="0" t="0" r="r" b="b"/>
              <a:pathLst>
                <a:path w="71" h="29">
                  <a:moveTo>
                    <a:pt x="41" y="4"/>
                  </a:moveTo>
                  <a:cubicBezTo>
                    <a:pt x="29" y="4"/>
                    <a:pt x="16" y="3"/>
                    <a:pt x="4" y="5"/>
                  </a:cubicBezTo>
                  <a:cubicBezTo>
                    <a:pt x="0" y="6"/>
                    <a:pt x="7" y="12"/>
                    <a:pt x="10" y="14"/>
                  </a:cubicBezTo>
                  <a:cubicBezTo>
                    <a:pt x="17" y="18"/>
                    <a:pt x="20" y="19"/>
                    <a:pt x="29" y="20"/>
                  </a:cubicBezTo>
                  <a:cubicBezTo>
                    <a:pt x="43" y="25"/>
                    <a:pt x="62" y="29"/>
                    <a:pt x="71" y="16"/>
                  </a:cubicBezTo>
                  <a:cubicBezTo>
                    <a:pt x="69" y="7"/>
                    <a:pt x="50" y="0"/>
                    <a:pt x="41" y="4"/>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4" name="Freeform 187">
              <a:extLst>
                <a:ext uri="{FF2B5EF4-FFF2-40B4-BE49-F238E27FC236}">
                  <a16:creationId xmlns:a16="http://schemas.microsoft.com/office/drawing/2014/main" id="{F6CE07E9-A253-4A44-AF53-4AC489989882}"/>
                </a:ext>
              </a:extLst>
            </p:cNvPr>
            <p:cNvSpPr>
              <a:spLocks/>
            </p:cNvSpPr>
            <p:nvPr/>
          </p:nvSpPr>
          <p:spPr bwMode="auto">
            <a:xfrm>
              <a:off x="3230" y="1506"/>
              <a:ext cx="149" cy="175"/>
            </a:xfrm>
            <a:custGeom>
              <a:avLst/>
              <a:gdLst>
                <a:gd name="T0" fmla="*/ 148 w 226"/>
                <a:gd name="T1" fmla="*/ 36 h 264"/>
                <a:gd name="T2" fmla="*/ 156 w 226"/>
                <a:gd name="T3" fmla="*/ 15 h 264"/>
                <a:gd name="T4" fmla="*/ 150 w 226"/>
                <a:gd name="T5" fmla="*/ 6 h 264"/>
                <a:gd name="T6" fmla="*/ 129 w 226"/>
                <a:gd name="T7" fmla="*/ 0 h 264"/>
                <a:gd name="T8" fmla="*/ 102 w 226"/>
                <a:gd name="T9" fmla="*/ 4 h 264"/>
                <a:gd name="T10" fmla="*/ 88 w 226"/>
                <a:gd name="T11" fmla="*/ 15 h 264"/>
                <a:gd name="T12" fmla="*/ 85 w 226"/>
                <a:gd name="T13" fmla="*/ 31 h 264"/>
                <a:gd name="T14" fmla="*/ 61 w 226"/>
                <a:gd name="T15" fmla="*/ 31 h 264"/>
                <a:gd name="T16" fmla="*/ 39 w 226"/>
                <a:gd name="T17" fmla="*/ 33 h 264"/>
                <a:gd name="T18" fmla="*/ 10 w 226"/>
                <a:gd name="T19" fmla="*/ 18 h 264"/>
                <a:gd name="T20" fmla="*/ 0 w 226"/>
                <a:gd name="T21" fmla="*/ 27 h 264"/>
                <a:gd name="T22" fmla="*/ 13 w 226"/>
                <a:gd name="T23" fmla="*/ 36 h 264"/>
                <a:gd name="T24" fmla="*/ 46 w 226"/>
                <a:gd name="T25" fmla="*/ 49 h 264"/>
                <a:gd name="T26" fmla="*/ 55 w 226"/>
                <a:gd name="T27" fmla="*/ 67 h 264"/>
                <a:gd name="T28" fmla="*/ 64 w 226"/>
                <a:gd name="T29" fmla="*/ 84 h 264"/>
                <a:gd name="T30" fmla="*/ 60 w 226"/>
                <a:gd name="T31" fmla="*/ 93 h 264"/>
                <a:gd name="T32" fmla="*/ 69 w 226"/>
                <a:gd name="T33" fmla="*/ 109 h 264"/>
                <a:gd name="T34" fmla="*/ 85 w 226"/>
                <a:gd name="T35" fmla="*/ 109 h 264"/>
                <a:gd name="T36" fmla="*/ 99 w 226"/>
                <a:gd name="T37" fmla="*/ 123 h 264"/>
                <a:gd name="T38" fmla="*/ 90 w 226"/>
                <a:gd name="T39" fmla="*/ 133 h 264"/>
                <a:gd name="T40" fmla="*/ 54 w 226"/>
                <a:gd name="T41" fmla="*/ 154 h 264"/>
                <a:gd name="T42" fmla="*/ 25 w 226"/>
                <a:gd name="T43" fmla="*/ 175 h 264"/>
                <a:gd name="T44" fmla="*/ 19 w 226"/>
                <a:gd name="T45" fmla="*/ 187 h 264"/>
                <a:gd name="T46" fmla="*/ 27 w 226"/>
                <a:gd name="T47" fmla="*/ 207 h 264"/>
                <a:gd name="T48" fmla="*/ 28 w 226"/>
                <a:gd name="T49" fmla="*/ 234 h 264"/>
                <a:gd name="T50" fmla="*/ 46 w 226"/>
                <a:gd name="T51" fmla="*/ 258 h 264"/>
                <a:gd name="T52" fmla="*/ 64 w 226"/>
                <a:gd name="T53" fmla="*/ 264 h 264"/>
                <a:gd name="T54" fmla="*/ 100 w 226"/>
                <a:gd name="T55" fmla="*/ 259 h 264"/>
                <a:gd name="T56" fmla="*/ 124 w 226"/>
                <a:gd name="T57" fmla="*/ 252 h 264"/>
                <a:gd name="T58" fmla="*/ 154 w 226"/>
                <a:gd name="T59" fmla="*/ 244 h 264"/>
                <a:gd name="T60" fmla="*/ 177 w 226"/>
                <a:gd name="T61" fmla="*/ 237 h 264"/>
                <a:gd name="T62" fmla="*/ 211 w 226"/>
                <a:gd name="T63" fmla="*/ 202 h 264"/>
                <a:gd name="T64" fmla="*/ 226 w 226"/>
                <a:gd name="T65" fmla="*/ 175 h 264"/>
                <a:gd name="T66" fmla="*/ 196 w 226"/>
                <a:gd name="T67" fmla="*/ 162 h 264"/>
                <a:gd name="T68" fmla="*/ 207 w 226"/>
                <a:gd name="T69" fmla="*/ 147 h 264"/>
                <a:gd name="T70" fmla="*/ 183 w 226"/>
                <a:gd name="T71" fmla="*/ 129 h 264"/>
                <a:gd name="T72" fmla="*/ 184 w 226"/>
                <a:gd name="T73" fmla="*/ 111 h 264"/>
                <a:gd name="T74" fmla="*/ 168 w 226"/>
                <a:gd name="T75" fmla="*/ 78 h 264"/>
                <a:gd name="T76" fmla="*/ 177 w 226"/>
                <a:gd name="T77" fmla="*/ 54 h 264"/>
                <a:gd name="T78" fmla="*/ 160 w 226"/>
                <a:gd name="T79" fmla="*/ 46 h 264"/>
                <a:gd name="T80" fmla="*/ 148 w 226"/>
                <a:gd name="T81" fmla="*/ 3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64">
                  <a:moveTo>
                    <a:pt x="148" y="36"/>
                  </a:moveTo>
                  <a:lnTo>
                    <a:pt x="156" y="15"/>
                  </a:lnTo>
                  <a:lnTo>
                    <a:pt x="150" y="6"/>
                  </a:lnTo>
                  <a:lnTo>
                    <a:pt x="129" y="0"/>
                  </a:lnTo>
                  <a:lnTo>
                    <a:pt x="102" y="4"/>
                  </a:lnTo>
                  <a:lnTo>
                    <a:pt x="88" y="15"/>
                  </a:lnTo>
                  <a:lnTo>
                    <a:pt x="85" y="31"/>
                  </a:lnTo>
                  <a:lnTo>
                    <a:pt x="61" y="31"/>
                  </a:lnTo>
                  <a:lnTo>
                    <a:pt x="39" y="33"/>
                  </a:lnTo>
                  <a:lnTo>
                    <a:pt x="10" y="18"/>
                  </a:lnTo>
                  <a:lnTo>
                    <a:pt x="0" y="27"/>
                  </a:lnTo>
                  <a:lnTo>
                    <a:pt x="13" y="36"/>
                  </a:lnTo>
                  <a:lnTo>
                    <a:pt x="46" y="49"/>
                  </a:lnTo>
                  <a:lnTo>
                    <a:pt x="55" y="67"/>
                  </a:lnTo>
                  <a:lnTo>
                    <a:pt x="64" y="84"/>
                  </a:lnTo>
                  <a:lnTo>
                    <a:pt x="60" y="93"/>
                  </a:lnTo>
                  <a:lnTo>
                    <a:pt x="69" y="109"/>
                  </a:lnTo>
                  <a:lnTo>
                    <a:pt x="85" y="109"/>
                  </a:lnTo>
                  <a:lnTo>
                    <a:pt x="99" y="123"/>
                  </a:lnTo>
                  <a:lnTo>
                    <a:pt x="90" y="133"/>
                  </a:lnTo>
                  <a:lnTo>
                    <a:pt x="54" y="154"/>
                  </a:lnTo>
                  <a:lnTo>
                    <a:pt x="25" y="175"/>
                  </a:lnTo>
                  <a:lnTo>
                    <a:pt x="19" y="187"/>
                  </a:lnTo>
                  <a:lnTo>
                    <a:pt x="27" y="207"/>
                  </a:lnTo>
                  <a:lnTo>
                    <a:pt x="28" y="234"/>
                  </a:lnTo>
                  <a:lnTo>
                    <a:pt x="46" y="258"/>
                  </a:lnTo>
                  <a:lnTo>
                    <a:pt x="64" y="264"/>
                  </a:lnTo>
                  <a:lnTo>
                    <a:pt x="100" y="259"/>
                  </a:lnTo>
                  <a:lnTo>
                    <a:pt x="124" y="252"/>
                  </a:lnTo>
                  <a:lnTo>
                    <a:pt x="154" y="244"/>
                  </a:lnTo>
                  <a:lnTo>
                    <a:pt x="177" y="237"/>
                  </a:lnTo>
                  <a:lnTo>
                    <a:pt x="211" y="202"/>
                  </a:lnTo>
                  <a:lnTo>
                    <a:pt x="226" y="175"/>
                  </a:lnTo>
                  <a:lnTo>
                    <a:pt x="196" y="162"/>
                  </a:lnTo>
                  <a:lnTo>
                    <a:pt x="207" y="147"/>
                  </a:lnTo>
                  <a:lnTo>
                    <a:pt x="183" y="129"/>
                  </a:lnTo>
                  <a:lnTo>
                    <a:pt x="184" y="111"/>
                  </a:lnTo>
                  <a:lnTo>
                    <a:pt x="168" y="78"/>
                  </a:lnTo>
                  <a:lnTo>
                    <a:pt x="177" y="54"/>
                  </a:lnTo>
                  <a:lnTo>
                    <a:pt x="160" y="46"/>
                  </a:lnTo>
                  <a:lnTo>
                    <a:pt x="148" y="36"/>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5" name="Freeform 188">
              <a:extLst>
                <a:ext uri="{FF2B5EF4-FFF2-40B4-BE49-F238E27FC236}">
                  <a16:creationId xmlns:a16="http://schemas.microsoft.com/office/drawing/2014/main" id="{9B608A87-0489-6547-AA96-107311095D56}"/>
                </a:ext>
              </a:extLst>
            </p:cNvPr>
            <p:cNvSpPr>
              <a:spLocks/>
            </p:cNvSpPr>
            <p:nvPr/>
          </p:nvSpPr>
          <p:spPr bwMode="auto">
            <a:xfrm>
              <a:off x="3109" y="1522"/>
              <a:ext cx="166" cy="241"/>
            </a:xfrm>
            <a:custGeom>
              <a:avLst/>
              <a:gdLst>
                <a:gd name="T0" fmla="*/ 183 w 251"/>
                <a:gd name="T1" fmla="*/ 3 h 364"/>
                <a:gd name="T2" fmla="*/ 194 w 251"/>
                <a:gd name="T3" fmla="*/ 12 h 364"/>
                <a:gd name="T4" fmla="*/ 228 w 251"/>
                <a:gd name="T5" fmla="*/ 24 h 364"/>
                <a:gd name="T6" fmla="*/ 245 w 251"/>
                <a:gd name="T7" fmla="*/ 60 h 364"/>
                <a:gd name="T8" fmla="*/ 251 w 251"/>
                <a:gd name="T9" fmla="*/ 85 h 364"/>
                <a:gd name="T10" fmla="*/ 237 w 251"/>
                <a:gd name="T11" fmla="*/ 82 h 364"/>
                <a:gd name="T12" fmla="*/ 218 w 251"/>
                <a:gd name="T13" fmla="*/ 81 h 364"/>
                <a:gd name="T14" fmla="*/ 206 w 251"/>
                <a:gd name="T15" fmla="*/ 96 h 364"/>
                <a:gd name="T16" fmla="*/ 197 w 251"/>
                <a:gd name="T17" fmla="*/ 109 h 364"/>
                <a:gd name="T18" fmla="*/ 207 w 251"/>
                <a:gd name="T19" fmla="*/ 118 h 364"/>
                <a:gd name="T20" fmla="*/ 180 w 251"/>
                <a:gd name="T21" fmla="*/ 141 h 364"/>
                <a:gd name="T22" fmla="*/ 156 w 251"/>
                <a:gd name="T23" fmla="*/ 145 h 364"/>
                <a:gd name="T24" fmla="*/ 134 w 251"/>
                <a:gd name="T25" fmla="*/ 162 h 364"/>
                <a:gd name="T26" fmla="*/ 123 w 251"/>
                <a:gd name="T27" fmla="*/ 180 h 364"/>
                <a:gd name="T28" fmla="*/ 119 w 251"/>
                <a:gd name="T29" fmla="*/ 205 h 364"/>
                <a:gd name="T30" fmla="*/ 129 w 251"/>
                <a:gd name="T31" fmla="*/ 217 h 364"/>
                <a:gd name="T32" fmla="*/ 150 w 251"/>
                <a:gd name="T33" fmla="*/ 228 h 364"/>
                <a:gd name="T34" fmla="*/ 164 w 251"/>
                <a:gd name="T35" fmla="*/ 241 h 364"/>
                <a:gd name="T36" fmla="*/ 150 w 251"/>
                <a:gd name="T37" fmla="*/ 256 h 364"/>
                <a:gd name="T38" fmla="*/ 128 w 251"/>
                <a:gd name="T39" fmla="*/ 268 h 364"/>
                <a:gd name="T40" fmla="*/ 105 w 251"/>
                <a:gd name="T41" fmla="*/ 273 h 364"/>
                <a:gd name="T42" fmla="*/ 119 w 251"/>
                <a:gd name="T43" fmla="*/ 285 h 364"/>
                <a:gd name="T44" fmla="*/ 113 w 251"/>
                <a:gd name="T45" fmla="*/ 310 h 364"/>
                <a:gd name="T46" fmla="*/ 108 w 251"/>
                <a:gd name="T47" fmla="*/ 337 h 364"/>
                <a:gd name="T48" fmla="*/ 72 w 251"/>
                <a:gd name="T49" fmla="*/ 342 h 364"/>
                <a:gd name="T50" fmla="*/ 65 w 251"/>
                <a:gd name="T51" fmla="*/ 354 h 364"/>
                <a:gd name="T52" fmla="*/ 65 w 251"/>
                <a:gd name="T53" fmla="*/ 364 h 364"/>
                <a:gd name="T54" fmla="*/ 38 w 251"/>
                <a:gd name="T55" fmla="*/ 364 h 364"/>
                <a:gd name="T56" fmla="*/ 30 w 251"/>
                <a:gd name="T57" fmla="*/ 348 h 364"/>
                <a:gd name="T58" fmla="*/ 35 w 251"/>
                <a:gd name="T59" fmla="*/ 327 h 364"/>
                <a:gd name="T60" fmla="*/ 20 w 251"/>
                <a:gd name="T61" fmla="*/ 306 h 364"/>
                <a:gd name="T62" fmla="*/ 0 w 251"/>
                <a:gd name="T63" fmla="*/ 262 h 364"/>
                <a:gd name="T64" fmla="*/ 12 w 251"/>
                <a:gd name="T65" fmla="*/ 262 h 364"/>
                <a:gd name="T66" fmla="*/ 12 w 251"/>
                <a:gd name="T67" fmla="*/ 249 h 364"/>
                <a:gd name="T68" fmla="*/ 14 w 251"/>
                <a:gd name="T69" fmla="*/ 238 h 364"/>
                <a:gd name="T70" fmla="*/ 29 w 251"/>
                <a:gd name="T71" fmla="*/ 232 h 364"/>
                <a:gd name="T72" fmla="*/ 29 w 251"/>
                <a:gd name="T73" fmla="*/ 219 h 364"/>
                <a:gd name="T74" fmla="*/ 23 w 251"/>
                <a:gd name="T75" fmla="*/ 205 h 364"/>
                <a:gd name="T76" fmla="*/ 35 w 251"/>
                <a:gd name="T77" fmla="*/ 199 h 364"/>
                <a:gd name="T78" fmla="*/ 30 w 251"/>
                <a:gd name="T79" fmla="*/ 190 h 364"/>
                <a:gd name="T80" fmla="*/ 18 w 251"/>
                <a:gd name="T81" fmla="*/ 192 h 364"/>
                <a:gd name="T82" fmla="*/ 20 w 251"/>
                <a:gd name="T83" fmla="*/ 166 h 364"/>
                <a:gd name="T84" fmla="*/ 18 w 251"/>
                <a:gd name="T85" fmla="*/ 138 h 364"/>
                <a:gd name="T86" fmla="*/ 36 w 251"/>
                <a:gd name="T87" fmla="*/ 127 h 364"/>
                <a:gd name="T88" fmla="*/ 54 w 251"/>
                <a:gd name="T89" fmla="*/ 127 h 364"/>
                <a:gd name="T90" fmla="*/ 59 w 251"/>
                <a:gd name="T91" fmla="*/ 117 h 364"/>
                <a:gd name="T92" fmla="*/ 48 w 251"/>
                <a:gd name="T93" fmla="*/ 114 h 364"/>
                <a:gd name="T94" fmla="*/ 63 w 251"/>
                <a:gd name="T95" fmla="*/ 96 h 364"/>
                <a:gd name="T96" fmla="*/ 65 w 251"/>
                <a:gd name="T97" fmla="*/ 73 h 364"/>
                <a:gd name="T98" fmla="*/ 80 w 251"/>
                <a:gd name="T99" fmla="*/ 73 h 364"/>
                <a:gd name="T100" fmla="*/ 101 w 251"/>
                <a:gd name="T101" fmla="*/ 48 h 364"/>
                <a:gd name="T102" fmla="*/ 113 w 251"/>
                <a:gd name="T103" fmla="*/ 25 h 364"/>
                <a:gd name="T104" fmla="*/ 125 w 251"/>
                <a:gd name="T105" fmla="*/ 30 h 364"/>
                <a:gd name="T106" fmla="*/ 131 w 251"/>
                <a:gd name="T107" fmla="*/ 13 h 364"/>
                <a:gd name="T108" fmla="*/ 146 w 251"/>
                <a:gd name="T109" fmla="*/ 12 h 364"/>
                <a:gd name="T110" fmla="*/ 164 w 251"/>
                <a:gd name="T111" fmla="*/ 19 h 364"/>
                <a:gd name="T112" fmla="*/ 167 w 251"/>
                <a:gd name="T113" fmla="*/ 0 h 364"/>
                <a:gd name="T114" fmla="*/ 183 w 251"/>
                <a:gd name="T115" fmla="*/ 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364">
                  <a:moveTo>
                    <a:pt x="183" y="3"/>
                  </a:moveTo>
                  <a:lnTo>
                    <a:pt x="194" y="12"/>
                  </a:lnTo>
                  <a:lnTo>
                    <a:pt x="228" y="24"/>
                  </a:lnTo>
                  <a:lnTo>
                    <a:pt x="245" y="60"/>
                  </a:lnTo>
                  <a:lnTo>
                    <a:pt x="251" y="85"/>
                  </a:lnTo>
                  <a:lnTo>
                    <a:pt x="237" y="82"/>
                  </a:lnTo>
                  <a:lnTo>
                    <a:pt x="218" y="81"/>
                  </a:lnTo>
                  <a:lnTo>
                    <a:pt x="206" y="96"/>
                  </a:lnTo>
                  <a:lnTo>
                    <a:pt x="197" y="109"/>
                  </a:lnTo>
                  <a:lnTo>
                    <a:pt x="207" y="118"/>
                  </a:lnTo>
                  <a:lnTo>
                    <a:pt x="180" y="141"/>
                  </a:lnTo>
                  <a:lnTo>
                    <a:pt x="156" y="145"/>
                  </a:lnTo>
                  <a:lnTo>
                    <a:pt x="134" y="162"/>
                  </a:lnTo>
                  <a:lnTo>
                    <a:pt x="123" y="180"/>
                  </a:lnTo>
                  <a:lnTo>
                    <a:pt x="119" y="205"/>
                  </a:lnTo>
                  <a:lnTo>
                    <a:pt x="129" y="217"/>
                  </a:lnTo>
                  <a:lnTo>
                    <a:pt x="150" y="228"/>
                  </a:lnTo>
                  <a:lnTo>
                    <a:pt x="164" y="241"/>
                  </a:lnTo>
                  <a:lnTo>
                    <a:pt x="150" y="256"/>
                  </a:lnTo>
                  <a:lnTo>
                    <a:pt x="128" y="268"/>
                  </a:lnTo>
                  <a:lnTo>
                    <a:pt x="105" y="273"/>
                  </a:lnTo>
                  <a:lnTo>
                    <a:pt x="119" y="285"/>
                  </a:lnTo>
                  <a:lnTo>
                    <a:pt x="113" y="310"/>
                  </a:lnTo>
                  <a:lnTo>
                    <a:pt x="108" y="337"/>
                  </a:lnTo>
                  <a:lnTo>
                    <a:pt x="72" y="342"/>
                  </a:lnTo>
                  <a:lnTo>
                    <a:pt x="65" y="354"/>
                  </a:lnTo>
                  <a:lnTo>
                    <a:pt x="65" y="364"/>
                  </a:lnTo>
                  <a:lnTo>
                    <a:pt x="38" y="364"/>
                  </a:lnTo>
                  <a:lnTo>
                    <a:pt x="30" y="348"/>
                  </a:lnTo>
                  <a:lnTo>
                    <a:pt x="35" y="327"/>
                  </a:lnTo>
                  <a:lnTo>
                    <a:pt x="20" y="306"/>
                  </a:lnTo>
                  <a:lnTo>
                    <a:pt x="0" y="262"/>
                  </a:lnTo>
                  <a:lnTo>
                    <a:pt x="12" y="262"/>
                  </a:lnTo>
                  <a:lnTo>
                    <a:pt x="12" y="249"/>
                  </a:lnTo>
                  <a:lnTo>
                    <a:pt x="14" y="238"/>
                  </a:lnTo>
                  <a:lnTo>
                    <a:pt x="29" y="232"/>
                  </a:lnTo>
                  <a:lnTo>
                    <a:pt x="29" y="219"/>
                  </a:lnTo>
                  <a:lnTo>
                    <a:pt x="23" y="205"/>
                  </a:lnTo>
                  <a:lnTo>
                    <a:pt x="35" y="199"/>
                  </a:lnTo>
                  <a:lnTo>
                    <a:pt x="30" y="190"/>
                  </a:lnTo>
                  <a:lnTo>
                    <a:pt x="18" y="192"/>
                  </a:lnTo>
                  <a:lnTo>
                    <a:pt x="20" y="166"/>
                  </a:lnTo>
                  <a:lnTo>
                    <a:pt x="18" y="138"/>
                  </a:lnTo>
                  <a:lnTo>
                    <a:pt x="36" y="127"/>
                  </a:lnTo>
                  <a:lnTo>
                    <a:pt x="54" y="127"/>
                  </a:lnTo>
                  <a:lnTo>
                    <a:pt x="59" y="117"/>
                  </a:lnTo>
                  <a:lnTo>
                    <a:pt x="48" y="114"/>
                  </a:lnTo>
                  <a:lnTo>
                    <a:pt x="63" y="96"/>
                  </a:lnTo>
                  <a:lnTo>
                    <a:pt x="65" y="73"/>
                  </a:lnTo>
                  <a:lnTo>
                    <a:pt x="80" y="73"/>
                  </a:lnTo>
                  <a:lnTo>
                    <a:pt x="101" y="48"/>
                  </a:lnTo>
                  <a:lnTo>
                    <a:pt x="113" y="25"/>
                  </a:lnTo>
                  <a:lnTo>
                    <a:pt x="125" y="30"/>
                  </a:lnTo>
                  <a:lnTo>
                    <a:pt x="131" y="13"/>
                  </a:lnTo>
                  <a:lnTo>
                    <a:pt x="146" y="12"/>
                  </a:lnTo>
                  <a:lnTo>
                    <a:pt x="164" y="19"/>
                  </a:lnTo>
                  <a:lnTo>
                    <a:pt x="167" y="0"/>
                  </a:lnTo>
                  <a:lnTo>
                    <a:pt x="183" y="3"/>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6" name="Freeform 189">
              <a:extLst>
                <a:ext uri="{FF2B5EF4-FFF2-40B4-BE49-F238E27FC236}">
                  <a16:creationId xmlns:a16="http://schemas.microsoft.com/office/drawing/2014/main" id="{D799FA78-5761-6840-88B3-6A7C6B33E7F3}"/>
                </a:ext>
              </a:extLst>
            </p:cNvPr>
            <p:cNvSpPr>
              <a:spLocks/>
            </p:cNvSpPr>
            <p:nvPr/>
          </p:nvSpPr>
          <p:spPr bwMode="auto">
            <a:xfrm>
              <a:off x="3021" y="1485"/>
              <a:ext cx="330" cy="230"/>
            </a:xfrm>
            <a:custGeom>
              <a:avLst/>
              <a:gdLst>
                <a:gd name="T0" fmla="*/ 328 w 498"/>
                <a:gd name="T1" fmla="*/ 50 h 347"/>
                <a:gd name="T2" fmla="*/ 402 w 498"/>
                <a:gd name="T3" fmla="*/ 62 h 347"/>
                <a:gd name="T4" fmla="*/ 420 w 498"/>
                <a:gd name="T5" fmla="*/ 33 h 347"/>
                <a:gd name="T6" fmla="*/ 469 w 498"/>
                <a:gd name="T7" fmla="*/ 38 h 347"/>
                <a:gd name="T8" fmla="*/ 478 w 498"/>
                <a:gd name="T9" fmla="*/ 44 h 347"/>
                <a:gd name="T10" fmla="*/ 498 w 498"/>
                <a:gd name="T11" fmla="*/ 21 h 347"/>
                <a:gd name="T12" fmla="*/ 445 w 498"/>
                <a:gd name="T13" fmla="*/ 21 h 347"/>
                <a:gd name="T14" fmla="*/ 423 w 498"/>
                <a:gd name="T15" fmla="*/ 5 h 347"/>
                <a:gd name="T16" fmla="*/ 388 w 498"/>
                <a:gd name="T17" fmla="*/ 27 h 347"/>
                <a:gd name="T18" fmla="*/ 363 w 498"/>
                <a:gd name="T19" fmla="*/ 15 h 347"/>
                <a:gd name="T20" fmla="*/ 340 w 498"/>
                <a:gd name="T21" fmla="*/ 26 h 347"/>
                <a:gd name="T22" fmla="*/ 300 w 498"/>
                <a:gd name="T23" fmla="*/ 27 h 347"/>
                <a:gd name="T24" fmla="*/ 286 w 498"/>
                <a:gd name="T25" fmla="*/ 30 h 347"/>
                <a:gd name="T26" fmla="*/ 243 w 498"/>
                <a:gd name="T27" fmla="*/ 51 h 347"/>
                <a:gd name="T28" fmla="*/ 225 w 498"/>
                <a:gd name="T29" fmla="*/ 66 h 347"/>
                <a:gd name="T30" fmla="*/ 192 w 498"/>
                <a:gd name="T31" fmla="*/ 62 h 347"/>
                <a:gd name="T32" fmla="*/ 165 w 498"/>
                <a:gd name="T33" fmla="*/ 75 h 347"/>
                <a:gd name="T34" fmla="*/ 195 w 498"/>
                <a:gd name="T35" fmla="*/ 80 h 347"/>
                <a:gd name="T36" fmla="*/ 193 w 498"/>
                <a:gd name="T37" fmla="*/ 101 h 347"/>
                <a:gd name="T38" fmla="*/ 148 w 498"/>
                <a:gd name="T39" fmla="*/ 147 h 347"/>
                <a:gd name="T40" fmla="*/ 136 w 498"/>
                <a:gd name="T41" fmla="*/ 185 h 347"/>
                <a:gd name="T42" fmla="*/ 109 w 498"/>
                <a:gd name="T43" fmla="*/ 201 h 347"/>
                <a:gd name="T44" fmla="*/ 93 w 498"/>
                <a:gd name="T45" fmla="*/ 200 h 347"/>
                <a:gd name="T46" fmla="*/ 55 w 498"/>
                <a:gd name="T47" fmla="*/ 210 h 347"/>
                <a:gd name="T48" fmla="*/ 9 w 498"/>
                <a:gd name="T49" fmla="*/ 239 h 347"/>
                <a:gd name="T50" fmla="*/ 24 w 498"/>
                <a:gd name="T51" fmla="*/ 252 h 347"/>
                <a:gd name="T52" fmla="*/ 3 w 498"/>
                <a:gd name="T53" fmla="*/ 275 h 347"/>
                <a:gd name="T54" fmla="*/ 9 w 498"/>
                <a:gd name="T55" fmla="*/ 282 h 347"/>
                <a:gd name="T56" fmla="*/ 9 w 498"/>
                <a:gd name="T57" fmla="*/ 306 h 347"/>
                <a:gd name="T58" fmla="*/ 15 w 498"/>
                <a:gd name="T59" fmla="*/ 321 h 347"/>
                <a:gd name="T60" fmla="*/ 45 w 498"/>
                <a:gd name="T61" fmla="*/ 347 h 347"/>
                <a:gd name="T62" fmla="*/ 97 w 498"/>
                <a:gd name="T63" fmla="*/ 317 h 347"/>
                <a:gd name="T64" fmla="*/ 121 w 498"/>
                <a:gd name="T65" fmla="*/ 297 h 347"/>
                <a:gd name="T66" fmla="*/ 145 w 498"/>
                <a:gd name="T67" fmla="*/ 318 h 347"/>
                <a:gd name="T68" fmla="*/ 147 w 498"/>
                <a:gd name="T69" fmla="*/ 294 h 347"/>
                <a:gd name="T70" fmla="*/ 162 w 498"/>
                <a:gd name="T71" fmla="*/ 275 h 347"/>
                <a:gd name="T72" fmla="*/ 168 w 498"/>
                <a:gd name="T73" fmla="*/ 255 h 347"/>
                <a:gd name="T74" fmla="*/ 151 w 498"/>
                <a:gd name="T75" fmla="*/ 248 h 347"/>
                <a:gd name="T76" fmla="*/ 151 w 498"/>
                <a:gd name="T77" fmla="*/ 194 h 347"/>
                <a:gd name="T78" fmla="*/ 187 w 498"/>
                <a:gd name="T79" fmla="*/ 183 h 347"/>
                <a:gd name="T80" fmla="*/ 181 w 498"/>
                <a:gd name="T81" fmla="*/ 170 h 347"/>
                <a:gd name="T82" fmla="*/ 198 w 498"/>
                <a:gd name="T83" fmla="*/ 129 h 347"/>
                <a:gd name="T84" fmla="*/ 234 w 498"/>
                <a:gd name="T85" fmla="*/ 104 h 347"/>
                <a:gd name="T86" fmla="*/ 258 w 498"/>
                <a:gd name="T87" fmla="*/ 86 h 347"/>
                <a:gd name="T88" fmla="*/ 279 w 498"/>
                <a:gd name="T89" fmla="*/ 68 h 347"/>
                <a:gd name="T90" fmla="*/ 300 w 498"/>
                <a:gd name="T91" fmla="*/ 5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8" h="347">
                  <a:moveTo>
                    <a:pt x="316" y="59"/>
                  </a:moveTo>
                  <a:lnTo>
                    <a:pt x="328" y="50"/>
                  </a:lnTo>
                  <a:lnTo>
                    <a:pt x="357" y="63"/>
                  </a:lnTo>
                  <a:lnTo>
                    <a:pt x="402" y="62"/>
                  </a:lnTo>
                  <a:lnTo>
                    <a:pt x="403" y="47"/>
                  </a:lnTo>
                  <a:lnTo>
                    <a:pt x="420" y="33"/>
                  </a:lnTo>
                  <a:lnTo>
                    <a:pt x="450" y="33"/>
                  </a:lnTo>
                  <a:lnTo>
                    <a:pt x="469" y="38"/>
                  </a:lnTo>
                  <a:lnTo>
                    <a:pt x="471" y="56"/>
                  </a:lnTo>
                  <a:lnTo>
                    <a:pt x="478" y="44"/>
                  </a:lnTo>
                  <a:lnTo>
                    <a:pt x="492" y="39"/>
                  </a:lnTo>
                  <a:lnTo>
                    <a:pt x="498" y="21"/>
                  </a:lnTo>
                  <a:lnTo>
                    <a:pt x="463" y="9"/>
                  </a:lnTo>
                  <a:lnTo>
                    <a:pt x="445" y="21"/>
                  </a:lnTo>
                  <a:lnTo>
                    <a:pt x="444" y="2"/>
                  </a:lnTo>
                  <a:lnTo>
                    <a:pt x="423" y="5"/>
                  </a:lnTo>
                  <a:lnTo>
                    <a:pt x="421" y="21"/>
                  </a:lnTo>
                  <a:lnTo>
                    <a:pt x="388" y="27"/>
                  </a:lnTo>
                  <a:lnTo>
                    <a:pt x="400" y="0"/>
                  </a:lnTo>
                  <a:lnTo>
                    <a:pt x="363" y="15"/>
                  </a:lnTo>
                  <a:lnTo>
                    <a:pt x="328" y="15"/>
                  </a:lnTo>
                  <a:lnTo>
                    <a:pt x="340" y="26"/>
                  </a:lnTo>
                  <a:lnTo>
                    <a:pt x="325" y="29"/>
                  </a:lnTo>
                  <a:lnTo>
                    <a:pt x="300" y="27"/>
                  </a:lnTo>
                  <a:lnTo>
                    <a:pt x="303" y="41"/>
                  </a:lnTo>
                  <a:lnTo>
                    <a:pt x="286" y="30"/>
                  </a:lnTo>
                  <a:lnTo>
                    <a:pt x="264" y="36"/>
                  </a:lnTo>
                  <a:lnTo>
                    <a:pt x="243" y="51"/>
                  </a:lnTo>
                  <a:lnTo>
                    <a:pt x="250" y="62"/>
                  </a:lnTo>
                  <a:lnTo>
                    <a:pt x="225" y="66"/>
                  </a:lnTo>
                  <a:lnTo>
                    <a:pt x="219" y="48"/>
                  </a:lnTo>
                  <a:lnTo>
                    <a:pt x="192" y="62"/>
                  </a:lnTo>
                  <a:lnTo>
                    <a:pt x="196" y="72"/>
                  </a:lnTo>
                  <a:lnTo>
                    <a:pt x="165" y="75"/>
                  </a:lnTo>
                  <a:lnTo>
                    <a:pt x="168" y="89"/>
                  </a:lnTo>
                  <a:lnTo>
                    <a:pt x="195" y="80"/>
                  </a:lnTo>
                  <a:lnTo>
                    <a:pt x="220" y="75"/>
                  </a:lnTo>
                  <a:lnTo>
                    <a:pt x="193" y="101"/>
                  </a:lnTo>
                  <a:lnTo>
                    <a:pt x="168" y="123"/>
                  </a:lnTo>
                  <a:lnTo>
                    <a:pt x="148" y="147"/>
                  </a:lnTo>
                  <a:lnTo>
                    <a:pt x="133" y="170"/>
                  </a:lnTo>
                  <a:lnTo>
                    <a:pt x="136" y="185"/>
                  </a:lnTo>
                  <a:lnTo>
                    <a:pt x="121" y="189"/>
                  </a:lnTo>
                  <a:lnTo>
                    <a:pt x="109" y="201"/>
                  </a:lnTo>
                  <a:lnTo>
                    <a:pt x="103" y="180"/>
                  </a:lnTo>
                  <a:lnTo>
                    <a:pt x="93" y="200"/>
                  </a:lnTo>
                  <a:lnTo>
                    <a:pt x="81" y="192"/>
                  </a:lnTo>
                  <a:lnTo>
                    <a:pt x="55" y="210"/>
                  </a:lnTo>
                  <a:lnTo>
                    <a:pt x="27" y="228"/>
                  </a:lnTo>
                  <a:lnTo>
                    <a:pt x="9" y="239"/>
                  </a:lnTo>
                  <a:lnTo>
                    <a:pt x="0" y="257"/>
                  </a:lnTo>
                  <a:lnTo>
                    <a:pt x="24" y="252"/>
                  </a:lnTo>
                  <a:lnTo>
                    <a:pt x="6" y="263"/>
                  </a:lnTo>
                  <a:lnTo>
                    <a:pt x="3" y="275"/>
                  </a:lnTo>
                  <a:lnTo>
                    <a:pt x="21" y="266"/>
                  </a:lnTo>
                  <a:lnTo>
                    <a:pt x="9" y="282"/>
                  </a:lnTo>
                  <a:lnTo>
                    <a:pt x="16" y="291"/>
                  </a:lnTo>
                  <a:lnTo>
                    <a:pt x="9" y="306"/>
                  </a:lnTo>
                  <a:lnTo>
                    <a:pt x="25" y="305"/>
                  </a:lnTo>
                  <a:lnTo>
                    <a:pt x="15" y="321"/>
                  </a:lnTo>
                  <a:lnTo>
                    <a:pt x="16" y="330"/>
                  </a:lnTo>
                  <a:lnTo>
                    <a:pt x="45" y="347"/>
                  </a:lnTo>
                  <a:lnTo>
                    <a:pt x="75" y="344"/>
                  </a:lnTo>
                  <a:lnTo>
                    <a:pt x="97" y="317"/>
                  </a:lnTo>
                  <a:lnTo>
                    <a:pt x="109" y="320"/>
                  </a:lnTo>
                  <a:lnTo>
                    <a:pt x="121" y="297"/>
                  </a:lnTo>
                  <a:lnTo>
                    <a:pt x="133" y="318"/>
                  </a:lnTo>
                  <a:lnTo>
                    <a:pt x="145" y="318"/>
                  </a:lnTo>
                  <a:lnTo>
                    <a:pt x="145" y="305"/>
                  </a:lnTo>
                  <a:lnTo>
                    <a:pt x="147" y="294"/>
                  </a:lnTo>
                  <a:lnTo>
                    <a:pt x="162" y="288"/>
                  </a:lnTo>
                  <a:lnTo>
                    <a:pt x="162" y="275"/>
                  </a:lnTo>
                  <a:lnTo>
                    <a:pt x="156" y="261"/>
                  </a:lnTo>
                  <a:lnTo>
                    <a:pt x="168" y="255"/>
                  </a:lnTo>
                  <a:lnTo>
                    <a:pt x="163" y="246"/>
                  </a:lnTo>
                  <a:lnTo>
                    <a:pt x="151" y="248"/>
                  </a:lnTo>
                  <a:lnTo>
                    <a:pt x="153" y="222"/>
                  </a:lnTo>
                  <a:lnTo>
                    <a:pt x="151" y="194"/>
                  </a:lnTo>
                  <a:lnTo>
                    <a:pt x="169" y="183"/>
                  </a:lnTo>
                  <a:lnTo>
                    <a:pt x="187" y="183"/>
                  </a:lnTo>
                  <a:lnTo>
                    <a:pt x="192" y="173"/>
                  </a:lnTo>
                  <a:lnTo>
                    <a:pt x="181" y="170"/>
                  </a:lnTo>
                  <a:lnTo>
                    <a:pt x="196" y="152"/>
                  </a:lnTo>
                  <a:lnTo>
                    <a:pt x="198" y="129"/>
                  </a:lnTo>
                  <a:lnTo>
                    <a:pt x="213" y="129"/>
                  </a:lnTo>
                  <a:lnTo>
                    <a:pt x="234" y="104"/>
                  </a:lnTo>
                  <a:lnTo>
                    <a:pt x="246" y="81"/>
                  </a:lnTo>
                  <a:lnTo>
                    <a:pt x="258" y="86"/>
                  </a:lnTo>
                  <a:lnTo>
                    <a:pt x="264" y="69"/>
                  </a:lnTo>
                  <a:lnTo>
                    <a:pt x="279" y="68"/>
                  </a:lnTo>
                  <a:lnTo>
                    <a:pt x="297" y="75"/>
                  </a:lnTo>
                  <a:lnTo>
                    <a:pt x="300" y="56"/>
                  </a:lnTo>
                  <a:lnTo>
                    <a:pt x="316" y="59"/>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7" name="Freeform 190">
              <a:extLst>
                <a:ext uri="{FF2B5EF4-FFF2-40B4-BE49-F238E27FC236}">
                  <a16:creationId xmlns:a16="http://schemas.microsoft.com/office/drawing/2014/main" id="{F6F5AD98-86BE-4046-9289-C297A6CCFD8B}"/>
                </a:ext>
              </a:extLst>
            </p:cNvPr>
            <p:cNvSpPr>
              <a:spLocks/>
            </p:cNvSpPr>
            <p:nvPr/>
          </p:nvSpPr>
          <p:spPr bwMode="auto">
            <a:xfrm>
              <a:off x="3101" y="1328"/>
              <a:ext cx="179" cy="79"/>
            </a:xfrm>
            <a:custGeom>
              <a:avLst/>
              <a:gdLst>
                <a:gd name="T0" fmla="*/ 270 w 270"/>
                <a:gd name="T1" fmla="*/ 39 h 120"/>
                <a:gd name="T2" fmla="*/ 252 w 270"/>
                <a:gd name="T3" fmla="*/ 51 h 120"/>
                <a:gd name="T4" fmla="*/ 212 w 270"/>
                <a:gd name="T5" fmla="*/ 57 h 120"/>
                <a:gd name="T6" fmla="*/ 171 w 270"/>
                <a:gd name="T7" fmla="*/ 56 h 120"/>
                <a:gd name="T8" fmla="*/ 149 w 270"/>
                <a:gd name="T9" fmla="*/ 47 h 120"/>
                <a:gd name="T10" fmla="*/ 128 w 270"/>
                <a:gd name="T11" fmla="*/ 48 h 120"/>
                <a:gd name="T12" fmla="*/ 131 w 270"/>
                <a:gd name="T13" fmla="*/ 56 h 120"/>
                <a:gd name="T14" fmla="*/ 147 w 270"/>
                <a:gd name="T15" fmla="*/ 57 h 120"/>
                <a:gd name="T16" fmla="*/ 179 w 270"/>
                <a:gd name="T17" fmla="*/ 66 h 120"/>
                <a:gd name="T18" fmla="*/ 227 w 270"/>
                <a:gd name="T19" fmla="*/ 83 h 120"/>
                <a:gd name="T20" fmla="*/ 231 w 270"/>
                <a:gd name="T21" fmla="*/ 96 h 120"/>
                <a:gd name="T22" fmla="*/ 156 w 270"/>
                <a:gd name="T23" fmla="*/ 72 h 120"/>
                <a:gd name="T24" fmla="*/ 116 w 270"/>
                <a:gd name="T25" fmla="*/ 95 h 120"/>
                <a:gd name="T26" fmla="*/ 90 w 270"/>
                <a:gd name="T27" fmla="*/ 120 h 120"/>
                <a:gd name="T28" fmla="*/ 57 w 270"/>
                <a:gd name="T29" fmla="*/ 98 h 120"/>
                <a:gd name="T30" fmla="*/ 86 w 270"/>
                <a:gd name="T31" fmla="*/ 75 h 120"/>
                <a:gd name="T32" fmla="*/ 71 w 270"/>
                <a:gd name="T33" fmla="*/ 63 h 120"/>
                <a:gd name="T34" fmla="*/ 57 w 270"/>
                <a:gd name="T35" fmla="*/ 71 h 120"/>
                <a:gd name="T36" fmla="*/ 42 w 270"/>
                <a:gd name="T37" fmla="*/ 81 h 120"/>
                <a:gd name="T38" fmla="*/ 8 w 270"/>
                <a:gd name="T39" fmla="*/ 69 h 120"/>
                <a:gd name="T40" fmla="*/ 0 w 270"/>
                <a:gd name="T41" fmla="*/ 53 h 120"/>
                <a:gd name="T42" fmla="*/ 35 w 270"/>
                <a:gd name="T43" fmla="*/ 44 h 120"/>
                <a:gd name="T44" fmla="*/ 78 w 270"/>
                <a:gd name="T45" fmla="*/ 51 h 120"/>
                <a:gd name="T46" fmla="*/ 84 w 270"/>
                <a:gd name="T47" fmla="*/ 48 h 120"/>
                <a:gd name="T48" fmla="*/ 110 w 270"/>
                <a:gd name="T49" fmla="*/ 42 h 120"/>
                <a:gd name="T50" fmla="*/ 125 w 270"/>
                <a:gd name="T51" fmla="*/ 41 h 120"/>
                <a:gd name="T52" fmla="*/ 236 w 270"/>
                <a:gd name="T53" fmla="*/ 32 h 120"/>
                <a:gd name="T54" fmla="*/ 252 w 270"/>
                <a:gd name="T55" fmla="*/ 36 h 120"/>
                <a:gd name="T56" fmla="*/ 270 w 270"/>
                <a:gd name="T57" fmla="*/ 3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20">
                  <a:moveTo>
                    <a:pt x="270" y="39"/>
                  </a:moveTo>
                  <a:cubicBezTo>
                    <a:pt x="265" y="46"/>
                    <a:pt x="260" y="49"/>
                    <a:pt x="252" y="51"/>
                  </a:cubicBezTo>
                  <a:cubicBezTo>
                    <a:pt x="240" y="57"/>
                    <a:pt x="225" y="56"/>
                    <a:pt x="212" y="57"/>
                  </a:cubicBezTo>
                  <a:cubicBezTo>
                    <a:pt x="199" y="61"/>
                    <a:pt x="185" y="58"/>
                    <a:pt x="171" y="56"/>
                  </a:cubicBezTo>
                  <a:cubicBezTo>
                    <a:pt x="163" y="52"/>
                    <a:pt x="159" y="48"/>
                    <a:pt x="149" y="47"/>
                  </a:cubicBezTo>
                  <a:cubicBezTo>
                    <a:pt x="142" y="47"/>
                    <a:pt x="135" y="46"/>
                    <a:pt x="128" y="48"/>
                  </a:cubicBezTo>
                  <a:cubicBezTo>
                    <a:pt x="125" y="49"/>
                    <a:pt x="128" y="55"/>
                    <a:pt x="131" y="56"/>
                  </a:cubicBezTo>
                  <a:cubicBezTo>
                    <a:pt x="136" y="57"/>
                    <a:pt x="142" y="57"/>
                    <a:pt x="147" y="57"/>
                  </a:cubicBezTo>
                  <a:cubicBezTo>
                    <a:pt x="157" y="60"/>
                    <a:pt x="169" y="65"/>
                    <a:pt x="179" y="66"/>
                  </a:cubicBezTo>
                  <a:cubicBezTo>
                    <a:pt x="194" y="74"/>
                    <a:pt x="211" y="78"/>
                    <a:pt x="227" y="83"/>
                  </a:cubicBezTo>
                  <a:cubicBezTo>
                    <a:pt x="233" y="87"/>
                    <a:pt x="236" y="90"/>
                    <a:pt x="231" y="96"/>
                  </a:cubicBezTo>
                  <a:cubicBezTo>
                    <a:pt x="126" y="94"/>
                    <a:pt x="181" y="113"/>
                    <a:pt x="156" y="72"/>
                  </a:cubicBezTo>
                  <a:cubicBezTo>
                    <a:pt x="133" y="77"/>
                    <a:pt x="133" y="86"/>
                    <a:pt x="116" y="95"/>
                  </a:cubicBezTo>
                  <a:cubicBezTo>
                    <a:pt x="111" y="101"/>
                    <a:pt x="97" y="119"/>
                    <a:pt x="90" y="120"/>
                  </a:cubicBezTo>
                  <a:cubicBezTo>
                    <a:pt x="78" y="114"/>
                    <a:pt x="68" y="105"/>
                    <a:pt x="57" y="98"/>
                  </a:cubicBezTo>
                  <a:cubicBezTo>
                    <a:pt x="40" y="77"/>
                    <a:pt x="72" y="77"/>
                    <a:pt x="86" y="75"/>
                  </a:cubicBezTo>
                  <a:cubicBezTo>
                    <a:pt x="83" y="63"/>
                    <a:pt x="83" y="62"/>
                    <a:pt x="71" y="63"/>
                  </a:cubicBezTo>
                  <a:cubicBezTo>
                    <a:pt x="65" y="65"/>
                    <a:pt x="63" y="69"/>
                    <a:pt x="57" y="71"/>
                  </a:cubicBezTo>
                  <a:cubicBezTo>
                    <a:pt x="52" y="76"/>
                    <a:pt x="47" y="77"/>
                    <a:pt x="42" y="81"/>
                  </a:cubicBezTo>
                  <a:cubicBezTo>
                    <a:pt x="20" y="79"/>
                    <a:pt x="23" y="74"/>
                    <a:pt x="8" y="69"/>
                  </a:cubicBezTo>
                  <a:cubicBezTo>
                    <a:pt x="4" y="64"/>
                    <a:pt x="2" y="60"/>
                    <a:pt x="0" y="53"/>
                  </a:cubicBezTo>
                  <a:cubicBezTo>
                    <a:pt x="4" y="36"/>
                    <a:pt x="20" y="43"/>
                    <a:pt x="35" y="44"/>
                  </a:cubicBezTo>
                  <a:cubicBezTo>
                    <a:pt x="49" y="49"/>
                    <a:pt x="66" y="42"/>
                    <a:pt x="78" y="51"/>
                  </a:cubicBezTo>
                  <a:cubicBezTo>
                    <a:pt x="83" y="59"/>
                    <a:pt x="87" y="61"/>
                    <a:pt x="84" y="48"/>
                  </a:cubicBezTo>
                  <a:cubicBezTo>
                    <a:pt x="88" y="34"/>
                    <a:pt x="97" y="40"/>
                    <a:pt x="110" y="42"/>
                  </a:cubicBezTo>
                  <a:cubicBezTo>
                    <a:pt x="116" y="45"/>
                    <a:pt x="121" y="48"/>
                    <a:pt x="125" y="41"/>
                  </a:cubicBezTo>
                  <a:cubicBezTo>
                    <a:pt x="130" y="0"/>
                    <a:pt x="235" y="32"/>
                    <a:pt x="236" y="32"/>
                  </a:cubicBezTo>
                  <a:cubicBezTo>
                    <a:pt x="242" y="33"/>
                    <a:pt x="246" y="35"/>
                    <a:pt x="252" y="36"/>
                  </a:cubicBezTo>
                  <a:cubicBezTo>
                    <a:pt x="258" y="38"/>
                    <a:pt x="270" y="39"/>
                    <a:pt x="270" y="39"/>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8" name="Freeform 191">
              <a:extLst>
                <a:ext uri="{FF2B5EF4-FFF2-40B4-BE49-F238E27FC236}">
                  <a16:creationId xmlns:a16="http://schemas.microsoft.com/office/drawing/2014/main" id="{37DD19A2-658A-0649-9A9F-9F3E8CDE3A77}"/>
                </a:ext>
              </a:extLst>
            </p:cNvPr>
            <p:cNvSpPr>
              <a:spLocks/>
            </p:cNvSpPr>
            <p:nvPr/>
          </p:nvSpPr>
          <p:spPr bwMode="auto">
            <a:xfrm>
              <a:off x="3466" y="1339"/>
              <a:ext cx="75" cy="20"/>
            </a:xfrm>
            <a:custGeom>
              <a:avLst/>
              <a:gdLst>
                <a:gd name="T0" fmla="*/ 86 w 114"/>
                <a:gd name="T1" fmla="*/ 0 h 31"/>
                <a:gd name="T2" fmla="*/ 10 w 114"/>
                <a:gd name="T3" fmla="*/ 6 h 31"/>
                <a:gd name="T4" fmla="*/ 4 w 114"/>
                <a:gd name="T5" fmla="*/ 15 h 31"/>
                <a:gd name="T6" fmla="*/ 37 w 114"/>
                <a:gd name="T7" fmla="*/ 18 h 31"/>
                <a:gd name="T8" fmla="*/ 52 w 114"/>
                <a:gd name="T9" fmla="*/ 22 h 31"/>
                <a:gd name="T10" fmla="*/ 83 w 114"/>
                <a:gd name="T11" fmla="*/ 21 h 31"/>
                <a:gd name="T12" fmla="*/ 103 w 114"/>
                <a:gd name="T13" fmla="*/ 31 h 31"/>
                <a:gd name="T14" fmla="*/ 101 w 114"/>
                <a:gd name="T15" fmla="*/ 24 h 31"/>
                <a:gd name="T16" fmla="*/ 89 w 114"/>
                <a:gd name="T17" fmla="*/ 16 h 31"/>
                <a:gd name="T18" fmla="*/ 92 w 114"/>
                <a:gd name="T19" fmla="*/ 6 h 31"/>
                <a:gd name="T20" fmla="*/ 86 w 114"/>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31">
                  <a:moveTo>
                    <a:pt x="86" y="0"/>
                  </a:moveTo>
                  <a:cubicBezTo>
                    <a:pt x="66" y="10"/>
                    <a:pt x="21" y="6"/>
                    <a:pt x="10" y="6"/>
                  </a:cubicBezTo>
                  <a:cubicBezTo>
                    <a:pt x="8" y="7"/>
                    <a:pt x="0" y="10"/>
                    <a:pt x="4" y="15"/>
                  </a:cubicBezTo>
                  <a:cubicBezTo>
                    <a:pt x="10" y="24"/>
                    <a:pt x="26" y="17"/>
                    <a:pt x="37" y="18"/>
                  </a:cubicBezTo>
                  <a:cubicBezTo>
                    <a:pt x="42" y="19"/>
                    <a:pt x="47" y="21"/>
                    <a:pt x="52" y="22"/>
                  </a:cubicBezTo>
                  <a:cubicBezTo>
                    <a:pt x="66" y="21"/>
                    <a:pt x="67" y="19"/>
                    <a:pt x="83" y="21"/>
                  </a:cubicBezTo>
                  <a:cubicBezTo>
                    <a:pt x="91" y="27"/>
                    <a:pt x="93" y="29"/>
                    <a:pt x="103" y="31"/>
                  </a:cubicBezTo>
                  <a:cubicBezTo>
                    <a:pt x="114" y="29"/>
                    <a:pt x="108" y="25"/>
                    <a:pt x="101" y="24"/>
                  </a:cubicBezTo>
                  <a:cubicBezTo>
                    <a:pt x="95" y="21"/>
                    <a:pt x="93" y="22"/>
                    <a:pt x="89" y="16"/>
                  </a:cubicBezTo>
                  <a:cubicBezTo>
                    <a:pt x="96" y="15"/>
                    <a:pt x="104" y="8"/>
                    <a:pt x="92" y="6"/>
                  </a:cubicBezTo>
                  <a:cubicBezTo>
                    <a:pt x="87" y="3"/>
                    <a:pt x="89" y="5"/>
                    <a:pt x="86"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59" name="Freeform 192">
              <a:extLst>
                <a:ext uri="{FF2B5EF4-FFF2-40B4-BE49-F238E27FC236}">
                  <a16:creationId xmlns:a16="http://schemas.microsoft.com/office/drawing/2014/main" id="{34CA3912-6699-3940-9C1B-5E74675C9AD1}"/>
                </a:ext>
              </a:extLst>
            </p:cNvPr>
            <p:cNvSpPr>
              <a:spLocks/>
            </p:cNvSpPr>
            <p:nvPr/>
          </p:nvSpPr>
          <p:spPr bwMode="auto">
            <a:xfrm>
              <a:off x="3570" y="1512"/>
              <a:ext cx="31" cy="14"/>
            </a:xfrm>
            <a:custGeom>
              <a:avLst/>
              <a:gdLst>
                <a:gd name="T0" fmla="*/ 21 w 46"/>
                <a:gd name="T1" fmla="*/ 3 h 21"/>
                <a:gd name="T2" fmla="*/ 6 w 46"/>
                <a:gd name="T3" fmla="*/ 4 h 21"/>
                <a:gd name="T4" fmla="*/ 11 w 46"/>
                <a:gd name="T5" fmla="*/ 19 h 21"/>
                <a:gd name="T6" fmla="*/ 17 w 46"/>
                <a:gd name="T7" fmla="*/ 21 h 21"/>
                <a:gd name="T8" fmla="*/ 42 w 46"/>
                <a:gd name="T9" fmla="*/ 15 h 21"/>
                <a:gd name="T10" fmla="*/ 36 w 46"/>
                <a:gd name="T11" fmla="*/ 6 h 21"/>
                <a:gd name="T12" fmla="*/ 21 w 46"/>
                <a:gd name="T13" fmla="*/ 3 h 21"/>
              </a:gdLst>
              <a:ahLst/>
              <a:cxnLst>
                <a:cxn ang="0">
                  <a:pos x="T0" y="T1"/>
                </a:cxn>
                <a:cxn ang="0">
                  <a:pos x="T2" y="T3"/>
                </a:cxn>
                <a:cxn ang="0">
                  <a:pos x="T4" y="T5"/>
                </a:cxn>
                <a:cxn ang="0">
                  <a:pos x="T6" y="T7"/>
                </a:cxn>
                <a:cxn ang="0">
                  <a:pos x="T8" y="T9"/>
                </a:cxn>
                <a:cxn ang="0">
                  <a:pos x="T10" y="T11"/>
                </a:cxn>
                <a:cxn ang="0">
                  <a:pos x="T12" y="T13"/>
                </a:cxn>
              </a:cxnLst>
              <a:rect l="0" t="0" r="r" b="b"/>
              <a:pathLst>
                <a:path w="46" h="21">
                  <a:moveTo>
                    <a:pt x="21" y="3"/>
                  </a:moveTo>
                  <a:cubicBezTo>
                    <a:pt x="16" y="3"/>
                    <a:pt x="11" y="2"/>
                    <a:pt x="6" y="4"/>
                  </a:cubicBezTo>
                  <a:cubicBezTo>
                    <a:pt x="0" y="6"/>
                    <a:pt x="6" y="18"/>
                    <a:pt x="11" y="19"/>
                  </a:cubicBezTo>
                  <a:cubicBezTo>
                    <a:pt x="13" y="20"/>
                    <a:pt x="15" y="20"/>
                    <a:pt x="17" y="21"/>
                  </a:cubicBezTo>
                  <a:cubicBezTo>
                    <a:pt x="26" y="20"/>
                    <a:pt x="33" y="16"/>
                    <a:pt x="42" y="15"/>
                  </a:cubicBezTo>
                  <a:cubicBezTo>
                    <a:pt x="46" y="8"/>
                    <a:pt x="43" y="7"/>
                    <a:pt x="36" y="6"/>
                  </a:cubicBezTo>
                  <a:cubicBezTo>
                    <a:pt x="30" y="2"/>
                    <a:pt x="28" y="0"/>
                    <a:pt x="21" y="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0" name="Freeform 193">
              <a:extLst>
                <a:ext uri="{FF2B5EF4-FFF2-40B4-BE49-F238E27FC236}">
                  <a16:creationId xmlns:a16="http://schemas.microsoft.com/office/drawing/2014/main" id="{60B53D58-1195-9F4D-B040-AFD9A46F804C}"/>
                </a:ext>
              </a:extLst>
            </p:cNvPr>
            <p:cNvSpPr>
              <a:spLocks/>
            </p:cNvSpPr>
            <p:nvPr/>
          </p:nvSpPr>
          <p:spPr bwMode="auto">
            <a:xfrm>
              <a:off x="3594" y="1393"/>
              <a:ext cx="170" cy="110"/>
            </a:xfrm>
            <a:custGeom>
              <a:avLst/>
              <a:gdLst>
                <a:gd name="T0" fmla="*/ 220 w 257"/>
                <a:gd name="T1" fmla="*/ 0 h 165"/>
                <a:gd name="T2" fmla="*/ 193 w 257"/>
                <a:gd name="T3" fmla="*/ 18 h 165"/>
                <a:gd name="T4" fmla="*/ 91 w 257"/>
                <a:gd name="T5" fmla="*/ 24 h 165"/>
                <a:gd name="T6" fmla="*/ 73 w 257"/>
                <a:gd name="T7" fmla="*/ 30 h 165"/>
                <a:gd name="T8" fmla="*/ 52 w 257"/>
                <a:gd name="T9" fmla="*/ 48 h 165"/>
                <a:gd name="T10" fmla="*/ 28 w 257"/>
                <a:gd name="T11" fmla="*/ 75 h 165"/>
                <a:gd name="T12" fmla="*/ 43 w 257"/>
                <a:gd name="T13" fmla="*/ 84 h 165"/>
                <a:gd name="T14" fmla="*/ 16 w 257"/>
                <a:gd name="T15" fmla="*/ 98 h 165"/>
                <a:gd name="T16" fmla="*/ 22 w 257"/>
                <a:gd name="T17" fmla="*/ 113 h 165"/>
                <a:gd name="T18" fmla="*/ 3 w 257"/>
                <a:gd name="T19" fmla="*/ 122 h 165"/>
                <a:gd name="T20" fmla="*/ 10 w 257"/>
                <a:gd name="T21" fmla="*/ 135 h 165"/>
                <a:gd name="T22" fmla="*/ 40 w 257"/>
                <a:gd name="T23" fmla="*/ 141 h 165"/>
                <a:gd name="T24" fmla="*/ 90 w 257"/>
                <a:gd name="T25" fmla="*/ 156 h 165"/>
                <a:gd name="T26" fmla="*/ 100 w 257"/>
                <a:gd name="T27" fmla="*/ 144 h 165"/>
                <a:gd name="T28" fmla="*/ 96 w 257"/>
                <a:gd name="T29" fmla="*/ 141 h 165"/>
                <a:gd name="T30" fmla="*/ 90 w 257"/>
                <a:gd name="T31" fmla="*/ 140 h 165"/>
                <a:gd name="T32" fmla="*/ 73 w 257"/>
                <a:gd name="T33" fmla="*/ 116 h 165"/>
                <a:gd name="T34" fmla="*/ 70 w 257"/>
                <a:gd name="T35" fmla="*/ 107 h 165"/>
                <a:gd name="T36" fmla="*/ 123 w 257"/>
                <a:gd name="T37" fmla="*/ 62 h 165"/>
                <a:gd name="T38" fmla="*/ 145 w 257"/>
                <a:gd name="T39" fmla="*/ 53 h 165"/>
                <a:gd name="T40" fmla="*/ 177 w 257"/>
                <a:gd name="T41" fmla="*/ 44 h 165"/>
                <a:gd name="T42" fmla="*/ 195 w 257"/>
                <a:gd name="T43" fmla="*/ 41 h 165"/>
                <a:gd name="T44" fmla="*/ 243 w 257"/>
                <a:gd name="T45" fmla="*/ 26 h 165"/>
                <a:gd name="T46" fmla="*/ 235 w 257"/>
                <a:gd name="T47" fmla="*/ 5 h 165"/>
                <a:gd name="T48" fmla="*/ 220 w 257"/>
                <a:gd name="T49"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165">
                  <a:moveTo>
                    <a:pt x="220" y="0"/>
                  </a:moveTo>
                  <a:cubicBezTo>
                    <a:pt x="212" y="10"/>
                    <a:pt x="205" y="16"/>
                    <a:pt x="193" y="18"/>
                  </a:cubicBezTo>
                  <a:cubicBezTo>
                    <a:pt x="164" y="28"/>
                    <a:pt x="115" y="24"/>
                    <a:pt x="91" y="24"/>
                  </a:cubicBezTo>
                  <a:cubicBezTo>
                    <a:pt x="85" y="26"/>
                    <a:pt x="79" y="29"/>
                    <a:pt x="73" y="30"/>
                  </a:cubicBezTo>
                  <a:cubicBezTo>
                    <a:pt x="68" y="36"/>
                    <a:pt x="59" y="44"/>
                    <a:pt x="52" y="48"/>
                  </a:cubicBezTo>
                  <a:cubicBezTo>
                    <a:pt x="44" y="61"/>
                    <a:pt x="46" y="72"/>
                    <a:pt x="28" y="75"/>
                  </a:cubicBezTo>
                  <a:cubicBezTo>
                    <a:pt x="33" y="80"/>
                    <a:pt x="37" y="80"/>
                    <a:pt x="43" y="84"/>
                  </a:cubicBezTo>
                  <a:cubicBezTo>
                    <a:pt x="41" y="93"/>
                    <a:pt x="24" y="94"/>
                    <a:pt x="16" y="98"/>
                  </a:cubicBezTo>
                  <a:cubicBezTo>
                    <a:pt x="18" y="104"/>
                    <a:pt x="21" y="107"/>
                    <a:pt x="22" y="113"/>
                  </a:cubicBezTo>
                  <a:cubicBezTo>
                    <a:pt x="17" y="120"/>
                    <a:pt x="11" y="119"/>
                    <a:pt x="3" y="122"/>
                  </a:cubicBezTo>
                  <a:cubicBezTo>
                    <a:pt x="0" y="131"/>
                    <a:pt x="0" y="134"/>
                    <a:pt x="10" y="135"/>
                  </a:cubicBezTo>
                  <a:cubicBezTo>
                    <a:pt x="19" y="139"/>
                    <a:pt x="30" y="140"/>
                    <a:pt x="40" y="141"/>
                  </a:cubicBezTo>
                  <a:cubicBezTo>
                    <a:pt x="55" y="147"/>
                    <a:pt x="73" y="154"/>
                    <a:pt x="90" y="156"/>
                  </a:cubicBezTo>
                  <a:cubicBezTo>
                    <a:pt x="108" y="165"/>
                    <a:pt x="121" y="151"/>
                    <a:pt x="100" y="144"/>
                  </a:cubicBezTo>
                  <a:cubicBezTo>
                    <a:pt x="99" y="143"/>
                    <a:pt x="98" y="142"/>
                    <a:pt x="96" y="141"/>
                  </a:cubicBezTo>
                  <a:cubicBezTo>
                    <a:pt x="94" y="140"/>
                    <a:pt x="92" y="141"/>
                    <a:pt x="90" y="140"/>
                  </a:cubicBezTo>
                  <a:cubicBezTo>
                    <a:pt x="83" y="136"/>
                    <a:pt x="78" y="123"/>
                    <a:pt x="73" y="116"/>
                  </a:cubicBezTo>
                  <a:cubicBezTo>
                    <a:pt x="72" y="113"/>
                    <a:pt x="70" y="110"/>
                    <a:pt x="70" y="107"/>
                  </a:cubicBezTo>
                  <a:cubicBezTo>
                    <a:pt x="70" y="93"/>
                    <a:pt x="110" y="65"/>
                    <a:pt x="123" y="62"/>
                  </a:cubicBezTo>
                  <a:cubicBezTo>
                    <a:pt x="131" y="58"/>
                    <a:pt x="136" y="54"/>
                    <a:pt x="145" y="53"/>
                  </a:cubicBezTo>
                  <a:cubicBezTo>
                    <a:pt x="155" y="49"/>
                    <a:pt x="166" y="46"/>
                    <a:pt x="177" y="44"/>
                  </a:cubicBezTo>
                  <a:cubicBezTo>
                    <a:pt x="183" y="43"/>
                    <a:pt x="195" y="41"/>
                    <a:pt x="195" y="41"/>
                  </a:cubicBezTo>
                  <a:cubicBezTo>
                    <a:pt x="209" y="34"/>
                    <a:pt x="227" y="29"/>
                    <a:pt x="243" y="26"/>
                  </a:cubicBezTo>
                  <a:cubicBezTo>
                    <a:pt x="257" y="19"/>
                    <a:pt x="246" y="7"/>
                    <a:pt x="235" y="5"/>
                  </a:cubicBezTo>
                  <a:cubicBezTo>
                    <a:pt x="229" y="0"/>
                    <a:pt x="223" y="3"/>
                    <a:pt x="220"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1" name="Freeform 194">
              <a:extLst>
                <a:ext uri="{FF2B5EF4-FFF2-40B4-BE49-F238E27FC236}">
                  <a16:creationId xmlns:a16="http://schemas.microsoft.com/office/drawing/2014/main" id="{92F9C470-89FF-D343-A705-096BFB513042}"/>
                </a:ext>
              </a:extLst>
            </p:cNvPr>
            <p:cNvSpPr>
              <a:spLocks/>
            </p:cNvSpPr>
            <p:nvPr/>
          </p:nvSpPr>
          <p:spPr bwMode="auto">
            <a:xfrm>
              <a:off x="3544" y="1323"/>
              <a:ext cx="135" cy="38"/>
            </a:xfrm>
            <a:custGeom>
              <a:avLst/>
              <a:gdLst>
                <a:gd name="T0" fmla="*/ 0 w 204"/>
                <a:gd name="T1" fmla="*/ 40 h 57"/>
                <a:gd name="T2" fmla="*/ 72 w 204"/>
                <a:gd name="T3" fmla="*/ 6 h 57"/>
                <a:gd name="T4" fmla="*/ 94 w 204"/>
                <a:gd name="T5" fmla="*/ 3 h 57"/>
                <a:gd name="T6" fmla="*/ 90 w 204"/>
                <a:gd name="T7" fmla="*/ 21 h 57"/>
                <a:gd name="T8" fmla="*/ 124 w 204"/>
                <a:gd name="T9" fmla="*/ 22 h 57"/>
                <a:gd name="T10" fmla="*/ 141 w 204"/>
                <a:gd name="T11" fmla="*/ 28 h 57"/>
                <a:gd name="T12" fmla="*/ 196 w 204"/>
                <a:gd name="T13" fmla="*/ 28 h 57"/>
                <a:gd name="T14" fmla="*/ 181 w 204"/>
                <a:gd name="T15" fmla="*/ 37 h 57"/>
                <a:gd name="T16" fmla="*/ 130 w 204"/>
                <a:gd name="T17" fmla="*/ 43 h 57"/>
                <a:gd name="T18" fmla="*/ 120 w 204"/>
                <a:gd name="T19" fmla="*/ 54 h 57"/>
                <a:gd name="T20" fmla="*/ 108 w 204"/>
                <a:gd name="T21" fmla="*/ 57 h 57"/>
                <a:gd name="T22" fmla="*/ 82 w 204"/>
                <a:gd name="T23" fmla="*/ 45 h 57"/>
                <a:gd name="T24" fmla="*/ 37 w 204"/>
                <a:gd name="T25" fmla="*/ 42 h 57"/>
                <a:gd name="T26" fmla="*/ 0 w 204"/>
                <a:gd name="T27" fmla="*/ 4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57">
                  <a:moveTo>
                    <a:pt x="0" y="40"/>
                  </a:moveTo>
                  <a:cubicBezTo>
                    <a:pt x="26" y="36"/>
                    <a:pt x="45" y="11"/>
                    <a:pt x="72" y="6"/>
                  </a:cubicBezTo>
                  <a:cubicBezTo>
                    <a:pt x="80" y="2"/>
                    <a:pt x="85" y="0"/>
                    <a:pt x="94" y="3"/>
                  </a:cubicBezTo>
                  <a:cubicBezTo>
                    <a:pt x="93" y="10"/>
                    <a:pt x="91" y="14"/>
                    <a:pt x="90" y="21"/>
                  </a:cubicBezTo>
                  <a:cubicBezTo>
                    <a:pt x="101" y="23"/>
                    <a:pt x="113" y="21"/>
                    <a:pt x="124" y="22"/>
                  </a:cubicBezTo>
                  <a:cubicBezTo>
                    <a:pt x="130" y="24"/>
                    <a:pt x="135" y="27"/>
                    <a:pt x="141" y="28"/>
                  </a:cubicBezTo>
                  <a:cubicBezTo>
                    <a:pt x="159" y="27"/>
                    <a:pt x="179" y="22"/>
                    <a:pt x="196" y="28"/>
                  </a:cubicBezTo>
                  <a:cubicBezTo>
                    <a:pt x="204" y="31"/>
                    <a:pt x="182" y="37"/>
                    <a:pt x="181" y="37"/>
                  </a:cubicBezTo>
                  <a:cubicBezTo>
                    <a:pt x="167" y="44"/>
                    <a:pt x="143" y="43"/>
                    <a:pt x="130" y="43"/>
                  </a:cubicBezTo>
                  <a:cubicBezTo>
                    <a:pt x="124" y="46"/>
                    <a:pt x="125" y="50"/>
                    <a:pt x="120" y="54"/>
                  </a:cubicBezTo>
                  <a:cubicBezTo>
                    <a:pt x="117" y="56"/>
                    <a:pt x="112" y="56"/>
                    <a:pt x="108" y="57"/>
                  </a:cubicBezTo>
                  <a:cubicBezTo>
                    <a:pt x="93" y="55"/>
                    <a:pt x="94" y="52"/>
                    <a:pt x="82" y="45"/>
                  </a:cubicBezTo>
                  <a:cubicBezTo>
                    <a:pt x="63" y="46"/>
                    <a:pt x="54" y="45"/>
                    <a:pt x="37" y="42"/>
                  </a:cubicBezTo>
                  <a:cubicBezTo>
                    <a:pt x="33" y="42"/>
                    <a:pt x="3" y="49"/>
                    <a:pt x="0" y="4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2" name="Freeform 195">
              <a:extLst>
                <a:ext uri="{FF2B5EF4-FFF2-40B4-BE49-F238E27FC236}">
                  <a16:creationId xmlns:a16="http://schemas.microsoft.com/office/drawing/2014/main" id="{70F93B80-7633-DE46-B387-8C72F56AA039}"/>
                </a:ext>
              </a:extLst>
            </p:cNvPr>
            <p:cNvSpPr>
              <a:spLocks/>
            </p:cNvSpPr>
            <p:nvPr/>
          </p:nvSpPr>
          <p:spPr bwMode="auto">
            <a:xfrm>
              <a:off x="3961" y="1333"/>
              <a:ext cx="113" cy="43"/>
            </a:xfrm>
            <a:custGeom>
              <a:avLst/>
              <a:gdLst>
                <a:gd name="T0" fmla="*/ 19 w 169"/>
                <a:gd name="T1" fmla="*/ 10 h 65"/>
                <a:gd name="T2" fmla="*/ 51 w 169"/>
                <a:gd name="T3" fmla="*/ 0 h 65"/>
                <a:gd name="T4" fmla="*/ 75 w 169"/>
                <a:gd name="T5" fmla="*/ 7 h 65"/>
                <a:gd name="T6" fmla="*/ 88 w 169"/>
                <a:gd name="T7" fmla="*/ 12 h 65"/>
                <a:gd name="T8" fmla="*/ 108 w 169"/>
                <a:gd name="T9" fmla="*/ 33 h 65"/>
                <a:gd name="T10" fmla="*/ 162 w 169"/>
                <a:gd name="T11" fmla="*/ 37 h 65"/>
                <a:gd name="T12" fmla="*/ 169 w 169"/>
                <a:gd name="T13" fmla="*/ 52 h 65"/>
                <a:gd name="T14" fmla="*/ 126 w 169"/>
                <a:gd name="T15" fmla="*/ 57 h 65"/>
                <a:gd name="T16" fmla="*/ 99 w 169"/>
                <a:gd name="T17" fmla="*/ 51 h 65"/>
                <a:gd name="T18" fmla="*/ 69 w 169"/>
                <a:gd name="T19" fmla="*/ 42 h 65"/>
                <a:gd name="T20" fmla="*/ 48 w 169"/>
                <a:gd name="T21" fmla="*/ 34 h 65"/>
                <a:gd name="T22" fmla="*/ 21 w 169"/>
                <a:gd name="T23" fmla="*/ 39 h 65"/>
                <a:gd name="T24" fmla="*/ 0 w 169"/>
                <a:gd name="T25" fmla="*/ 25 h 65"/>
                <a:gd name="T26" fmla="*/ 19 w 169"/>
                <a:gd name="T27" fmla="*/ 1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65">
                  <a:moveTo>
                    <a:pt x="19" y="10"/>
                  </a:moveTo>
                  <a:cubicBezTo>
                    <a:pt x="31" y="9"/>
                    <a:pt x="39" y="2"/>
                    <a:pt x="51" y="0"/>
                  </a:cubicBezTo>
                  <a:cubicBezTo>
                    <a:pt x="61" y="1"/>
                    <a:pt x="66" y="5"/>
                    <a:pt x="75" y="7"/>
                  </a:cubicBezTo>
                  <a:cubicBezTo>
                    <a:pt x="79" y="9"/>
                    <a:pt x="84" y="10"/>
                    <a:pt x="88" y="12"/>
                  </a:cubicBezTo>
                  <a:cubicBezTo>
                    <a:pt x="95" y="22"/>
                    <a:pt x="97" y="27"/>
                    <a:pt x="108" y="33"/>
                  </a:cubicBezTo>
                  <a:cubicBezTo>
                    <a:pt x="125" y="32"/>
                    <a:pt x="147" y="27"/>
                    <a:pt x="162" y="37"/>
                  </a:cubicBezTo>
                  <a:cubicBezTo>
                    <a:pt x="165" y="42"/>
                    <a:pt x="165" y="47"/>
                    <a:pt x="169" y="52"/>
                  </a:cubicBezTo>
                  <a:cubicBezTo>
                    <a:pt x="166" y="65"/>
                    <a:pt x="129" y="57"/>
                    <a:pt x="126" y="57"/>
                  </a:cubicBezTo>
                  <a:cubicBezTo>
                    <a:pt x="117" y="54"/>
                    <a:pt x="108" y="52"/>
                    <a:pt x="99" y="51"/>
                  </a:cubicBezTo>
                  <a:cubicBezTo>
                    <a:pt x="90" y="47"/>
                    <a:pt x="79" y="44"/>
                    <a:pt x="69" y="42"/>
                  </a:cubicBezTo>
                  <a:cubicBezTo>
                    <a:pt x="62" y="39"/>
                    <a:pt x="55" y="36"/>
                    <a:pt x="48" y="34"/>
                  </a:cubicBezTo>
                  <a:cubicBezTo>
                    <a:pt x="38" y="35"/>
                    <a:pt x="30" y="36"/>
                    <a:pt x="21" y="39"/>
                  </a:cubicBezTo>
                  <a:cubicBezTo>
                    <a:pt x="5" y="36"/>
                    <a:pt x="7" y="37"/>
                    <a:pt x="0" y="25"/>
                  </a:cubicBezTo>
                  <a:cubicBezTo>
                    <a:pt x="2" y="13"/>
                    <a:pt x="15" y="21"/>
                    <a:pt x="19" y="1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3" name="Freeform 196">
              <a:extLst>
                <a:ext uri="{FF2B5EF4-FFF2-40B4-BE49-F238E27FC236}">
                  <a16:creationId xmlns:a16="http://schemas.microsoft.com/office/drawing/2014/main" id="{E392A544-1320-AB40-A37B-0EEBC16FC85D}"/>
                </a:ext>
              </a:extLst>
            </p:cNvPr>
            <p:cNvSpPr>
              <a:spLocks/>
            </p:cNvSpPr>
            <p:nvPr/>
          </p:nvSpPr>
          <p:spPr bwMode="auto">
            <a:xfrm>
              <a:off x="4077" y="1359"/>
              <a:ext cx="64" cy="22"/>
            </a:xfrm>
            <a:custGeom>
              <a:avLst/>
              <a:gdLst>
                <a:gd name="T0" fmla="*/ 36 w 97"/>
                <a:gd name="T1" fmla="*/ 4 h 33"/>
                <a:gd name="T2" fmla="*/ 15 w 97"/>
                <a:gd name="T3" fmla="*/ 6 h 33"/>
                <a:gd name="T4" fmla="*/ 21 w 97"/>
                <a:gd name="T5" fmla="*/ 33 h 33"/>
                <a:gd name="T6" fmla="*/ 94 w 97"/>
                <a:gd name="T7" fmla="*/ 27 h 33"/>
                <a:gd name="T8" fmla="*/ 84 w 97"/>
                <a:gd name="T9" fmla="*/ 18 h 33"/>
                <a:gd name="T10" fmla="*/ 37 w 97"/>
                <a:gd name="T11" fmla="*/ 15 h 33"/>
                <a:gd name="T12" fmla="*/ 36 w 97"/>
                <a:gd name="T13" fmla="*/ 4 h 33"/>
              </a:gdLst>
              <a:ahLst/>
              <a:cxnLst>
                <a:cxn ang="0">
                  <a:pos x="T0" y="T1"/>
                </a:cxn>
                <a:cxn ang="0">
                  <a:pos x="T2" y="T3"/>
                </a:cxn>
                <a:cxn ang="0">
                  <a:pos x="T4" y="T5"/>
                </a:cxn>
                <a:cxn ang="0">
                  <a:pos x="T6" y="T7"/>
                </a:cxn>
                <a:cxn ang="0">
                  <a:pos x="T8" y="T9"/>
                </a:cxn>
                <a:cxn ang="0">
                  <a:pos x="T10" y="T11"/>
                </a:cxn>
                <a:cxn ang="0">
                  <a:pos x="T12" y="T13"/>
                </a:cxn>
              </a:cxnLst>
              <a:rect l="0" t="0" r="r" b="b"/>
              <a:pathLst>
                <a:path w="97" h="33">
                  <a:moveTo>
                    <a:pt x="36" y="4"/>
                  </a:moveTo>
                  <a:cubicBezTo>
                    <a:pt x="29" y="5"/>
                    <a:pt x="19" y="0"/>
                    <a:pt x="15" y="6"/>
                  </a:cubicBezTo>
                  <a:cubicBezTo>
                    <a:pt x="0" y="26"/>
                    <a:pt x="12" y="29"/>
                    <a:pt x="21" y="33"/>
                  </a:cubicBezTo>
                  <a:cubicBezTo>
                    <a:pt x="46" y="29"/>
                    <a:pt x="68" y="28"/>
                    <a:pt x="94" y="27"/>
                  </a:cubicBezTo>
                  <a:cubicBezTo>
                    <a:pt x="97" y="18"/>
                    <a:pt x="91" y="19"/>
                    <a:pt x="84" y="18"/>
                  </a:cubicBezTo>
                  <a:cubicBezTo>
                    <a:pt x="69" y="13"/>
                    <a:pt x="53" y="18"/>
                    <a:pt x="37" y="15"/>
                  </a:cubicBezTo>
                  <a:cubicBezTo>
                    <a:pt x="36" y="8"/>
                    <a:pt x="36" y="12"/>
                    <a:pt x="36" y="4"/>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4" name="Freeform 197">
              <a:extLst>
                <a:ext uri="{FF2B5EF4-FFF2-40B4-BE49-F238E27FC236}">
                  <a16:creationId xmlns:a16="http://schemas.microsoft.com/office/drawing/2014/main" id="{5EA350F6-49BD-D34D-90D3-0DB59E4AA7B3}"/>
                </a:ext>
              </a:extLst>
            </p:cNvPr>
            <p:cNvSpPr>
              <a:spLocks/>
            </p:cNvSpPr>
            <p:nvPr/>
          </p:nvSpPr>
          <p:spPr bwMode="auto">
            <a:xfrm>
              <a:off x="4557" y="1409"/>
              <a:ext cx="93" cy="23"/>
            </a:xfrm>
            <a:custGeom>
              <a:avLst/>
              <a:gdLst>
                <a:gd name="T0" fmla="*/ 134 w 141"/>
                <a:gd name="T1" fmla="*/ 14 h 35"/>
                <a:gd name="T2" fmla="*/ 81 w 141"/>
                <a:gd name="T3" fmla="*/ 5 h 35"/>
                <a:gd name="T4" fmla="*/ 68 w 141"/>
                <a:gd name="T5" fmla="*/ 0 h 35"/>
                <a:gd name="T6" fmla="*/ 57 w 141"/>
                <a:gd name="T7" fmla="*/ 2 h 35"/>
                <a:gd name="T8" fmla="*/ 51 w 141"/>
                <a:gd name="T9" fmla="*/ 14 h 35"/>
                <a:gd name="T10" fmla="*/ 56 w 141"/>
                <a:gd name="T11" fmla="*/ 18 h 35"/>
                <a:gd name="T12" fmla="*/ 15 w 141"/>
                <a:gd name="T13" fmla="*/ 2 h 35"/>
                <a:gd name="T14" fmla="*/ 0 w 141"/>
                <a:gd name="T15" fmla="*/ 12 h 35"/>
                <a:gd name="T16" fmla="*/ 23 w 141"/>
                <a:gd name="T17" fmla="*/ 24 h 35"/>
                <a:gd name="T18" fmla="*/ 45 w 141"/>
                <a:gd name="T19" fmla="*/ 30 h 35"/>
                <a:gd name="T20" fmla="*/ 62 w 141"/>
                <a:gd name="T21" fmla="*/ 35 h 35"/>
                <a:gd name="T22" fmla="*/ 141 w 141"/>
                <a:gd name="T23" fmla="*/ 24 h 35"/>
                <a:gd name="T24" fmla="*/ 134 w 141"/>
                <a:gd name="T25"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35">
                  <a:moveTo>
                    <a:pt x="134" y="14"/>
                  </a:moveTo>
                  <a:cubicBezTo>
                    <a:pt x="123" y="10"/>
                    <a:pt x="96" y="7"/>
                    <a:pt x="81" y="5"/>
                  </a:cubicBezTo>
                  <a:cubicBezTo>
                    <a:pt x="77" y="3"/>
                    <a:pt x="72" y="2"/>
                    <a:pt x="68" y="0"/>
                  </a:cubicBezTo>
                  <a:cubicBezTo>
                    <a:pt x="64" y="1"/>
                    <a:pt x="60" y="0"/>
                    <a:pt x="57" y="2"/>
                  </a:cubicBezTo>
                  <a:cubicBezTo>
                    <a:pt x="54" y="5"/>
                    <a:pt x="51" y="14"/>
                    <a:pt x="51" y="14"/>
                  </a:cubicBezTo>
                  <a:cubicBezTo>
                    <a:pt x="55" y="15"/>
                    <a:pt x="70" y="16"/>
                    <a:pt x="56" y="18"/>
                  </a:cubicBezTo>
                  <a:cubicBezTo>
                    <a:pt x="42" y="15"/>
                    <a:pt x="31" y="5"/>
                    <a:pt x="15" y="2"/>
                  </a:cubicBezTo>
                  <a:cubicBezTo>
                    <a:pt x="4" y="3"/>
                    <a:pt x="6" y="4"/>
                    <a:pt x="0" y="12"/>
                  </a:cubicBezTo>
                  <a:cubicBezTo>
                    <a:pt x="8" y="15"/>
                    <a:pt x="14" y="22"/>
                    <a:pt x="23" y="24"/>
                  </a:cubicBezTo>
                  <a:cubicBezTo>
                    <a:pt x="30" y="27"/>
                    <a:pt x="38" y="29"/>
                    <a:pt x="45" y="30"/>
                  </a:cubicBezTo>
                  <a:cubicBezTo>
                    <a:pt x="51" y="32"/>
                    <a:pt x="56" y="33"/>
                    <a:pt x="62" y="35"/>
                  </a:cubicBezTo>
                  <a:cubicBezTo>
                    <a:pt x="91" y="33"/>
                    <a:pt x="112" y="26"/>
                    <a:pt x="141" y="24"/>
                  </a:cubicBezTo>
                  <a:cubicBezTo>
                    <a:pt x="140" y="19"/>
                    <a:pt x="141" y="14"/>
                    <a:pt x="134" y="14"/>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5" name="Freeform 198">
              <a:extLst>
                <a:ext uri="{FF2B5EF4-FFF2-40B4-BE49-F238E27FC236}">
                  <a16:creationId xmlns:a16="http://schemas.microsoft.com/office/drawing/2014/main" id="{70104E1D-95C3-F841-82E7-51F578DC809C}"/>
                </a:ext>
              </a:extLst>
            </p:cNvPr>
            <p:cNvSpPr>
              <a:spLocks/>
            </p:cNvSpPr>
            <p:nvPr/>
          </p:nvSpPr>
          <p:spPr bwMode="auto">
            <a:xfrm>
              <a:off x="4669" y="1414"/>
              <a:ext cx="66" cy="19"/>
            </a:xfrm>
            <a:custGeom>
              <a:avLst/>
              <a:gdLst>
                <a:gd name="T0" fmla="*/ 90 w 99"/>
                <a:gd name="T1" fmla="*/ 15 h 28"/>
                <a:gd name="T2" fmla="*/ 60 w 99"/>
                <a:gd name="T3" fmla="*/ 15 h 28"/>
                <a:gd name="T4" fmla="*/ 43 w 99"/>
                <a:gd name="T5" fmla="*/ 12 h 28"/>
                <a:gd name="T6" fmla="*/ 16 w 99"/>
                <a:gd name="T7" fmla="*/ 1 h 28"/>
                <a:gd name="T8" fmla="*/ 3 w 99"/>
                <a:gd name="T9" fmla="*/ 9 h 28"/>
                <a:gd name="T10" fmla="*/ 27 w 99"/>
                <a:gd name="T11" fmla="*/ 16 h 28"/>
                <a:gd name="T12" fmla="*/ 42 w 99"/>
                <a:gd name="T13" fmla="*/ 22 h 28"/>
                <a:gd name="T14" fmla="*/ 60 w 99"/>
                <a:gd name="T15" fmla="*/ 28 h 28"/>
                <a:gd name="T16" fmla="*/ 99 w 99"/>
                <a:gd name="T17" fmla="*/ 19 h 28"/>
                <a:gd name="T18" fmla="*/ 90 w 99"/>
                <a:gd name="T19"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28">
                  <a:moveTo>
                    <a:pt x="90" y="15"/>
                  </a:moveTo>
                  <a:cubicBezTo>
                    <a:pt x="78" y="17"/>
                    <a:pt x="82" y="17"/>
                    <a:pt x="60" y="15"/>
                  </a:cubicBezTo>
                  <a:cubicBezTo>
                    <a:pt x="54" y="14"/>
                    <a:pt x="43" y="12"/>
                    <a:pt x="43" y="12"/>
                  </a:cubicBezTo>
                  <a:cubicBezTo>
                    <a:pt x="34" y="7"/>
                    <a:pt x="26" y="4"/>
                    <a:pt x="16" y="1"/>
                  </a:cubicBezTo>
                  <a:cubicBezTo>
                    <a:pt x="11" y="2"/>
                    <a:pt x="0" y="0"/>
                    <a:pt x="3" y="9"/>
                  </a:cubicBezTo>
                  <a:cubicBezTo>
                    <a:pt x="5" y="14"/>
                    <a:pt x="23" y="15"/>
                    <a:pt x="27" y="16"/>
                  </a:cubicBezTo>
                  <a:cubicBezTo>
                    <a:pt x="32" y="20"/>
                    <a:pt x="36" y="21"/>
                    <a:pt x="42" y="22"/>
                  </a:cubicBezTo>
                  <a:cubicBezTo>
                    <a:pt x="48" y="26"/>
                    <a:pt x="53" y="27"/>
                    <a:pt x="60" y="28"/>
                  </a:cubicBezTo>
                  <a:cubicBezTo>
                    <a:pt x="77" y="27"/>
                    <a:pt x="86" y="27"/>
                    <a:pt x="99" y="19"/>
                  </a:cubicBezTo>
                  <a:cubicBezTo>
                    <a:pt x="97" y="14"/>
                    <a:pt x="95" y="12"/>
                    <a:pt x="90" y="15"/>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6" name="Freeform 199">
              <a:extLst>
                <a:ext uri="{FF2B5EF4-FFF2-40B4-BE49-F238E27FC236}">
                  <a16:creationId xmlns:a16="http://schemas.microsoft.com/office/drawing/2014/main" id="{DEBCC21F-A581-3B46-8CCB-BD2BE0E028A0}"/>
                </a:ext>
              </a:extLst>
            </p:cNvPr>
            <p:cNvSpPr>
              <a:spLocks/>
            </p:cNvSpPr>
            <p:nvPr/>
          </p:nvSpPr>
          <p:spPr bwMode="auto">
            <a:xfrm>
              <a:off x="4640" y="1442"/>
              <a:ext cx="43" cy="14"/>
            </a:xfrm>
            <a:custGeom>
              <a:avLst/>
              <a:gdLst>
                <a:gd name="T0" fmla="*/ 51 w 66"/>
                <a:gd name="T1" fmla="*/ 2 h 22"/>
                <a:gd name="T2" fmla="*/ 4 w 66"/>
                <a:gd name="T3" fmla="*/ 2 h 22"/>
                <a:gd name="T4" fmla="*/ 15 w 66"/>
                <a:gd name="T5" fmla="*/ 11 h 22"/>
                <a:gd name="T6" fmla="*/ 36 w 66"/>
                <a:gd name="T7" fmla="*/ 17 h 22"/>
                <a:gd name="T8" fmla="*/ 66 w 66"/>
                <a:gd name="T9" fmla="*/ 19 h 22"/>
                <a:gd name="T10" fmla="*/ 51 w 66"/>
                <a:gd name="T11" fmla="*/ 2 h 22"/>
              </a:gdLst>
              <a:ahLst/>
              <a:cxnLst>
                <a:cxn ang="0">
                  <a:pos x="T0" y="T1"/>
                </a:cxn>
                <a:cxn ang="0">
                  <a:pos x="T2" y="T3"/>
                </a:cxn>
                <a:cxn ang="0">
                  <a:pos x="T4" y="T5"/>
                </a:cxn>
                <a:cxn ang="0">
                  <a:pos x="T6" y="T7"/>
                </a:cxn>
                <a:cxn ang="0">
                  <a:pos x="T8" y="T9"/>
                </a:cxn>
                <a:cxn ang="0">
                  <a:pos x="T10" y="T11"/>
                </a:cxn>
              </a:cxnLst>
              <a:rect l="0" t="0" r="r" b="b"/>
              <a:pathLst>
                <a:path w="66" h="22">
                  <a:moveTo>
                    <a:pt x="51" y="2"/>
                  </a:moveTo>
                  <a:cubicBezTo>
                    <a:pt x="47" y="2"/>
                    <a:pt x="10" y="0"/>
                    <a:pt x="4" y="2"/>
                  </a:cubicBezTo>
                  <a:cubicBezTo>
                    <a:pt x="0" y="4"/>
                    <a:pt x="10" y="10"/>
                    <a:pt x="15" y="11"/>
                  </a:cubicBezTo>
                  <a:cubicBezTo>
                    <a:pt x="21" y="14"/>
                    <a:pt x="29" y="16"/>
                    <a:pt x="36" y="17"/>
                  </a:cubicBezTo>
                  <a:cubicBezTo>
                    <a:pt x="46" y="22"/>
                    <a:pt x="54" y="20"/>
                    <a:pt x="66" y="19"/>
                  </a:cubicBezTo>
                  <a:cubicBezTo>
                    <a:pt x="62" y="13"/>
                    <a:pt x="51" y="10"/>
                    <a:pt x="51" y="2"/>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7" name="Freeform 200">
              <a:extLst>
                <a:ext uri="{FF2B5EF4-FFF2-40B4-BE49-F238E27FC236}">
                  <a16:creationId xmlns:a16="http://schemas.microsoft.com/office/drawing/2014/main" id="{5465BD3C-3536-DF48-8B57-A76F557B1691}"/>
                </a:ext>
              </a:extLst>
            </p:cNvPr>
            <p:cNvSpPr>
              <a:spLocks/>
            </p:cNvSpPr>
            <p:nvPr/>
          </p:nvSpPr>
          <p:spPr bwMode="auto">
            <a:xfrm>
              <a:off x="5130" y="1950"/>
              <a:ext cx="84" cy="81"/>
            </a:xfrm>
            <a:custGeom>
              <a:avLst/>
              <a:gdLst>
                <a:gd name="T0" fmla="*/ 3 w 128"/>
                <a:gd name="T1" fmla="*/ 0 h 122"/>
                <a:gd name="T2" fmla="*/ 17 w 128"/>
                <a:gd name="T3" fmla="*/ 8 h 122"/>
                <a:gd name="T4" fmla="*/ 51 w 128"/>
                <a:gd name="T5" fmla="*/ 30 h 122"/>
                <a:gd name="T6" fmla="*/ 71 w 128"/>
                <a:gd name="T7" fmla="*/ 36 h 122"/>
                <a:gd name="T8" fmla="*/ 108 w 128"/>
                <a:gd name="T9" fmla="*/ 41 h 122"/>
                <a:gd name="T10" fmla="*/ 119 w 128"/>
                <a:gd name="T11" fmla="*/ 51 h 122"/>
                <a:gd name="T12" fmla="*/ 126 w 128"/>
                <a:gd name="T13" fmla="*/ 59 h 122"/>
                <a:gd name="T14" fmla="*/ 96 w 128"/>
                <a:gd name="T15" fmla="*/ 71 h 122"/>
                <a:gd name="T16" fmla="*/ 96 w 128"/>
                <a:gd name="T17" fmla="*/ 99 h 122"/>
                <a:gd name="T18" fmla="*/ 83 w 128"/>
                <a:gd name="T19" fmla="*/ 104 h 122"/>
                <a:gd name="T20" fmla="*/ 48 w 128"/>
                <a:gd name="T21" fmla="*/ 80 h 122"/>
                <a:gd name="T22" fmla="*/ 36 w 128"/>
                <a:gd name="T23" fmla="*/ 90 h 122"/>
                <a:gd name="T24" fmla="*/ 20 w 128"/>
                <a:gd name="T25" fmla="*/ 83 h 122"/>
                <a:gd name="T26" fmla="*/ 23 w 128"/>
                <a:gd name="T27" fmla="*/ 95 h 122"/>
                <a:gd name="T28" fmla="*/ 39 w 128"/>
                <a:gd name="T29" fmla="*/ 101 h 122"/>
                <a:gd name="T30" fmla="*/ 33 w 128"/>
                <a:gd name="T31" fmla="*/ 111 h 122"/>
                <a:gd name="T32" fmla="*/ 18 w 128"/>
                <a:gd name="T33" fmla="*/ 114 h 122"/>
                <a:gd name="T34" fmla="*/ 9 w 128"/>
                <a:gd name="T35" fmla="*/ 102 h 122"/>
                <a:gd name="T36" fmla="*/ 8 w 128"/>
                <a:gd name="T37" fmla="*/ 77 h 122"/>
                <a:gd name="T38" fmla="*/ 24 w 128"/>
                <a:gd name="T39" fmla="*/ 62 h 122"/>
                <a:gd name="T40" fmla="*/ 14 w 128"/>
                <a:gd name="T41" fmla="*/ 35 h 122"/>
                <a:gd name="T42" fmla="*/ 0 w 128"/>
                <a:gd name="T43" fmla="*/ 12 h 122"/>
                <a:gd name="T44" fmla="*/ 3 w 128"/>
                <a:gd name="T4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22">
                  <a:moveTo>
                    <a:pt x="3" y="0"/>
                  </a:moveTo>
                  <a:cubicBezTo>
                    <a:pt x="8" y="2"/>
                    <a:pt x="12" y="5"/>
                    <a:pt x="17" y="8"/>
                  </a:cubicBezTo>
                  <a:cubicBezTo>
                    <a:pt x="26" y="19"/>
                    <a:pt x="36" y="28"/>
                    <a:pt x="51" y="30"/>
                  </a:cubicBezTo>
                  <a:cubicBezTo>
                    <a:pt x="58" y="34"/>
                    <a:pt x="63" y="35"/>
                    <a:pt x="71" y="36"/>
                  </a:cubicBezTo>
                  <a:cubicBezTo>
                    <a:pt x="82" y="42"/>
                    <a:pt x="96" y="40"/>
                    <a:pt x="108" y="41"/>
                  </a:cubicBezTo>
                  <a:cubicBezTo>
                    <a:pt x="111" y="48"/>
                    <a:pt x="111" y="50"/>
                    <a:pt x="119" y="51"/>
                  </a:cubicBezTo>
                  <a:cubicBezTo>
                    <a:pt x="122" y="53"/>
                    <a:pt x="125" y="55"/>
                    <a:pt x="126" y="59"/>
                  </a:cubicBezTo>
                  <a:cubicBezTo>
                    <a:pt x="128" y="72"/>
                    <a:pt x="102" y="70"/>
                    <a:pt x="96" y="71"/>
                  </a:cubicBezTo>
                  <a:cubicBezTo>
                    <a:pt x="86" y="81"/>
                    <a:pt x="88" y="89"/>
                    <a:pt x="96" y="99"/>
                  </a:cubicBezTo>
                  <a:cubicBezTo>
                    <a:pt x="95" y="108"/>
                    <a:pt x="97" y="107"/>
                    <a:pt x="83" y="104"/>
                  </a:cubicBezTo>
                  <a:cubicBezTo>
                    <a:pt x="69" y="101"/>
                    <a:pt x="63" y="83"/>
                    <a:pt x="48" y="80"/>
                  </a:cubicBezTo>
                  <a:cubicBezTo>
                    <a:pt x="43" y="83"/>
                    <a:pt x="41" y="87"/>
                    <a:pt x="36" y="90"/>
                  </a:cubicBezTo>
                  <a:cubicBezTo>
                    <a:pt x="29" y="89"/>
                    <a:pt x="26" y="87"/>
                    <a:pt x="20" y="83"/>
                  </a:cubicBezTo>
                  <a:cubicBezTo>
                    <a:pt x="12" y="88"/>
                    <a:pt x="15" y="92"/>
                    <a:pt x="23" y="95"/>
                  </a:cubicBezTo>
                  <a:cubicBezTo>
                    <a:pt x="28" y="99"/>
                    <a:pt x="33" y="99"/>
                    <a:pt x="39" y="101"/>
                  </a:cubicBezTo>
                  <a:cubicBezTo>
                    <a:pt x="44" y="108"/>
                    <a:pt x="40" y="110"/>
                    <a:pt x="33" y="111"/>
                  </a:cubicBezTo>
                  <a:cubicBezTo>
                    <a:pt x="31" y="122"/>
                    <a:pt x="25" y="118"/>
                    <a:pt x="18" y="114"/>
                  </a:cubicBezTo>
                  <a:cubicBezTo>
                    <a:pt x="17" y="107"/>
                    <a:pt x="16" y="105"/>
                    <a:pt x="9" y="102"/>
                  </a:cubicBezTo>
                  <a:cubicBezTo>
                    <a:pt x="3" y="94"/>
                    <a:pt x="4" y="86"/>
                    <a:pt x="8" y="77"/>
                  </a:cubicBezTo>
                  <a:cubicBezTo>
                    <a:pt x="3" y="62"/>
                    <a:pt x="7" y="63"/>
                    <a:pt x="24" y="62"/>
                  </a:cubicBezTo>
                  <a:cubicBezTo>
                    <a:pt x="23" y="52"/>
                    <a:pt x="22" y="41"/>
                    <a:pt x="14" y="35"/>
                  </a:cubicBezTo>
                  <a:cubicBezTo>
                    <a:pt x="9" y="27"/>
                    <a:pt x="5" y="20"/>
                    <a:pt x="0" y="12"/>
                  </a:cubicBezTo>
                  <a:cubicBezTo>
                    <a:pt x="2" y="2"/>
                    <a:pt x="1" y="6"/>
                    <a:pt x="3"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8" name="Freeform 201">
              <a:extLst>
                <a:ext uri="{FF2B5EF4-FFF2-40B4-BE49-F238E27FC236}">
                  <a16:creationId xmlns:a16="http://schemas.microsoft.com/office/drawing/2014/main" id="{AD7958C9-A9D8-2D4D-90B9-42EDD08F0F6C}"/>
                </a:ext>
              </a:extLst>
            </p:cNvPr>
            <p:cNvSpPr>
              <a:spLocks/>
            </p:cNvSpPr>
            <p:nvPr/>
          </p:nvSpPr>
          <p:spPr bwMode="auto">
            <a:xfrm>
              <a:off x="5070" y="2026"/>
              <a:ext cx="147" cy="157"/>
            </a:xfrm>
            <a:custGeom>
              <a:avLst/>
              <a:gdLst>
                <a:gd name="T0" fmla="*/ 153 w 222"/>
                <a:gd name="T1" fmla="*/ 9 h 237"/>
                <a:gd name="T2" fmla="*/ 141 w 222"/>
                <a:gd name="T3" fmla="*/ 0 h 237"/>
                <a:gd name="T4" fmla="*/ 126 w 222"/>
                <a:gd name="T5" fmla="*/ 15 h 237"/>
                <a:gd name="T6" fmla="*/ 128 w 222"/>
                <a:gd name="T7" fmla="*/ 32 h 237"/>
                <a:gd name="T8" fmla="*/ 143 w 222"/>
                <a:gd name="T9" fmla="*/ 47 h 237"/>
                <a:gd name="T10" fmla="*/ 149 w 222"/>
                <a:gd name="T11" fmla="*/ 66 h 237"/>
                <a:gd name="T12" fmla="*/ 143 w 222"/>
                <a:gd name="T13" fmla="*/ 114 h 237"/>
                <a:gd name="T14" fmla="*/ 120 w 222"/>
                <a:gd name="T15" fmla="*/ 138 h 237"/>
                <a:gd name="T16" fmla="*/ 111 w 222"/>
                <a:gd name="T17" fmla="*/ 116 h 237"/>
                <a:gd name="T18" fmla="*/ 107 w 222"/>
                <a:gd name="T19" fmla="*/ 137 h 237"/>
                <a:gd name="T20" fmla="*/ 93 w 222"/>
                <a:gd name="T21" fmla="*/ 158 h 237"/>
                <a:gd name="T22" fmla="*/ 104 w 222"/>
                <a:gd name="T23" fmla="*/ 168 h 237"/>
                <a:gd name="T24" fmla="*/ 96 w 222"/>
                <a:gd name="T25" fmla="*/ 179 h 237"/>
                <a:gd name="T26" fmla="*/ 30 w 222"/>
                <a:gd name="T27" fmla="*/ 179 h 237"/>
                <a:gd name="T28" fmla="*/ 12 w 222"/>
                <a:gd name="T29" fmla="*/ 198 h 237"/>
                <a:gd name="T30" fmla="*/ 0 w 222"/>
                <a:gd name="T31" fmla="*/ 215 h 237"/>
                <a:gd name="T32" fmla="*/ 23 w 222"/>
                <a:gd name="T33" fmla="*/ 224 h 237"/>
                <a:gd name="T34" fmla="*/ 53 w 222"/>
                <a:gd name="T35" fmla="*/ 209 h 237"/>
                <a:gd name="T36" fmla="*/ 74 w 222"/>
                <a:gd name="T37" fmla="*/ 200 h 237"/>
                <a:gd name="T38" fmla="*/ 104 w 222"/>
                <a:gd name="T39" fmla="*/ 213 h 237"/>
                <a:gd name="T40" fmla="*/ 111 w 222"/>
                <a:gd name="T41" fmla="*/ 225 h 237"/>
                <a:gd name="T42" fmla="*/ 122 w 222"/>
                <a:gd name="T43" fmla="*/ 237 h 237"/>
                <a:gd name="T44" fmla="*/ 140 w 222"/>
                <a:gd name="T45" fmla="*/ 218 h 237"/>
                <a:gd name="T46" fmla="*/ 138 w 222"/>
                <a:gd name="T47" fmla="*/ 209 h 237"/>
                <a:gd name="T48" fmla="*/ 137 w 222"/>
                <a:gd name="T49" fmla="*/ 195 h 237"/>
                <a:gd name="T50" fmla="*/ 158 w 222"/>
                <a:gd name="T51" fmla="*/ 203 h 237"/>
                <a:gd name="T52" fmla="*/ 183 w 222"/>
                <a:gd name="T53" fmla="*/ 191 h 237"/>
                <a:gd name="T54" fmla="*/ 189 w 222"/>
                <a:gd name="T55" fmla="*/ 203 h 237"/>
                <a:gd name="T56" fmla="*/ 198 w 222"/>
                <a:gd name="T57" fmla="*/ 177 h 237"/>
                <a:gd name="T58" fmla="*/ 213 w 222"/>
                <a:gd name="T59" fmla="*/ 203 h 237"/>
                <a:gd name="T60" fmla="*/ 222 w 222"/>
                <a:gd name="T61" fmla="*/ 171 h 237"/>
                <a:gd name="T62" fmla="*/ 212 w 222"/>
                <a:gd name="T63" fmla="*/ 159 h 237"/>
                <a:gd name="T64" fmla="*/ 201 w 222"/>
                <a:gd name="T65" fmla="*/ 123 h 237"/>
                <a:gd name="T66" fmla="*/ 191 w 222"/>
                <a:gd name="T67" fmla="*/ 110 h 237"/>
                <a:gd name="T68" fmla="*/ 203 w 222"/>
                <a:gd name="T69" fmla="*/ 86 h 237"/>
                <a:gd name="T70" fmla="*/ 192 w 222"/>
                <a:gd name="T71" fmla="*/ 63 h 237"/>
                <a:gd name="T72" fmla="*/ 180 w 222"/>
                <a:gd name="T73" fmla="*/ 39 h 237"/>
                <a:gd name="T74" fmla="*/ 165 w 222"/>
                <a:gd name="T75" fmla="*/ 24 h 237"/>
                <a:gd name="T76" fmla="*/ 161 w 222"/>
                <a:gd name="T77" fmla="*/ 15 h 237"/>
                <a:gd name="T78" fmla="*/ 153 w 222"/>
                <a:gd name="T79" fmla="*/ 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7">
                  <a:moveTo>
                    <a:pt x="153" y="9"/>
                  </a:moveTo>
                  <a:cubicBezTo>
                    <a:pt x="149" y="4"/>
                    <a:pt x="146" y="3"/>
                    <a:pt x="141" y="0"/>
                  </a:cubicBezTo>
                  <a:cubicBezTo>
                    <a:pt x="130" y="3"/>
                    <a:pt x="131" y="6"/>
                    <a:pt x="126" y="15"/>
                  </a:cubicBezTo>
                  <a:cubicBezTo>
                    <a:pt x="134" y="20"/>
                    <a:pt x="129" y="24"/>
                    <a:pt x="128" y="32"/>
                  </a:cubicBezTo>
                  <a:cubicBezTo>
                    <a:pt x="129" y="40"/>
                    <a:pt x="136" y="43"/>
                    <a:pt x="143" y="47"/>
                  </a:cubicBezTo>
                  <a:cubicBezTo>
                    <a:pt x="144" y="53"/>
                    <a:pt x="146" y="60"/>
                    <a:pt x="149" y="66"/>
                  </a:cubicBezTo>
                  <a:cubicBezTo>
                    <a:pt x="152" y="80"/>
                    <a:pt x="152" y="102"/>
                    <a:pt x="143" y="114"/>
                  </a:cubicBezTo>
                  <a:cubicBezTo>
                    <a:pt x="139" y="126"/>
                    <a:pt x="131" y="132"/>
                    <a:pt x="120" y="138"/>
                  </a:cubicBezTo>
                  <a:cubicBezTo>
                    <a:pt x="109" y="136"/>
                    <a:pt x="112" y="127"/>
                    <a:pt x="111" y="116"/>
                  </a:cubicBezTo>
                  <a:cubicBezTo>
                    <a:pt x="96" y="118"/>
                    <a:pt x="102" y="126"/>
                    <a:pt x="107" y="137"/>
                  </a:cubicBezTo>
                  <a:cubicBezTo>
                    <a:pt x="109" y="147"/>
                    <a:pt x="102" y="155"/>
                    <a:pt x="93" y="158"/>
                  </a:cubicBezTo>
                  <a:cubicBezTo>
                    <a:pt x="95" y="165"/>
                    <a:pt x="97" y="167"/>
                    <a:pt x="104" y="168"/>
                  </a:cubicBezTo>
                  <a:cubicBezTo>
                    <a:pt x="105" y="175"/>
                    <a:pt x="102" y="175"/>
                    <a:pt x="96" y="179"/>
                  </a:cubicBezTo>
                  <a:cubicBezTo>
                    <a:pt x="67" y="176"/>
                    <a:pt x="66" y="175"/>
                    <a:pt x="30" y="179"/>
                  </a:cubicBezTo>
                  <a:cubicBezTo>
                    <a:pt x="24" y="180"/>
                    <a:pt x="18" y="195"/>
                    <a:pt x="12" y="198"/>
                  </a:cubicBezTo>
                  <a:cubicBezTo>
                    <a:pt x="8" y="204"/>
                    <a:pt x="4" y="209"/>
                    <a:pt x="0" y="215"/>
                  </a:cubicBezTo>
                  <a:cubicBezTo>
                    <a:pt x="6" y="222"/>
                    <a:pt x="14" y="222"/>
                    <a:pt x="23" y="224"/>
                  </a:cubicBezTo>
                  <a:cubicBezTo>
                    <a:pt x="34" y="221"/>
                    <a:pt x="41" y="211"/>
                    <a:pt x="53" y="209"/>
                  </a:cubicBezTo>
                  <a:cubicBezTo>
                    <a:pt x="59" y="204"/>
                    <a:pt x="66" y="201"/>
                    <a:pt x="74" y="200"/>
                  </a:cubicBezTo>
                  <a:cubicBezTo>
                    <a:pt x="89" y="192"/>
                    <a:pt x="98" y="201"/>
                    <a:pt x="104" y="213"/>
                  </a:cubicBezTo>
                  <a:cubicBezTo>
                    <a:pt x="105" y="219"/>
                    <a:pt x="106" y="221"/>
                    <a:pt x="111" y="225"/>
                  </a:cubicBezTo>
                  <a:cubicBezTo>
                    <a:pt x="114" y="230"/>
                    <a:pt x="118" y="232"/>
                    <a:pt x="122" y="237"/>
                  </a:cubicBezTo>
                  <a:cubicBezTo>
                    <a:pt x="131" y="230"/>
                    <a:pt x="127" y="221"/>
                    <a:pt x="140" y="218"/>
                  </a:cubicBezTo>
                  <a:cubicBezTo>
                    <a:pt x="147" y="215"/>
                    <a:pt x="145" y="210"/>
                    <a:pt x="138" y="209"/>
                  </a:cubicBezTo>
                  <a:cubicBezTo>
                    <a:pt x="130" y="205"/>
                    <a:pt x="128" y="199"/>
                    <a:pt x="137" y="195"/>
                  </a:cubicBezTo>
                  <a:cubicBezTo>
                    <a:pt x="146" y="197"/>
                    <a:pt x="150" y="199"/>
                    <a:pt x="158" y="203"/>
                  </a:cubicBezTo>
                  <a:cubicBezTo>
                    <a:pt x="177" y="200"/>
                    <a:pt x="171" y="200"/>
                    <a:pt x="183" y="191"/>
                  </a:cubicBezTo>
                  <a:cubicBezTo>
                    <a:pt x="188" y="197"/>
                    <a:pt x="183" y="198"/>
                    <a:pt x="189" y="203"/>
                  </a:cubicBezTo>
                  <a:cubicBezTo>
                    <a:pt x="193" y="193"/>
                    <a:pt x="191" y="186"/>
                    <a:pt x="198" y="177"/>
                  </a:cubicBezTo>
                  <a:cubicBezTo>
                    <a:pt x="210" y="182"/>
                    <a:pt x="201" y="197"/>
                    <a:pt x="213" y="203"/>
                  </a:cubicBezTo>
                  <a:cubicBezTo>
                    <a:pt x="219" y="192"/>
                    <a:pt x="216" y="181"/>
                    <a:pt x="222" y="171"/>
                  </a:cubicBezTo>
                  <a:cubicBezTo>
                    <a:pt x="221" y="164"/>
                    <a:pt x="219" y="162"/>
                    <a:pt x="212" y="159"/>
                  </a:cubicBezTo>
                  <a:cubicBezTo>
                    <a:pt x="204" y="148"/>
                    <a:pt x="208" y="134"/>
                    <a:pt x="201" y="123"/>
                  </a:cubicBezTo>
                  <a:cubicBezTo>
                    <a:pt x="198" y="118"/>
                    <a:pt x="191" y="110"/>
                    <a:pt x="191" y="110"/>
                  </a:cubicBezTo>
                  <a:cubicBezTo>
                    <a:pt x="193" y="90"/>
                    <a:pt x="199" y="104"/>
                    <a:pt x="203" y="86"/>
                  </a:cubicBezTo>
                  <a:cubicBezTo>
                    <a:pt x="200" y="78"/>
                    <a:pt x="195" y="71"/>
                    <a:pt x="192" y="63"/>
                  </a:cubicBezTo>
                  <a:cubicBezTo>
                    <a:pt x="190" y="54"/>
                    <a:pt x="189" y="44"/>
                    <a:pt x="180" y="39"/>
                  </a:cubicBezTo>
                  <a:cubicBezTo>
                    <a:pt x="176" y="33"/>
                    <a:pt x="171" y="28"/>
                    <a:pt x="165" y="24"/>
                  </a:cubicBezTo>
                  <a:cubicBezTo>
                    <a:pt x="163" y="21"/>
                    <a:pt x="163" y="18"/>
                    <a:pt x="161" y="15"/>
                  </a:cubicBezTo>
                  <a:cubicBezTo>
                    <a:pt x="159" y="12"/>
                    <a:pt x="150" y="9"/>
                    <a:pt x="153" y="9"/>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69" name="Freeform 202">
              <a:extLst>
                <a:ext uri="{FF2B5EF4-FFF2-40B4-BE49-F238E27FC236}">
                  <a16:creationId xmlns:a16="http://schemas.microsoft.com/office/drawing/2014/main" id="{FD4DDCBB-B256-A24F-B816-EBC2C05F21F6}"/>
                </a:ext>
              </a:extLst>
            </p:cNvPr>
            <p:cNvSpPr>
              <a:spLocks/>
            </p:cNvSpPr>
            <p:nvPr/>
          </p:nvSpPr>
          <p:spPr bwMode="auto">
            <a:xfrm>
              <a:off x="5098" y="2165"/>
              <a:ext cx="39" cy="34"/>
            </a:xfrm>
            <a:custGeom>
              <a:avLst/>
              <a:gdLst>
                <a:gd name="T0" fmla="*/ 33 w 60"/>
                <a:gd name="T1" fmla="*/ 0 h 51"/>
                <a:gd name="T2" fmla="*/ 23 w 60"/>
                <a:gd name="T3" fmla="*/ 12 h 51"/>
                <a:gd name="T4" fmla="*/ 3 w 60"/>
                <a:gd name="T5" fmla="*/ 17 h 51"/>
                <a:gd name="T6" fmla="*/ 20 w 60"/>
                <a:gd name="T7" fmla="*/ 51 h 51"/>
                <a:gd name="T8" fmla="*/ 27 w 60"/>
                <a:gd name="T9" fmla="*/ 30 h 51"/>
                <a:gd name="T10" fmla="*/ 51 w 60"/>
                <a:gd name="T11" fmla="*/ 32 h 51"/>
                <a:gd name="T12" fmla="*/ 33 w 60"/>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60" h="51">
                  <a:moveTo>
                    <a:pt x="33" y="0"/>
                  </a:moveTo>
                  <a:cubicBezTo>
                    <a:pt x="24" y="4"/>
                    <a:pt x="24" y="0"/>
                    <a:pt x="23" y="12"/>
                  </a:cubicBezTo>
                  <a:cubicBezTo>
                    <a:pt x="13" y="11"/>
                    <a:pt x="8" y="8"/>
                    <a:pt x="3" y="17"/>
                  </a:cubicBezTo>
                  <a:cubicBezTo>
                    <a:pt x="0" y="32"/>
                    <a:pt x="2" y="47"/>
                    <a:pt x="20" y="51"/>
                  </a:cubicBezTo>
                  <a:cubicBezTo>
                    <a:pt x="26" y="42"/>
                    <a:pt x="26" y="41"/>
                    <a:pt x="27" y="30"/>
                  </a:cubicBezTo>
                  <a:cubicBezTo>
                    <a:pt x="34" y="31"/>
                    <a:pt x="45" y="36"/>
                    <a:pt x="51" y="32"/>
                  </a:cubicBezTo>
                  <a:cubicBezTo>
                    <a:pt x="60" y="17"/>
                    <a:pt x="49" y="0"/>
                    <a:pt x="33"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0" name="Freeform 203">
              <a:extLst>
                <a:ext uri="{FF2B5EF4-FFF2-40B4-BE49-F238E27FC236}">
                  <a16:creationId xmlns:a16="http://schemas.microsoft.com/office/drawing/2014/main" id="{A5F1F9DC-FCC3-ED44-8304-9A462EC85341}"/>
                </a:ext>
              </a:extLst>
            </p:cNvPr>
            <p:cNvSpPr>
              <a:spLocks/>
            </p:cNvSpPr>
            <p:nvPr/>
          </p:nvSpPr>
          <p:spPr bwMode="auto">
            <a:xfrm>
              <a:off x="5051" y="2177"/>
              <a:ext cx="49" cy="55"/>
            </a:xfrm>
            <a:custGeom>
              <a:avLst/>
              <a:gdLst>
                <a:gd name="T0" fmla="*/ 24 w 74"/>
                <a:gd name="T1" fmla="*/ 0 h 84"/>
                <a:gd name="T2" fmla="*/ 10 w 74"/>
                <a:gd name="T3" fmla="*/ 9 h 84"/>
                <a:gd name="T4" fmla="*/ 0 w 74"/>
                <a:gd name="T5" fmla="*/ 20 h 84"/>
                <a:gd name="T6" fmla="*/ 12 w 74"/>
                <a:gd name="T7" fmla="*/ 27 h 84"/>
                <a:gd name="T8" fmla="*/ 36 w 74"/>
                <a:gd name="T9" fmla="*/ 30 h 84"/>
                <a:gd name="T10" fmla="*/ 30 w 74"/>
                <a:gd name="T11" fmla="*/ 53 h 84"/>
                <a:gd name="T12" fmla="*/ 37 w 74"/>
                <a:gd name="T13" fmla="*/ 65 h 84"/>
                <a:gd name="T14" fmla="*/ 49 w 74"/>
                <a:gd name="T15" fmla="*/ 75 h 84"/>
                <a:gd name="T16" fmla="*/ 63 w 74"/>
                <a:gd name="T17" fmla="*/ 81 h 84"/>
                <a:gd name="T18" fmla="*/ 64 w 74"/>
                <a:gd name="T19" fmla="*/ 59 h 84"/>
                <a:gd name="T20" fmla="*/ 49 w 74"/>
                <a:gd name="T21" fmla="*/ 11 h 84"/>
                <a:gd name="T22" fmla="*/ 24 w 74"/>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84">
                  <a:moveTo>
                    <a:pt x="24" y="0"/>
                  </a:moveTo>
                  <a:cubicBezTo>
                    <a:pt x="19" y="5"/>
                    <a:pt x="17" y="8"/>
                    <a:pt x="10" y="9"/>
                  </a:cubicBezTo>
                  <a:cubicBezTo>
                    <a:pt x="5" y="13"/>
                    <a:pt x="1" y="13"/>
                    <a:pt x="0" y="20"/>
                  </a:cubicBezTo>
                  <a:cubicBezTo>
                    <a:pt x="4" y="25"/>
                    <a:pt x="6" y="26"/>
                    <a:pt x="12" y="27"/>
                  </a:cubicBezTo>
                  <a:cubicBezTo>
                    <a:pt x="21" y="23"/>
                    <a:pt x="28" y="24"/>
                    <a:pt x="36" y="30"/>
                  </a:cubicBezTo>
                  <a:cubicBezTo>
                    <a:pt x="35" y="39"/>
                    <a:pt x="31" y="45"/>
                    <a:pt x="30" y="53"/>
                  </a:cubicBezTo>
                  <a:cubicBezTo>
                    <a:pt x="31" y="60"/>
                    <a:pt x="31" y="62"/>
                    <a:pt x="37" y="65"/>
                  </a:cubicBezTo>
                  <a:cubicBezTo>
                    <a:pt x="40" y="70"/>
                    <a:pt x="44" y="72"/>
                    <a:pt x="49" y="75"/>
                  </a:cubicBezTo>
                  <a:cubicBezTo>
                    <a:pt x="53" y="82"/>
                    <a:pt x="55" y="84"/>
                    <a:pt x="63" y="81"/>
                  </a:cubicBezTo>
                  <a:cubicBezTo>
                    <a:pt x="68" y="72"/>
                    <a:pt x="71" y="69"/>
                    <a:pt x="64" y="59"/>
                  </a:cubicBezTo>
                  <a:cubicBezTo>
                    <a:pt x="63" y="29"/>
                    <a:pt x="74" y="16"/>
                    <a:pt x="49" y="11"/>
                  </a:cubicBezTo>
                  <a:cubicBezTo>
                    <a:pt x="41" y="5"/>
                    <a:pt x="33" y="3"/>
                    <a:pt x="24"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1" name="Freeform 204">
              <a:extLst>
                <a:ext uri="{FF2B5EF4-FFF2-40B4-BE49-F238E27FC236}">
                  <a16:creationId xmlns:a16="http://schemas.microsoft.com/office/drawing/2014/main" id="{4418FE38-500A-8044-BB5E-03337BA44D94}"/>
                </a:ext>
              </a:extLst>
            </p:cNvPr>
            <p:cNvSpPr>
              <a:spLocks/>
            </p:cNvSpPr>
            <p:nvPr/>
          </p:nvSpPr>
          <p:spPr bwMode="auto">
            <a:xfrm>
              <a:off x="5268" y="1847"/>
              <a:ext cx="10" cy="15"/>
            </a:xfrm>
            <a:custGeom>
              <a:avLst/>
              <a:gdLst>
                <a:gd name="T0" fmla="*/ 7 w 15"/>
                <a:gd name="T1" fmla="*/ 0 h 23"/>
                <a:gd name="T2" fmla="*/ 0 w 15"/>
                <a:gd name="T3" fmla="*/ 17 h 23"/>
                <a:gd name="T4" fmla="*/ 10 w 15"/>
                <a:gd name="T5" fmla="*/ 21 h 23"/>
                <a:gd name="T6" fmla="*/ 15 w 15"/>
                <a:gd name="T7" fmla="*/ 11 h 23"/>
                <a:gd name="T8" fmla="*/ 7 w 15"/>
                <a:gd name="T9" fmla="*/ 0 h 23"/>
              </a:gdLst>
              <a:ahLst/>
              <a:cxnLst>
                <a:cxn ang="0">
                  <a:pos x="T0" y="T1"/>
                </a:cxn>
                <a:cxn ang="0">
                  <a:pos x="T2" y="T3"/>
                </a:cxn>
                <a:cxn ang="0">
                  <a:pos x="T4" y="T5"/>
                </a:cxn>
                <a:cxn ang="0">
                  <a:pos x="T6" y="T7"/>
                </a:cxn>
                <a:cxn ang="0">
                  <a:pos x="T8" y="T9"/>
                </a:cxn>
              </a:cxnLst>
              <a:rect l="0" t="0" r="r" b="b"/>
              <a:pathLst>
                <a:path w="15" h="23">
                  <a:moveTo>
                    <a:pt x="7" y="0"/>
                  </a:moveTo>
                  <a:cubicBezTo>
                    <a:pt x="4" y="6"/>
                    <a:pt x="1" y="10"/>
                    <a:pt x="0" y="17"/>
                  </a:cubicBezTo>
                  <a:cubicBezTo>
                    <a:pt x="4" y="18"/>
                    <a:pt x="7" y="23"/>
                    <a:pt x="10" y="21"/>
                  </a:cubicBezTo>
                  <a:cubicBezTo>
                    <a:pt x="13" y="19"/>
                    <a:pt x="15" y="11"/>
                    <a:pt x="15" y="11"/>
                  </a:cubicBezTo>
                  <a:cubicBezTo>
                    <a:pt x="12" y="1"/>
                    <a:pt x="15" y="4"/>
                    <a:pt x="7"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2" name="Freeform 205">
              <a:extLst>
                <a:ext uri="{FF2B5EF4-FFF2-40B4-BE49-F238E27FC236}">
                  <a16:creationId xmlns:a16="http://schemas.microsoft.com/office/drawing/2014/main" id="{B32411A8-6621-324B-B571-58AF6F33A2DC}"/>
                </a:ext>
              </a:extLst>
            </p:cNvPr>
            <p:cNvSpPr>
              <a:spLocks/>
            </p:cNvSpPr>
            <p:nvPr/>
          </p:nvSpPr>
          <p:spPr bwMode="auto">
            <a:xfrm>
              <a:off x="5269" y="1868"/>
              <a:ext cx="12" cy="16"/>
            </a:xfrm>
            <a:custGeom>
              <a:avLst/>
              <a:gdLst>
                <a:gd name="T0" fmla="*/ 0 w 19"/>
                <a:gd name="T1" fmla="*/ 0 h 23"/>
                <a:gd name="T2" fmla="*/ 6 w 19"/>
                <a:gd name="T3" fmla="*/ 23 h 23"/>
                <a:gd name="T4" fmla="*/ 0 w 19"/>
                <a:gd name="T5" fmla="*/ 0 h 23"/>
              </a:gdLst>
              <a:ahLst/>
              <a:cxnLst>
                <a:cxn ang="0">
                  <a:pos x="T0" y="T1"/>
                </a:cxn>
                <a:cxn ang="0">
                  <a:pos x="T2" y="T3"/>
                </a:cxn>
                <a:cxn ang="0">
                  <a:pos x="T4" y="T5"/>
                </a:cxn>
              </a:cxnLst>
              <a:rect l="0" t="0" r="r" b="b"/>
              <a:pathLst>
                <a:path w="19" h="23">
                  <a:moveTo>
                    <a:pt x="0" y="0"/>
                  </a:moveTo>
                  <a:cubicBezTo>
                    <a:pt x="3" y="7"/>
                    <a:pt x="5" y="15"/>
                    <a:pt x="6" y="23"/>
                  </a:cubicBezTo>
                  <a:cubicBezTo>
                    <a:pt x="19" y="19"/>
                    <a:pt x="8" y="4"/>
                    <a:pt x="0" y="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3" name="Freeform 206">
              <a:extLst>
                <a:ext uri="{FF2B5EF4-FFF2-40B4-BE49-F238E27FC236}">
                  <a16:creationId xmlns:a16="http://schemas.microsoft.com/office/drawing/2014/main" id="{A636A853-F5FC-394C-9C58-F73CC65D8C7F}"/>
                </a:ext>
              </a:extLst>
            </p:cNvPr>
            <p:cNvSpPr>
              <a:spLocks/>
            </p:cNvSpPr>
            <p:nvPr/>
          </p:nvSpPr>
          <p:spPr bwMode="auto">
            <a:xfrm>
              <a:off x="5263" y="1892"/>
              <a:ext cx="10" cy="8"/>
            </a:xfrm>
            <a:custGeom>
              <a:avLst/>
              <a:gdLst>
                <a:gd name="T0" fmla="*/ 8 w 14"/>
                <a:gd name="T1" fmla="*/ 0 h 12"/>
                <a:gd name="T2" fmla="*/ 10 w 14"/>
                <a:gd name="T3" fmla="*/ 12 h 12"/>
                <a:gd name="T4" fmla="*/ 8 w 14"/>
                <a:gd name="T5" fmla="*/ 0 h 12"/>
              </a:gdLst>
              <a:ahLst/>
              <a:cxnLst>
                <a:cxn ang="0">
                  <a:pos x="T0" y="T1"/>
                </a:cxn>
                <a:cxn ang="0">
                  <a:pos x="T2" y="T3"/>
                </a:cxn>
                <a:cxn ang="0">
                  <a:pos x="T4" y="T5"/>
                </a:cxn>
              </a:cxnLst>
              <a:rect l="0" t="0" r="r" b="b"/>
              <a:pathLst>
                <a:path w="14" h="12">
                  <a:moveTo>
                    <a:pt x="8" y="0"/>
                  </a:moveTo>
                  <a:cubicBezTo>
                    <a:pt x="4" y="7"/>
                    <a:pt x="0" y="10"/>
                    <a:pt x="10" y="12"/>
                  </a:cubicBezTo>
                  <a:cubicBezTo>
                    <a:pt x="14" y="7"/>
                    <a:pt x="14" y="4"/>
                    <a:pt x="8"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4" name="Freeform 207">
              <a:extLst>
                <a:ext uri="{FF2B5EF4-FFF2-40B4-BE49-F238E27FC236}">
                  <a16:creationId xmlns:a16="http://schemas.microsoft.com/office/drawing/2014/main" id="{C8BF60BC-2301-D645-B7F9-7E41A5365FC0}"/>
                </a:ext>
              </a:extLst>
            </p:cNvPr>
            <p:cNvSpPr>
              <a:spLocks/>
            </p:cNvSpPr>
            <p:nvPr/>
          </p:nvSpPr>
          <p:spPr bwMode="auto">
            <a:xfrm>
              <a:off x="5263" y="1910"/>
              <a:ext cx="8" cy="15"/>
            </a:xfrm>
            <a:custGeom>
              <a:avLst/>
              <a:gdLst>
                <a:gd name="T0" fmla="*/ 3 w 12"/>
                <a:gd name="T1" fmla="*/ 6 h 23"/>
                <a:gd name="T2" fmla="*/ 2 w 12"/>
                <a:gd name="T3" fmla="*/ 23 h 23"/>
                <a:gd name="T4" fmla="*/ 12 w 12"/>
                <a:gd name="T5" fmla="*/ 9 h 23"/>
                <a:gd name="T6" fmla="*/ 3 w 12"/>
                <a:gd name="T7" fmla="*/ 6 h 23"/>
              </a:gdLst>
              <a:ahLst/>
              <a:cxnLst>
                <a:cxn ang="0">
                  <a:pos x="T0" y="T1"/>
                </a:cxn>
                <a:cxn ang="0">
                  <a:pos x="T2" y="T3"/>
                </a:cxn>
                <a:cxn ang="0">
                  <a:pos x="T4" y="T5"/>
                </a:cxn>
                <a:cxn ang="0">
                  <a:pos x="T6" y="T7"/>
                </a:cxn>
              </a:cxnLst>
              <a:rect l="0" t="0" r="r" b="b"/>
              <a:pathLst>
                <a:path w="12" h="23">
                  <a:moveTo>
                    <a:pt x="3" y="6"/>
                  </a:moveTo>
                  <a:cubicBezTo>
                    <a:pt x="1" y="14"/>
                    <a:pt x="0" y="14"/>
                    <a:pt x="2" y="23"/>
                  </a:cubicBezTo>
                  <a:cubicBezTo>
                    <a:pt x="10" y="20"/>
                    <a:pt x="11" y="17"/>
                    <a:pt x="12" y="9"/>
                  </a:cubicBezTo>
                  <a:cubicBezTo>
                    <a:pt x="11" y="0"/>
                    <a:pt x="10" y="3"/>
                    <a:pt x="3" y="6"/>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5" name="Freeform 208">
              <a:extLst>
                <a:ext uri="{FF2B5EF4-FFF2-40B4-BE49-F238E27FC236}">
                  <a16:creationId xmlns:a16="http://schemas.microsoft.com/office/drawing/2014/main" id="{FE695CA6-547E-E341-B3CC-82A4F61F513B}"/>
                </a:ext>
              </a:extLst>
            </p:cNvPr>
            <p:cNvSpPr>
              <a:spLocks/>
            </p:cNvSpPr>
            <p:nvPr/>
          </p:nvSpPr>
          <p:spPr bwMode="auto">
            <a:xfrm>
              <a:off x="5243" y="1932"/>
              <a:ext cx="10" cy="14"/>
            </a:xfrm>
            <a:custGeom>
              <a:avLst/>
              <a:gdLst>
                <a:gd name="T0" fmla="*/ 15 w 15"/>
                <a:gd name="T1" fmla="*/ 0 h 21"/>
                <a:gd name="T2" fmla="*/ 0 w 15"/>
                <a:gd name="T3" fmla="*/ 15 h 21"/>
                <a:gd name="T4" fmla="*/ 14 w 15"/>
                <a:gd name="T5" fmla="*/ 8 h 21"/>
                <a:gd name="T6" fmla="*/ 15 w 15"/>
                <a:gd name="T7" fmla="*/ 0 h 21"/>
              </a:gdLst>
              <a:ahLst/>
              <a:cxnLst>
                <a:cxn ang="0">
                  <a:pos x="T0" y="T1"/>
                </a:cxn>
                <a:cxn ang="0">
                  <a:pos x="T2" y="T3"/>
                </a:cxn>
                <a:cxn ang="0">
                  <a:pos x="T4" y="T5"/>
                </a:cxn>
                <a:cxn ang="0">
                  <a:pos x="T6" y="T7"/>
                </a:cxn>
              </a:cxnLst>
              <a:rect l="0" t="0" r="r" b="b"/>
              <a:pathLst>
                <a:path w="15" h="21">
                  <a:moveTo>
                    <a:pt x="15" y="0"/>
                  </a:moveTo>
                  <a:cubicBezTo>
                    <a:pt x="4" y="3"/>
                    <a:pt x="5" y="6"/>
                    <a:pt x="0" y="15"/>
                  </a:cubicBezTo>
                  <a:cubicBezTo>
                    <a:pt x="10" y="21"/>
                    <a:pt x="10" y="16"/>
                    <a:pt x="14" y="8"/>
                  </a:cubicBezTo>
                  <a:cubicBezTo>
                    <a:pt x="15" y="2"/>
                    <a:pt x="15" y="5"/>
                    <a:pt x="15"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6" name="Freeform 209">
              <a:extLst>
                <a:ext uri="{FF2B5EF4-FFF2-40B4-BE49-F238E27FC236}">
                  <a16:creationId xmlns:a16="http://schemas.microsoft.com/office/drawing/2014/main" id="{3F80B636-640A-CF40-9541-F1D4F1553DE9}"/>
                </a:ext>
              </a:extLst>
            </p:cNvPr>
            <p:cNvSpPr>
              <a:spLocks/>
            </p:cNvSpPr>
            <p:nvPr/>
          </p:nvSpPr>
          <p:spPr bwMode="auto">
            <a:xfrm>
              <a:off x="5219" y="1949"/>
              <a:ext cx="19" cy="24"/>
            </a:xfrm>
            <a:custGeom>
              <a:avLst/>
              <a:gdLst>
                <a:gd name="T0" fmla="*/ 26 w 28"/>
                <a:gd name="T1" fmla="*/ 0 h 36"/>
                <a:gd name="T2" fmla="*/ 0 w 28"/>
                <a:gd name="T3" fmla="*/ 22 h 36"/>
                <a:gd name="T4" fmla="*/ 24 w 28"/>
                <a:gd name="T5" fmla="*/ 6 h 36"/>
                <a:gd name="T6" fmla="*/ 26 w 28"/>
                <a:gd name="T7" fmla="*/ 0 h 36"/>
              </a:gdLst>
              <a:ahLst/>
              <a:cxnLst>
                <a:cxn ang="0">
                  <a:pos x="T0" y="T1"/>
                </a:cxn>
                <a:cxn ang="0">
                  <a:pos x="T2" y="T3"/>
                </a:cxn>
                <a:cxn ang="0">
                  <a:pos x="T4" y="T5"/>
                </a:cxn>
                <a:cxn ang="0">
                  <a:pos x="T6" y="T7"/>
                </a:cxn>
              </a:cxnLst>
              <a:rect l="0" t="0" r="r" b="b"/>
              <a:pathLst>
                <a:path w="28" h="36">
                  <a:moveTo>
                    <a:pt x="26" y="0"/>
                  </a:moveTo>
                  <a:cubicBezTo>
                    <a:pt x="12" y="1"/>
                    <a:pt x="6" y="10"/>
                    <a:pt x="0" y="22"/>
                  </a:cubicBezTo>
                  <a:cubicBezTo>
                    <a:pt x="5" y="36"/>
                    <a:pt x="20" y="13"/>
                    <a:pt x="24" y="6"/>
                  </a:cubicBezTo>
                  <a:cubicBezTo>
                    <a:pt x="27" y="1"/>
                    <a:pt x="28" y="2"/>
                    <a:pt x="26"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7" name="Freeform 210">
              <a:extLst>
                <a:ext uri="{FF2B5EF4-FFF2-40B4-BE49-F238E27FC236}">
                  <a16:creationId xmlns:a16="http://schemas.microsoft.com/office/drawing/2014/main" id="{07ECE18C-509B-CC46-A1BF-15C84CEC1D47}"/>
                </a:ext>
              </a:extLst>
            </p:cNvPr>
            <p:cNvSpPr>
              <a:spLocks/>
            </p:cNvSpPr>
            <p:nvPr/>
          </p:nvSpPr>
          <p:spPr bwMode="auto">
            <a:xfrm>
              <a:off x="5204" y="1967"/>
              <a:ext cx="10" cy="13"/>
            </a:xfrm>
            <a:custGeom>
              <a:avLst/>
              <a:gdLst>
                <a:gd name="T0" fmla="*/ 10 w 14"/>
                <a:gd name="T1" fmla="*/ 0 h 19"/>
                <a:gd name="T2" fmla="*/ 0 w 14"/>
                <a:gd name="T3" fmla="*/ 10 h 19"/>
                <a:gd name="T4" fmla="*/ 12 w 14"/>
                <a:gd name="T5" fmla="*/ 12 h 19"/>
                <a:gd name="T6" fmla="*/ 10 w 14"/>
                <a:gd name="T7" fmla="*/ 0 h 19"/>
              </a:gdLst>
              <a:ahLst/>
              <a:cxnLst>
                <a:cxn ang="0">
                  <a:pos x="T0" y="T1"/>
                </a:cxn>
                <a:cxn ang="0">
                  <a:pos x="T2" y="T3"/>
                </a:cxn>
                <a:cxn ang="0">
                  <a:pos x="T4" y="T5"/>
                </a:cxn>
                <a:cxn ang="0">
                  <a:pos x="T6" y="T7"/>
                </a:cxn>
              </a:cxnLst>
              <a:rect l="0" t="0" r="r" b="b"/>
              <a:pathLst>
                <a:path w="14" h="19">
                  <a:moveTo>
                    <a:pt x="10" y="0"/>
                  </a:moveTo>
                  <a:cubicBezTo>
                    <a:pt x="1" y="1"/>
                    <a:pt x="5" y="4"/>
                    <a:pt x="0" y="10"/>
                  </a:cubicBezTo>
                  <a:cubicBezTo>
                    <a:pt x="4" y="16"/>
                    <a:pt x="7" y="19"/>
                    <a:pt x="12" y="12"/>
                  </a:cubicBezTo>
                  <a:cubicBezTo>
                    <a:pt x="13" y="5"/>
                    <a:pt x="14" y="9"/>
                    <a:pt x="10" y="0"/>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8" name="Freeform 211">
              <a:extLst>
                <a:ext uri="{FF2B5EF4-FFF2-40B4-BE49-F238E27FC236}">
                  <a16:creationId xmlns:a16="http://schemas.microsoft.com/office/drawing/2014/main" id="{7F08FFF4-DB4B-3741-BBBF-9ED46A278A8F}"/>
                </a:ext>
              </a:extLst>
            </p:cNvPr>
            <p:cNvSpPr>
              <a:spLocks/>
            </p:cNvSpPr>
            <p:nvPr/>
          </p:nvSpPr>
          <p:spPr bwMode="auto">
            <a:xfrm>
              <a:off x="4264" y="1819"/>
              <a:ext cx="514" cy="207"/>
            </a:xfrm>
            <a:custGeom>
              <a:avLst/>
              <a:gdLst>
                <a:gd name="T0" fmla="*/ 80 w 774"/>
                <a:gd name="T1" fmla="*/ 44 h 312"/>
                <a:gd name="T2" fmla="*/ 165 w 774"/>
                <a:gd name="T3" fmla="*/ 66 h 312"/>
                <a:gd name="T4" fmla="*/ 224 w 774"/>
                <a:gd name="T5" fmla="*/ 57 h 312"/>
                <a:gd name="T6" fmla="*/ 206 w 774"/>
                <a:gd name="T7" fmla="*/ 0 h 312"/>
                <a:gd name="T8" fmla="*/ 303 w 774"/>
                <a:gd name="T9" fmla="*/ 48 h 312"/>
                <a:gd name="T10" fmla="*/ 375 w 774"/>
                <a:gd name="T11" fmla="*/ 54 h 312"/>
                <a:gd name="T12" fmla="*/ 455 w 774"/>
                <a:gd name="T13" fmla="*/ 84 h 312"/>
                <a:gd name="T14" fmla="*/ 560 w 774"/>
                <a:gd name="T15" fmla="*/ 81 h 312"/>
                <a:gd name="T16" fmla="*/ 594 w 774"/>
                <a:gd name="T17" fmla="*/ 57 h 312"/>
                <a:gd name="T18" fmla="*/ 644 w 774"/>
                <a:gd name="T19" fmla="*/ 66 h 312"/>
                <a:gd name="T20" fmla="*/ 689 w 774"/>
                <a:gd name="T21" fmla="*/ 126 h 312"/>
                <a:gd name="T22" fmla="*/ 711 w 774"/>
                <a:gd name="T23" fmla="*/ 122 h 312"/>
                <a:gd name="T24" fmla="*/ 774 w 774"/>
                <a:gd name="T25" fmla="*/ 161 h 312"/>
                <a:gd name="T26" fmla="*/ 732 w 774"/>
                <a:gd name="T27" fmla="*/ 162 h 312"/>
                <a:gd name="T28" fmla="*/ 699 w 774"/>
                <a:gd name="T29" fmla="*/ 192 h 312"/>
                <a:gd name="T30" fmla="*/ 666 w 774"/>
                <a:gd name="T31" fmla="*/ 198 h 312"/>
                <a:gd name="T32" fmla="*/ 615 w 774"/>
                <a:gd name="T33" fmla="*/ 207 h 312"/>
                <a:gd name="T34" fmla="*/ 612 w 774"/>
                <a:gd name="T35" fmla="*/ 233 h 312"/>
                <a:gd name="T36" fmla="*/ 626 w 774"/>
                <a:gd name="T37" fmla="*/ 255 h 312"/>
                <a:gd name="T38" fmla="*/ 606 w 774"/>
                <a:gd name="T39" fmla="*/ 281 h 312"/>
                <a:gd name="T40" fmla="*/ 548 w 774"/>
                <a:gd name="T41" fmla="*/ 285 h 312"/>
                <a:gd name="T42" fmla="*/ 491 w 774"/>
                <a:gd name="T43" fmla="*/ 312 h 312"/>
                <a:gd name="T44" fmla="*/ 459 w 774"/>
                <a:gd name="T45" fmla="*/ 308 h 312"/>
                <a:gd name="T46" fmla="*/ 411 w 774"/>
                <a:gd name="T47" fmla="*/ 293 h 312"/>
                <a:gd name="T48" fmla="*/ 359 w 774"/>
                <a:gd name="T49" fmla="*/ 281 h 312"/>
                <a:gd name="T50" fmla="*/ 311 w 774"/>
                <a:gd name="T51" fmla="*/ 278 h 312"/>
                <a:gd name="T52" fmla="*/ 239 w 774"/>
                <a:gd name="T53" fmla="*/ 237 h 312"/>
                <a:gd name="T54" fmla="*/ 183 w 774"/>
                <a:gd name="T55" fmla="*/ 212 h 312"/>
                <a:gd name="T56" fmla="*/ 113 w 774"/>
                <a:gd name="T57" fmla="*/ 200 h 312"/>
                <a:gd name="T58" fmla="*/ 108 w 774"/>
                <a:gd name="T59" fmla="*/ 164 h 312"/>
                <a:gd name="T60" fmla="*/ 75 w 774"/>
                <a:gd name="T61" fmla="*/ 131 h 312"/>
                <a:gd name="T62" fmla="*/ 38 w 774"/>
                <a:gd name="T63" fmla="*/ 126 h 312"/>
                <a:gd name="T64" fmla="*/ 0 w 774"/>
                <a:gd name="T65" fmla="*/ 9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4" h="312">
                  <a:moveTo>
                    <a:pt x="0" y="93"/>
                  </a:moveTo>
                  <a:lnTo>
                    <a:pt x="80" y="44"/>
                  </a:lnTo>
                  <a:lnTo>
                    <a:pt x="131" y="47"/>
                  </a:lnTo>
                  <a:lnTo>
                    <a:pt x="165" y="66"/>
                  </a:lnTo>
                  <a:lnTo>
                    <a:pt x="207" y="71"/>
                  </a:lnTo>
                  <a:lnTo>
                    <a:pt x="224" y="57"/>
                  </a:lnTo>
                  <a:lnTo>
                    <a:pt x="197" y="27"/>
                  </a:lnTo>
                  <a:lnTo>
                    <a:pt x="206" y="0"/>
                  </a:lnTo>
                  <a:lnTo>
                    <a:pt x="291" y="20"/>
                  </a:lnTo>
                  <a:lnTo>
                    <a:pt x="303" y="48"/>
                  </a:lnTo>
                  <a:lnTo>
                    <a:pt x="342" y="62"/>
                  </a:lnTo>
                  <a:lnTo>
                    <a:pt x="375" y="54"/>
                  </a:lnTo>
                  <a:lnTo>
                    <a:pt x="444" y="62"/>
                  </a:lnTo>
                  <a:lnTo>
                    <a:pt x="455" y="84"/>
                  </a:lnTo>
                  <a:lnTo>
                    <a:pt x="513" y="89"/>
                  </a:lnTo>
                  <a:lnTo>
                    <a:pt x="560" y="81"/>
                  </a:lnTo>
                  <a:lnTo>
                    <a:pt x="569" y="63"/>
                  </a:lnTo>
                  <a:lnTo>
                    <a:pt x="594" y="57"/>
                  </a:lnTo>
                  <a:lnTo>
                    <a:pt x="620" y="69"/>
                  </a:lnTo>
                  <a:lnTo>
                    <a:pt x="644" y="66"/>
                  </a:lnTo>
                  <a:lnTo>
                    <a:pt x="654" y="128"/>
                  </a:lnTo>
                  <a:lnTo>
                    <a:pt x="689" y="126"/>
                  </a:lnTo>
                  <a:lnTo>
                    <a:pt x="698" y="132"/>
                  </a:lnTo>
                  <a:lnTo>
                    <a:pt x="711" y="122"/>
                  </a:lnTo>
                  <a:lnTo>
                    <a:pt x="768" y="147"/>
                  </a:lnTo>
                  <a:lnTo>
                    <a:pt x="774" y="161"/>
                  </a:lnTo>
                  <a:lnTo>
                    <a:pt x="756" y="164"/>
                  </a:lnTo>
                  <a:lnTo>
                    <a:pt x="732" y="162"/>
                  </a:lnTo>
                  <a:lnTo>
                    <a:pt x="705" y="174"/>
                  </a:lnTo>
                  <a:lnTo>
                    <a:pt x="699" y="192"/>
                  </a:lnTo>
                  <a:lnTo>
                    <a:pt x="683" y="201"/>
                  </a:lnTo>
                  <a:lnTo>
                    <a:pt x="666" y="198"/>
                  </a:lnTo>
                  <a:lnTo>
                    <a:pt x="654" y="221"/>
                  </a:lnTo>
                  <a:lnTo>
                    <a:pt x="615" y="207"/>
                  </a:lnTo>
                  <a:lnTo>
                    <a:pt x="608" y="218"/>
                  </a:lnTo>
                  <a:lnTo>
                    <a:pt x="612" y="233"/>
                  </a:lnTo>
                  <a:lnTo>
                    <a:pt x="635" y="246"/>
                  </a:lnTo>
                  <a:lnTo>
                    <a:pt x="626" y="255"/>
                  </a:lnTo>
                  <a:lnTo>
                    <a:pt x="609" y="261"/>
                  </a:lnTo>
                  <a:lnTo>
                    <a:pt x="606" y="281"/>
                  </a:lnTo>
                  <a:lnTo>
                    <a:pt x="579" y="287"/>
                  </a:lnTo>
                  <a:lnTo>
                    <a:pt x="548" y="285"/>
                  </a:lnTo>
                  <a:lnTo>
                    <a:pt x="515" y="293"/>
                  </a:lnTo>
                  <a:lnTo>
                    <a:pt x="491" y="312"/>
                  </a:lnTo>
                  <a:lnTo>
                    <a:pt x="476" y="300"/>
                  </a:lnTo>
                  <a:lnTo>
                    <a:pt x="459" y="308"/>
                  </a:lnTo>
                  <a:lnTo>
                    <a:pt x="435" y="299"/>
                  </a:lnTo>
                  <a:lnTo>
                    <a:pt x="411" y="293"/>
                  </a:lnTo>
                  <a:lnTo>
                    <a:pt x="404" y="281"/>
                  </a:lnTo>
                  <a:lnTo>
                    <a:pt x="359" y="281"/>
                  </a:lnTo>
                  <a:lnTo>
                    <a:pt x="345" y="284"/>
                  </a:lnTo>
                  <a:lnTo>
                    <a:pt x="311" y="278"/>
                  </a:lnTo>
                  <a:lnTo>
                    <a:pt x="275" y="276"/>
                  </a:lnTo>
                  <a:lnTo>
                    <a:pt x="239" y="237"/>
                  </a:lnTo>
                  <a:lnTo>
                    <a:pt x="203" y="224"/>
                  </a:lnTo>
                  <a:lnTo>
                    <a:pt x="183" y="212"/>
                  </a:lnTo>
                  <a:lnTo>
                    <a:pt x="144" y="210"/>
                  </a:lnTo>
                  <a:lnTo>
                    <a:pt x="113" y="200"/>
                  </a:lnTo>
                  <a:lnTo>
                    <a:pt x="108" y="185"/>
                  </a:lnTo>
                  <a:lnTo>
                    <a:pt x="108" y="164"/>
                  </a:lnTo>
                  <a:lnTo>
                    <a:pt x="92" y="150"/>
                  </a:lnTo>
                  <a:lnTo>
                    <a:pt x="75" y="131"/>
                  </a:lnTo>
                  <a:lnTo>
                    <a:pt x="51" y="120"/>
                  </a:lnTo>
                  <a:lnTo>
                    <a:pt x="38" y="126"/>
                  </a:lnTo>
                  <a:lnTo>
                    <a:pt x="23" y="111"/>
                  </a:lnTo>
                  <a:lnTo>
                    <a:pt x="0" y="93"/>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79" name="Freeform 212">
              <a:extLst>
                <a:ext uri="{FF2B5EF4-FFF2-40B4-BE49-F238E27FC236}">
                  <a16:creationId xmlns:a16="http://schemas.microsoft.com/office/drawing/2014/main" id="{2B4A030A-DED8-7843-A5F9-6E9D2FC11707}"/>
                </a:ext>
              </a:extLst>
            </p:cNvPr>
            <p:cNvSpPr>
              <a:spLocks/>
            </p:cNvSpPr>
            <p:nvPr/>
          </p:nvSpPr>
          <p:spPr bwMode="auto">
            <a:xfrm>
              <a:off x="4946" y="2343"/>
              <a:ext cx="34" cy="66"/>
            </a:xfrm>
            <a:custGeom>
              <a:avLst/>
              <a:gdLst>
                <a:gd name="T0" fmla="*/ 31 w 52"/>
                <a:gd name="T1" fmla="*/ 0 h 99"/>
                <a:gd name="T2" fmla="*/ 16 w 52"/>
                <a:gd name="T3" fmla="*/ 10 h 99"/>
                <a:gd name="T4" fmla="*/ 7 w 52"/>
                <a:gd name="T5" fmla="*/ 24 h 99"/>
                <a:gd name="T6" fmla="*/ 24 w 52"/>
                <a:gd name="T7" fmla="*/ 87 h 99"/>
                <a:gd name="T8" fmla="*/ 33 w 52"/>
                <a:gd name="T9" fmla="*/ 99 h 99"/>
                <a:gd name="T10" fmla="*/ 39 w 52"/>
                <a:gd name="T11" fmla="*/ 57 h 99"/>
                <a:gd name="T12" fmla="*/ 43 w 52"/>
                <a:gd name="T13" fmla="*/ 39 h 99"/>
                <a:gd name="T14" fmla="*/ 31 w 52"/>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99">
                  <a:moveTo>
                    <a:pt x="31" y="0"/>
                  </a:moveTo>
                  <a:cubicBezTo>
                    <a:pt x="23" y="1"/>
                    <a:pt x="22" y="5"/>
                    <a:pt x="16" y="10"/>
                  </a:cubicBezTo>
                  <a:cubicBezTo>
                    <a:pt x="13" y="15"/>
                    <a:pt x="10" y="19"/>
                    <a:pt x="7" y="24"/>
                  </a:cubicBezTo>
                  <a:cubicBezTo>
                    <a:pt x="3" y="49"/>
                    <a:pt x="0" y="73"/>
                    <a:pt x="24" y="87"/>
                  </a:cubicBezTo>
                  <a:cubicBezTo>
                    <a:pt x="28" y="92"/>
                    <a:pt x="31" y="93"/>
                    <a:pt x="33" y="99"/>
                  </a:cubicBezTo>
                  <a:cubicBezTo>
                    <a:pt x="30" y="83"/>
                    <a:pt x="32" y="71"/>
                    <a:pt x="39" y="57"/>
                  </a:cubicBezTo>
                  <a:cubicBezTo>
                    <a:pt x="40" y="50"/>
                    <a:pt x="42" y="46"/>
                    <a:pt x="43" y="39"/>
                  </a:cubicBezTo>
                  <a:cubicBezTo>
                    <a:pt x="42" y="6"/>
                    <a:pt x="52" y="4"/>
                    <a:pt x="31" y="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0" name="Freeform 213">
              <a:extLst>
                <a:ext uri="{FF2B5EF4-FFF2-40B4-BE49-F238E27FC236}">
                  <a16:creationId xmlns:a16="http://schemas.microsoft.com/office/drawing/2014/main" id="{4CDBBB74-2E20-D744-8210-997E2FC636E6}"/>
                </a:ext>
              </a:extLst>
            </p:cNvPr>
            <p:cNvSpPr>
              <a:spLocks/>
            </p:cNvSpPr>
            <p:nvPr/>
          </p:nvSpPr>
          <p:spPr bwMode="auto">
            <a:xfrm>
              <a:off x="4767" y="2446"/>
              <a:ext cx="42" cy="34"/>
            </a:xfrm>
            <a:custGeom>
              <a:avLst/>
              <a:gdLst>
                <a:gd name="T0" fmla="*/ 58 w 63"/>
                <a:gd name="T1" fmla="*/ 1 h 52"/>
                <a:gd name="T2" fmla="*/ 21 w 63"/>
                <a:gd name="T3" fmla="*/ 5 h 52"/>
                <a:gd name="T4" fmla="*/ 4 w 63"/>
                <a:gd name="T5" fmla="*/ 23 h 52"/>
                <a:gd name="T6" fmla="*/ 27 w 63"/>
                <a:gd name="T7" fmla="*/ 52 h 52"/>
                <a:gd name="T8" fmla="*/ 48 w 63"/>
                <a:gd name="T9" fmla="*/ 40 h 52"/>
                <a:gd name="T10" fmla="*/ 54 w 63"/>
                <a:gd name="T11" fmla="*/ 26 h 52"/>
                <a:gd name="T12" fmla="*/ 63 w 63"/>
                <a:gd name="T13" fmla="*/ 7 h 52"/>
                <a:gd name="T14" fmla="*/ 58 w 63"/>
                <a:gd name="T15" fmla="*/ 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52">
                  <a:moveTo>
                    <a:pt x="58" y="1"/>
                  </a:moveTo>
                  <a:cubicBezTo>
                    <a:pt x="44" y="2"/>
                    <a:pt x="35" y="4"/>
                    <a:pt x="21" y="5"/>
                  </a:cubicBezTo>
                  <a:cubicBezTo>
                    <a:pt x="13" y="10"/>
                    <a:pt x="11" y="17"/>
                    <a:pt x="4" y="23"/>
                  </a:cubicBezTo>
                  <a:cubicBezTo>
                    <a:pt x="0" y="41"/>
                    <a:pt x="14" y="44"/>
                    <a:pt x="27" y="52"/>
                  </a:cubicBezTo>
                  <a:cubicBezTo>
                    <a:pt x="37" y="49"/>
                    <a:pt x="40" y="47"/>
                    <a:pt x="48" y="40"/>
                  </a:cubicBezTo>
                  <a:cubicBezTo>
                    <a:pt x="49" y="34"/>
                    <a:pt x="51" y="31"/>
                    <a:pt x="54" y="26"/>
                  </a:cubicBezTo>
                  <a:cubicBezTo>
                    <a:pt x="55" y="19"/>
                    <a:pt x="60" y="14"/>
                    <a:pt x="63" y="7"/>
                  </a:cubicBezTo>
                  <a:cubicBezTo>
                    <a:pt x="61" y="0"/>
                    <a:pt x="63" y="1"/>
                    <a:pt x="58" y="1"/>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1" name="Freeform 214">
              <a:extLst>
                <a:ext uri="{FF2B5EF4-FFF2-40B4-BE49-F238E27FC236}">
                  <a16:creationId xmlns:a16="http://schemas.microsoft.com/office/drawing/2014/main" id="{89D2D95B-2576-E542-A931-6273216A0B60}"/>
                </a:ext>
              </a:extLst>
            </p:cNvPr>
            <p:cNvSpPr>
              <a:spLocks/>
            </p:cNvSpPr>
            <p:nvPr/>
          </p:nvSpPr>
          <p:spPr bwMode="auto">
            <a:xfrm>
              <a:off x="4912" y="1995"/>
              <a:ext cx="80" cy="103"/>
            </a:xfrm>
            <a:custGeom>
              <a:avLst/>
              <a:gdLst>
                <a:gd name="T0" fmla="*/ 117 w 120"/>
                <a:gd name="T1" fmla="*/ 21 h 156"/>
                <a:gd name="T2" fmla="*/ 103 w 120"/>
                <a:gd name="T3" fmla="*/ 18 h 156"/>
                <a:gd name="T4" fmla="*/ 108 w 120"/>
                <a:gd name="T5" fmla="*/ 6 h 156"/>
                <a:gd name="T6" fmla="*/ 93 w 120"/>
                <a:gd name="T7" fmla="*/ 0 h 156"/>
                <a:gd name="T8" fmla="*/ 93 w 120"/>
                <a:gd name="T9" fmla="*/ 18 h 156"/>
                <a:gd name="T10" fmla="*/ 78 w 120"/>
                <a:gd name="T11" fmla="*/ 18 h 156"/>
                <a:gd name="T12" fmla="*/ 79 w 120"/>
                <a:gd name="T13" fmla="*/ 28 h 156"/>
                <a:gd name="T14" fmla="*/ 63 w 120"/>
                <a:gd name="T15" fmla="*/ 27 h 156"/>
                <a:gd name="T16" fmla="*/ 67 w 120"/>
                <a:gd name="T17" fmla="*/ 49 h 156"/>
                <a:gd name="T18" fmla="*/ 54 w 120"/>
                <a:gd name="T19" fmla="*/ 48 h 156"/>
                <a:gd name="T20" fmla="*/ 37 w 120"/>
                <a:gd name="T21" fmla="*/ 31 h 156"/>
                <a:gd name="T22" fmla="*/ 25 w 120"/>
                <a:gd name="T23" fmla="*/ 60 h 156"/>
                <a:gd name="T24" fmla="*/ 0 w 120"/>
                <a:gd name="T25" fmla="*/ 82 h 156"/>
                <a:gd name="T26" fmla="*/ 0 w 120"/>
                <a:gd name="T27" fmla="*/ 93 h 156"/>
                <a:gd name="T28" fmla="*/ 13 w 120"/>
                <a:gd name="T29" fmla="*/ 99 h 156"/>
                <a:gd name="T30" fmla="*/ 31 w 120"/>
                <a:gd name="T31" fmla="*/ 105 h 156"/>
                <a:gd name="T32" fmla="*/ 37 w 120"/>
                <a:gd name="T33" fmla="*/ 126 h 156"/>
                <a:gd name="T34" fmla="*/ 49 w 120"/>
                <a:gd name="T35" fmla="*/ 127 h 156"/>
                <a:gd name="T36" fmla="*/ 36 w 120"/>
                <a:gd name="T37" fmla="*/ 141 h 156"/>
                <a:gd name="T38" fmla="*/ 58 w 120"/>
                <a:gd name="T39" fmla="*/ 156 h 156"/>
                <a:gd name="T40" fmla="*/ 85 w 120"/>
                <a:gd name="T41" fmla="*/ 156 h 156"/>
                <a:gd name="T42" fmla="*/ 90 w 120"/>
                <a:gd name="T43" fmla="*/ 141 h 156"/>
                <a:gd name="T44" fmla="*/ 109 w 120"/>
                <a:gd name="T45" fmla="*/ 139 h 156"/>
                <a:gd name="T46" fmla="*/ 120 w 120"/>
                <a:gd name="T47" fmla="*/ 133 h 156"/>
                <a:gd name="T48" fmla="*/ 100 w 120"/>
                <a:gd name="T49" fmla="*/ 123 h 156"/>
                <a:gd name="T50" fmla="*/ 84 w 120"/>
                <a:gd name="T51" fmla="*/ 111 h 156"/>
                <a:gd name="T52" fmla="*/ 81 w 120"/>
                <a:gd name="T53" fmla="*/ 99 h 156"/>
                <a:gd name="T54" fmla="*/ 93 w 120"/>
                <a:gd name="T55" fmla="*/ 85 h 156"/>
                <a:gd name="T56" fmla="*/ 108 w 120"/>
                <a:gd name="T57" fmla="*/ 75 h 156"/>
                <a:gd name="T58" fmla="*/ 117 w 120"/>
                <a:gd name="T59" fmla="*/ 60 h 156"/>
                <a:gd name="T60" fmla="*/ 106 w 120"/>
                <a:gd name="T61" fmla="*/ 48 h 156"/>
                <a:gd name="T62" fmla="*/ 105 w 120"/>
                <a:gd name="T63" fmla="*/ 36 h 156"/>
                <a:gd name="T64" fmla="*/ 117 w 120"/>
                <a:gd name="T65" fmla="*/ 2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56">
                  <a:moveTo>
                    <a:pt x="117" y="21"/>
                  </a:moveTo>
                  <a:lnTo>
                    <a:pt x="103" y="18"/>
                  </a:lnTo>
                  <a:lnTo>
                    <a:pt x="108" y="6"/>
                  </a:lnTo>
                  <a:lnTo>
                    <a:pt x="93" y="0"/>
                  </a:lnTo>
                  <a:lnTo>
                    <a:pt x="93" y="18"/>
                  </a:lnTo>
                  <a:lnTo>
                    <a:pt x="78" y="18"/>
                  </a:lnTo>
                  <a:lnTo>
                    <a:pt x="79" y="28"/>
                  </a:lnTo>
                  <a:lnTo>
                    <a:pt x="63" y="27"/>
                  </a:lnTo>
                  <a:lnTo>
                    <a:pt x="67" y="49"/>
                  </a:lnTo>
                  <a:lnTo>
                    <a:pt x="54" y="48"/>
                  </a:lnTo>
                  <a:lnTo>
                    <a:pt x="37" y="31"/>
                  </a:lnTo>
                  <a:lnTo>
                    <a:pt x="25" y="60"/>
                  </a:lnTo>
                  <a:lnTo>
                    <a:pt x="0" y="82"/>
                  </a:lnTo>
                  <a:lnTo>
                    <a:pt x="0" y="93"/>
                  </a:lnTo>
                  <a:lnTo>
                    <a:pt x="13" y="99"/>
                  </a:lnTo>
                  <a:lnTo>
                    <a:pt x="31" y="105"/>
                  </a:lnTo>
                  <a:lnTo>
                    <a:pt x="37" y="126"/>
                  </a:lnTo>
                  <a:lnTo>
                    <a:pt x="49" y="127"/>
                  </a:lnTo>
                  <a:lnTo>
                    <a:pt x="36" y="141"/>
                  </a:lnTo>
                  <a:lnTo>
                    <a:pt x="58" y="156"/>
                  </a:lnTo>
                  <a:lnTo>
                    <a:pt x="85" y="156"/>
                  </a:lnTo>
                  <a:lnTo>
                    <a:pt x="90" y="141"/>
                  </a:lnTo>
                  <a:lnTo>
                    <a:pt x="109" y="139"/>
                  </a:lnTo>
                  <a:lnTo>
                    <a:pt x="120" y="133"/>
                  </a:lnTo>
                  <a:lnTo>
                    <a:pt x="100" y="123"/>
                  </a:lnTo>
                  <a:lnTo>
                    <a:pt x="84" y="111"/>
                  </a:lnTo>
                  <a:lnTo>
                    <a:pt x="81" y="99"/>
                  </a:lnTo>
                  <a:lnTo>
                    <a:pt x="93" y="85"/>
                  </a:lnTo>
                  <a:lnTo>
                    <a:pt x="108" y="75"/>
                  </a:lnTo>
                  <a:lnTo>
                    <a:pt x="117" y="60"/>
                  </a:lnTo>
                  <a:lnTo>
                    <a:pt x="106" y="48"/>
                  </a:lnTo>
                  <a:lnTo>
                    <a:pt x="105" y="36"/>
                  </a:lnTo>
                  <a:lnTo>
                    <a:pt x="117" y="21"/>
                  </a:ln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2" name="Freeform 215">
              <a:extLst>
                <a:ext uri="{FF2B5EF4-FFF2-40B4-BE49-F238E27FC236}">
                  <a16:creationId xmlns:a16="http://schemas.microsoft.com/office/drawing/2014/main" id="{576E9BAF-8EFB-8D40-8AB7-D65F49B43A38}"/>
                </a:ext>
              </a:extLst>
            </p:cNvPr>
            <p:cNvSpPr>
              <a:spLocks/>
            </p:cNvSpPr>
            <p:nvPr/>
          </p:nvSpPr>
          <p:spPr bwMode="auto">
            <a:xfrm>
              <a:off x="3348" y="2015"/>
              <a:ext cx="303" cy="120"/>
            </a:xfrm>
            <a:custGeom>
              <a:avLst/>
              <a:gdLst>
                <a:gd name="T0" fmla="*/ 50 w 458"/>
                <a:gd name="T1" fmla="*/ 18 h 181"/>
                <a:gd name="T2" fmla="*/ 81 w 458"/>
                <a:gd name="T3" fmla="*/ 25 h 181"/>
                <a:gd name="T4" fmla="*/ 140 w 458"/>
                <a:gd name="T5" fmla="*/ 12 h 181"/>
                <a:gd name="T6" fmla="*/ 186 w 458"/>
                <a:gd name="T7" fmla="*/ 1 h 181"/>
                <a:gd name="T8" fmla="*/ 224 w 458"/>
                <a:gd name="T9" fmla="*/ 15 h 181"/>
                <a:gd name="T10" fmla="*/ 264 w 458"/>
                <a:gd name="T11" fmla="*/ 27 h 181"/>
                <a:gd name="T12" fmla="*/ 320 w 458"/>
                <a:gd name="T13" fmla="*/ 27 h 181"/>
                <a:gd name="T14" fmla="*/ 369 w 458"/>
                <a:gd name="T15" fmla="*/ 16 h 181"/>
                <a:gd name="T16" fmla="*/ 420 w 458"/>
                <a:gd name="T17" fmla="*/ 31 h 181"/>
                <a:gd name="T18" fmla="*/ 441 w 458"/>
                <a:gd name="T19" fmla="*/ 75 h 181"/>
                <a:gd name="T20" fmla="*/ 458 w 458"/>
                <a:gd name="T21" fmla="*/ 144 h 181"/>
                <a:gd name="T22" fmla="*/ 413 w 458"/>
                <a:gd name="T23" fmla="*/ 136 h 181"/>
                <a:gd name="T24" fmla="*/ 386 w 458"/>
                <a:gd name="T25" fmla="*/ 141 h 181"/>
                <a:gd name="T26" fmla="*/ 366 w 458"/>
                <a:gd name="T27" fmla="*/ 144 h 181"/>
                <a:gd name="T28" fmla="*/ 320 w 458"/>
                <a:gd name="T29" fmla="*/ 160 h 181"/>
                <a:gd name="T30" fmla="*/ 294 w 458"/>
                <a:gd name="T31" fmla="*/ 157 h 181"/>
                <a:gd name="T32" fmla="*/ 263 w 458"/>
                <a:gd name="T33" fmla="*/ 150 h 181"/>
                <a:gd name="T34" fmla="*/ 249 w 458"/>
                <a:gd name="T35" fmla="*/ 181 h 181"/>
                <a:gd name="T36" fmla="*/ 255 w 458"/>
                <a:gd name="T37" fmla="*/ 156 h 181"/>
                <a:gd name="T38" fmla="*/ 233 w 458"/>
                <a:gd name="T39" fmla="*/ 160 h 181"/>
                <a:gd name="T40" fmla="*/ 197 w 458"/>
                <a:gd name="T41" fmla="*/ 172 h 181"/>
                <a:gd name="T42" fmla="*/ 153 w 458"/>
                <a:gd name="T43" fmla="*/ 160 h 181"/>
                <a:gd name="T44" fmla="*/ 113 w 458"/>
                <a:gd name="T45" fmla="*/ 157 h 181"/>
                <a:gd name="T46" fmla="*/ 90 w 458"/>
                <a:gd name="T47" fmla="*/ 175 h 181"/>
                <a:gd name="T48" fmla="*/ 57 w 458"/>
                <a:gd name="T49" fmla="*/ 159 h 181"/>
                <a:gd name="T50" fmla="*/ 39 w 458"/>
                <a:gd name="T51" fmla="*/ 141 h 181"/>
                <a:gd name="T52" fmla="*/ 15 w 458"/>
                <a:gd name="T53" fmla="*/ 109 h 181"/>
                <a:gd name="T54" fmla="*/ 20 w 458"/>
                <a:gd name="T55" fmla="*/ 75 h 181"/>
                <a:gd name="T56" fmla="*/ 5 w 458"/>
                <a:gd name="T57" fmla="*/ 57 h 181"/>
                <a:gd name="T58" fmla="*/ 54 w 458"/>
                <a:gd name="T59" fmla="*/ 54 h 181"/>
                <a:gd name="T60" fmla="*/ 90 w 458"/>
                <a:gd name="T61" fmla="*/ 37 h 181"/>
                <a:gd name="T62" fmla="*/ 48 w 458"/>
                <a:gd name="T63" fmla="*/ 28 h 181"/>
                <a:gd name="T64" fmla="*/ 15 w 458"/>
                <a:gd name="T65" fmla="*/ 45 h 181"/>
                <a:gd name="T66" fmla="*/ 11 w 458"/>
                <a:gd name="T67" fmla="*/ 19 h 181"/>
                <a:gd name="T68" fmla="*/ 23 w 458"/>
                <a:gd name="T6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8" h="181">
                  <a:moveTo>
                    <a:pt x="41" y="6"/>
                  </a:moveTo>
                  <a:lnTo>
                    <a:pt x="50" y="18"/>
                  </a:lnTo>
                  <a:lnTo>
                    <a:pt x="65" y="25"/>
                  </a:lnTo>
                  <a:lnTo>
                    <a:pt x="81" y="25"/>
                  </a:lnTo>
                  <a:lnTo>
                    <a:pt x="122" y="30"/>
                  </a:lnTo>
                  <a:lnTo>
                    <a:pt x="140" y="12"/>
                  </a:lnTo>
                  <a:lnTo>
                    <a:pt x="159" y="6"/>
                  </a:lnTo>
                  <a:lnTo>
                    <a:pt x="186" y="1"/>
                  </a:lnTo>
                  <a:lnTo>
                    <a:pt x="209" y="0"/>
                  </a:lnTo>
                  <a:lnTo>
                    <a:pt x="224" y="15"/>
                  </a:lnTo>
                  <a:lnTo>
                    <a:pt x="237" y="10"/>
                  </a:lnTo>
                  <a:lnTo>
                    <a:pt x="264" y="27"/>
                  </a:lnTo>
                  <a:lnTo>
                    <a:pt x="305" y="34"/>
                  </a:lnTo>
                  <a:lnTo>
                    <a:pt x="320" y="27"/>
                  </a:lnTo>
                  <a:lnTo>
                    <a:pt x="341" y="36"/>
                  </a:lnTo>
                  <a:lnTo>
                    <a:pt x="369" y="16"/>
                  </a:lnTo>
                  <a:lnTo>
                    <a:pt x="396" y="18"/>
                  </a:lnTo>
                  <a:lnTo>
                    <a:pt x="420" y="31"/>
                  </a:lnTo>
                  <a:lnTo>
                    <a:pt x="425" y="57"/>
                  </a:lnTo>
                  <a:lnTo>
                    <a:pt x="441" y="75"/>
                  </a:lnTo>
                  <a:lnTo>
                    <a:pt x="437" y="84"/>
                  </a:lnTo>
                  <a:lnTo>
                    <a:pt x="458" y="144"/>
                  </a:lnTo>
                  <a:lnTo>
                    <a:pt x="435" y="144"/>
                  </a:lnTo>
                  <a:lnTo>
                    <a:pt x="413" y="136"/>
                  </a:lnTo>
                  <a:lnTo>
                    <a:pt x="399" y="145"/>
                  </a:lnTo>
                  <a:lnTo>
                    <a:pt x="386" y="141"/>
                  </a:lnTo>
                  <a:lnTo>
                    <a:pt x="375" y="150"/>
                  </a:lnTo>
                  <a:lnTo>
                    <a:pt x="366" y="144"/>
                  </a:lnTo>
                  <a:lnTo>
                    <a:pt x="341" y="159"/>
                  </a:lnTo>
                  <a:lnTo>
                    <a:pt x="320" y="160"/>
                  </a:lnTo>
                  <a:lnTo>
                    <a:pt x="306" y="148"/>
                  </a:lnTo>
                  <a:lnTo>
                    <a:pt x="294" y="157"/>
                  </a:lnTo>
                  <a:lnTo>
                    <a:pt x="279" y="160"/>
                  </a:lnTo>
                  <a:lnTo>
                    <a:pt x="263" y="150"/>
                  </a:lnTo>
                  <a:lnTo>
                    <a:pt x="260" y="175"/>
                  </a:lnTo>
                  <a:lnTo>
                    <a:pt x="249" y="181"/>
                  </a:lnTo>
                  <a:lnTo>
                    <a:pt x="246" y="168"/>
                  </a:lnTo>
                  <a:lnTo>
                    <a:pt x="255" y="156"/>
                  </a:lnTo>
                  <a:lnTo>
                    <a:pt x="246" y="151"/>
                  </a:lnTo>
                  <a:lnTo>
                    <a:pt x="233" y="160"/>
                  </a:lnTo>
                  <a:lnTo>
                    <a:pt x="218" y="151"/>
                  </a:lnTo>
                  <a:lnTo>
                    <a:pt x="197" y="172"/>
                  </a:lnTo>
                  <a:lnTo>
                    <a:pt x="159" y="177"/>
                  </a:lnTo>
                  <a:lnTo>
                    <a:pt x="153" y="160"/>
                  </a:lnTo>
                  <a:lnTo>
                    <a:pt x="122" y="151"/>
                  </a:lnTo>
                  <a:lnTo>
                    <a:pt x="113" y="157"/>
                  </a:lnTo>
                  <a:lnTo>
                    <a:pt x="114" y="172"/>
                  </a:lnTo>
                  <a:lnTo>
                    <a:pt x="90" y="175"/>
                  </a:lnTo>
                  <a:lnTo>
                    <a:pt x="75" y="153"/>
                  </a:lnTo>
                  <a:lnTo>
                    <a:pt x="57" y="159"/>
                  </a:lnTo>
                  <a:lnTo>
                    <a:pt x="33" y="157"/>
                  </a:lnTo>
                  <a:lnTo>
                    <a:pt x="39" y="141"/>
                  </a:lnTo>
                  <a:lnTo>
                    <a:pt x="30" y="130"/>
                  </a:lnTo>
                  <a:lnTo>
                    <a:pt x="15" y="109"/>
                  </a:lnTo>
                  <a:lnTo>
                    <a:pt x="21" y="90"/>
                  </a:lnTo>
                  <a:lnTo>
                    <a:pt x="20" y="75"/>
                  </a:lnTo>
                  <a:lnTo>
                    <a:pt x="0" y="75"/>
                  </a:lnTo>
                  <a:lnTo>
                    <a:pt x="5" y="57"/>
                  </a:lnTo>
                  <a:lnTo>
                    <a:pt x="18" y="49"/>
                  </a:lnTo>
                  <a:lnTo>
                    <a:pt x="54" y="54"/>
                  </a:lnTo>
                  <a:lnTo>
                    <a:pt x="71" y="49"/>
                  </a:lnTo>
                  <a:lnTo>
                    <a:pt x="90" y="37"/>
                  </a:lnTo>
                  <a:lnTo>
                    <a:pt x="69" y="33"/>
                  </a:lnTo>
                  <a:lnTo>
                    <a:pt x="48" y="28"/>
                  </a:lnTo>
                  <a:lnTo>
                    <a:pt x="32" y="31"/>
                  </a:lnTo>
                  <a:lnTo>
                    <a:pt x="15" y="45"/>
                  </a:lnTo>
                  <a:lnTo>
                    <a:pt x="2" y="37"/>
                  </a:lnTo>
                  <a:lnTo>
                    <a:pt x="11" y="19"/>
                  </a:lnTo>
                  <a:lnTo>
                    <a:pt x="9" y="9"/>
                  </a:lnTo>
                  <a:lnTo>
                    <a:pt x="23" y="0"/>
                  </a:lnTo>
                  <a:lnTo>
                    <a:pt x="41" y="6"/>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3" name="Freeform 216">
              <a:extLst>
                <a:ext uri="{FF2B5EF4-FFF2-40B4-BE49-F238E27FC236}">
                  <a16:creationId xmlns:a16="http://schemas.microsoft.com/office/drawing/2014/main" id="{A5E0CCA6-22A6-E44D-8EBB-3B437CF28FEF}"/>
                </a:ext>
              </a:extLst>
            </p:cNvPr>
            <p:cNvSpPr>
              <a:spLocks/>
            </p:cNvSpPr>
            <p:nvPr/>
          </p:nvSpPr>
          <p:spPr bwMode="auto">
            <a:xfrm>
              <a:off x="3558" y="1989"/>
              <a:ext cx="115" cy="46"/>
            </a:xfrm>
            <a:custGeom>
              <a:avLst/>
              <a:gdLst>
                <a:gd name="T0" fmla="*/ 0 w 174"/>
                <a:gd name="T1" fmla="*/ 0 h 69"/>
                <a:gd name="T2" fmla="*/ 67 w 174"/>
                <a:gd name="T3" fmla="*/ 1 h 69"/>
                <a:gd name="T4" fmla="*/ 99 w 174"/>
                <a:gd name="T5" fmla="*/ 22 h 69"/>
                <a:gd name="T6" fmla="*/ 115 w 174"/>
                <a:gd name="T7" fmla="*/ 15 h 69"/>
                <a:gd name="T8" fmla="*/ 163 w 174"/>
                <a:gd name="T9" fmla="*/ 39 h 69"/>
                <a:gd name="T10" fmla="*/ 159 w 174"/>
                <a:gd name="T11" fmla="*/ 49 h 69"/>
                <a:gd name="T12" fmla="*/ 174 w 174"/>
                <a:gd name="T13" fmla="*/ 66 h 69"/>
                <a:gd name="T14" fmla="*/ 142 w 174"/>
                <a:gd name="T15" fmla="*/ 58 h 69"/>
                <a:gd name="T16" fmla="*/ 126 w 174"/>
                <a:gd name="T17" fmla="*/ 66 h 69"/>
                <a:gd name="T18" fmla="*/ 97 w 174"/>
                <a:gd name="T19" fmla="*/ 69 h 69"/>
                <a:gd name="T20" fmla="*/ 81 w 174"/>
                <a:gd name="T21" fmla="*/ 57 h 69"/>
                <a:gd name="T22" fmla="*/ 49 w 174"/>
                <a:gd name="T23" fmla="*/ 54 h 69"/>
                <a:gd name="T24" fmla="*/ 49 w 174"/>
                <a:gd name="T25" fmla="*/ 34 h 69"/>
                <a:gd name="T26" fmla="*/ 33 w 174"/>
                <a:gd name="T27" fmla="*/ 18 h 69"/>
                <a:gd name="T28" fmla="*/ 0 w 174"/>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 h="69">
                  <a:moveTo>
                    <a:pt x="0" y="0"/>
                  </a:moveTo>
                  <a:lnTo>
                    <a:pt x="67" y="1"/>
                  </a:lnTo>
                  <a:lnTo>
                    <a:pt x="99" y="22"/>
                  </a:lnTo>
                  <a:lnTo>
                    <a:pt x="115" y="15"/>
                  </a:lnTo>
                  <a:lnTo>
                    <a:pt x="163" y="39"/>
                  </a:lnTo>
                  <a:lnTo>
                    <a:pt x="159" y="49"/>
                  </a:lnTo>
                  <a:lnTo>
                    <a:pt x="174" y="66"/>
                  </a:lnTo>
                  <a:lnTo>
                    <a:pt x="142" y="58"/>
                  </a:lnTo>
                  <a:lnTo>
                    <a:pt x="126" y="66"/>
                  </a:lnTo>
                  <a:lnTo>
                    <a:pt x="97" y="69"/>
                  </a:lnTo>
                  <a:lnTo>
                    <a:pt x="81" y="57"/>
                  </a:lnTo>
                  <a:lnTo>
                    <a:pt x="49" y="54"/>
                  </a:lnTo>
                  <a:lnTo>
                    <a:pt x="49" y="34"/>
                  </a:lnTo>
                  <a:lnTo>
                    <a:pt x="33" y="18"/>
                  </a:lnTo>
                  <a:lnTo>
                    <a:pt x="0" y="0"/>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4" name="Freeform 217">
              <a:extLst>
                <a:ext uri="{FF2B5EF4-FFF2-40B4-BE49-F238E27FC236}">
                  <a16:creationId xmlns:a16="http://schemas.microsoft.com/office/drawing/2014/main" id="{155392A0-7270-1642-BEA4-31E031A6D05F}"/>
                </a:ext>
              </a:extLst>
            </p:cNvPr>
            <p:cNvSpPr>
              <a:spLocks/>
            </p:cNvSpPr>
            <p:nvPr/>
          </p:nvSpPr>
          <p:spPr bwMode="auto">
            <a:xfrm>
              <a:off x="3446" y="2138"/>
              <a:ext cx="49" cy="29"/>
            </a:xfrm>
            <a:custGeom>
              <a:avLst/>
              <a:gdLst>
                <a:gd name="T0" fmla="*/ 64 w 73"/>
                <a:gd name="T1" fmla="*/ 0 h 43"/>
                <a:gd name="T2" fmla="*/ 21 w 73"/>
                <a:gd name="T3" fmla="*/ 13 h 43"/>
                <a:gd name="T4" fmla="*/ 6 w 73"/>
                <a:gd name="T5" fmla="*/ 18 h 43"/>
                <a:gd name="T6" fmla="*/ 22 w 73"/>
                <a:gd name="T7" fmla="*/ 37 h 43"/>
                <a:gd name="T8" fmla="*/ 54 w 73"/>
                <a:gd name="T9" fmla="*/ 22 h 43"/>
                <a:gd name="T10" fmla="*/ 63 w 73"/>
                <a:gd name="T11" fmla="*/ 10 h 43"/>
                <a:gd name="T12" fmla="*/ 64 w 73"/>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73" h="43">
                  <a:moveTo>
                    <a:pt x="64" y="0"/>
                  </a:moveTo>
                  <a:cubicBezTo>
                    <a:pt x="51" y="10"/>
                    <a:pt x="37" y="12"/>
                    <a:pt x="21" y="13"/>
                  </a:cubicBezTo>
                  <a:cubicBezTo>
                    <a:pt x="16" y="15"/>
                    <a:pt x="11" y="16"/>
                    <a:pt x="6" y="18"/>
                  </a:cubicBezTo>
                  <a:cubicBezTo>
                    <a:pt x="0" y="30"/>
                    <a:pt x="12" y="36"/>
                    <a:pt x="22" y="37"/>
                  </a:cubicBezTo>
                  <a:cubicBezTo>
                    <a:pt x="36" y="43"/>
                    <a:pt x="45" y="31"/>
                    <a:pt x="54" y="22"/>
                  </a:cubicBezTo>
                  <a:cubicBezTo>
                    <a:pt x="55" y="15"/>
                    <a:pt x="56" y="13"/>
                    <a:pt x="63" y="10"/>
                  </a:cubicBezTo>
                  <a:cubicBezTo>
                    <a:pt x="67" y="6"/>
                    <a:pt x="73" y="2"/>
                    <a:pt x="64" y="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5" name="Freeform 218">
              <a:extLst>
                <a:ext uri="{FF2B5EF4-FFF2-40B4-BE49-F238E27FC236}">
                  <a16:creationId xmlns:a16="http://schemas.microsoft.com/office/drawing/2014/main" id="{76515EB9-8BA7-0747-B399-2E627B2D810F}"/>
                </a:ext>
              </a:extLst>
            </p:cNvPr>
            <p:cNvSpPr>
              <a:spLocks/>
            </p:cNvSpPr>
            <p:nvPr/>
          </p:nvSpPr>
          <p:spPr bwMode="auto">
            <a:xfrm>
              <a:off x="3511" y="2105"/>
              <a:ext cx="111" cy="99"/>
            </a:xfrm>
            <a:custGeom>
              <a:avLst/>
              <a:gdLst>
                <a:gd name="T0" fmla="*/ 168 w 168"/>
                <a:gd name="T1" fmla="*/ 0 h 150"/>
                <a:gd name="T2" fmla="*/ 152 w 168"/>
                <a:gd name="T3" fmla="*/ 9 h 150"/>
                <a:gd name="T4" fmla="*/ 140 w 168"/>
                <a:gd name="T5" fmla="*/ 5 h 150"/>
                <a:gd name="T6" fmla="*/ 128 w 168"/>
                <a:gd name="T7" fmla="*/ 14 h 150"/>
                <a:gd name="T8" fmla="*/ 119 w 168"/>
                <a:gd name="T9" fmla="*/ 8 h 150"/>
                <a:gd name="T10" fmla="*/ 96 w 168"/>
                <a:gd name="T11" fmla="*/ 21 h 150"/>
                <a:gd name="T12" fmla="*/ 72 w 168"/>
                <a:gd name="T13" fmla="*/ 24 h 150"/>
                <a:gd name="T14" fmla="*/ 62 w 168"/>
                <a:gd name="T15" fmla="*/ 12 h 150"/>
                <a:gd name="T16" fmla="*/ 47 w 168"/>
                <a:gd name="T17" fmla="*/ 20 h 150"/>
                <a:gd name="T18" fmla="*/ 33 w 168"/>
                <a:gd name="T19" fmla="*/ 23 h 150"/>
                <a:gd name="T20" fmla="*/ 18 w 168"/>
                <a:gd name="T21" fmla="*/ 14 h 150"/>
                <a:gd name="T22" fmla="*/ 14 w 168"/>
                <a:gd name="T23" fmla="*/ 38 h 150"/>
                <a:gd name="T24" fmla="*/ 0 w 168"/>
                <a:gd name="T25" fmla="*/ 44 h 150"/>
                <a:gd name="T26" fmla="*/ 3 w 168"/>
                <a:gd name="T27" fmla="*/ 63 h 150"/>
                <a:gd name="T28" fmla="*/ 6 w 168"/>
                <a:gd name="T29" fmla="*/ 86 h 150"/>
                <a:gd name="T30" fmla="*/ 17 w 168"/>
                <a:gd name="T31" fmla="*/ 80 h 150"/>
                <a:gd name="T32" fmla="*/ 27 w 168"/>
                <a:gd name="T33" fmla="*/ 96 h 150"/>
                <a:gd name="T34" fmla="*/ 5 w 168"/>
                <a:gd name="T35" fmla="*/ 126 h 150"/>
                <a:gd name="T36" fmla="*/ 6 w 168"/>
                <a:gd name="T37" fmla="*/ 138 h 150"/>
                <a:gd name="T38" fmla="*/ 32 w 168"/>
                <a:gd name="T39" fmla="*/ 150 h 150"/>
                <a:gd name="T40" fmla="*/ 81 w 168"/>
                <a:gd name="T41" fmla="*/ 122 h 150"/>
                <a:gd name="T42" fmla="*/ 134 w 168"/>
                <a:gd name="T43" fmla="*/ 89 h 150"/>
                <a:gd name="T44" fmla="*/ 137 w 168"/>
                <a:gd name="T45" fmla="*/ 74 h 150"/>
                <a:gd name="T46" fmla="*/ 134 w 168"/>
                <a:gd name="T47" fmla="*/ 62 h 150"/>
                <a:gd name="T48" fmla="*/ 135 w 168"/>
                <a:gd name="T49" fmla="*/ 45 h 150"/>
                <a:gd name="T50" fmla="*/ 131 w 168"/>
                <a:gd name="T51" fmla="*/ 32 h 150"/>
                <a:gd name="T52" fmla="*/ 138 w 168"/>
                <a:gd name="T53" fmla="*/ 23 h 150"/>
                <a:gd name="T54" fmla="*/ 150 w 168"/>
                <a:gd name="T55" fmla="*/ 27 h 150"/>
                <a:gd name="T56" fmla="*/ 168 w 168"/>
                <a:gd name="T5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0">
                  <a:moveTo>
                    <a:pt x="168" y="0"/>
                  </a:moveTo>
                  <a:lnTo>
                    <a:pt x="152" y="9"/>
                  </a:lnTo>
                  <a:lnTo>
                    <a:pt x="140" y="5"/>
                  </a:lnTo>
                  <a:lnTo>
                    <a:pt x="128" y="14"/>
                  </a:lnTo>
                  <a:lnTo>
                    <a:pt x="119" y="8"/>
                  </a:lnTo>
                  <a:lnTo>
                    <a:pt x="96" y="21"/>
                  </a:lnTo>
                  <a:lnTo>
                    <a:pt x="72" y="24"/>
                  </a:lnTo>
                  <a:lnTo>
                    <a:pt x="62" y="12"/>
                  </a:lnTo>
                  <a:lnTo>
                    <a:pt x="47" y="20"/>
                  </a:lnTo>
                  <a:lnTo>
                    <a:pt x="33" y="23"/>
                  </a:lnTo>
                  <a:lnTo>
                    <a:pt x="18" y="14"/>
                  </a:lnTo>
                  <a:lnTo>
                    <a:pt x="14" y="38"/>
                  </a:lnTo>
                  <a:lnTo>
                    <a:pt x="0" y="44"/>
                  </a:lnTo>
                  <a:lnTo>
                    <a:pt x="3" y="63"/>
                  </a:lnTo>
                  <a:lnTo>
                    <a:pt x="6" y="86"/>
                  </a:lnTo>
                  <a:lnTo>
                    <a:pt x="17" y="80"/>
                  </a:lnTo>
                  <a:lnTo>
                    <a:pt x="27" y="96"/>
                  </a:lnTo>
                  <a:lnTo>
                    <a:pt x="5" y="126"/>
                  </a:lnTo>
                  <a:lnTo>
                    <a:pt x="6" y="138"/>
                  </a:lnTo>
                  <a:lnTo>
                    <a:pt x="32" y="150"/>
                  </a:lnTo>
                  <a:lnTo>
                    <a:pt x="81" y="122"/>
                  </a:lnTo>
                  <a:lnTo>
                    <a:pt x="134" y="89"/>
                  </a:lnTo>
                  <a:lnTo>
                    <a:pt x="137" y="74"/>
                  </a:lnTo>
                  <a:lnTo>
                    <a:pt x="134" y="62"/>
                  </a:lnTo>
                  <a:lnTo>
                    <a:pt x="135" y="45"/>
                  </a:lnTo>
                  <a:lnTo>
                    <a:pt x="131" y="32"/>
                  </a:lnTo>
                  <a:lnTo>
                    <a:pt x="138" y="23"/>
                  </a:lnTo>
                  <a:lnTo>
                    <a:pt x="150" y="27"/>
                  </a:lnTo>
                  <a:lnTo>
                    <a:pt x="168" y="0"/>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6" name="Freeform 219">
              <a:extLst>
                <a:ext uri="{FF2B5EF4-FFF2-40B4-BE49-F238E27FC236}">
                  <a16:creationId xmlns:a16="http://schemas.microsoft.com/office/drawing/2014/main" id="{C1A1CF34-136A-4E42-8914-E436223C32A2}"/>
                </a:ext>
              </a:extLst>
            </p:cNvPr>
            <p:cNvSpPr>
              <a:spLocks/>
            </p:cNvSpPr>
            <p:nvPr/>
          </p:nvSpPr>
          <p:spPr bwMode="auto">
            <a:xfrm>
              <a:off x="3502" y="2158"/>
              <a:ext cx="27" cy="34"/>
            </a:xfrm>
            <a:custGeom>
              <a:avLst/>
              <a:gdLst>
                <a:gd name="T0" fmla="*/ 16 w 40"/>
                <a:gd name="T1" fmla="*/ 6 h 51"/>
                <a:gd name="T2" fmla="*/ 31 w 40"/>
                <a:gd name="T3" fmla="*/ 0 h 51"/>
                <a:gd name="T4" fmla="*/ 40 w 40"/>
                <a:gd name="T5" fmla="*/ 16 h 51"/>
                <a:gd name="T6" fmla="*/ 18 w 40"/>
                <a:gd name="T7" fmla="*/ 46 h 51"/>
                <a:gd name="T8" fmla="*/ 0 w 40"/>
                <a:gd name="T9" fmla="*/ 51 h 51"/>
                <a:gd name="T10" fmla="*/ 3 w 40"/>
                <a:gd name="T11" fmla="*/ 27 h 51"/>
                <a:gd name="T12" fmla="*/ 16 w 40"/>
                <a:gd name="T13" fmla="*/ 6 h 51"/>
              </a:gdLst>
              <a:ahLst/>
              <a:cxnLst>
                <a:cxn ang="0">
                  <a:pos x="T0" y="T1"/>
                </a:cxn>
                <a:cxn ang="0">
                  <a:pos x="T2" y="T3"/>
                </a:cxn>
                <a:cxn ang="0">
                  <a:pos x="T4" y="T5"/>
                </a:cxn>
                <a:cxn ang="0">
                  <a:pos x="T6" y="T7"/>
                </a:cxn>
                <a:cxn ang="0">
                  <a:pos x="T8" y="T9"/>
                </a:cxn>
                <a:cxn ang="0">
                  <a:pos x="T10" y="T11"/>
                </a:cxn>
                <a:cxn ang="0">
                  <a:pos x="T12" y="T13"/>
                </a:cxn>
              </a:cxnLst>
              <a:rect l="0" t="0" r="r" b="b"/>
              <a:pathLst>
                <a:path w="40" h="51">
                  <a:moveTo>
                    <a:pt x="16" y="6"/>
                  </a:moveTo>
                  <a:lnTo>
                    <a:pt x="31" y="0"/>
                  </a:lnTo>
                  <a:lnTo>
                    <a:pt x="40" y="16"/>
                  </a:lnTo>
                  <a:lnTo>
                    <a:pt x="18" y="46"/>
                  </a:lnTo>
                  <a:lnTo>
                    <a:pt x="0" y="51"/>
                  </a:lnTo>
                  <a:lnTo>
                    <a:pt x="3" y="27"/>
                  </a:lnTo>
                  <a:lnTo>
                    <a:pt x="16" y="6"/>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7" name="Freeform 220">
              <a:extLst>
                <a:ext uri="{FF2B5EF4-FFF2-40B4-BE49-F238E27FC236}">
                  <a16:creationId xmlns:a16="http://schemas.microsoft.com/office/drawing/2014/main" id="{ACE71C63-E7E6-594A-9065-76C8A7A6438D}"/>
                </a:ext>
              </a:extLst>
            </p:cNvPr>
            <p:cNvSpPr>
              <a:spLocks/>
            </p:cNvSpPr>
            <p:nvPr/>
          </p:nvSpPr>
          <p:spPr bwMode="auto">
            <a:xfrm>
              <a:off x="3504" y="2186"/>
              <a:ext cx="70" cy="82"/>
            </a:xfrm>
            <a:custGeom>
              <a:avLst/>
              <a:gdLst>
                <a:gd name="T0" fmla="*/ 13 w 105"/>
                <a:gd name="T1" fmla="*/ 15 h 124"/>
                <a:gd name="T2" fmla="*/ 39 w 105"/>
                <a:gd name="T3" fmla="*/ 28 h 124"/>
                <a:gd name="T4" fmla="*/ 90 w 105"/>
                <a:gd name="T5" fmla="*/ 0 h 124"/>
                <a:gd name="T6" fmla="*/ 105 w 105"/>
                <a:gd name="T7" fmla="*/ 39 h 124"/>
                <a:gd name="T8" fmla="*/ 69 w 105"/>
                <a:gd name="T9" fmla="*/ 51 h 124"/>
                <a:gd name="T10" fmla="*/ 55 w 105"/>
                <a:gd name="T11" fmla="*/ 49 h 124"/>
                <a:gd name="T12" fmla="*/ 57 w 105"/>
                <a:gd name="T13" fmla="*/ 64 h 124"/>
                <a:gd name="T14" fmla="*/ 79 w 105"/>
                <a:gd name="T15" fmla="*/ 82 h 124"/>
                <a:gd name="T16" fmla="*/ 66 w 105"/>
                <a:gd name="T17" fmla="*/ 97 h 124"/>
                <a:gd name="T18" fmla="*/ 48 w 105"/>
                <a:gd name="T19" fmla="*/ 103 h 124"/>
                <a:gd name="T20" fmla="*/ 33 w 105"/>
                <a:gd name="T21" fmla="*/ 124 h 124"/>
                <a:gd name="T22" fmla="*/ 0 w 105"/>
                <a:gd name="T23" fmla="*/ 117 h 124"/>
                <a:gd name="T24" fmla="*/ 10 w 105"/>
                <a:gd name="T25" fmla="*/ 96 h 124"/>
                <a:gd name="T26" fmla="*/ 10 w 105"/>
                <a:gd name="T27" fmla="*/ 75 h 124"/>
                <a:gd name="T28" fmla="*/ 15 w 105"/>
                <a:gd name="T29" fmla="*/ 63 h 124"/>
                <a:gd name="T30" fmla="*/ 13 w 105"/>
                <a:gd name="T31" fmla="*/ 1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24">
                  <a:moveTo>
                    <a:pt x="13" y="15"/>
                  </a:moveTo>
                  <a:lnTo>
                    <a:pt x="39" y="28"/>
                  </a:lnTo>
                  <a:lnTo>
                    <a:pt x="90" y="0"/>
                  </a:lnTo>
                  <a:lnTo>
                    <a:pt x="105" y="39"/>
                  </a:lnTo>
                  <a:lnTo>
                    <a:pt x="69" y="51"/>
                  </a:lnTo>
                  <a:lnTo>
                    <a:pt x="55" y="49"/>
                  </a:lnTo>
                  <a:lnTo>
                    <a:pt x="57" y="64"/>
                  </a:lnTo>
                  <a:lnTo>
                    <a:pt x="79" y="82"/>
                  </a:lnTo>
                  <a:lnTo>
                    <a:pt x="66" y="97"/>
                  </a:lnTo>
                  <a:lnTo>
                    <a:pt x="48" y="103"/>
                  </a:lnTo>
                  <a:lnTo>
                    <a:pt x="33" y="124"/>
                  </a:lnTo>
                  <a:lnTo>
                    <a:pt x="0" y="117"/>
                  </a:lnTo>
                  <a:lnTo>
                    <a:pt x="10" y="96"/>
                  </a:lnTo>
                  <a:lnTo>
                    <a:pt x="10" y="75"/>
                  </a:lnTo>
                  <a:lnTo>
                    <a:pt x="15" y="63"/>
                  </a:lnTo>
                  <a:lnTo>
                    <a:pt x="13" y="15"/>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8" name="Freeform 221">
              <a:extLst>
                <a:ext uri="{FF2B5EF4-FFF2-40B4-BE49-F238E27FC236}">
                  <a16:creationId xmlns:a16="http://schemas.microsoft.com/office/drawing/2014/main" id="{B417B076-4D65-1F45-B283-AD78675EA3CC}"/>
                </a:ext>
              </a:extLst>
            </p:cNvPr>
            <p:cNvSpPr>
              <a:spLocks/>
            </p:cNvSpPr>
            <p:nvPr/>
          </p:nvSpPr>
          <p:spPr bwMode="auto">
            <a:xfrm>
              <a:off x="3503" y="2204"/>
              <a:ext cx="10" cy="26"/>
            </a:xfrm>
            <a:custGeom>
              <a:avLst/>
              <a:gdLst>
                <a:gd name="T0" fmla="*/ 15 w 15"/>
                <a:gd name="T1" fmla="*/ 0 h 38"/>
                <a:gd name="T2" fmla="*/ 0 w 15"/>
                <a:gd name="T3" fmla="*/ 6 h 38"/>
                <a:gd name="T4" fmla="*/ 0 w 15"/>
                <a:gd name="T5" fmla="*/ 36 h 38"/>
                <a:gd name="T6" fmla="*/ 15 w 15"/>
                <a:gd name="T7" fmla="*/ 38 h 38"/>
                <a:gd name="T8" fmla="*/ 15 w 15"/>
                <a:gd name="T9" fmla="*/ 18 h 38"/>
                <a:gd name="T10" fmla="*/ 15 w 15"/>
                <a:gd name="T11" fmla="*/ 0 h 38"/>
              </a:gdLst>
              <a:ahLst/>
              <a:cxnLst>
                <a:cxn ang="0">
                  <a:pos x="T0" y="T1"/>
                </a:cxn>
                <a:cxn ang="0">
                  <a:pos x="T2" y="T3"/>
                </a:cxn>
                <a:cxn ang="0">
                  <a:pos x="T4" y="T5"/>
                </a:cxn>
                <a:cxn ang="0">
                  <a:pos x="T6" y="T7"/>
                </a:cxn>
                <a:cxn ang="0">
                  <a:pos x="T8" y="T9"/>
                </a:cxn>
                <a:cxn ang="0">
                  <a:pos x="T10" y="T11"/>
                </a:cxn>
              </a:cxnLst>
              <a:rect l="0" t="0" r="r" b="b"/>
              <a:pathLst>
                <a:path w="15" h="38">
                  <a:moveTo>
                    <a:pt x="15" y="0"/>
                  </a:moveTo>
                  <a:lnTo>
                    <a:pt x="0" y="6"/>
                  </a:lnTo>
                  <a:lnTo>
                    <a:pt x="0" y="36"/>
                  </a:lnTo>
                  <a:lnTo>
                    <a:pt x="15" y="38"/>
                  </a:lnTo>
                  <a:lnTo>
                    <a:pt x="15" y="18"/>
                  </a:lnTo>
                  <a:lnTo>
                    <a:pt x="15" y="0"/>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89" name="Freeform 222">
              <a:extLst>
                <a:ext uri="{FF2B5EF4-FFF2-40B4-BE49-F238E27FC236}">
                  <a16:creationId xmlns:a16="http://schemas.microsoft.com/office/drawing/2014/main" id="{07D3A38D-6F4A-2E4D-A6EA-7A22E2282E81}"/>
                </a:ext>
              </a:extLst>
            </p:cNvPr>
            <p:cNvSpPr>
              <a:spLocks/>
            </p:cNvSpPr>
            <p:nvPr/>
          </p:nvSpPr>
          <p:spPr bwMode="auto">
            <a:xfrm>
              <a:off x="3564" y="2104"/>
              <a:ext cx="169" cy="164"/>
            </a:xfrm>
            <a:custGeom>
              <a:avLst/>
              <a:gdLst>
                <a:gd name="T0" fmla="*/ 15 w 256"/>
                <a:gd name="T1" fmla="*/ 159 h 247"/>
                <a:gd name="T2" fmla="*/ 0 w 256"/>
                <a:gd name="T3" fmla="*/ 121 h 247"/>
                <a:gd name="T4" fmla="*/ 54 w 256"/>
                <a:gd name="T5" fmla="*/ 91 h 247"/>
                <a:gd name="T6" fmla="*/ 58 w 256"/>
                <a:gd name="T7" fmla="*/ 76 h 247"/>
                <a:gd name="T8" fmla="*/ 54 w 256"/>
                <a:gd name="T9" fmla="*/ 63 h 247"/>
                <a:gd name="T10" fmla="*/ 55 w 256"/>
                <a:gd name="T11" fmla="*/ 45 h 247"/>
                <a:gd name="T12" fmla="*/ 51 w 256"/>
                <a:gd name="T13" fmla="*/ 31 h 247"/>
                <a:gd name="T14" fmla="*/ 58 w 256"/>
                <a:gd name="T15" fmla="*/ 22 h 247"/>
                <a:gd name="T16" fmla="*/ 72 w 256"/>
                <a:gd name="T17" fmla="*/ 27 h 247"/>
                <a:gd name="T18" fmla="*/ 88 w 256"/>
                <a:gd name="T19" fmla="*/ 0 h 247"/>
                <a:gd name="T20" fmla="*/ 105 w 256"/>
                <a:gd name="T21" fmla="*/ 9 h 247"/>
                <a:gd name="T22" fmla="*/ 135 w 256"/>
                <a:gd name="T23" fmla="*/ 9 h 247"/>
                <a:gd name="T24" fmla="*/ 157 w 256"/>
                <a:gd name="T25" fmla="*/ 45 h 247"/>
                <a:gd name="T26" fmla="*/ 183 w 256"/>
                <a:gd name="T27" fmla="*/ 49 h 247"/>
                <a:gd name="T28" fmla="*/ 171 w 256"/>
                <a:gd name="T29" fmla="*/ 60 h 247"/>
                <a:gd name="T30" fmla="*/ 178 w 256"/>
                <a:gd name="T31" fmla="*/ 70 h 247"/>
                <a:gd name="T32" fmla="*/ 160 w 256"/>
                <a:gd name="T33" fmla="*/ 85 h 247"/>
                <a:gd name="T34" fmla="*/ 165 w 256"/>
                <a:gd name="T35" fmla="*/ 108 h 247"/>
                <a:gd name="T36" fmla="*/ 184 w 256"/>
                <a:gd name="T37" fmla="*/ 124 h 247"/>
                <a:gd name="T38" fmla="*/ 183 w 256"/>
                <a:gd name="T39" fmla="*/ 135 h 247"/>
                <a:gd name="T40" fmla="*/ 214 w 256"/>
                <a:gd name="T41" fmla="*/ 150 h 247"/>
                <a:gd name="T42" fmla="*/ 231 w 256"/>
                <a:gd name="T43" fmla="*/ 168 h 247"/>
                <a:gd name="T44" fmla="*/ 228 w 256"/>
                <a:gd name="T45" fmla="*/ 192 h 247"/>
                <a:gd name="T46" fmla="*/ 243 w 256"/>
                <a:gd name="T47" fmla="*/ 195 h 247"/>
                <a:gd name="T48" fmla="*/ 240 w 256"/>
                <a:gd name="T49" fmla="*/ 210 h 247"/>
                <a:gd name="T50" fmla="*/ 256 w 256"/>
                <a:gd name="T51" fmla="*/ 220 h 247"/>
                <a:gd name="T52" fmla="*/ 246 w 256"/>
                <a:gd name="T53" fmla="*/ 225 h 247"/>
                <a:gd name="T54" fmla="*/ 225 w 256"/>
                <a:gd name="T55" fmla="*/ 219 h 247"/>
                <a:gd name="T56" fmla="*/ 211 w 256"/>
                <a:gd name="T57" fmla="*/ 226 h 247"/>
                <a:gd name="T58" fmla="*/ 208 w 256"/>
                <a:gd name="T59" fmla="*/ 247 h 247"/>
                <a:gd name="T60" fmla="*/ 159 w 256"/>
                <a:gd name="T61" fmla="*/ 246 h 247"/>
                <a:gd name="T62" fmla="*/ 124 w 256"/>
                <a:gd name="T63" fmla="*/ 216 h 247"/>
                <a:gd name="T64" fmla="*/ 87 w 256"/>
                <a:gd name="T65" fmla="*/ 186 h 247"/>
                <a:gd name="T66" fmla="*/ 66 w 256"/>
                <a:gd name="T67" fmla="*/ 178 h 247"/>
                <a:gd name="T68" fmla="*/ 46 w 256"/>
                <a:gd name="T69" fmla="*/ 163 h 247"/>
                <a:gd name="T70" fmla="*/ 15 w 256"/>
                <a:gd name="T71" fmla="*/ 15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47">
                  <a:moveTo>
                    <a:pt x="15" y="159"/>
                  </a:moveTo>
                  <a:lnTo>
                    <a:pt x="0" y="121"/>
                  </a:lnTo>
                  <a:lnTo>
                    <a:pt x="54" y="91"/>
                  </a:lnTo>
                  <a:lnTo>
                    <a:pt x="58" y="76"/>
                  </a:lnTo>
                  <a:lnTo>
                    <a:pt x="54" y="63"/>
                  </a:lnTo>
                  <a:lnTo>
                    <a:pt x="55" y="45"/>
                  </a:lnTo>
                  <a:lnTo>
                    <a:pt x="51" y="31"/>
                  </a:lnTo>
                  <a:lnTo>
                    <a:pt x="58" y="22"/>
                  </a:lnTo>
                  <a:lnTo>
                    <a:pt x="72" y="27"/>
                  </a:lnTo>
                  <a:lnTo>
                    <a:pt x="88" y="0"/>
                  </a:lnTo>
                  <a:lnTo>
                    <a:pt x="105" y="9"/>
                  </a:lnTo>
                  <a:lnTo>
                    <a:pt x="135" y="9"/>
                  </a:lnTo>
                  <a:lnTo>
                    <a:pt x="157" y="45"/>
                  </a:lnTo>
                  <a:lnTo>
                    <a:pt x="183" y="49"/>
                  </a:lnTo>
                  <a:lnTo>
                    <a:pt x="171" y="60"/>
                  </a:lnTo>
                  <a:lnTo>
                    <a:pt x="178" y="70"/>
                  </a:lnTo>
                  <a:lnTo>
                    <a:pt x="160" y="85"/>
                  </a:lnTo>
                  <a:lnTo>
                    <a:pt x="165" y="108"/>
                  </a:lnTo>
                  <a:lnTo>
                    <a:pt x="184" y="124"/>
                  </a:lnTo>
                  <a:lnTo>
                    <a:pt x="183" y="135"/>
                  </a:lnTo>
                  <a:lnTo>
                    <a:pt x="214" y="150"/>
                  </a:lnTo>
                  <a:lnTo>
                    <a:pt x="231" y="168"/>
                  </a:lnTo>
                  <a:lnTo>
                    <a:pt x="228" y="192"/>
                  </a:lnTo>
                  <a:lnTo>
                    <a:pt x="243" y="195"/>
                  </a:lnTo>
                  <a:lnTo>
                    <a:pt x="240" y="210"/>
                  </a:lnTo>
                  <a:lnTo>
                    <a:pt x="256" y="220"/>
                  </a:lnTo>
                  <a:lnTo>
                    <a:pt x="246" y="225"/>
                  </a:lnTo>
                  <a:lnTo>
                    <a:pt x="225" y="219"/>
                  </a:lnTo>
                  <a:lnTo>
                    <a:pt x="211" y="226"/>
                  </a:lnTo>
                  <a:lnTo>
                    <a:pt x="208" y="247"/>
                  </a:lnTo>
                  <a:lnTo>
                    <a:pt x="159" y="246"/>
                  </a:lnTo>
                  <a:lnTo>
                    <a:pt x="124" y="216"/>
                  </a:lnTo>
                  <a:lnTo>
                    <a:pt x="87" y="186"/>
                  </a:lnTo>
                  <a:lnTo>
                    <a:pt x="66" y="178"/>
                  </a:lnTo>
                  <a:lnTo>
                    <a:pt x="46" y="163"/>
                  </a:lnTo>
                  <a:lnTo>
                    <a:pt x="15" y="159"/>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0" name="Freeform 223">
              <a:extLst>
                <a:ext uri="{FF2B5EF4-FFF2-40B4-BE49-F238E27FC236}">
                  <a16:creationId xmlns:a16="http://schemas.microsoft.com/office/drawing/2014/main" id="{AAB9A64A-FCB0-6043-BF4C-A9A5A15327F9}"/>
                </a:ext>
              </a:extLst>
            </p:cNvPr>
            <p:cNvSpPr>
              <a:spLocks/>
            </p:cNvSpPr>
            <p:nvPr/>
          </p:nvSpPr>
          <p:spPr bwMode="auto">
            <a:xfrm>
              <a:off x="3625" y="2028"/>
              <a:ext cx="54" cy="49"/>
            </a:xfrm>
            <a:custGeom>
              <a:avLst/>
              <a:gdLst>
                <a:gd name="T0" fmla="*/ 0 w 81"/>
                <a:gd name="T1" fmla="*/ 11 h 75"/>
                <a:gd name="T2" fmla="*/ 19 w 81"/>
                <a:gd name="T3" fmla="*/ 9 h 75"/>
                <a:gd name="T4" fmla="*/ 36 w 81"/>
                <a:gd name="T5" fmla="*/ 0 h 75"/>
                <a:gd name="T6" fmla="*/ 45 w 81"/>
                <a:gd name="T7" fmla="*/ 12 h 75"/>
                <a:gd name="T8" fmla="*/ 43 w 81"/>
                <a:gd name="T9" fmla="*/ 27 h 75"/>
                <a:gd name="T10" fmla="*/ 60 w 81"/>
                <a:gd name="T11" fmla="*/ 35 h 75"/>
                <a:gd name="T12" fmla="*/ 52 w 81"/>
                <a:gd name="T13" fmla="*/ 44 h 75"/>
                <a:gd name="T14" fmla="*/ 67 w 81"/>
                <a:gd name="T15" fmla="*/ 50 h 75"/>
                <a:gd name="T16" fmla="*/ 81 w 81"/>
                <a:gd name="T17" fmla="*/ 72 h 75"/>
                <a:gd name="T18" fmla="*/ 66 w 81"/>
                <a:gd name="T19" fmla="*/ 75 h 75"/>
                <a:gd name="T20" fmla="*/ 58 w 81"/>
                <a:gd name="T21" fmla="*/ 56 h 75"/>
                <a:gd name="T22" fmla="*/ 43 w 81"/>
                <a:gd name="T23" fmla="*/ 53 h 75"/>
                <a:gd name="T24" fmla="*/ 28 w 81"/>
                <a:gd name="T25" fmla="*/ 45 h 75"/>
                <a:gd name="T26" fmla="*/ 19 w 81"/>
                <a:gd name="T27" fmla="*/ 53 h 75"/>
                <a:gd name="T28" fmla="*/ 6 w 81"/>
                <a:gd name="T29" fmla="*/ 38 h 75"/>
                <a:gd name="T30" fmla="*/ 0 w 81"/>
                <a:gd name="T31"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5">
                  <a:moveTo>
                    <a:pt x="0" y="11"/>
                  </a:moveTo>
                  <a:lnTo>
                    <a:pt x="19" y="9"/>
                  </a:lnTo>
                  <a:lnTo>
                    <a:pt x="36" y="0"/>
                  </a:lnTo>
                  <a:lnTo>
                    <a:pt x="45" y="12"/>
                  </a:lnTo>
                  <a:lnTo>
                    <a:pt x="43" y="27"/>
                  </a:lnTo>
                  <a:lnTo>
                    <a:pt x="60" y="35"/>
                  </a:lnTo>
                  <a:lnTo>
                    <a:pt x="52" y="44"/>
                  </a:lnTo>
                  <a:lnTo>
                    <a:pt x="67" y="50"/>
                  </a:lnTo>
                  <a:lnTo>
                    <a:pt x="81" y="72"/>
                  </a:lnTo>
                  <a:lnTo>
                    <a:pt x="66" y="75"/>
                  </a:lnTo>
                  <a:lnTo>
                    <a:pt x="58" y="56"/>
                  </a:lnTo>
                  <a:lnTo>
                    <a:pt x="43" y="53"/>
                  </a:lnTo>
                  <a:lnTo>
                    <a:pt x="28" y="45"/>
                  </a:lnTo>
                  <a:lnTo>
                    <a:pt x="19" y="53"/>
                  </a:lnTo>
                  <a:lnTo>
                    <a:pt x="6" y="38"/>
                  </a:lnTo>
                  <a:lnTo>
                    <a:pt x="0" y="11"/>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1" name="Freeform 224">
              <a:extLst>
                <a:ext uri="{FF2B5EF4-FFF2-40B4-BE49-F238E27FC236}">
                  <a16:creationId xmlns:a16="http://schemas.microsoft.com/office/drawing/2014/main" id="{827EC62E-6B05-9B4C-A280-B1B5C144180E}"/>
                </a:ext>
              </a:extLst>
            </p:cNvPr>
            <p:cNvSpPr>
              <a:spLocks/>
            </p:cNvSpPr>
            <p:nvPr/>
          </p:nvSpPr>
          <p:spPr bwMode="auto">
            <a:xfrm>
              <a:off x="3649" y="2016"/>
              <a:ext cx="88" cy="74"/>
            </a:xfrm>
            <a:custGeom>
              <a:avLst/>
              <a:gdLst>
                <a:gd name="T0" fmla="*/ 75 w 132"/>
                <a:gd name="T1" fmla="*/ 5 h 113"/>
                <a:gd name="T2" fmla="*/ 112 w 132"/>
                <a:gd name="T3" fmla="*/ 44 h 113"/>
                <a:gd name="T4" fmla="*/ 132 w 132"/>
                <a:gd name="T5" fmla="*/ 51 h 113"/>
                <a:gd name="T6" fmla="*/ 109 w 132"/>
                <a:gd name="T7" fmla="*/ 57 h 113"/>
                <a:gd name="T8" fmla="*/ 109 w 132"/>
                <a:gd name="T9" fmla="*/ 83 h 113"/>
                <a:gd name="T10" fmla="*/ 97 w 132"/>
                <a:gd name="T11" fmla="*/ 89 h 113"/>
                <a:gd name="T12" fmla="*/ 99 w 132"/>
                <a:gd name="T13" fmla="*/ 113 h 113"/>
                <a:gd name="T14" fmla="*/ 78 w 132"/>
                <a:gd name="T15" fmla="*/ 96 h 113"/>
                <a:gd name="T16" fmla="*/ 82 w 132"/>
                <a:gd name="T17" fmla="*/ 72 h 113"/>
                <a:gd name="T18" fmla="*/ 70 w 132"/>
                <a:gd name="T19" fmla="*/ 68 h 113"/>
                <a:gd name="T20" fmla="*/ 51 w 132"/>
                <a:gd name="T21" fmla="*/ 83 h 113"/>
                <a:gd name="T22" fmla="*/ 43 w 132"/>
                <a:gd name="T23" fmla="*/ 92 h 113"/>
                <a:gd name="T24" fmla="*/ 33 w 132"/>
                <a:gd name="T25" fmla="*/ 68 h 113"/>
                <a:gd name="T26" fmla="*/ 16 w 132"/>
                <a:gd name="T27" fmla="*/ 62 h 113"/>
                <a:gd name="T28" fmla="*/ 22 w 132"/>
                <a:gd name="T29" fmla="*/ 51 h 113"/>
                <a:gd name="T30" fmla="*/ 7 w 132"/>
                <a:gd name="T31" fmla="*/ 45 h 113"/>
                <a:gd name="T32" fmla="*/ 9 w 132"/>
                <a:gd name="T33" fmla="*/ 29 h 113"/>
                <a:gd name="T34" fmla="*/ 0 w 132"/>
                <a:gd name="T35" fmla="*/ 18 h 113"/>
                <a:gd name="T36" fmla="*/ 34 w 132"/>
                <a:gd name="T37" fmla="*/ 23 h 113"/>
                <a:gd name="T38" fmla="*/ 21 w 132"/>
                <a:gd name="T39" fmla="*/ 9 h 113"/>
                <a:gd name="T40" fmla="*/ 25 w 132"/>
                <a:gd name="T41" fmla="*/ 0 h 113"/>
                <a:gd name="T42" fmla="*/ 52 w 132"/>
                <a:gd name="T43" fmla="*/ 21 h 113"/>
                <a:gd name="T44" fmla="*/ 75 w 132"/>
                <a:gd name="T45"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13">
                  <a:moveTo>
                    <a:pt x="75" y="5"/>
                  </a:moveTo>
                  <a:lnTo>
                    <a:pt x="112" y="44"/>
                  </a:lnTo>
                  <a:lnTo>
                    <a:pt x="132" y="51"/>
                  </a:lnTo>
                  <a:lnTo>
                    <a:pt x="109" y="57"/>
                  </a:lnTo>
                  <a:lnTo>
                    <a:pt x="109" y="83"/>
                  </a:lnTo>
                  <a:lnTo>
                    <a:pt x="97" y="89"/>
                  </a:lnTo>
                  <a:lnTo>
                    <a:pt x="99" y="113"/>
                  </a:lnTo>
                  <a:lnTo>
                    <a:pt x="78" y="96"/>
                  </a:lnTo>
                  <a:lnTo>
                    <a:pt x="82" y="72"/>
                  </a:lnTo>
                  <a:lnTo>
                    <a:pt x="70" y="68"/>
                  </a:lnTo>
                  <a:lnTo>
                    <a:pt x="51" y="83"/>
                  </a:lnTo>
                  <a:lnTo>
                    <a:pt x="43" y="92"/>
                  </a:lnTo>
                  <a:lnTo>
                    <a:pt x="33" y="68"/>
                  </a:lnTo>
                  <a:lnTo>
                    <a:pt x="16" y="62"/>
                  </a:lnTo>
                  <a:lnTo>
                    <a:pt x="22" y="51"/>
                  </a:lnTo>
                  <a:lnTo>
                    <a:pt x="7" y="45"/>
                  </a:lnTo>
                  <a:lnTo>
                    <a:pt x="9" y="29"/>
                  </a:lnTo>
                  <a:lnTo>
                    <a:pt x="0" y="18"/>
                  </a:lnTo>
                  <a:lnTo>
                    <a:pt x="34" y="23"/>
                  </a:lnTo>
                  <a:lnTo>
                    <a:pt x="21" y="9"/>
                  </a:lnTo>
                  <a:lnTo>
                    <a:pt x="25" y="0"/>
                  </a:lnTo>
                  <a:lnTo>
                    <a:pt x="52" y="21"/>
                  </a:lnTo>
                  <a:lnTo>
                    <a:pt x="75" y="5"/>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2" name="Freeform 225">
              <a:extLst>
                <a:ext uri="{FF2B5EF4-FFF2-40B4-BE49-F238E27FC236}">
                  <a16:creationId xmlns:a16="http://schemas.microsoft.com/office/drawing/2014/main" id="{FE3D6D87-1EB3-AF4C-9845-F6679344BDFC}"/>
                </a:ext>
              </a:extLst>
            </p:cNvPr>
            <p:cNvSpPr>
              <a:spLocks/>
            </p:cNvSpPr>
            <p:nvPr/>
          </p:nvSpPr>
          <p:spPr bwMode="auto">
            <a:xfrm>
              <a:off x="3645" y="2057"/>
              <a:ext cx="24" cy="20"/>
            </a:xfrm>
            <a:custGeom>
              <a:avLst/>
              <a:gdLst>
                <a:gd name="T0" fmla="*/ 0 w 36"/>
                <a:gd name="T1" fmla="*/ 0 h 30"/>
                <a:gd name="T2" fmla="*/ 12 w 36"/>
                <a:gd name="T3" fmla="*/ 6 h 30"/>
                <a:gd name="T4" fmla="*/ 27 w 36"/>
                <a:gd name="T5" fmla="*/ 10 h 30"/>
                <a:gd name="T6" fmla="*/ 36 w 36"/>
                <a:gd name="T7" fmla="*/ 30 h 30"/>
                <a:gd name="T8" fmla="*/ 22 w 36"/>
                <a:gd name="T9" fmla="*/ 27 h 30"/>
                <a:gd name="T10" fmla="*/ 7 w 36"/>
                <a:gd name="T11" fmla="*/ 18 h 30"/>
                <a:gd name="T12" fmla="*/ 0 w 36"/>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0" y="0"/>
                  </a:moveTo>
                  <a:lnTo>
                    <a:pt x="12" y="6"/>
                  </a:lnTo>
                  <a:lnTo>
                    <a:pt x="27" y="10"/>
                  </a:lnTo>
                  <a:lnTo>
                    <a:pt x="36" y="30"/>
                  </a:lnTo>
                  <a:lnTo>
                    <a:pt x="22" y="27"/>
                  </a:lnTo>
                  <a:lnTo>
                    <a:pt x="7" y="18"/>
                  </a:lnTo>
                  <a:lnTo>
                    <a:pt x="0" y="0"/>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3" name="Freeform 226">
              <a:extLst>
                <a:ext uri="{FF2B5EF4-FFF2-40B4-BE49-F238E27FC236}">
                  <a16:creationId xmlns:a16="http://schemas.microsoft.com/office/drawing/2014/main" id="{E88194A3-A069-EF47-B53D-94961C7C0458}"/>
                </a:ext>
              </a:extLst>
            </p:cNvPr>
            <p:cNvSpPr>
              <a:spLocks/>
            </p:cNvSpPr>
            <p:nvPr/>
          </p:nvSpPr>
          <p:spPr bwMode="auto">
            <a:xfrm>
              <a:off x="3644" y="1759"/>
              <a:ext cx="610" cy="286"/>
            </a:xfrm>
            <a:custGeom>
              <a:avLst/>
              <a:gdLst>
                <a:gd name="T0" fmla="*/ 45 w 921"/>
                <a:gd name="T1" fmla="*/ 215 h 432"/>
                <a:gd name="T2" fmla="*/ 5 w 921"/>
                <a:gd name="T3" fmla="*/ 203 h 432"/>
                <a:gd name="T4" fmla="*/ 15 w 921"/>
                <a:gd name="T5" fmla="*/ 144 h 432"/>
                <a:gd name="T6" fmla="*/ 50 w 921"/>
                <a:gd name="T7" fmla="*/ 161 h 432"/>
                <a:gd name="T8" fmla="*/ 75 w 921"/>
                <a:gd name="T9" fmla="*/ 105 h 432"/>
                <a:gd name="T10" fmla="*/ 191 w 921"/>
                <a:gd name="T11" fmla="*/ 138 h 432"/>
                <a:gd name="T12" fmla="*/ 252 w 921"/>
                <a:gd name="T13" fmla="*/ 122 h 432"/>
                <a:gd name="T14" fmla="*/ 312 w 921"/>
                <a:gd name="T15" fmla="*/ 138 h 432"/>
                <a:gd name="T16" fmla="*/ 284 w 921"/>
                <a:gd name="T17" fmla="*/ 102 h 432"/>
                <a:gd name="T18" fmla="*/ 324 w 921"/>
                <a:gd name="T19" fmla="*/ 72 h 432"/>
                <a:gd name="T20" fmla="*/ 287 w 921"/>
                <a:gd name="T21" fmla="*/ 42 h 432"/>
                <a:gd name="T22" fmla="*/ 420 w 921"/>
                <a:gd name="T23" fmla="*/ 23 h 432"/>
                <a:gd name="T24" fmla="*/ 473 w 921"/>
                <a:gd name="T25" fmla="*/ 5 h 432"/>
                <a:gd name="T26" fmla="*/ 503 w 921"/>
                <a:gd name="T27" fmla="*/ 36 h 432"/>
                <a:gd name="T28" fmla="*/ 564 w 921"/>
                <a:gd name="T29" fmla="*/ 56 h 432"/>
                <a:gd name="T30" fmla="*/ 621 w 921"/>
                <a:gd name="T31" fmla="*/ 44 h 432"/>
                <a:gd name="T32" fmla="*/ 695 w 921"/>
                <a:gd name="T33" fmla="*/ 83 h 432"/>
                <a:gd name="T34" fmla="*/ 753 w 921"/>
                <a:gd name="T35" fmla="*/ 116 h 432"/>
                <a:gd name="T36" fmla="*/ 782 w 921"/>
                <a:gd name="T37" fmla="*/ 132 h 432"/>
                <a:gd name="T38" fmla="*/ 831 w 921"/>
                <a:gd name="T39" fmla="*/ 144 h 432"/>
                <a:gd name="T40" fmla="*/ 896 w 921"/>
                <a:gd name="T41" fmla="*/ 159 h 432"/>
                <a:gd name="T42" fmla="*/ 912 w 921"/>
                <a:gd name="T43" fmla="*/ 185 h 432"/>
                <a:gd name="T44" fmla="*/ 915 w 921"/>
                <a:gd name="T45" fmla="*/ 201 h 432"/>
                <a:gd name="T46" fmla="*/ 899 w 921"/>
                <a:gd name="T47" fmla="*/ 215 h 432"/>
                <a:gd name="T48" fmla="*/ 897 w 921"/>
                <a:gd name="T49" fmla="*/ 248 h 432"/>
                <a:gd name="T50" fmla="*/ 866 w 921"/>
                <a:gd name="T51" fmla="*/ 242 h 432"/>
                <a:gd name="T52" fmla="*/ 851 w 921"/>
                <a:gd name="T53" fmla="*/ 278 h 432"/>
                <a:gd name="T54" fmla="*/ 857 w 921"/>
                <a:gd name="T55" fmla="*/ 300 h 432"/>
                <a:gd name="T56" fmla="*/ 804 w 921"/>
                <a:gd name="T57" fmla="*/ 308 h 432"/>
                <a:gd name="T58" fmla="*/ 819 w 921"/>
                <a:gd name="T59" fmla="*/ 326 h 432"/>
                <a:gd name="T60" fmla="*/ 830 w 921"/>
                <a:gd name="T61" fmla="*/ 362 h 432"/>
                <a:gd name="T62" fmla="*/ 816 w 921"/>
                <a:gd name="T63" fmla="*/ 372 h 432"/>
                <a:gd name="T64" fmla="*/ 749 w 921"/>
                <a:gd name="T65" fmla="*/ 359 h 432"/>
                <a:gd name="T66" fmla="*/ 687 w 921"/>
                <a:gd name="T67" fmla="*/ 348 h 432"/>
                <a:gd name="T68" fmla="*/ 671 w 921"/>
                <a:gd name="T69" fmla="*/ 375 h 432"/>
                <a:gd name="T70" fmla="*/ 617 w 921"/>
                <a:gd name="T71" fmla="*/ 366 h 432"/>
                <a:gd name="T72" fmla="*/ 579 w 921"/>
                <a:gd name="T73" fmla="*/ 402 h 432"/>
                <a:gd name="T74" fmla="*/ 557 w 921"/>
                <a:gd name="T75" fmla="*/ 428 h 432"/>
                <a:gd name="T76" fmla="*/ 519 w 921"/>
                <a:gd name="T77" fmla="*/ 411 h 432"/>
                <a:gd name="T78" fmla="*/ 497 w 921"/>
                <a:gd name="T79" fmla="*/ 383 h 432"/>
                <a:gd name="T80" fmla="*/ 459 w 921"/>
                <a:gd name="T81" fmla="*/ 339 h 432"/>
                <a:gd name="T82" fmla="*/ 363 w 921"/>
                <a:gd name="T83" fmla="*/ 317 h 432"/>
                <a:gd name="T84" fmla="*/ 240 w 921"/>
                <a:gd name="T85" fmla="*/ 300 h 432"/>
                <a:gd name="T86" fmla="*/ 251 w 921"/>
                <a:gd name="T87" fmla="*/ 413 h 432"/>
                <a:gd name="T88" fmla="*/ 216 w 921"/>
                <a:gd name="T89" fmla="*/ 378 h 432"/>
                <a:gd name="T90" fmla="*/ 182 w 921"/>
                <a:gd name="T91" fmla="*/ 410 h 432"/>
                <a:gd name="T92" fmla="*/ 179 w 921"/>
                <a:gd name="T93" fmla="*/ 365 h 432"/>
                <a:gd name="T94" fmla="*/ 131 w 921"/>
                <a:gd name="T95" fmla="*/ 330 h 432"/>
                <a:gd name="T96" fmla="*/ 107 w 921"/>
                <a:gd name="T97" fmla="*/ 305 h 432"/>
                <a:gd name="T98" fmla="*/ 125 w 921"/>
                <a:gd name="T99" fmla="*/ 300 h 432"/>
                <a:gd name="T100" fmla="*/ 188 w 921"/>
                <a:gd name="T101" fmla="*/ 291 h 432"/>
                <a:gd name="T102" fmla="*/ 183 w 921"/>
                <a:gd name="T103" fmla="*/ 326 h 432"/>
                <a:gd name="T104" fmla="*/ 200 w 921"/>
                <a:gd name="T105" fmla="*/ 299 h 432"/>
                <a:gd name="T106" fmla="*/ 131 w 921"/>
                <a:gd name="T107" fmla="*/ 246 h 432"/>
                <a:gd name="T108" fmla="*/ 95 w 921"/>
                <a:gd name="T109" fmla="*/ 246 h 432"/>
                <a:gd name="T110" fmla="*/ 74 w 921"/>
                <a:gd name="T111" fmla="*/ 2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1" h="432">
                  <a:moveTo>
                    <a:pt x="74" y="263"/>
                  </a:moveTo>
                  <a:lnTo>
                    <a:pt x="45" y="215"/>
                  </a:lnTo>
                  <a:lnTo>
                    <a:pt x="30" y="222"/>
                  </a:lnTo>
                  <a:lnTo>
                    <a:pt x="5" y="203"/>
                  </a:lnTo>
                  <a:lnTo>
                    <a:pt x="0" y="161"/>
                  </a:lnTo>
                  <a:lnTo>
                    <a:pt x="15" y="144"/>
                  </a:lnTo>
                  <a:lnTo>
                    <a:pt x="30" y="159"/>
                  </a:lnTo>
                  <a:lnTo>
                    <a:pt x="50" y="161"/>
                  </a:lnTo>
                  <a:lnTo>
                    <a:pt x="33" y="137"/>
                  </a:lnTo>
                  <a:lnTo>
                    <a:pt x="75" y="105"/>
                  </a:lnTo>
                  <a:lnTo>
                    <a:pt x="107" y="107"/>
                  </a:lnTo>
                  <a:lnTo>
                    <a:pt x="191" y="138"/>
                  </a:lnTo>
                  <a:lnTo>
                    <a:pt x="203" y="132"/>
                  </a:lnTo>
                  <a:lnTo>
                    <a:pt x="252" y="122"/>
                  </a:lnTo>
                  <a:lnTo>
                    <a:pt x="278" y="135"/>
                  </a:lnTo>
                  <a:lnTo>
                    <a:pt x="312" y="138"/>
                  </a:lnTo>
                  <a:lnTo>
                    <a:pt x="323" y="117"/>
                  </a:lnTo>
                  <a:lnTo>
                    <a:pt x="284" y="102"/>
                  </a:lnTo>
                  <a:lnTo>
                    <a:pt x="293" y="71"/>
                  </a:lnTo>
                  <a:lnTo>
                    <a:pt x="324" y="72"/>
                  </a:lnTo>
                  <a:lnTo>
                    <a:pt x="297" y="62"/>
                  </a:lnTo>
                  <a:lnTo>
                    <a:pt x="287" y="42"/>
                  </a:lnTo>
                  <a:lnTo>
                    <a:pt x="353" y="35"/>
                  </a:lnTo>
                  <a:lnTo>
                    <a:pt x="420" y="23"/>
                  </a:lnTo>
                  <a:lnTo>
                    <a:pt x="440" y="0"/>
                  </a:lnTo>
                  <a:lnTo>
                    <a:pt x="473" y="5"/>
                  </a:lnTo>
                  <a:lnTo>
                    <a:pt x="498" y="15"/>
                  </a:lnTo>
                  <a:lnTo>
                    <a:pt x="503" y="36"/>
                  </a:lnTo>
                  <a:lnTo>
                    <a:pt x="549" y="38"/>
                  </a:lnTo>
                  <a:lnTo>
                    <a:pt x="564" y="56"/>
                  </a:lnTo>
                  <a:lnTo>
                    <a:pt x="633" y="17"/>
                  </a:lnTo>
                  <a:lnTo>
                    <a:pt x="621" y="44"/>
                  </a:lnTo>
                  <a:lnTo>
                    <a:pt x="663" y="62"/>
                  </a:lnTo>
                  <a:lnTo>
                    <a:pt x="695" y="83"/>
                  </a:lnTo>
                  <a:lnTo>
                    <a:pt x="740" y="137"/>
                  </a:lnTo>
                  <a:lnTo>
                    <a:pt x="753" y="116"/>
                  </a:lnTo>
                  <a:lnTo>
                    <a:pt x="764" y="114"/>
                  </a:lnTo>
                  <a:lnTo>
                    <a:pt x="782" y="132"/>
                  </a:lnTo>
                  <a:lnTo>
                    <a:pt x="816" y="125"/>
                  </a:lnTo>
                  <a:lnTo>
                    <a:pt x="831" y="144"/>
                  </a:lnTo>
                  <a:lnTo>
                    <a:pt x="879" y="167"/>
                  </a:lnTo>
                  <a:lnTo>
                    <a:pt x="896" y="159"/>
                  </a:lnTo>
                  <a:lnTo>
                    <a:pt x="918" y="176"/>
                  </a:lnTo>
                  <a:lnTo>
                    <a:pt x="912" y="185"/>
                  </a:lnTo>
                  <a:lnTo>
                    <a:pt x="921" y="192"/>
                  </a:lnTo>
                  <a:lnTo>
                    <a:pt x="915" y="201"/>
                  </a:lnTo>
                  <a:lnTo>
                    <a:pt x="896" y="198"/>
                  </a:lnTo>
                  <a:lnTo>
                    <a:pt x="899" y="215"/>
                  </a:lnTo>
                  <a:lnTo>
                    <a:pt x="909" y="233"/>
                  </a:lnTo>
                  <a:lnTo>
                    <a:pt x="897" y="248"/>
                  </a:lnTo>
                  <a:lnTo>
                    <a:pt x="887" y="237"/>
                  </a:lnTo>
                  <a:lnTo>
                    <a:pt x="866" y="242"/>
                  </a:lnTo>
                  <a:lnTo>
                    <a:pt x="848" y="234"/>
                  </a:lnTo>
                  <a:lnTo>
                    <a:pt x="851" y="278"/>
                  </a:lnTo>
                  <a:lnTo>
                    <a:pt x="860" y="290"/>
                  </a:lnTo>
                  <a:lnTo>
                    <a:pt x="857" y="300"/>
                  </a:lnTo>
                  <a:lnTo>
                    <a:pt x="839" y="288"/>
                  </a:lnTo>
                  <a:lnTo>
                    <a:pt x="804" y="308"/>
                  </a:lnTo>
                  <a:lnTo>
                    <a:pt x="819" y="306"/>
                  </a:lnTo>
                  <a:lnTo>
                    <a:pt x="819" y="326"/>
                  </a:lnTo>
                  <a:lnTo>
                    <a:pt x="839" y="348"/>
                  </a:lnTo>
                  <a:lnTo>
                    <a:pt x="830" y="362"/>
                  </a:lnTo>
                  <a:lnTo>
                    <a:pt x="837" y="386"/>
                  </a:lnTo>
                  <a:lnTo>
                    <a:pt x="816" y="372"/>
                  </a:lnTo>
                  <a:lnTo>
                    <a:pt x="797" y="360"/>
                  </a:lnTo>
                  <a:lnTo>
                    <a:pt x="749" y="359"/>
                  </a:lnTo>
                  <a:lnTo>
                    <a:pt x="705" y="363"/>
                  </a:lnTo>
                  <a:lnTo>
                    <a:pt x="687" y="348"/>
                  </a:lnTo>
                  <a:lnTo>
                    <a:pt x="668" y="356"/>
                  </a:lnTo>
                  <a:lnTo>
                    <a:pt x="671" y="375"/>
                  </a:lnTo>
                  <a:lnTo>
                    <a:pt x="635" y="366"/>
                  </a:lnTo>
                  <a:lnTo>
                    <a:pt x="617" y="366"/>
                  </a:lnTo>
                  <a:lnTo>
                    <a:pt x="606" y="383"/>
                  </a:lnTo>
                  <a:lnTo>
                    <a:pt x="579" y="402"/>
                  </a:lnTo>
                  <a:lnTo>
                    <a:pt x="569" y="432"/>
                  </a:lnTo>
                  <a:lnTo>
                    <a:pt x="557" y="428"/>
                  </a:lnTo>
                  <a:lnTo>
                    <a:pt x="557" y="410"/>
                  </a:lnTo>
                  <a:lnTo>
                    <a:pt x="519" y="411"/>
                  </a:lnTo>
                  <a:lnTo>
                    <a:pt x="510" y="380"/>
                  </a:lnTo>
                  <a:lnTo>
                    <a:pt x="497" y="383"/>
                  </a:lnTo>
                  <a:lnTo>
                    <a:pt x="494" y="360"/>
                  </a:lnTo>
                  <a:lnTo>
                    <a:pt x="459" y="339"/>
                  </a:lnTo>
                  <a:lnTo>
                    <a:pt x="395" y="344"/>
                  </a:lnTo>
                  <a:lnTo>
                    <a:pt x="363" y="317"/>
                  </a:lnTo>
                  <a:lnTo>
                    <a:pt x="300" y="285"/>
                  </a:lnTo>
                  <a:lnTo>
                    <a:pt x="240" y="300"/>
                  </a:lnTo>
                  <a:lnTo>
                    <a:pt x="261" y="410"/>
                  </a:lnTo>
                  <a:lnTo>
                    <a:pt x="251" y="413"/>
                  </a:lnTo>
                  <a:lnTo>
                    <a:pt x="240" y="389"/>
                  </a:lnTo>
                  <a:lnTo>
                    <a:pt x="216" y="378"/>
                  </a:lnTo>
                  <a:lnTo>
                    <a:pt x="189" y="381"/>
                  </a:lnTo>
                  <a:lnTo>
                    <a:pt x="182" y="410"/>
                  </a:lnTo>
                  <a:lnTo>
                    <a:pt x="174" y="386"/>
                  </a:lnTo>
                  <a:lnTo>
                    <a:pt x="179" y="365"/>
                  </a:lnTo>
                  <a:lnTo>
                    <a:pt x="140" y="353"/>
                  </a:lnTo>
                  <a:lnTo>
                    <a:pt x="131" y="330"/>
                  </a:lnTo>
                  <a:lnTo>
                    <a:pt x="108" y="323"/>
                  </a:lnTo>
                  <a:lnTo>
                    <a:pt x="107" y="305"/>
                  </a:lnTo>
                  <a:lnTo>
                    <a:pt x="135" y="317"/>
                  </a:lnTo>
                  <a:lnTo>
                    <a:pt x="125" y="300"/>
                  </a:lnTo>
                  <a:lnTo>
                    <a:pt x="132" y="290"/>
                  </a:lnTo>
                  <a:cubicBezTo>
                    <a:pt x="155" y="291"/>
                    <a:pt x="166" y="293"/>
                    <a:pt x="188" y="291"/>
                  </a:cubicBezTo>
                  <a:cubicBezTo>
                    <a:pt x="193" y="299"/>
                    <a:pt x="188" y="302"/>
                    <a:pt x="180" y="305"/>
                  </a:cubicBezTo>
                  <a:cubicBezTo>
                    <a:pt x="179" y="313"/>
                    <a:pt x="173" y="321"/>
                    <a:pt x="183" y="326"/>
                  </a:cubicBezTo>
                  <a:cubicBezTo>
                    <a:pt x="186" y="319"/>
                    <a:pt x="184" y="316"/>
                    <a:pt x="191" y="312"/>
                  </a:cubicBezTo>
                  <a:cubicBezTo>
                    <a:pt x="194" y="308"/>
                    <a:pt x="197" y="303"/>
                    <a:pt x="200" y="299"/>
                  </a:cubicBezTo>
                  <a:cubicBezTo>
                    <a:pt x="196" y="284"/>
                    <a:pt x="192" y="288"/>
                    <a:pt x="174" y="287"/>
                  </a:cubicBezTo>
                  <a:cubicBezTo>
                    <a:pt x="165" y="244"/>
                    <a:pt x="179" y="250"/>
                    <a:pt x="131" y="246"/>
                  </a:cubicBezTo>
                  <a:cubicBezTo>
                    <a:pt x="125" y="243"/>
                    <a:pt x="123" y="240"/>
                    <a:pt x="116" y="239"/>
                  </a:cubicBezTo>
                  <a:cubicBezTo>
                    <a:pt x="109" y="238"/>
                    <a:pt x="101" y="243"/>
                    <a:pt x="95" y="246"/>
                  </a:cubicBezTo>
                  <a:cubicBezTo>
                    <a:pt x="89" y="249"/>
                    <a:pt x="84" y="252"/>
                    <a:pt x="81" y="255"/>
                  </a:cubicBezTo>
                  <a:cubicBezTo>
                    <a:pt x="80" y="259"/>
                    <a:pt x="80" y="263"/>
                    <a:pt x="74" y="263"/>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4" name="Freeform 227">
              <a:extLst>
                <a:ext uri="{FF2B5EF4-FFF2-40B4-BE49-F238E27FC236}">
                  <a16:creationId xmlns:a16="http://schemas.microsoft.com/office/drawing/2014/main" id="{A7056A7B-8764-274D-A477-F159348228C2}"/>
                </a:ext>
              </a:extLst>
            </p:cNvPr>
            <p:cNvSpPr>
              <a:spLocks/>
            </p:cNvSpPr>
            <p:nvPr/>
          </p:nvSpPr>
          <p:spPr bwMode="auto">
            <a:xfrm>
              <a:off x="4036" y="1989"/>
              <a:ext cx="163" cy="82"/>
            </a:xfrm>
            <a:custGeom>
              <a:avLst/>
              <a:gdLst>
                <a:gd name="T0" fmla="*/ 246 w 246"/>
                <a:gd name="T1" fmla="*/ 39 h 124"/>
                <a:gd name="T2" fmla="*/ 224 w 246"/>
                <a:gd name="T3" fmla="*/ 24 h 124"/>
                <a:gd name="T4" fmla="*/ 203 w 246"/>
                <a:gd name="T5" fmla="*/ 13 h 124"/>
                <a:gd name="T6" fmla="*/ 156 w 246"/>
                <a:gd name="T7" fmla="*/ 12 h 124"/>
                <a:gd name="T8" fmla="*/ 113 w 246"/>
                <a:gd name="T9" fmla="*/ 16 h 124"/>
                <a:gd name="T10" fmla="*/ 95 w 246"/>
                <a:gd name="T11" fmla="*/ 0 h 124"/>
                <a:gd name="T12" fmla="*/ 75 w 246"/>
                <a:gd name="T13" fmla="*/ 10 h 124"/>
                <a:gd name="T14" fmla="*/ 78 w 246"/>
                <a:gd name="T15" fmla="*/ 28 h 124"/>
                <a:gd name="T16" fmla="*/ 44 w 246"/>
                <a:gd name="T17" fmla="*/ 18 h 124"/>
                <a:gd name="T18" fmla="*/ 24 w 246"/>
                <a:gd name="T19" fmla="*/ 18 h 124"/>
                <a:gd name="T20" fmla="*/ 18 w 246"/>
                <a:gd name="T21" fmla="*/ 33 h 124"/>
                <a:gd name="T22" fmla="*/ 30 w 246"/>
                <a:gd name="T23" fmla="*/ 36 h 124"/>
                <a:gd name="T24" fmla="*/ 11 w 246"/>
                <a:gd name="T25" fmla="*/ 57 h 124"/>
                <a:gd name="T26" fmla="*/ 39 w 246"/>
                <a:gd name="T27" fmla="*/ 66 h 124"/>
                <a:gd name="T28" fmla="*/ 47 w 246"/>
                <a:gd name="T29" fmla="*/ 54 h 124"/>
                <a:gd name="T30" fmla="*/ 66 w 246"/>
                <a:gd name="T31" fmla="*/ 70 h 124"/>
                <a:gd name="T32" fmla="*/ 92 w 246"/>
                <a:gd name="T33" fmla="*/ 76 h 124"/>
                <a:gd name="T34" fmla="*/ 71 w 246"/>
                <a:gd name="T35" fmla="*/ 87 h 124"/>
                <a:gd name="T36" fmla="*/ 59 w 246"/>
                <a:gd name="T37" fmla="*/ 97 h 124"/>
                <a:gd name="T38" fmla="*/ 47 w 246"/>
                <a:gd name="T39" fmla="*/ 90 h 124"/>
                <a:gd name="T40" fmla="*/ 30 w 246"/>
                <a:gd name="T41" fmla="*/ 100 h 124"/>
                <a:gd name="T42" fmla="*/ 11 w 246"/>
                <a:gd name="T43" fmla="*/ 91 h 124"/>
                <a:gd name="T44" fmla="*/ 0 w 246"/>
                <a:gd name="T45" fmla="*/ 105 h 124"/>
                <a:gd name="T46" fmla="*/ 6 w 246"/>
                <a:gd name="T47" fmla="*/ 117 h 124"/>
                <a:gd name="T48" fmla="*/ 32 w 246"/>
                <a:gd name="T49" fmla="*/ 109 h 124"/>
                <a:gd name="T50" fmla="*/ 41 w 246"/>
                <a:gd name="T51" fmla="*/ 120 h 124"/>
                <a:gd name="T52" fmla="*/ 57 w 246"/>
                <a:gd name="T53" fmla="*/ 111 h 124"/>
                <a:gd name="T54" fmla="*/ 75 w 246"/>
                <a:gd name="T55" fmla="*/ 124 h 124"/>
                <a:gd name="T56" fmla="*/ 86 w 246"/>
                <a:gd name="T57" fmla="*/ 115 h 124"/>
                <a:gd name="T58" fmla="*/ 111 w 246"/>
                <a:gd name="T59" fmla="*/ 115 h 124"/>
                <a:gd name="T60" fmla="*/ 113 w 246"/>
                <a:gd name="T61" fmla="*/ 100 h 124"/>
                <a:gd name="T62" fmla="*/ 126 w 246"/>
                <a:gd name="T63" fmla="*/ 91 h 124"/>
                <a:gd name="T64" fmla="*/ 147 w 246"/>
                <a:gd name="T65" fmla="*/ 85 h 124"/>
                <a:gd name="T66" fmla="*/ 156 w 246"/>
                <a:gd name="T67" fmla="*/ 91 h 124"/>
                <a:gd name="T68" fmla="*/ 171 w 246"/>
                <a:gd name="T69" fmla="*/ 90 h 124"/>
                <a:gd name="T70" fmla="*/ 177 w 246"/>
                <a:gd name="T71" fmla="*/ 69 h 124"/>
                <a:gd name="T72" fmla="*/ 203 w 246"/>
                <a:gd name="T73" fmla="*/ 70 h 124"/>
                <a:gd name="T74" fmla="*/ 209 w 246"/>
                <a:gd name="T75" fmla="*/ 57 h 124"/>
                <a:gd name="T76" fmla="*/ 246 w 246"/>
                <a:gd name="T77" fmla="*/ 3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6" h="124">
                  <a:moveTo>
                    <a:pt x="246" y="39"/>
                  </a:moveTo>
                  <a:lnTo>
                    <a:pt x="224" y="24"/>
                  </a:lnTo>
                  <a:lnTo>
                    <a:pt x="203" y="13"/>
                  </a:lnTo>
                  <a:lnTo>
                    <a:pt x="156" y="12"/>
                  </a:lnTo>
                  <a:lnTo>
                    <a:pt x="113" y="16"/>
                  </a:lnTo>
                  <a:lnTo>
                    <a:pt x="95" y="0"/>
                  </a:lnTo>
                  <a:lnTo>
                    <a:pt x="75" y="10"/>
                  </a:lnTo>
                  <a:lnTo>
                    <a:pt x="78" y="28"/>
                  </a:lnTo>
                  <a:lnTo>
                    <a:pt x="44" y="18"/>
                  </a:lnTo>
                  <a:lnTo>
                    <a:pt x="24" y="18"/>
                  </a:lnTo>
                  <a:lnTo>
                    <a:pt x="18" y="33"/>
                  </a:lnTo>
                  <a:lnTo>
                    <a:pt x="30" y="36"/>
                  </a:lnTo>
                  <a:lnTo>
                    <a:pt x="11" y="57"/>
                  </a:lnTo>
                  <a:lnTo>
                    <a:pt x="39" y="66"/>
                  </a:lnTo>
                  <a:lnTo>
                    <a:pt x="47" y="54"/>
                  </a:lnTo>
                  <a:lnTo>
                    <a:pt x="66" y="70"/>
                  </a:lnTo>
                  <a:lnTo>
                    <a:pt x="92" y="76"/>
                  </a:lnTo>
                  <a:lnTo>
                    <a:pt x="71" y="87"/>
                  </a:lnTo>
                  <a:lnTo>
                    <a:pt x="59" y="97"/>
                  </a:lnTo>
                  <a:lnTo>
                    <a:pt x="47" y="90"/>
                  </a:lnTo>
                  <a:lnTo>
                    <a:pt x="30" y="100"/>
                  </a:lnTo>
                  <a:lnTo>
                    <a:pt x="11" y="91"/>
                  </a:lnTo>
                  <a:lnTo>
                    <a:pt x="0" y="105"/>
                  </a:lnTo>
                  <a:lnTo>
                    <a:pt x="6" y="117"/>
                  </a:lnTo>
                  <a:lnTo>
                    <a:pt x="32" y="109"/>
                  </a:lnTo>
                  <a:lnTo>
                    <a:pt x="41" y="120"/>
                  </a:lnTo>
                  <a:lnTo>
                    <a:pt x="57" y="111"/>
                  </a:lnTo>
                  <a:lnTo>
                    <a:pt x="75" y="124"/>
                  </a:lnTo>
                  <a:lnTo>
                    <a:pt x="86" y="115"/>
                  </a:lnTo>
                  <a:lnTo>
                    <a:pt x="111" y="115"/>
                  </a:lnTo>
                  <a:lnTo>
                    <a:pt x="113" y="100"/>
                  </a:lnTo>
                  <a:lnTo>
                    <a:pt x="126" y="91"/>
                  </a:lnTo>
                  <a:lnTo>
                    <a:pt x="147" y="85"/>
                  </a:lnTo>
                  <a:lnTo>
                    <a:pt x="156" y="91"/>
                  </a:lnTo>
                  <a:lnTo>
                    <a:pt x="171" y="90"/>
                  </a:lnTo>
                  <a:lnTo>
                    <a:pt x="177" y="69"/>
                  </a:lnTo>
                  <a:lnTo>
                    <a:pt x="203" y="70"/>
                  </a:lnTo>
                  <a:lnTo>
                    <a:pt x="209" y="57"/>
                  </a:lnTo>
                  <a:lnTo>
                    <a:pt x="246" y="39"/>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5" name="Freeform 228">
              <a:extLst>
                <a:ext uri="{FF2B5EF4-FFF2-40B4-BE49-F238E27FC236}">
                  <a16:creationId xmlns:a16="http://schemas.microsoft.com/office/drawing/2014/main" id="{1245AB85-03AC-6249-93B3-0A7AEE8F67D1}"/>
                </a:ext>
              </a:extLst>
            </p:cNvPr>
            <p:cNvSpPr>
              <a:spLocks/>
            </p:cNvSpPr>
            <p:nvPr/>
          </p:nvSpPr>
          <p:spPr bwMode="auto">
            <a:xfrm>
              <a:off x="3802" y="1948"/>
              <a:ext cx="295" cy="162"/>
            </a:xfrm>
            <a:custGeom>
              <a:avLst/>
              <a:gdLst>
                <a:gd name="T0" fmla="*/ 22 w 444"/>
                <a:gd name="T1" fmla="*/ 125 h 245"/>
                <a:gd name="T2" fmla="*/ 0 w 444"/>
                <a:gd name="T3" fmla="*/ 14 h 245"/>
                <a:gd name="T4" fmla="*/ 60 w 444"/>
                <a:gd name="T5" fmla="*/ 0 h 245"/>
                <a:gd name="T6" fmla="*/ 126 w 444"/>
                <a:gd name="T7" fmla="*/ 32 h 245"/>
                <a:gd name="T8" fmla="*/ 156 w 444"/>
                <a:gd name="T9" fmla="*/ 60 h 245"/>
                <a:gd name="T10" fmla="*/ 219 w 444"/>
                <a:gd name="T11" fmla="*/ 54 h 245"/>
                <a:gd name="T12" fmla="*/ 256 w 444"/>
                <a:gd name="T13" fmla="*/ 77 h 245"/>
                <a:gd name="T14" fmla="*/ 258 w 444"/>
                <a:gd name="T15" fmla="*/ 99 h 245"/>
                <a:gd name="T16" fmla="*/ 270 w 444"/>
                <a:gd name="T17" fmla="*/ 95 h 245"/>
                <a:gd name="T18" fmla="*/ 280 w 444"/>
                <a:gd name="T19" fmla="*/ 125 h 245"/>
                <a:gd name="T20" fmla="*/ 318 w 444"/>
                <a:gd name="T21" fmla="*/ 126 h 245"/>
                <a:gd name="T22" fmla="*/ 318 w 444"/>
                <a:gd name="T23" fmla="*/ 143 h 245"/>
                <a:gd name="T24" fmla="*/ 328 w 444"/>
                <a:gd name="T25" fmla="*/ 147 h 245"/>
                <a:gd name="T26" fmla="*/ 340 w 444"/>
                <a:gd name="T27" fmla="*/ 116 h 245"/>
                <a:gd name="T28" fmla="*/ 369 w 444"/>
                <a:gd name="T29" fmla="*/ 95 h 245"/>
                <a:gd name="T30" fmla="*/ 381 w 444"/>
                <a:gd name="T31" fmla="*/ 98 h 245"/>
                <a:gd name="T32" fmla="*/ 364 w 444"/>
                <a:gd name="T33" fmla="*/ 119 h 245"/>
                <a:gd name="T34" fmla="*/ 390 w 444"/>
                <a:gd name="T35" fmla="*/ 128 h 245"/>
                <a:gd name="T36" fmla="*/ 399 w 444"/>
                <a:gd name="T37" fmla="*/ 117 h 245"/>
                <a:gd name="T38" fmla="*/ 417 w 444"/>
                <a:gd name="T39" fmla="*/ 134 h 245"/>
                <a:gd name="T40" fmla="*/ 444 w 444"/>
                <a:gd name="T41" fmla="*/ 137 h 245"/>
                <a:gd name="T42" fmla="*/ 423 w 444"/>
                <a:gd name="T43" fmla="*/ 149 h 245"/>
                <a:gd name="T44" fmla="*/ 411 w 444"/>
                <a:gd name="T45" fmla="*/ 159 h 245"/>
                <a:gd name="T46" fmla="*/ 399 w 444"/>
                <a:gd name="T47" fmla="*/ 152 h 245"/>
                <a:gd name="T48" fmla="*/ 382 w 444"/>
                <a:gd name="T49" fmla="*/ 159 h 245"/>
                <a:gd name="T50" fmla="*/ 376 w 444"/>
                <a:gd name="T51" fmla="*/ 147 h 245"/>
                <a:gd name="T52" fmla="*/ 384 w 444"/>
                <a:gd name="T53" fmla="*/ 140 h 245"/>
                <a:gd name="T54" fmla="*/ 372 w 444"/>
                <a:gd name="T55" fmla="*/ 132 h 245"/>
                <a:gd name="T56" fmla="*/ 361 w 444"/>
                <a:gd name="T57" fmla="*/ 143 h 245"/>
                <a:gd name="T58" fmla="*/ 351 w 444"/>
                <a:gd name="T59" fmla="*/ 137 h 245"/>
                <a:gd name="T60" fmla="*/ 343 w 444"/>
                <a:gd name="T61" fmla="*/ 146 h 245"/>
                <a:gd name="T62" fmla="*/ 351 w 444"/>
                <a:gd name="T63" fmla="*/ 155 h 245"/>
                <a:gd name="T64" fmla="*/ 336 w 444"/>
                <a:gd name="T65" fmla="*/ 156 h 245"/>
                <a:gd name="T66" fmla="*/ 339 w 444"/>
                <a:gd name="T67" fmla="*/ 177 h 245"/>
                <a:gd name="T68" fmla="*/ 322 w 444"/>
                <a:gd name="T69" fmla="*/ 173 h 245"/>
                <a:gd name="T70" fmla="*/ 309 w 444"/>
                <a:gd name="T71" fmla="*/ 180 h 245"/>
                <a:gd name="T72" fmla="*/ 315 w 444"/>
                <a:gd name="T73" fmla="*/ 188 h 245"/>
                <a:gd name="T74" fmla="*/ 334 w 444"/>
                <a:gd name="T75" fmla="*/ 194 h 245"/>
                <a:gd name="T76" fmla="*/ 334 w 444"/>
                <a:gd name="T77" fmla="*/ 204 h 245"/>
                <a:gd name="T78" fmla="*/ 345 w 444"/>
                <a:gd name="T79" fmla="*/ 216 h 245"/>
                <a:gd name="T80" fmla="*/ 334 w 444"/>
                <a:gd name="T81" fmla="*/ 230 h 245"/>
                <a:gd name="T82" fmla="*/ 334 w 444"/>
                <a:gd name="T83" fmla="*/ 245 h 245"/>
                <a:gd name="T84" fmla="*/ 301 w 444"/>
                <a:gd name="T85" fmla="*/ 239 h 245"/>
                <a:gd name="T86" fmla="*/ 300 w 444"/>
                <a:gd name="T87" fmla="*/ 216 h 245"/>
                <a:gd name="T88" fmla="*/ 268 w 444"/>
                <a:gd name="T89" fmla="*/ 207 h 245"/>
                <a:gd name="T90" fmla="*/ 211 w 444"/>
                <a:gd name="T91" fmla="*/ 177 h 245"/>
                <a:gd name="T92" fmla="*/ 187 w 444"/>
                <a:gd name="T93" fmla="*/ 161 h 245"/>
                <a:gd name="T94" fmla="*/ 162 w 444"/>
                <a:gd name="T95" fmla="*/ 125 h 245"/>
                <a:gd name="T96" fmla="*/ 124 w 444"/>
                <a:gd name="T97" fmla="*/ 123 h 245"/>
                <a:gd name="T98" fmla="*/ 114 w 444"/>
                <a:gd name="T99" fmla="*/ 92 h 245"/>
                <a:gd name="T100" fmla="*/ 97 w 444"/>
                <a:gd name="T101" fmla="*/ 95 h 245"/>
                <a:gd name="T102" fmla="*/ 75 w 444"/>
                <a:gd name="T103" fmla="*/ 78 h 245"/>
                <a:gd name="T104" fmla="*/ 63 w 444"/>
                <a:gd name="T105" fmla="*/ 99 h 245"/>
                <a:gd name="T106" fmla="*/ 52 w 444"/>
                <a:gd name="T107" fmla="*/ 98 h 245"/>
                <a:gd name="T108" fmla="*/ 42 w 444"/>
                <a:gd name="T109" fmla="*/ 110 h 245"/>
                <a:gd name="T110" fmla="*/ 52 w 444"/>
                <a:gd name="T111" fmla="*/ 128 h 245"/>
                <a:gd name="T112" fmla="*/ 22 w 444"/>
                <a:gd name="T113" fmla="*/ 12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245">
                  <a:moveTo>
                    <a:pt x="22" y="125"/>
                  </a:moveTo>
                  <a:lnTo>
                    <a:pt x="0" y="14"/>
                  </a:lnTo>
                  <a:lnTo>
                    <a:pt x="60" y="0"/>
                  </a:lnTo>
                  <a:lnTo>
                    <a:pt x="126" y="32"/>
                  </a:lnTo>
                  <a:lnTo>
                    <a:pt x="156" y="60"/>
                  </a:lnTo>
                  <a:lnTo>
                    <a:pt x="219" y="54"/>
                  </a:lnTo>
                  <a:lnTo>
                    <a:pt x="256" y="77"/>
                  </a:lnTo>
                  <a:lnTo>
                    <a:pt x="258" y="99"/>
                  </a:lnTo>
                  <a:lnTo>
                    <a:pt x="270" y="95"/>
                  </a:lnTo>
                  <a:lnTo>
                    <a:pt x="280" y="125"/>
                  </a:lnTo>
                  <a:lnTo>
                    <a:pt x="318" y="126"/>
                  </a:lnTo>
                  <a:lnTo>
                    <a:pt x="318" y="143"/>
                  </a:lnTo>
                  <a:lnTo>
                    <a:pt x="328" y="147"/>
                  </a:lnTo>
                  <a:lnTo>
                    <a:pt x="340" y="116"/>
                  </a:lnTo>
                  <a:lnTo>
                    <a:pt x="369" y="95"/>
                  </a:lnTo>
                  <a:lnTo>
                    <a:pt x="381" y="98"/>
                  </a:lnTo>
                  <a:lnTo>
                    <a:pt x="364" y="119"/>
                  </a:lnTo>
                  <a:lnTo>
                    <a:pt x="390" y="128"/>
                  </a:lnTo>
                  <a:lnTo>
                    <a:pt x="399" y="117"/>
                  </a:lnTo>
                  <a:lnTo>
                    <a:pt x="417" y="134"/>
                  </a:lnTo>
                  <a:lnTo>
                    <a:pt x="444" y="137"/>
                  </a:lnTo>
                  <a:lnTo>
                    <a:pt x="423" y="149"/>
                  </a:lnTo>
                  <a:lnTo>
                    <a:pt x="411" y="159"/>
                  </a:lnTo>
                  <a:lnTo>
                    <a:pt x="399" y="152"/>
                  </a:lnTo>
                  <a:lnTo>
                    <a:pt x="382" y="159"/>
                  </a:lnTo>
                  <a:lnTo>
                    <a:pt x="376" y="147"/>
                  </a:lnTo>
                  <a:lnTo>
                    <a:pt x="384" y="140"/>
                  </a:lnTo>
                  <a:lnTo>
                    <a:pt x="372" y="132"/>
                  </a:lnTo>
                  <a:lnTo>
                    <a:pt x="361" y="143"/>
                  </a:lnTo>
                  <a:lnTo>
                    <a:pt x="351" y="137"/>
                  </a:lnTo>
                  <a:lnTo>
                    <a:pt x="343" y="146"/>
                  </a:lnTo>
                  <a:lnTo>
                    <a:pt x="351" y="155"/>
                  </a:lnTo>
                  <a:lnTo>
                    <a:pt x="336" y="156"/>
                  </a:lnTo>
                  <a:lnTo>
                    <a:pt x="339" y="177"/>
                  </a:lnTo>
                  <a:lnTo>
                    <a:pt x="322" y="173"/>
                  </a:lnTo>
                  <a:lnTo>
                    <a:pt x="309" y="180"/>
                  </a:lnTo>
                  <a:lnTo>
                    <a:pt x="315" y="188"/>
                  </a:lnTo>
                  <a:lnTo>
                    <a:pt x="334" y="194"/>
                  </a:lnTo>
                  <a:lnTo>
                    <a:pt x="334" y="204"/>
                  </a:lnTo>
                  <a:lnTo>
                    <a:pt x="345" y="216"/>
                  </a:lnTo>
                  <a:lnTo>
                    <a:pt x="334" y="230"/>
                  </a:lnTo>
                  <a:lnTo>
                    <a:pt x="334" y="245"/>
                  </a:lnTo>
                  <a:lnTo>
                    <a:pt x="301" y="239"/>
                  </a:lnTo>
                  <a:lnTo>
                    <a:pt x="300" y="216"/>
                  </a:lnTo>
                  <a:lnTo>
                    <a:pt x="268" y="207"/>
                  </a:lnTo>
                  <a:lnTo>
                    <a:pt x="211" y="177"/>
                  </a:lnTo>
                  <a:lnTo>
                    <a:pt x="187" y="161"/>
                  </a:lnTo>
                  <a:lnTo>
                    <a:pt x="162" y="125"/>
                  </a:lnTo>
                  <a:lnTo>
                    <a:pt x="124" y="123"/>
                  </a:lnTo>
                  <a:lnTo>
                    <a:pt x="114" y="92"/>
                  </a:lnTo>
                  <a:lnTo>
                    <a:pt x="97" y="95"/>
                  </a:lnTo>
                  <a:lnTo>
                    <a:pt x="75" y="78"/>
                  </a:lnTo>
                  <a:lnTo>
                    <a:pt x="63" y="99"/>
                  </a:lnTo>
                  <a:lnTo>
                    <a:pt x="52" y="98"/>
                  </a:lnTo>
                  <a:lnTo>
                    <a:pt x="42" y="110"/>
                  </a:lnTo>
                  <a:lnTo>
                    <a:pt x="52" y="128"/>
                  </a:lnTo>
                  <a:lnTo>
                    <a:pt x="22" y="125"/>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6" name="Freeform 229">
              <a:extLst>
                <a:ext uri="{FF2B5EF4-FFF2-40B4-BE49-F238E27FC236}">
                  <a16:creationId xmlns:a16="http://schemas.microsoft.com/office/drawing/2014/main" id="{13CA6432-8B33-DE48-BEB6-FFDEAD623685}"/>
                </a:ext>
              </a:extLst>
            </p:cNvPr>
            <p:cNvSpPr>
              <a:spLocks/>
            </p:cNvSpPr>
            <p:nvPr/>
          </p:nvSpPr>
          <p:spPr bwMode="auto">
            <a:xfrm>
              <a:off x="3769" y="2000"/>
              <a:ext cx="233" cy="150"/>
            </a:xfrm>
            <a:custGeom>
              <a:avLst/>
              <a:gdLst>
                <a:gd name="T0" fmla="*/ 352 w 352"/>
                <a:gd name="T1" fmla="*/ 161 h 227"/>
                <a:gd name="T2" fmla="*/ 351 w 352"/>
                <a:gd name="T3" fmla="*/ 137 h 227"/>
                <a:gd name="T4" fmla="*/ 321 w 352"/>
                <a:gd name="T5" fmla="*/ 129 h 227"/>
                <a:gd name="T6" fmla="*/ 238 w 352"/>
                <a:gd name="T7" fmla="*/ 86 h 227"/>
                <a:gd name="T8" fmla="*/ 213 w 352"/>
                <a:gd name="T9" fmla="*/ 47 h 227"/>
                <a:gd name="T10" fmla="*/ 174 w 352"/>
                <a:gd name="T11" fmla="*/ 45 h 227"/>
                <a:gd name="T12" fmla="*/ 166 w 352"/>
                <a:gd name="T13" fmla="*/ 14 h 227"/>
                <a:gd name="T14" fmla="*/ 145 w 352"/>
                <a:gd name="T15" fmla="*/ 17 h 227"/>
                <a:gd name="T16" fmla="*/ 126 w 352"/>
                <a:gd name="T17" fmla="*/ 0 h 227"/>
                <a:gd name="T18" fmla="*/ 115 w 352"/>
                <a:gd name="T19" fmla="*/ 20 h 227"/>
                <a:gd name="T20" fmla="*/ 102 w 352"/>
                <a:gd name="T21" fmla="*/ 20 h 227"/>
                <a:gd name="T22" fmla="*/ 93 w 352"/>
                <a:gd name="T23" fmla="*/ 30 h 227"/>
                <a:gd name="T24" fmla="*/ 102 w 352"/>
                <a:gd name="T25" fmla="*/ 48 h 227"/>
                <a:gd name="T26" fmla="*/ 73 w 352"/>
                <a:gd name="T27" fmla="*/ 47 h 227"/>
                <a:gd name="T28" fmla="*/ 61 w 352"/>
                <a:gd name="T29" fmla="*/ 50 h 227"/>
                <a:gd name="T30" fmla="*/ 54 w 352"/>
                <a:gd name="T31" fmla="*/ 24 h 227"/>
                <a:gd name="T32" fmla="*/ 27 w 352"/>
                <a:gd name="T33" fmla="*/ 14 h 227"/>
                <a:gd name="T34" fmla="*/ 24 w 352"/>
                <a:gd name="T35" fmla="*/ 36 h 227"/>
                <a:gd name="T36" fmla="*/ 43 w 352"/>
                <a:gd name="T37" fmla="*/ 48 h 227"/>
                <a:gd name="T38" fmla="*/ 40 w 352"/>
                <a:gd name="T39" fmla="*/ 60 h 227"/>
                <a:gd name="T40" fmla="*/ 22 w 352"/>
                <a:gd name="T41" fmla="*/ 57 h 227"/>
                <a:gd name="T42" fmla="*/ 10 w 352"/>
                <a:gd name="T43" fmla="*/ 56 h 227"/>
                <a:gd name="T44" fmla="*/ 0 w 352"/>
                <a:gd name="T45" fmla="*/ 50 h 227"/>
                <a:gd name="T46" fmla="*/ 3 w 352"/>
                <a:gd name="T47" fmla="*/ 69 h 227"/>
                <a:gd name="T48" fmla="*/ 7 w 352"/>
                <a:gd name="T49" fmla="*/ 84 h 227"/>
                <a:gd name="T50" fmla="*/ 22 w 352"/>
                <a:gd name="T51" fmla="*/ 84 h 227"/>
                <a:gd name="T52" fmla="*/ 27 w 352"/>
                <a:gd name="T53" fmla="*/ 96 h 227"/>
                <a:gd name="T54" fmla="*/ 16 w 352"/>
                <a:gd name="T55" fmla="*/ 104 h 227"/>
                <a:gd name="T56" fmla="*/ 31 w 352"/>
                <a:gd name="T57" fmla="*/ 110 h 227"/>
                <a:gd name="T58" fmla="*/ 40 w 352"/>
                <a:gd name="T59" fmla="*/ 117 h 227"/>
                <a:gd name="T60" fmla="*/ 40 w 352"/>
                <a:gd name="T61" fmla="*/ 137 h 227"/>
                <a:gd name="T62" fmla="*/ 51 w 352"/>
                <a:gd name="T63" fmla="*/ 168 h 227"/>
                <a:gd name="T64" fmla="*/ 64 w 352"/>
                <a:gd name="T65" fmla="*/ 159 h 227"/>
                <a:gd name="T66" fmla="*/ 75 w 352"/>
                <a:gd name="T67" fmla="*/ 143 h 227"/>
                <a:gd name="T68" fmla="*/ 96 w 352"/>
                <a:gd name="T69" fmla="*/ 141 h 227"/>
                <a:gd name="T70" fmla="*/ 106 w 352"/>
                <a:gd name="T71" fmla="*/ 134 h 227"/>
                <a:gd name="T72" fmla="*/ 124 w 352"/>
                <a:gd name="T73" fmla="*/ 138 h 227"/>
                <a:gd name="T74" fmla="*/ 135 w 352"/>
                <a:gd name="T75" fmla="*/ 149 h 227"/>
                <a:gd name="T76" fmla="*/ 159 w 352"/>
                <a:gd name="T77" fmla="*/ 153 h 227"/>
                <a:gd name="T78" fmla="*/ 186 w 352"/>
                <a:gd name="T79" fmla="*/ 165 h 227"/>
                <a:gd name="T80" fmla="*/ 210 w 352"/>
                <a:gd name="T81" fmla="*/ 183 h 227"/>
                <a:gd name="T82" fmla="*/ 228 w 352"/>
                <a:gd name="T83" fmla="*/ 183 h 227"/>
                <a:gd name="T84" fmla="*/ 237 w 352"/>
                <a:gd name="T85" fmla="*/ 218 h 227"/>
                <a:gd name="T86" fmla="*/ 258 w 352"/>
                <a:gd name="T87" fmla="*/ 216 h 227"/>
                <a:gd name="T88" fmla="*/ 264 w 352"/>
                <a:gd name="T89" fmla="*/ 227 h 227"/>
                <a:gd name="T90" fmla="*/ 282 w 352"/>
                <a:gd name="T91" fmla="*/ 221 h 227"/>
                <a:gd name="T92" fmla="*/ 285 w 352"/>
                <a:gd name="T93" fmla="*/ 204 h 227"/>
                <a:gd name="T94" fmla="*/ 313 w 352"/>
                <a:gd name="T95" fmla="*/ 194 h 227"/>
                <a:gd name="T96" fmla="*/ 316 w 352"/>
                <a:gd name="T97" fmla="*/ 168 h 227"/>
                <a:gd name="T98" fmla="*/ 328 w 352"/>
                <a:gd name="T99" fmla="*/ 168 h 227"/>
                <a:gd name="T100" fmla="*/ 336 w 352"/>
                <a:gd name="T101" fmla="*/ 155 h 227"/>
                <a:gd name="T102" fmla="*/ 352 w 352"/>
                <a:gd name="T103" fmla="*/ 16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227">
                  <a:moveTo>
                    <a:pt x="352" y="161"/>
                  </a:moveTo>
                  <a:lnTo>
                    <a:pt x="351" y="137"/>
                  </a:lnTo>
                  <a:lnTo>
                    <a:pt x="321" y="129"/>
                  </a:lnTo>
                  <a:lnTo>
                    <a:pt x="238" y="86"/>
                  </a:lnTo>
                  <a:lnTo>
                    <a:pt x="213" y="47"/>
                  </a:lnTo>
                  <a:lnTo>
                    <a:pt x="174" y="45"/>
                  </a:lnTo>
                  <a:lnTo>
                    <a:pt x="166" y="14"/>
                  </a:lnTo>
                  <a:lnTo>
                    <a:pt x="145" y="17"/>
                  </a:lnTo>
                  <a:lnTo>
                    <a:pt x="126" y="0"/>
                  </a:lnTo>
                  <a:lnTo>
                    <a:pt x="115" y="20"/>
                  </a:lnTo>
                  <a:lnTo>
                    <a:pt x="102" y="20"/>
                  </a:lnTo>
                  <a:lnTo>
                    <a:pt x="93" y="30"/>
                  </a:lnTo>
                  <a:lnTo>
                    <a:pt x="102" y="48"/>
                  </a:lnTo>
                  <a:lnTo>
                    <a:pt x="73" y="47"/>
                  </a:lnTo>
                  <a:lnTo>
                    <a:pt x="61" y="50"/>
                  </a:lnTo>
                  <a:lnTo>
                    <a:pt x="54" y="24"/>
                  </a:lnTo>
                  <a:lnTo>
                    <a:pt x="27" y="14"/>
                  </a:lnTo>
                  <a:lnTo>
                    <a:pt x="24" y="36"/>
                  </a:lnTo>
                  <a:lnTo>
                    <a:pt x="43" y="48"/>
                  </a:lnTo>
                  <a:lnTo>
                    <a:pt x="40" y="60"/>
                  </a:lnTo>
                  <a:lnTo>
                    <a:pt x="22" y="57"/>
                  </a:lnTo>
                  <a:lnTo>
                    <a:pt x="10" y="56"/>
                  </a:lnTo>
                  <a:lnTo>
                    <a:pt x="0" y="50"/>
                  </a:lnTo>
                  <a:lnTo>
                    <a:pt x="3" y="69"/>
                  </a:lnTo>
                  <a:lnTo>
                    <a:pt x="7" y="84"/>
                  </a:lnTo>
                  <a:lnTo>
                    <a:pt x="22" y="84"/>
                  </a:lnTo>
                  <a:lnTo>
                    <a:pt x="27" y="96"/>
                  </a:lnTo>
                  <a:lnTo>
                    <a:pt x="16" y="104"/>
                  </a:lnTo>
                  <a:lnTo>
                    <a:pt x="31" y="110"/>
                  </a:lnTo>
                  <a:lnTo>
                    <a:pt x="40" y="117"/>
                  </a:lnTo>
                  <a:lnTo>
                    <a:pt x="40" y="137"/>
                  </a:lnTo>
                  <a:lnTo>
                    <a:pt x="51" y="168"/>
                  </a:lnTo>
                  <a:lnTo>
                    <a:pt x="64" y="159"/>
                  </a:lnTo>
                  <a:lnTo>
                    <a:pt x="75" y="143"/>
                  </a:lnTo>
                  <a:lnTo>
                    <a:pt x="96" y="141"/>
                  </a:lnTo>
                  <a:lnTo>
                    <a:pt x="106" y="134"/>
                  </a:lnTo>
                  <a:lnTo>
                    <a:pt x="124" y="138"/>
                  </a:lnTo>
                  <a:lnTo>
                    <a:pt x="135" y="149"/>
                  </a:lnTo>
                  <a:lnTo>
                    <a:pt x="159" y="153"/>
                  </a:lnTo>
                  <a:lnTo>
                    <a:pt x="186" y="165"/>
                  </a:lnTo>
                  <a:lnTo>
                    <a:pt x="210" y="183"/>
                  </a:lnTo>
                  <a:lnTo>
                    <a:pt x="228" y="183"/>
                  </a:lnTo>
                  <a:lnTo>
                    <a:pt x="237" y="218"/>
                  </a:lnTo>
                  <a:lnTo>
                    <a:pt x="258" y="216"/>
                  </a:lnTo>
                  <a:lnTo>
                    <a:pt x="264" y="227"/>
                  </a:lnTo>
                  <a:lnTo>
                    <a:pt x="282" y="221"/>
                  </a:lnTo>
                  <a:lnTo>
                    <a:pt x="285" y="204"/>
                  </a:lnTo>
                  <a:lnTo>
                    <a:pt x="313" y="194"/>
                  </a:lnTo>
                  <a:lnTo>
                    <a:pt x="316" y="168"/>
                  </a:lnTo>
                  <a:lnTo>
                    <a:pt x="328" y="168"/>
                  </a:lnTo>
                  <a:lnTo>
                    <a:pt x="336" y="155"/>
                  </a:lnTo>
                  <a:lnTo>
                    <a:pt x="352" y="161"/>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7" name="Freeform 230">
              <a:extLst>
                <a:ext uri="{FF2B5EF4-FFF2-40B4-BE49-F238E27FC236}">
                  <a16:creationId xmlns:a16="http://schemas.microsoft.com/office/drawing/2014/main" id="{14EF5AA8-076D-3D4F-99D8-F6810BCAD8EA}"/>
                </a:ext>
              </a:extLst>
            </p:cNvPr>
            <p:cNvSpPr>
              <a:spLocks/>
            </p:cNvSpPr>
            <p:nvPr/>
          </p:nvSpPr>
          <p:spPr bwMode="auto">
            <a:xfrm>
              <a:off x="3637" y="2057"/>
              <a:ext cx="347" cy="289"/>
            </a:xfrm>
            <a:custGeom>
              <a:avLst/>
              <a:gdLst>
                <a:gd name="T0" fmla="*/ 426 w 523"/>
                <a:gd name="T1" fmla="*/ 97 h 436"/>
                <a:gd name="T2" fmla="*/ 385 w 523"/>
                <a:gd name="T3" fmla="*/ 81 h 436"/>
                <a:gd name="T4" fmla="*/ 334 w 523"/>
                <a:gd name="T5" fmla="*/ 63 h 436"/>
                <a:gd name="T6" fmla="*/ 304 w 523"/>
                <a:gd name="T7" fmla="*/ 48 h 436"/>
                <a:gd name="T8" fmla="*/ 273 w 523"/>
                <a:gd name="T9" fmla="*/ 55 h 436"/>
                <a:gd name="T10" fmla="*/ 249 w 523"/>
                <a:gd name="T11" fmla="*/ 81 h 436"/>
                <a:gd name="T12" fmla="*/ 219 w 523"/>
                <a:gd name="T13" fmla="*/ 96 h 436"/>
                <a:gd name="T14" fmla="*/ 160 w 523"/>
                <a:gd name="T15" fmla="*/ 82 h 436"/>
                <a:gd name="T16" fmla="*/ 130 w 523"/>
                <a:gd name="T17" fmla="*/ 72 h 436"/>
                <a:gd name="T18" fmla="*/ 96 w 523"/>
                <a:gd name="T19" fmla="*/ 34 h 436"/>
                <a:gd name="T20" fmla="*/ 88 w 523"/>
                <a:gd name="T21" fmla="*/ 4 h 436"/>
                <a:gd name="T22" fmla="*/ 45 w 523"/>
                <a:gd name="T23" fmla="*/ 31 h 436"/>
                <a:gd name="T24" fmla="*/ 12 w 523"/>
                <a:gd name="T25" fmla="*/ 0 h 436"/>
                <a:gd name="T26" fmla="*/ 0 w 523"/>
                <a:gd name="T27" fmla="*/ 22 h 436"/>
                <a:gd name="T28" fmla="*/ 45 w 523"/>
                <a:gd name="T29" fmla="*/ 117 h 436"/>
                <a:gd name="T30" fmla="*/ 60 w 523"/>
                <a:gd name="T31" fmla="*/ 132 h 436"/>
                <a:gd name="T32" fmla="*/ 48 w 523"/>
                <a:gd name="T33" fmla="*/ 157 h 436"/>
                <a:gd name="T34" fmla="*/ 73 w 523"/>
                <a:gd name="T35" fmla="*/ 195 h 436"/>
                <a:gd name="T36" fmla="*/ 103 w 523"/>
                <a:gd name="T37" fmla="*/ 222 h 436"/>
                <a:gd name="T38" fmla="*/ 117 w 523"/>
                <a:gd name="T39" fmla="*/ 265 h 436"/>
                <a:gd name="T40" fmla="*/ 129 w 523"/>
                <a:gd name="T41" fmla="*/ 280 h 436"/>
                <a:gd name="T42" fmla="*/ 153 w 523"/>
                <a:gd name="T43" fmla="*/ 280 h 436"/>
                <a:gd name="T44" fmla="*/ 177 w 523"/>
                <a:gd name="T45" fmla="*/ 285 h 436"/>
                <a:gd name="T46" fmla="*/ 201 w 523"/>
                <a:gd name="T47" fmla="*/ 331 h 436"/>
                <a:gd name="T48" fmla="*/ 258 w 523"/>
                <a:gd name="T49" fmla="*/ 370 h 436"/>
                <a:gd name="T50" fmla="*/ 301 w 523"/>
                <a:gd name="T51" fmla="*/ 393 h 436"/>
                <a:gd name="T52" fmla="*/ 354 w 523"/>
                <a:gd name="T53" fmla="*/ 375 h 436"/>
                <a:gd name="T54" fmla="*/ 369 w 523"/>
                <a:gd name="T55" fmla="*/ 393 h 436"/>
                <a:gd name="T56" fmla="*/ 483 w 523"/>
                <a:gd name="T57" fmla="*/ 436 h 436"/>
                <a:gd name="T58" fmla="*/ 492 w 523"/>
                <a:gd name="T59" fmla="*/ 402 h 436"/>
                <a:gd name="T60" fmla="*/ 523 w 523"/>
                <a:gd name="T61" fmla="*/ 385 h 436"/>
                <a:gd name="T62" fmla="*/ 508 w 523"/>
                <a:gd name="T63" fmla="*/ 373 h 436"/>
                <a:gd name="T64" fmla="*/ 493 w 523"/>
                <a:gd name="T65" fmla="*/ 336 h 436"/>
                <a:gd name="T66" fmla="*/ 451 w 523"/>
                <a:gd name="T67" fmla="*/ 297 h 436"/>
                <a:gd name="T68" fmla="*/ 471 w 523"/>
                <a:gd name="T69" fmla="*/ 264 h 436"/>
                <a:gd name="T70" fmla="*/ 439 w 523"/>
                <a:gd name="T71" fmla="*/ 250 h 436"/>
                <a:gd name="T72" fmla="*/ 429 w 523"/>
                <a:gd name="T73" fmla="*/ 205 h 436"/>
                <a:gd name="T74" fmla="*/ 424 w 523"/>
                <a:gd name="T75" fmla="*/ 186 h 436"/>
                <a:gd name="T76" fmla="*/ 435 w 523"/>
                <a:gd name="T77" fmla="*/ 15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3" h="436">
                  <a:moveTo>
                    <a:pt x="433" y="132"/>
                  </a:moveTo>
                  <a:lnTo>
                    <a:pt x="426" y="97"/>
                  </a:lnTo>
                  <a:lnTo>
                    <a:pt x="400" y="93"/>
                  </a:lnTo>
                  <a:lnTo>
                    <a:pt x="385" y="81"/>
                  </a:lnTo>
                  <a:lnTo>
                    <a:pt x="355" y="66"/>
                  </a:lnTo>
                  <a:lnTo>
                    <a:pt x="334" y="63"/>
                  </a:lnTo>
                  <a:lnTo>
                    <a:pt x="321" y="52"/>
                  </a:lnTo>
                  <a:lnTo>
                    <a:pt x="304" y="48"/>
                  </a:lnTo>
                  <a:lnTo>
                    <a:pt x="294" y="55"/>
                  </a:lnTo>
                  <a:lnTo>
                    <a:pt x="273" y="55"/>
                  </a:lnTo>
                  <a:lnTo>
                    <a:pt x="264" y="72"/>
                  </a:lnTo>
                  <a:lnTo>
                    <a:pt x="249" y="81"/>
                  </a:lnTo>
                  <a:lnTo>
                    <a:pt x="250" y="93"/>
                  </a:lnTo>
                  <a:lnTo>
                    <a:pt x="219" y="96"/>
                  </a:lnTo>
                  <a:lnTo>
                    <a:pt x="189" y="99"/>
                  </a:lnTo>
                  <a:lnTo>
                    <a:pt x="160" y="82"/>
                  </a:lnTo>
                  <a:lnTo>
                    <a:pt x="151" y="73"/>
                  </a:lnTo>
                  <a:lnTo>
                    <a:pt x="130" y="72"/>
                  </a:lnTo>
                  <a:lnTo>
                    <a:pt x="117" y="49"/>
                  </a:lnTo>
                  <a:lnTo>
                    <a:pt x="96" y="34"/>
                  </a:lnTo>
                  <a:lnTo>
                    <a:pt x="99" y="10"/>
                  </a:lnTo>
                  <a:lnTo>
                    <a:pt x="88" y="4"/>
                  </a:lnTo>
                  <a:lnTo>
                    <a:pt x="63" y="27"/>
                  </a:lnTo>
                  <a:lnTo>
                    <a:pt x="45" y="31"/>
                  </a:lnTo>
                  <a:lnTo>
                    <a:pt x="16" y="18"/>
                  </a:lnTo>
                  <a:lnTo>
                    <a:pt x="12" y="0"/>
                  </a:lnTo>
                  <a:lnTo>
                    <a:pt x="3" y="7"/>
                  </a:lnTo>
                  <a:lnTo>
                    <a:pt x="0" y="22"/>
                  </a:lnTo>
                  <a:lnTo>
                    <a:pt x="21" y="81"/>
                  </a:lnTo>
                  <a:lnTo>
                    <a:pt x="45" y="117"/>
                  </a:lnTo>
                  <a:lnTo>
                    <a:pt x="72" y="120"/>
                  </a:lnTo>
                  <a:lnTo>
                    <a:pt x="60" y="132"/>
                  </a:lnTo>
                  <a:lnTo>
                    <a:pt x="67" y="142"/>
                  </a:lnTo>
                  <a:lnTo>
                    <a:pt x="48" y="157"/>
                  </a:lnTo>
                  <a:lnTo>
                    <a:pt x="52" y="180"/>
                  </a:lnTo>
                  <a:lnTo>
                    <a:pt x="73" y="195"/>
                  </a:lnTo>
                  <a:lnTo>
                    <a:pt x="72" y="208"/>
                  </a:lnTo>
                  <a:lnTo>
                    <a:pt x="103" y="222"/>
                  </a:lnTo>
                  <a:lnTo>
                    <a:pt x="120" y="238"/>
                  </a:lnTo>
                  <a:lnTo>
                    <a:pt x="117" y="265"/>
                  </a:lnTo>
                  <a:lnTo>
                    <a:pt x="132" y="265"/>
                  </a:lnTo>
                  <a:lnTo>
                    <a:pt x="129" y="280"/>
                  </a:lnTo>
                  <a:lnTo>
                    <a:pt x="142" y="289"/>
                  </a:lnTo>
                  <a:cubicBezTo>
                    <a:pt x="150" y="287"/>
                    <a:pt x="146" y="284"/>
                    <a:pt x="153" y="280"/>
                  </a:cubicBezTo>
                  <a:cubicBezTo>
                    <a:pt x="160" y="283"/>
                    <a:pt x="159" y="289"/>
                    <a:pt x="162" y="295"/>
                  </a:cubicBezTo>
                  <a:cubicBezTo>
                    <a:pt x="175" y="294"/>
                    <a:pt x="171" y="294"/>
                    <a:pt x="177" y="285"/>
                  </a:cubicBezTo>
                  <a:cubicBezTo>
                    <a:pt x="192" y="296"/>
                    <a:pt x="184" y="301"/>
                    <a:pt x="193" y="313"/>
                  </a:cubicBezTo>
                  <a:cubicBezTo>
                    <a:pt x="195" y="321"/>
                    <a:pt x="194" y="326"/>
                    <a:pt x="201" y="331"/>
                  </a:cubicBezTo>
                  <a:cubicBezTo>
                    <a:pt x="204" y="345"/>
                    <a:pt x="222" y="362"/>
                    <a:pt x="237" y="364"/>
                  </a:cubicBezTo>
                  <a:cubicBezTo>
                    <a:pt x="243" y="367"/>
                    <a:pt x="251" y="369"/>
                    <a:pt x="258" y="370"/>
                  </a:cubicBezTo>
                  <a:cubicBezTo>
                    <a:pt x="269" y="376"/>
                    <a:pt x="276" y="386"/>
                    <a:pt x="288" y="388"/>
                  </a:cubicBezTo>
                  <a:cubicBezTo>
                    <a:pt x="292" y="390"/>
                    <a:pt x="297" y="391"/>
                    <a:pt x="301" y="393"/>
                  </a:cubicBezTo>
                  <a:cubicBezTo>
                    <a:pt x="319" y="391"/>
                    <a:pt x="317" y="390"/>
                    <a:pt x="330" y="387"/>
                  </a:cubicBezTo>
                  <a:cubicBezTo>
                    <a:pt x="338" y="383"/>
                    <a:pt x="345" y="377"/>
                    <a:pt x="354" y="375"/>
                  </a:cubicBezTo>
                  <a:cubicBezTo>
                    <a:pt x="358" y="375"/>
                    <a:pt x="363" y="373"/>
                    <a:pt x="366" y="376"/>
                  </a:cubicBezTo>
                  <a:cubicBezTo>
                    <a:pt x="370" y="380"/>
                    <a:pt x="369" y="393"/>
                    <a:pt x="369" y="393"/>
                  </a:cubicBezTo>
                  <a:cubicBezTo>
                    <a:pt x="371" y="431"/>
                    <a:pt x="378" y="432"/>
                    <a:pt x="415" y="433"/>
                  </a:cubicBezTo>
                  <a:cubicBezTo>
                    <a:pt x="438" y="435"/>
                    <a:pt x="459" y="436"/>
                    <a:pt x="483" y="436"/>
                  </a:cubicBezTo>
                  <a:lnTo>
                    <a:pt x="487" y="417"/>
                  </a:lnTo>
                  <a:lnTo>
                    <a:pt x="492" y="402"/>
                  </a:lnTo>
                  <a:lnTo>
                    <a:pt x="508" y="391"/>
                  </a:lnTo>
                  <a:lnTo>
                    <a:pt x="523" y="385"/>
                  </a:lnTo>
                  <a:lnTo>
                    <a:pt x="520" y="373"/>
                  </a:lnTo>
                  <a:lnTo>
                    <a:pt x="508" y="373"/>
                  </a:lnTo>
                  <a:lnTo>
                    <a:pt x="504" y="349"/>
                  </a:lnTo>
                  <a:lnTo>
                    <a:pt x="493" y="336"/>
                  </a:lnTo>
                  <a:lnTo>
                    <a:pt x="475" y="334"/>
                  </a:lnTo>
                  <a:lnTo>
                    <a:pt x="451" y="297"/>
                  </a:lnTo>
                  <a:lnTo>
                    <a:pt x="465" y="276"/>
                  </a:lnTo>
                  <a:lnTo>
                    <a:pt x="471" y="264"/>
                  </a:lnTo>
                  <a:lnTo>
                    <a:pt x="465" y="250"/>
                  </a:lnTo>
                  <a:lnTo>
                    <a:pt x="439" y="250"/>
                  </a:lnTo>
                  <a:lnTo>
                    <a:pt x="439" y="225"/>
                  </a:lnTo>
                  <a:lnTo>
                    <a:pt x="429" y="205"/>
                  </a:lnTo>
                  <a:lnTo>
                    <a:pt x="436" y="190"/>
                  </a:lnTo>
                  <a:lnTo>
                    <a:pt x="424" y="186"/>
                  </a:lnTo>
                  <a:lnTo>
                    <a:pt x="424" y="166"/>
                  </a:lnTo>
                  <a:lnTo>
                    <a:pt x="435" y="153"/>
                  </a:lnTo>
                  <a:lnTo>
                    <a:pt x="433" y="132"/>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8" name="Freeform 231">
              <a:extLst>
                <a:ext uri="{FF2B5EF4-FFF2-40B4-BE49-F238E27FC236}">
                  <a16:creationId xmlns:a16="http://schemas.microsoft.com/office/drawing/2014/main" id="{1EEB468B-9FC7-BF46-9187-73192CB58CEC}"/>
                </a:ext>
              </a:extLst>
            </p:cNvPr>
            <p:cNvSpPr>
              <a:spLocks/>
            </p:cNvSpPr>
            <p:nvPr/>
          </p:nvSpPr>
          <p:spPr bwMode="auto">
            <a:xfrm>
              <a:off x="4008" y="2035"/>
              <a:ext cx="133" cy="84"/>
            </a:xfrm>
            <a:custGeom>
              <a:avLst/>
              <a:gdLst>
                <a:gd name="T0" fmla="*/ 201 w 201"/>
                <a:gd name="T1" fmla="*/ 107 h 126"/>
                <a:gd name="T2" fmla="*/ 194 w 201"/>
                <a:gd name="T3" fmla="*/ 96 h 126"/>
                <a:gd name="T4" fmla="*/ 195 w 201"/>
                <a:gd name="T5" fmla="*/ 77 h 126"/>
                <a:gd name="T6" fmla="*/ 167 w 201"/>
                <a:gd name="T7" fmla="*/ 68 h 126"/>
                <a:gd name="T8" fmla="*/ 153 w 201"/>
                <a:gd name="T9" fmla="*/ 56 h 126"/>
                <a:gd name="T10" fmla="*/ 153 w 201"/>
                <a:gd name="T11" fmla="*/ 44 h 126"/>
                <a:gd name="T12" fmla="*/ 126 w 201"/>
                <a:gd name="T13" fmla="*/ 45 h 126"/>
                <a:gd name="T14" fmla="*/ 117 w 201"/>
                <a:gd name="T15" fmla="*/ 53 h 126"/>
                <a:gd name="T16" fmla="*/ 99 w 201"/>
                <a:gd name="T17" fmla="*/ 41 h 126"/>
                <a:gd name="T18" fmla="*/ 83 w 201"/>
                <a:gd name="T19" fmla="*/ 50 h 126"/>
                <a:gd name="T20" fmla="*/ 74 w 201"/>
                <a:gd name="T21" fmla="*/ 38 h 126"/>
                <a:gd name="T22" fmla="*/ 48 w 201"/>
                <a:gd name="T23" fmla="*/ 45 h 126"/>
                <a:gd name="T24" fmla="*/ 42 w 201"/>
                <a:gd name="T25" fmla="*/ 36 h 126"/>
                <a:gd name="T26" fmla="*/ 51 w 201"/>
                <a:gd name="T27" fmla="*/ 20 h 126"/>
                <a:gd name="T28" fmla="*/ 71 w 201"/>
                <a:gd name="T29" fmla="*/ 29 h 126"/>
                <a:gd name="T30" fmla="*/ 66 w 201"/>
                <a:gd name="T31" fmla="*/ 15 h 126"/>
                <a:gd name="T32" fmla="*/ 72 w 201"/>
                <a:gd name="T33" fmla="*/ 6 h 126"/>
                <a:gd name="T34" fmla="*/ 62 w 201"/>
                <a:gd name="T35" fmla="*/ 0 h 126"/>
                <a:gd name="T36" fmla="*/ 51 w 201"/>
                <a:gd name="T37" fmla="*/ 11 h 126"/>
                <a:gd name="T38" fmla="*/ 41 w 201"/>
                <a:gd name="T39" fmla="*/ 5 h 126"/>
                <a:gd name="T40" fmla="*/ 32 w 201"/>
                <a:gd name="T41" fmla="*/ 15 h 126"/>
                <a:gd name="T42" fmla="*/ 41 w 201"/>
                <a:gd name="T43" fmla="*/ 23 h 126"/>
                <a:gd name="T44" fmla="*/ 26 w 201"/>
                <a:gd name="T45" fmla="*/ 24 h 126"/>
                <a:gd name="T46" fmla="*/ 27 w 201"/>
                <a:gd name="T47" fmla="*/ 44 h 126"/>
                <a:gd name="T48" fmla="*/ 12 w 201"/>
                <a:gd name="T49" fmla="*/ 39 h 126"/>
                <a:gd name="T50" fmla="*/ 0 w 201"/>
                <a:gd name="T51" fmla="*/ 48 h 126"/>
                <a:gd name="T52" fmla="*/ 8 w 201"/>
                <a:gd name="T53" fmla="*/ 56 h 126"/>
                <a:gd name="T54" fmla="*/ 24 w 201"/>
                <a:gd name="T55" fmla="*/ 60 h 126"/>
                <a:gd name="T56" fmla="*/ 26 w 201"/>
                <a:gd name="T57" fmla="*/ 72 h 126"/>
                <a:gd name="T58" fmla="*/ 36 w 201"/>
                <a:gd name="T59" fmla="*/ 83 h 126"/>
                <a:gd name="T60" fmla="*/ 26 w 201"/>
                <a:gd name="T61" fmla="*/ 101 h 126"/>
                <a:gd name="T62" fmla="*/ 24 w 201"/>
                <a:gd name="T63" fmla="*/ 114 h 126"/>
                <a:gd name="T64" fmla="*/ 33 w 201"/>
                <a:gd name="T65" fmla="*/ 123 h 126"/>
                <a:gd name="T66" fmla="*/ 50 w 201"/>
                <a:gd name="T67" fmla="*/ 107 h 126"/>
                <a:gd name="T68" fmla="*/ 65 w 201"/>
                <a:gd name="T69" fmla="*/ 119 h 126"/>
                <a:gd name="T70" fmla="*/ 63 w 201"/>
                <a:gd name="T71" fmla="*/ 102 h 126"/>
                <a:gd name="T72" fmla="*/ 83 w 201"/>
                <a:gd name="T73" fmla="*/ 102 h 126"/>
                <a:gd name="T74" fmla="*/ 80 w 201"/>
                <a:gd name="T75" fmla="*/ 90 h 126"/>
                <a:gd name="T76" fmla="*/ 90 w 201"/>
                <a:gd name="T77" fmla="*/ 74 h 126"/>
                <a:gd name="T78" fmla="*/ 102 w 201"/>
                <a:gd name="T79" fmla="*/ 80 h 126"/>
                <a:gd name="T80" fmla="*/ 105 w 201"/>
                <a:gd name="T81" fmla="*/ 92 h 126"/>
                <a:gd name="T82" fmla="*/ 116 w 201"/>
                <a:gd name="T83" fmla="*/ 90 h 126"/>
                <a:gd name="T84" fmla="*/ 114 w 201"/>
                <a:gd name="T85" fmla="*/ 116 h 126"/>
                <a:gd name="T86" fmla="*/ 117 w 201"/>
                <a:gd name="T87" fmla="*/ 126 h 126"/>
                <a:gd name="T88" fmla="*/ 137 w 201"/>
                <a:gd name="T89" fmla="*/ 117 h 126"/>
                <a:gd name="T90" fmla="*/ 149 w 201"/>
                <a:gd name="T91" fmla="*/ 105 h 126"/>
                <a:gd name="T92" fmla="*/ 165 w 201"/>
                <a:gd name="T93" fmla="*/ 105 h 126"/>
                <a:gd name="T94" fmla="*/ 173 w 201"/>
                <a:gd name="T95" fmla="*/ 111 h 126"/>
                <a:gd name="T96" fmla="*/ 182 w 201"/>
                <a:gd name="T97" fmla="*/ 105 h 126"/>
                <a:gd name="T98" fmla="*/ 201 w 201"/>
                <a:gd name="T99" fmla="*/ 10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 h="126">
                  <a:moveTo>
                    <a:pt x="201" y="107"/>
                  </a:moveTo>
                  <a:lnTo>
                    <a:pt x="194" y="96"/>
                  </a:lnTo>
                  <a:lnTo>
                    <a:pt x="195" y="77"/>
                  </a:lnTo>
                  <a:lnTo>
                    <a:pt x="167" y="68"/>
                  </a:lnTo>
                  <a:lnTo>
                    <a:pt x="153" y="56"/>
                  </a:lnTo>
                  <a:lnTo>
                    <a:pt x="153" y="44"/>
                  </a:lnTo>
                  <a:lnTo>
                    <a:pt x="126" y="45"/>
                  </a:lnTo>
                  <a:lnTo>
                    <a:pt x="117" y="53"/>
                  </a:lnTo>
                  <a:lnTo>
                    <a:pt x="99" y="41"/>
                  </a:lnTo>
                  <a:lnTo>
                    <a:pt x="83" y="50"/>
                  </a:lnTo>
                  <a:lnTo>
                    <a:pt x="74" y="38"/>
                  </a:lnTo>
                  <a:lnTo>
                    <a:pt x="48" y="45"/>
                  </a:lnTo>
                  <a:lnTo>
                    <a:pt x="42" y="36"/>
                  </a:lnTo>
                  <a:lnTo>
                    <a:pt x="51" y="20"/>
                  </a:lnTo>
                  <a:lnTo>
                    <a:pt x="71" y="29"/>
                  </a:lnTo>
                  <a:lnTo>
                    <a:pt x="66" y="15"/>
                  </a:lnTo>
                  <a:lnTo>
                    <a:pt x="72" y="6"/>
                  </a:lnTo>
                  <a:lnTo>
                    <a:pt x="62" y="0"/>
                  </a:lnTo>
                  <a:lnTo>
                    <a:pt x="51" y="11"/>
                  </a:lnTo>
                  <a:lnTo>
                    <a:pt x="41" y="5"/>
                  </a:lnTo>
                  <a:lnTo>
                    <a:pt x="32" y="15"/>
                  </a:lnTo>
                  <a:lnTo>
                    <a:pt x="41" y="23"/>
                  </a:lnTo>
                  <a:lnTo>
                    <a:pt x="26" y="24"/>
                  </a:lnTo>
                  <a:lnTo>
                    <a:pt x="27" y="44"/>
                  </a:lnTo>
                  <a:lnTo>
                    <a:pt x="12" y="39"/>
                  </a:lnTo>
                  <a:lnTo>
                    <a:pt x="0" y="48"/>
                  </a:lnTo>
                  <a:lnTo>
                    <a:pt x="8" y="56"/>
                  </a:lnTo>
                  <a:lnTo>
                    <a:pt x="24" y="60"/>
                  </a:lnTo>
                  <a:lnTo>
                    <a:pt x="26" y="72"/>
                  </a:lnTo>
                  <a:lnTo>
                    <a:pt x="36" y="83"/>
                  </a:lnTo>
                  <a:lnTo>
                    <a:pt x="26" y="101"/>
                  </a:lnTo>
                  <a:lnTo>
                    <a:pt x="24" y="114"/>
                  </a:lnTo>
                  <a:lnTo>
                    <a:pt x="33" y="123"/>
                  </a:lnTo>
                  <a:lnTo>
                    <a:pt x="50" y="107"/>
                  </a:lnTo>
                  <a:lnTo>
                    <a:pt x="65" y="119"/>
                  </a:lnTo>
                  <a:lnTo>
                    <a:pt x="63" y="102"/>
                  </a:lnTo>
                  <a:lnTo>
                    <a:pt x="83" y="102"/>
                  </a:lnTo>
                  <a:lnTo>
                    <a:pt x="80" y="90"/>
                  </a:lnTo>
                  <a:lnTo>
                    <a:pt x="90" y="74"/>
                  </a:lnTo>
                  <a:lnTo>
                    <a:pt x="102" y="80"/>
                  </a:lnTo>
                  <a:lnTo>
                    <a:pt x="105" y="92"/>
                  </a:lnTo>
                  <a:lnTo>
                    <a:pt x="116" y="90"/>
                  </a:lnTo>
                  <a:lnTo>
                    <a:pt x="114" y="116"/>
                  </a:lnTo>
                  <a:lnTo>
                    <a:pt x="117" y="126"/>
                  </a:lnTo>
                  <a:lnTo>
                    <a:pt x="137" y="117"/>
                  </a:lnTo>
                  <a:lnTo>
                    <a:pt x="149" y="105"/>
                  </a:lnTo>
                  <a:lnTo>
                    <a:pt x="165" y="105"/>
                  </a:lnTo>
                  <a:lnTo>
                    <a:pt x="173" y="111"/>
                  </a:lnTo>
                  <a:lnTo>
                    <a:pt x="182" y="105"/>
                  </a:lnTo>
                  <a:lnTo>
                    <a:pt x="201" y="107"/>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199" name="Freeform 232">
              <a:extLst>
                <a:ext uri="{FF2B5EF4-FFF2-40B4-BE49-F238E27FC236}">
                  <a16:creationId xmlns:a16="http://schemas.microsoft.com/office/drawing/2014/main" id="{8E6C9581-9B66-5147-A15C-264EDED8ECB6}"/>
                </a:ext>
              </a:extLst>
            </p:cNvPr>
            <p:cNvSpPr>
              <a:spLocks/>
            </p:cNvSpPr>
            <p:nvPr/>
          </p:nvSpPr>
          <p:spPr bwMode="auto">
            <a:xfrm>
              <a:off x="3918" y="2085"/>
              <a:ext cx="223" cy="178"/>
            </a:xfrm>
            <a:custGeom>
              <a:avLst/>
              <a:gdLst>
                <a:gd name="T0" fmla="*/ 337 w 337"/>
                <a:gd name="T1" fmla="*/ 33 h 270"/>
                <a:gd name="T2" fmla="*/ 315 w 337"/>
                <a:gd name="T3" fmla="*/ 31 h 270"/>
                <a:gd name="T4" fmla="*/ 306 w 337"/>
                <a:gd name="T5" fmla="*/ 37 h 270"/>
                <a:gd name="T6" fmla="*/ 301 w 337"/>
                <a:gd name="T7" fmla="*/ 27 h 270"/>
                <a:gd name="T8" fmla="*/ 280 w 337"/>
                <a:gd name="T9" fmla="*/ 31 h 270"/>
                <a:gd name="T10" fmla="*/ 271 w 337"/>
                <a:gd name="T11" fmla="*/ 45 h 270"/>
                <a:gd name="T12" fmla="*/ 250 w 337"/>
                <a:gd name="T13" fmla="*/ 49 h 270"/>
                <a:gd name="T14" fmla="*/ 252 w 337"/>
                <a:gd name="T15" fmla="*/ 15 h 270"/>
                <a:gd name="T16" fmla="*/ 238 w 337"/>
                <a:gd name="T17" fmla="*/ 18 h 270"/>
                <a:gd name="T18" fmla="*/ 238 w 337"/>
                <a:gd name="T19" fmla="*/ 6 h 270"/>
                <a:gd name="T20" fmla="*/ 225 w 337"/>
                <a:gd name="T21" fmla="*/ 0 h 270"/>
                <a:gd name="T22" fmla="*/ 216 w 337"/>
                <a:gd name="T23" fmla="*/ 16 h 270"/>
                <a:gd name="T24" fmla="*/ 217 w 337"/>
                <a:gd name="T25" fmla="*/ 28 h 270"/>
                <a:gd name="T26" fmla="*/ 199 w 337"/>
                <a:gd name="T27" fmla="*/ 30 h 270"/>
                <a:gd name="T28" fmla="*/ 201 w 337"/>
                <a:gd name="T29" fmla="*/ 43 h 270"/>
                <a:gd name="T30" fmla="*/ 186 w 337"/>
                <a:gd name="T31" fmla="*/ 34 h 270"/>
                <a:gd name="T32" fmla="*/ 168 w 337"/>
                <a:gd name="T33" fmla="*/ 48 h 270"/>
                <a:gd name="T34" fmla="*/ 159 w 337"/>
                <a:gd name="T35" fmla="*/ 39 h 270"/>
                <a:gd name="T36" fmla="*/ 126 w 337"/>
                <a:gd name="T37" fmla="*/ 33 h 270"/>
                <a:gd name="T38" fmla="*/ 111 w 337"/>
                <a:gd name="T39" fmla="*/ 27 h 270"/>
                <a:gd name="T40" fmla="*/ 102 w 337"/>
                <a:gd name="T41" fmla="*/ 42 h 270"/>
                <a:gd name="T42" fmla="*/ 91 w 337"/>
                <a:gd name="T43" fmla="*/ 42 h 270"/>
                <a:gd name="T44" fmla="*/ 87 w 337"/>
                <a:gd name="T45" fmla="*/ 66 h 270"/>
                <a:gd name="T46" fmla="*/ 58 w 337"/>
                <a:gd name="T47" fmla="*/ 78 h 270"/>
                <a:gd name="T48" fmla="*/ 57 w 337"/>
                <a:gd name="T49" fmla="*/ 94 h 270"/>
                <a:gd name="T50" fmla="*/ 37 w 337"/>
                <a:gd name="T51" fmla="*/ 97 h 270"/>
                <a:gd name="T52" fmla="*/ 33 w 337"/>
                <a:gd name="T53" fmla="*/ 87 h 270"/>
                <a:gd name="T54" fmla="*/ 9 w 337"/>
                <a:gd name="T55" fmla="*/ 91 h 270"/>
                <a:gd name="T56" fmla="*/ 10 w 337"/>
                <a:gd name="T57" fmla="*/ 112 h 270"/>
                <a:gd name="T58" fmla="*/ 0 w 337"/>
                <a:gd name="T59" fmla="*/ 126 h 270"/>
                <a:gd name="T60" fmla="*/ 0 w 337"/>
                <a:gd name="T61" fmla="*/ 145 h 270"/>
                <a:gd name="T62" fmla="*/ 15 w 337"/>
                <a:gd name="T63" fmla="*/ 147 h 270"/>
                <a:gd name="T64" fmla="*/ 6 w 337"/>
                <a:gd name="T65" fmla="*/ 162 h 270"/>
                <a:gd name="T66" fmla="*/ 15 w 337"/>
                <a:gd name="T67" fmla="*/ 181 h 270"/>
                <a:gd name="T68" fmla="*/ 16 w 337"/>
                <a:gd name="T69" fmla="*/ 208 h 270"/>
                <a:gd name="T70" fmla="*/ 42 w 337"/>
                <a:gd name="T71" fmla="*/ 207 h 270"/>
                <a:gd name="T72" fmla="*/ 48 w 337"/>
                <a:gd name="T73" fmla="*/ 222 h 270"/>
                <a:gd name="T74" fmla="*/ 27 w 337"/>
                <a:gd name="T75" fmla="*/ 259 h 270"/>
                <a:gd name="T76" fmla="*/ 46 w 337"/>
                <a:gd name="T77" fmla="*/ 259 h 270"/>
                <a:gd name="T78" fmla="*/ 85 w 337"/>
                <a:gd name="T79" fmla="*/ 270 h 270"/>
                <a:gd name="T80" fmla="*/ 123 w 337"/>
                <a:gd name="T81" fmla="*/ 265 h 270"/>
                <a:gd name="T82" fmla="*/ 162 w 337"/>
                <a:gd name="T83" fmla="*/ 253 h 270"/>
                <a:gd name="T84" fmla="*/ 159 w 337"/>
                <a:gd name="T85" fmla="*/ 223 h 270"/>
                <a:gd name="T86" fmla="*/ 172 w 337"/>
                <a:gd name="T87" fmla="*/ 211 h 270"/>
                <a:gd name="T88" fmla="*/ 189 w 337"/>
                <a:gd name="T89" fmla="*/ 213 h 270"/>
                <a:gd name="T90" fmla="*/ 210 w 337"/>
                <a:gd name="T91" fmla="*/ 196 h 270"/>
                <a:gd name="T92" fmla="*/ 223 w 337"/>
                <a:gd name="T93" fmla="*/ 204 h 270"/>
                <a:gd name="T94" fmla="*/ 231 w 337"/>
                <a:gd name="T95" fmla="*/ 195 h 270"/>
                <a:gd name="T96" fmla="*/ 226 w 337"/>
                <a:gd name="T97" fmla="*/ 165 h 270"/>
                <a:gd name="T98" fmla="*/ 249 w 337"/>
                <a:gd name="T99" fmla="*/ 151 h 270"/>
                <a:gd name="T100" fmla="*/ 229 w 337"/>
                <a:gd name="T101" fmla="*/ 132 h 270"/>
                <a:gd name="T102" fmla="*/ 253 w 337"/>
                <a:gd name="T103" fmla="*/ 133 h 270"/>
                <a:gd name="T104" fmla="*/ 261 w 337"/>
                <a:gd name="T105" fmla="*/ 123 h 270"/>
                <a:gd name="T106" fmla="*/ 255 w 337"/>
                <a:gd name="T107" fmla="*/ 114 h 270"/>
                <a:gd name="T108" fmla="*/ 267 w 337"/>
                <a:gd name="T109" fmla="*/ 102 h 270"/>
                <a:gd name="T110" fmla="*/ 264 w 337"/>
                <a:gd name="T111" fmla="*/ 82 h 270"/>
                <a:gd name="T112" fmla="*/ 252 w 337"/>
                <a:gd name="T113" fmla="*/ 69 h 270"/>
                <a:gd name="T114" fmla="*/ 280 w 337"/>
                <a:gd name="T115" fmla="*/ 51 h 270"/>
                <a:gd name="T116" fmla="*/ 318 w 337"/>
                <a:gd name="T117" fmla="*/ 51 h 270"/>
                <a:gd name="T118" fmla="*/ 327 w 337"/>
                <a:gd name="T119" fmla="*/ 43 h 270"/>
                <a:gd name="T120" fmla="*/ 337 w 337"/>
                <a:gd name="T121" fmla="*/ 3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7" h="270">
                  <a:moveTo>
                    <a:pt x="337" y="33"/>
                  </a:moveTo>
                  <a:lnTo>
                    <a:pt x="315" y="31"/>
                  </a:lnTo>
                  <a:lnTo>
                    <a:pt x="306" y="37"/>
                  </a:lnTo>
                  <a:lnTo>
                    <a:pt x="301" y="27"/>
                  </a:lnTo>
                  <a:lnTo>
                    <a:pt x="280" y="31"/>
                  </a:lnTo>
                  <a:lnTo>
                    <a:pt x="271" y="45"/>
                  </a:lnTo>
                  <a:lnTo>
                    <a:pt x="250" y="49"/>
                  </a:lnTo>
                  <a:lnTo>
                    <a:pt x="252" y="15"/>
                  </a:lnTo>
                  <a:lnTo>
                    <a:pt x="238" y="18"/>
                  </a:lnTo>
                  <a:lnTo>
                    <a:pt x="238" y="6"/>
                  </a:lnTo>
                  <a:lnTo>
                    <a:pt x="225" y="0"/>
                  </a:lnTo>
                  <a:lnTo>
                    <a:pt x="216" y="16"/>
                  </a:lnTo>
                  <a:lnTo>
                    <a:pt x="217" y="28"/>
                  </a:lnTo>
                  <a:lnTo>
                    <a:pt x="199" y="30"/>
                  </a:lnTo>
                  <a:lnTo>
                    <a:pt x="201" y="43"/>
                  </a:lnTo>
                  <a:lnTo>
                    <a:pt x="186" y="34"/>
                  </a:lnTo>
                  <a:lnTo>
                    <a:pt x="168" y="48"/>
                  </a:lnTo>
                  <a:lnTo>
                    <a:pt x="159" y="39"/>
                  </a:lnTo>
                  <a:lnTo>
                    <a:pt x="126" y="33"/>
                  </a:lnTo>
                  <a:lnTo>
                    <a:pt x="111" y="27"/>
                  </a:lnTo>
                  <a:lnTo>
                    <a:pt x="102" y="42"/>
                  </a:lnTo>
                  <a:lnTo>
                    <a:pt x="91" y="42"/>
                  </a:lnTo>
                  <a:lnTo>
                    <a:pt x="87" y="66"/>
                  </a:lnTo>
                  <a:lnTo>
                    <a:pt x="58" y="78"/>
                  </a:lnTo>
                  <a:lnTo>
                    <a:pt x="57" y="94"/>
                  </a:lnTo>
                  <a:lnTo>
                    <a:pt x="37" y="97"/>
                  </a:lnTo>
                  <a:lnTo>
                    <a:pt x="33" y="87"/>
                  </a:lnTo>
                  <a:lnTo>
                    <a:pt x="9" y="91"/>
                  </a:lnTo>
                  <a:lnTo>
                    <a:pt x="10" y="112"/>
                  </a:lnTo>
                  <a:lnTo>
                    <a:pt x="0" y="126"/>
                  </a:lnTo>
                  <a:lnTo>
                    <a:pt x="0" y="145"/>
                  </a:lnTo>
                  <a:lnTo>
                    <a:pt x="15" y="147"/>
                  </a:lnTo>
                  <a:lnTo>
                    <a:pt x="6" y="162"/>
                  </a:lnTo>
                  <a:lnTo>
                    <a:pt x="15" y="181"/>
                  </a:lnTo>
                  <a:lnTo>
                    <a:pt x="16" y="208"/>
                  </a:lnTo>
                  <a:lnTo>
                    <a:pt x="42" y="207"/>
                  </a:lnTo>
                  <a:lnTo>
                    <a:pt x="48" y="222"/>
                  </a:lnTo>
                  <a:lnTo>
                    <a:pt x="27" y="259"/>
                  </a:lnTo>
                  <a:lnTo>
                    <a:pt x="46" y="259"/>
                  </a:lnTo>
                  <a:lnTo>
                    <a:pt x="85" y="270"/>
                  </a:lnTo>
                  <a:lnTo>
                    <a:pt x="123" y="265"/>
                  </a:lnTo>
                  <a:lnTo>
                    <a:pt x="162" y="253"/>
                  </a:lnTo>
                  <a:lnTo>
                    <a:pt x="159" y="223"/>
                  </a:lnTo>
                  <a:lnTo>
                    <a:pt x="172" y="211"/>
                  </a:lnTo>
                  <a:lnTo>
                    <a:pt x="189" y="213"/>
                  </a:lnTo>
                  <a:lnTo>
                    <a:pt x="210" y="196"/>
                  </a:lnTo>
                  <a:lnTo>
                    <a:pt x="223" y="204"/>
                  </a:lnTo>
                  <a:lnTo>
                    <a:pt x="231" y="195"/>
                  </a:lnTo>
                  <a:lnTo>
                    <a:pt x="226" y="165"/>
                  </a:lnTo>
                  <a:lnTo>
                    <a:pt x="249" y="151"/>
                  </a:lnTo>
                  <a:lnTo>
                    <a:pt x="229" y="132"/>
                  </a:lnTo>
                  <a:lnTo>
                    <a:pt x="253" y="133"/>
                  </a:lnTo>
                  <a:lnTo>
                    <a:pt x="261" y="123"/>
                  </a:lnTo>
                  <a:lnTo>
                    <a:pt x="255" y="114"/>
                  </a:lnTo>
                  <a:lnTo>
                    <a:pt x="267" y="102"/>
                  </a:lnTo>
                  <a:lnTo>
                    <a:pt x="264" y="82"/>
                  </a:lnTo>
                  <a:lnTo>
                    <a:pt x="252" y="69"/>
                  </a:lnTo>
                  <a:lnTo>
                    <a:pt x="280" y="51"/>
                  </a:lnTo>
                  <a:lnTo>
                    <a:pt x="318" y="51"/>
                  </a:lnTo>
                  <a:lnTo>
                    <a:pt x="327" y="43"/>
                  </a:lnTo>
                  <a:lnTo>
                    <a:pt x="337" y="33"/>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0" name="Freeform 233">
              <a:extLst>
                <a:ext uri="{FF2B5EF4-FFF2-40B4-BE49-F238E27FC236}">
                  <a16:creationId xmlns:a16="http://schemas.microsoft.com/office/drawing/2014/main" id="{3EF182DA-4E3F-8643-8D9B-64660E31876C}"/>
                </a:ext>
              </a:extLst>
            </p:cNvPr>
            <p:cNvSpPr>
              <a:spLocks/>
            </p:cNvSpPr>
            <p:nvPr/>
          </p:nvSpPr>
          <p:spPr bwMode="auto">
            <a:xfrm>
              <a:off x="4293" y="2645"/>
              <a:ext cx="40" cy="80"/>
            </a:xfrm>
            <a:custGeom>
              <a:avLst/>
              <a:gdLst>
                <a:gd name="T0" fmla="*/ 10 w 61"/>
                <a:gd name="T1" fmla="*/ 4 h 121"/>
                <a:gd name="T2" fmla="*/ 5 w 61"/>
                <a:gd name="T3" fmla="*/ 31 h 121"/>
                <a:gd name="T4" fmla="*/ 7 w 61"/>
                <a:gd name="T5" fmla="*/ 100 h 121"/>
                <a:gd name="T6" fmla="*/ 26 w 61"/>
                <a:gd name="T7" fmla="*/ 121 h 121"/>
                <a:gd name="T8" fmla="*/ 53 w 61"/>
                <a:gd name="T9" fmla="*/ 109 h 121"/>
                <a:gd name="T10" fmla="*/ 61 w 61"/>
                <a:gd name="T11" fmla="*/ 95 h 121"/>
                <a:gd name="T12" fmla="*/ 47 w 61"/>
                <a:gd name="T13" fmla="*/ 56 h 121"/>
                <a:gd name="T14" fmla="*/ 25 w 61"/>
                <a:gd name="T15" fmla="*/ 16 h 121"/>
                <a:gd name="T16" fmla="*/ 10 w 61"/>
                <a:gd name="T17"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21">
                  <a:moveTo>
                    <a:pt x="10" y="4"/>
                  </a:moveTo>
                  <a:cubicBezTo>
                    <a:pt x="6" y="13"/>
                    <a:pt x="9" y="22"/>
                    <a:pt x="5" y="31"/>
                  </a:cubicBezTo>
                  <a:cubicBezTo>
                    <a:pt x="1" y="53"/>
                    <a:pt x="0" y="78"/>
                    <a:pt x="7" y="100"/>
                  </a:cubicBezTo>
                  <a:cubicBezTo>
                    <a:pt x="9" y="114"/>
                    <a:pt x="13" y="116"/>
                    <a:pt x="26" y="121"/>
                  </a:cubicBezTo>
                  <a:cubicBezTo>
                    <a:pt x="39" y="118"/>
                    <a:pt x="43" y="117"/>
                    <a:pt x="53" y="109"/>
                  </a:cubicBezTo>
                  <a:cubicBezTo>
                    <a:pt x="56" y="104"/>
                    <a:pt x="59" y="100"/>
                    <a:pt x="61" y="95"/>
                  </a:cubicBezTo>
                  <a:cubicBezTo>
                    <a:pt x="59" y="77"/>
                    <a:pt x="56" y="70"/>
                    <a:pt x="47" y="56"/>
                  </a:cubicBezTo>
                  <a:cubicBezTo>
                    <a:pt x="45" y="42"/>
                    <a:pt x="37" y="25"/>
                    <a:pt x="25" y="16"/>
                  </a:cubicBezTo>
                  <a:cubicBezTo>
                    <a:pt x="23" y="12"/>
                    <a:pt x="10" y="0"/>
                    <a:pt x="10" y="4"/>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1" name="Freeform 234">
              <a:extLst>
                <a:ext uri="{FF2B5EF4-FFF2-40B4-BE49-F238E27FC236}">
                  <a16:creationId xmlns:a16="http://schemas.microsoft.com/office/drawing/2014/main" id="{02EC90BB-D136-044C-8DA3-31BB71B9CFAB}"/>
                </a:ext>
              </a:extLst>
            </p:cNvPr>
            <p:cNvSpPr>
              <a:spLocks/>
            </p:cNvSpPr>
            <p:nvPr/>
          </p:nvSpPr>
          <p:spPr bwMode="auto">
            <a:xfrm>
              <a:off x="4260" y="2240"/>
              <a:ext cx="142" cy="81"/>
            </a:xfrm>
            <a:custGeom>
              <a:avLst/>
              <a:gdLst>
                <a:gd name="T0" fmla="*/ 24 w 213"/>
                <a:gd name="T1" fmla="*/ 0 h 123"/>
                <a:gd name="T2" fmla="*/ 21 w 213"/>
                <a:gd name="T3" fmla="*/ 12 h 123"/>
                <a:gd name="T4" fmla="*/ 12 w 213"/>
                <a:gd name="T5" fmla="*/ 7 h 123"/>
                <a:gd name="T6" fmla="*/ 3 w 213"/>
                <a:gd name="T7" fmla="*/ 22 h 123"/>
                <a:gd name="T8" fmla="*/ 0 w 213"/>
                <a:gd name="T9" fmla="*/ 52 h 123"/>
                <a:gd name="T10" fmla="*/ 44 w 213"/>
                <a:gd name="T11" fmla="*/ 76 h 123"/>
                <a:gd name="T12" fmla="*/ 84 w 213"/>
                <a:gd name="T13" fmla="*/ 90 h 123"/>
                <a:gd name="T14" fmla="*/ 108 w 213"/>
                <a:gd name="T15" fmla="*/ 90 h 123"/>
                <a:gd name="T16" fmla="*/ 150 w 213"/>
                <a:gd name="T17" fmla="*/ 109 h 123"/>
                <a:gd name="T18" fmla="*/ 159 w 213"/>
                <a:gd name="T19" fmla="*/ 123 h 123"/>
                <a:gd name="T20" fmla="*/ 213 w 213"/>
                <a:gd name="T21" fmla="*/ 123 h 123"/>
                <a:gd name="T22" fmla="*/ 213 w 213"/>
                <a:gd name="T23" fmla="*/ 105 h 123"/>
                <a:gd name="T24" fmla="*/ 203 w 213"/>
                <a:gd name="T25" fmla="*/ 103 h 123"/>
                <a:gd name="T26" fmla="*/ 206 w 213"/>
                <a:gd name="T27" fmla="*/ 78 h 123"/>
                <a:gd name="T28" fmla="*/ 185 w 213"/>
                <a:gd name="T29" fmla="*/ 78 h 123"/>
                <a:gd name="T30" fmla="*/ 149 w 213"/>
                <a:gd name="T31" fmla="*/ 73 h 123"/>
                <a:gd name="T32" fmla="*/ 107 w 213"/>
                <a:gd name="T33" fmla="*/ 55 h 123"/>
                <a:gd name="T34" fmla="*/ 95 w 213"/>
                <a:gd name="T35" fmla="*/ 37 h 123"/>
                <a:gd name="T36" fmla="*/ 74 w 213"/>
                <a:gd name="T37" fmla="*/ 39 h 123"/>
                <a:gd name="T38" fmla="*/ 66 w 213"/>
                <a:gd name="T39" fmla="*/ 25 h 123"/>
                <a:gd name="T40" fmla="*/ 45 w 213"/>
                <a:gd name="T41" fmla="*/ 15 h 123"/>
                <a:gd name="T42" fmla="*/ 24 w 213"/>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23">
                  <a:moveTo>
                    <a:pt x="24" y="0"/>
                  </a:moveTo>
                  <a:lnTo>
                    <a:pt x="21" y="12"/>
                  </a:lnTo>
                  <a:lnTo>
                    <a:pt x="12" y="7"/>
                  </a:lnTo>
                  <a:lnTo>
                    <a:pt x="3" y="22"/>
                  </a:lnTo>
                  <a:lnTo>
                    <a:pt x="0" y="52"/>
                  </a:lnTo>
                  <a:lnTo>
                    <a:pt x="44" y="76"/>
                  </a:lnTo>
                  <a:lnTo>
                    <a:pt x="84" y="90"/>
                  </a:lnTo>
                  <a:lnTo>
                    <a:pt x="108" y="90"/>
                  </a:lnTo>
                  <a:lnTo>
                    <a:pt x="150" y="109"/>
                  </a:lnTo>
                  <a:lnTo>
                    <a:pt x="159" y="123"/>
                  </a:lnTo>
                  <a:lnTo>
                    <a:pt x="213" y="123"/>
                  </a:lnTo>
                  <a:lnTo>
                    <a:pt x="213" y="105"/>
                  </a:lnTo>
                  <a:lnTo>
                    <a:pt x="203" y="103"/>
                  </a:lnTo>
                  <a:lnTo>
                    <a:pt x="206" y="78"/>
                  </a:lnTo>
                  <a:lnTo>
                    <a:pt x="185" y="78"/>
                  </a:lnTo>
                  <a:lnTo>
                    <a:pt x="149" y="73"/>
                  </a:lnTo>
                  <a:lnTo>
                    <a:pt x="107" y="55"/>
                  </a:lnTo>
                  <a:lnTo>
                    <a:pt x="95" y="37"/>
                  </a:lnTo>
                  <a:lnTo>
                    <a:pt x="74" y="39"/>
                  </a:lnTo>
                  <a:lnTo>
                    <a:pt x="66" y="25"/>
                  </a:lnTo>
                  <a:lnTo>
                    <a:pt x="45" y="15"/>
                  </a:lnTo>
                  <a:lnTo>
                    <a:pt x="24" y="0"/>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2" name="Freeform 235">
              <a:extLst>
                <a:ext uri="{FF2B5EF4-FFF2-40B4-BE49-F238E27FC236}">
                  <a16:creationId xmlns:a16="http://schemas.microsoft.com/office/drawing/2014/main" id="{370ADC45-273A-2144-845F-BFC718426E62}"/>
                </a:ext>
              </a:extLst>
            </p:cNvPr>
            <p:cNvSpPr>
              <a:spLocks/>
            </p:cNvSpPr>
            <p:nvPr/>
          </p:nvSpPr>
          <p:spPr bwMode="auto">
            <a:xfrm>
              <a:off x="4410" y="2283"/>
              <a:ext cx="55" cy="34"/>
            </a:xfrm>
            <a:custGeom>
              <a:avLst/>
              <a:gdLst>
                <a:gd name="T0" fmla="*/ 18 w 83"/>
                <a:gd name="T1" fmla="*/ 0 h 51"/>
                <a:gd name="T2" fmla="*/ 0 w 83"/>
                <a:gd name="T3" fmla="*/ 34 h 51"/>
                <a:gd name="T4" fmla="*/ 8 w 83"/>
                <a:gd name="T5" fmla="*/ 45 h 51"/>
                <a:gd name="T6" fmla="*/ 35 w 83"/>
                <a:gd name="T7" fmla="*/ 48 h 51"/>
                <a:gd name="T8" fmla="*/ 69 w 83"/>
                <a:gd name="T9" fmla="*/ 51 h 51"/>
                <a:gd name="T10" fmla="*/ 83 w 83"/>
                <a:gd name="T11" fmla="*/ 40 h 51"/>
                <a:gd name="T12" fmla="*/ 81 w 83"/>
                <a:gd name="T13" fmla="*/ 27 h 51"/>
                <a:gd name="T14" fmla="*/ 69 w 83"/>
                <a:gd name="T15" fmla="*/ 22 h 51"/>
                <a:gd name="T16" fmla="*/ 60 w 83"/>
                <a:gd name="T17" fmla="*/ 3 h 51"/>
                <a:gd name="T18" fmla="*/ 42 w 83"/>
                <a:gd name="T19" fmla="*/ 7 h 51"/>
                <a:gd name="T20" fmla="*/ 30 w 83"/>
                <a:gd name="T21" fmla="*/ 0 h 51"/>
                <a:gd name="T22" fmla="*/ 18 w 83"/>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51">
                  <a:moveTo>
                    <a:pt x="18" y="0"/>
                  </a:moveTo>
                  <a:lnTo>
                    <a:pt x="0" y="34"/>
                  </a:lnTo>
                  <a:lnTo>
                    <a:pt x="8" y="45"/>
                  </a:lnTo>
                  <a:lnTo>
                    <a:pt x="35" y="48"/>
                  </a:lnTo>
                  <a:lnTo>
                    <a:pt x="69" y="51"/>
                  </a:lnTo>
                  <a:lnTo>
                    <a:pt x="83" y="40"/>
                  </a:lnTo>
                  <a:lnTo>
                    <a:pt x="81" y="27"/>
                  </a:lnTo>
                  <a:lnTo>
                    <a:pt x="69" y="22"/>
                  </a:lnTo>
                  <a:lnTo>
                    <a:pt x="60" y="3"/>
                  </a:lnTo>
                  <a:lnTo>
                    <a:pt x="42" y="7"/>
                  </a:lnTo>
                  <a:lnTo>
                    <a:pt x="30" y="0"/>
                  </a:lnTo>
                  <a:lnTo>
                    <a:pt x="18" y="0"/>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3" name="Freeform 236">
              <a:extLst>
                <a:ext uri="{FF2B5EF4-FFF2-40B4-BE49-F238E27FC236}">
                  <a16:creationId xmlns:a16="http://schemas.microsoft.com/office/drawing/2014/main" id="{EFDCDCB5-A194-5347-A949-5DB4F5EB6717}"/>
                </a:ext>
              </a:extLst>
            </p:cNvPr>
            <p:cNvSpPr>
              <a:spLocks/>
            </p:cNvSpPr>
            <p:nvPr/>
          </p:nvSpPr>
          <p:spPr bwMode="auto">
            <a:xfrm>
              <a:off x="4402" y="2321"/>
              <a:ext cx="89" cy="100"/>
            </a:xfrm>
            <a:custGeom>
              <a:avLst/>
              <a:gdLst>
                <a:gd name="T0" fmla="*/ 44 w 135"/>
                <a:gd name="T1" fmla="*/ 135 h 151"/>
                <a:gd name="T2" fmla="*/ 36 w 135"/>
                <a:gd name="T3" fmla="*/ 102 h 151"/>
                <a:gd name="T4" fmla="*/ 26 w 135"/>
                <a:gd name="T5" fmla="*/ 82 h 151"/>
                <a:gd name="T6" fmla="*/ 23 w 135"/>
                <a:gd name="T7" fmla="*/ 60 h 151"/>
                <a:gd name="T8" fmla="*/ 11 w 135"/>
                <a:gd name="T9" fmla="*/ 58 h 151"/>
                <a:gd name="T10" fmla="*/ 11 w 135"/>
                <a:gd name="T11" fmla="*/ 43 h 151"/>
                <a:gd name="T12" fmla="*/ 27 w 135"/>
                <a:gd name="T13" fmla="*/ 37 h 151"/>
                <a:gd name="T14" fmla="*/ 20 w 135"/>
                <a:gd name="T15" fmla="*/ 25 h 151"/>
                <a:gd name="T16" fmla="*/ 2 w 135"/>
                <a:gd name="T17" fmla="*/ 21 h 151"/>
                <a:gd name="T18" fmla="*/ 0 w 135"/>
                <a:gd name="T19" fmla="*/ 7 h 151"/>
                <a:gd name="T20" fmla="*/ 12 w 135"/>
                <a:gd name="T21" fmla="*/ 0 h 151"/>
                <a:gd name="T22" fmla="*/ 32 w 135"/>
                <a:gd name="T23" fmla="*/ 12 h 151"/>
                <a:gd name="T24" fmla="*/ 47 w 135"/>
                <a:gd name="T25" fmla="*/ 9 h 151"/>
                <a:gd name="T26" fmla="*/ 47 w 135"/>
                <a:gd name="T27" fmla="*/ 31 h 151"/>
                <a:gd name="T28" fmla="*/ 69 w 135"/>
                <a:gd name="T29" fmla="*/ 39 h 151"/>
                <a:gd name="T30" fmla="*/ 95 w 135"/>
                <a:gd name="T31" fmla="*/ 39 h 151"/>
                <a:gd name="T32" fmla="*/ 113 w 135"/>
                <a:gd name="T33" fmla="*/ 34 h 151"/>
                <a:gd name="T34" fmla="*/ 117 w 135"/>
                <a:gd name="T35" fmla="*/ 46 h 151"/>
                <a:gd name="T36" fmla="*/ 107 w 135"/>
                <a:gd name="T37" fmla="*/ 60 h 151"/>
                <a:gd name="T38" fmla="*/ 92 w 135"/>
                <a:gd name="T39" fmla="*/ 70 h 151"/>
                <a:gd name="T40" fmla="*/ 92 w 135"/>
                <a:gd name="T41" fmla="*/ 87 h 151"/>
                <a:gd name="T42" fmla="*/ 104 w 135"/>
                <a:gd name="T43" fmla="*/ 102 h 151"/>
                <a:gd name="T44" fmla="*/ 108 w 135"/>
                <a:gd name="T45" fmla="*/ 82 h 151"/>
                <a:gd name="T46" fmla="*/ 119 w 135"/>
                <a:gd name="T47" fmla="*/ 81 h 151"/>
                <a:gd name="T48" fmla="*/ 126 w 135"/>
                <a:gd name="T49" fmla="*/ 103 h 151"/>
                <a:gd name="T50" fmla="*/ 129 w 135"/>
                <a:gd name="T51" fmla="*/ 129 h 151"/>
                <a:gd name="T52" fmla="*/ 135 w 135"/>
                <a:gd name="T53" fmla="*/ 145 h 151"/>
                <a:gd name="T54" fmla="*/ 119 w 135"/>
                <a:gd name="T55" fmla="*/ 151 h 151"/>
                <a:gd name="T56" fmla="*/ 111 w 135"/>
                <a:gd name="T57" fmla="*/ 126 h 151"/>
                <a:gd name="T58" fmla="*/ 102 w 135"/>
                <a:gd name="T59" fmla="*/ 114 h 151"/>
                <a:gd name="T60" fmla="*/ 93 w 135"/>
                <a:gd name="T61" fmla="*/ 108 h 151"/>
                <a:gd name="T62" fmla="*/ 81 w 135"/>
                <a:gd name="T63" fmla="*/ 103 h 151"/>
                <a:gd name="T64" fmla="*/ 71 w 135"/>
                <a:gd name="T65" fmla="*/ 79 h 151"/>
                <a:gd name="T66" fmla="*/ 72 w 135"/>
                <a:gd name="T67" fmla="*/ 96 h 151"/>
                <a:gd name="T68" fmla="*/ 89 w 135"/>
                <a:gd name="T69" fmla="*/ 114 h 151"/>
                <a:gd name="T70" fmla="*/ 87 w 135"/>
                <a:gd name="T71" fmla="*/ 132 h 151"/>
                <a:gd name="T72" fmla="*/ 78 w 135"/>
                <a:gd name="T73" fmla="*/ 124 h 151"/>
                <a:gd name="T74" fmla="*/ 69 w 135"/>
                <a:gd name="T75" fmla="*/ 105 h 151"/>
                <a:gd name="T76" fmla="*/ 74 w 135"/>
                <a:gd name="T77" fmla="*/ 121 h 151"/>
                <a:gd name="T78" fmla="*/ 71 w 135"/>
                <a:gd name="T79" fmla="*/ 135 h 151"/>
                <a:gd name="T80" fmla="*/ 59 w 135"/>
                <a:gd name="T81" fmla="*/ 111 h 151"/>
                <a:gd name="T82" fmla="*/ 53 w 135"/>
                <a:gd name="T83" fmla="*/ 123 h 151"/>
                <a:gd name="T84" fmla="*/ 60 w 135"/>
                <a:gd name="T85" fmla="*/ 136 h 151"/>
                <a:gd name="T86" fmla="*/ 44 w 135"/>
                <a:gd name="T87" fmla="*/ 1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 h="151">
                  <a:moveTo>
                    <a:pt x="44" y="135"/>
                  </a:moveTo>
                  <a:lnTo>
                    <a:pt x="36" y="102"/>
                  </a:lnTo>
                  <a:lnTo>
                    <a:pt x="26" y="82"/>
                  </a:lnTo>
                  <a:lnTo>
                    <a:pt x="23" y="60"/>
                  </a:lnTo>
                  <a:lnTo>
                    <a:pt x="11" y="58"/>
                  </a:lnTo>
                  <a:lnTo>
                    <a:pt x="11" y="43"/>
                  </a:lnTo>
                  <a:lnTo>
                    <a:pt x="27" y="37"/>
                  </a:lnTo>
                  <a:lnTo>
                    <a:pt x="20" y="25"/>
                  </a:lnTo>
                  <a:lnTo>
                    <a:pt x="2" y="21"/>
                  </a:lnTo>
                  <a:lnTo>
                    <a:pt x="0" y="7"/>
                  </a:lnTo>
                  <a:lnTo>
                    <a:pt x="12" y="0"/>
                  </a:lnTo>
                  <a:lnTo>
                    <a:pt x="32" y="12"/>
                  </a:lnTo>
                  <a:lnTo>
                    <a:pt x="47" y="9"/>
                  </a:lnTo>
                  <a:lnTo>
                    <a:pt x="47" y="31"/>
                  </a:lnTo>
                  <a:lnTo>
                    <a:pt x="69" y="39"/>
                  </a:lnTo>
                  <a:lnTo>
                    <a:pt x="95" y="39"/>
                  </a:lnTo>
                  <a:lnTo>
                    <a:pt x="113" y="34"/>
                  </a:lnTo>
                  <a:lnTo>
                    <a:pt x="117" y="46"/>
                  </a:lnTo>
                  <a:lnTo>
                    <a:pt x="107" y="60"/>
                  </a:lnTo>
                  <a:lnTo>
                    <a:pt x="92" y="70"/>
                  </a:lnTo>
                  <a:lnTo>
                    <a:pt x="92" y="87"/>
                  </a:lnTo>
                  <a:lnTo>
                    <a:pt x="104" y="102"/>
                  </a:lnTo>
                  <a:lnTo>
                    <a:pt x="108" y="82"/>
                  </a:lnTo>
                  <a:lnTo>
                    <a:pt x="119" y="81"/>
                  </a:lnTo>
                  <a:lnTo>
                    <a:pt x="126" y="103"/>
                  </a:lnTo>
                  <a:lnTo>
                    <a:pt x="129" y="129"/>
                  </a:lnTo>
                  <a:lnTo>
                    <a:pt x="135" y="145"/>
                  </a:lnTo>
                  <a:lnTo>
                    <a:pt x="119" y="151"/>
                  </a:lnTo>
                  <a:lnTo>
                    <a:pt x="111" y="126"/>
                  </a:lnTo>
                  <a:lnTo>
                    <a:pt x="102" y="114"/>
                  </a:lnTo>
                  <a:lnTo>
                    <a:pt x="93" y="108"/>
                  </a:lnTo>
                  <a:lnTo>
                    <a:pt x="81" y="103"/>
                  </a:lnTo>
                  <a:lnTo>
                    <a:pt x="71" y="79"/>
                  </a:lnTo>
                  <a:lnTo>
                    <a:pt x="72" y="96"/>
                  </a:lnTo>
                  <a:lnTo>
                    <a:pt x="89" y="114"/>
                  </a:lnTo>
                  <a:lnTo>
                    <a:pt x="87" y="132"/>
                  </a:lnTo>
                  <a:lnTo>
                    <a:pt x="78" y="124"/>
                  </a:lnTo>
                  <a:lnTo>
                    <a:pt x="69" y="105"/>
                  </a:lnTo>
                  <a:lnTo>
                    <a:pt x="74" y="121"/>
                  </a:lnTo>
                  <a:lnTo>
                    <a:pt x="71" y="135"/>
                  </a:lnTo>
                  <a:lnTo>
                    <a:pt x="59" y="111"/>
                  </a:lnTo>
                  <a:lnTo>
                    <a:pt x="53" y="123"/>
                  </a:lnTo>
                  <a:lnTo>
                    <a:pt x="60" y="136"/>
                  </a:lnTo>
                  <a:lnTo>
                    <a:pt x="44" y="135"/>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4" name="Freeform 237">
              <a:extLst>
                <a:ext uri="{FF2B5EF4-FFF2-40B4-BE49-F238E27FC236}">
                  <a16:creationId xmlns:a16="http://schemas.microsoft.com/office/drawing/2014/main" id="{269EFC34-524B-4646-B332-9F5AD632176F}"/>
                </a:ext>
              </a:extLst>
            </p:cNvPr>
            <p:cNvSpPr>
              <a:spLocks/>
            </p:cNvSpPr>
            <p:nvPr/>
          </p:nvSpPr>
          <p:spPr bwMode="auto">
            <a:xfrm>
              <a:off x="4481" y="2277"/>
              <a:ext cx="157" cy="376"/>
            </a:xfrm>
            <a:custGeom>
              <a:avLst/>
              <a:gdLst>
                <a:gd name="T0" fmla="*/ 225 w 236"/>
                <a:gd name="T1" fmla="*/ 202 h 567"/>
                <a:gd name="T2" fmla="*/ 200 w 236"/>
                <a:gd name="T3" fmla="*/ 195 h 567"/>
                <a:gd name="T4" fmla="*/ 183 w 236"/>
                <a:gd name="T5" fmla="*/ 163 h 567"/>
                <a:gd name="T6" fmla="*/ 155 w 236"/>
                <a:gd name="T7" fmla="*/ 136 h 567"/>
                <a:gd name="T8" fmla="*/ 125 w 236"/>
                <a:gd name="T9" fmla="*/ 123 h 567"/>
                <a:gd name="T10" fmla="*/ 147 w 236"/>
                <a:gd name="T11" fmla="*/ 84 h 567"/>
                <a:gd name="T12" fmla="*/ 138 w 236"/>
                <a:gd name="T13" fmla="*/ 28 h 567"/>
                <a:gd name="T14" fmla="*/ 119 w 236"/>
                <a:gd name="T15" fmla="*/ 7 h 567"/>
                <a:gd name="T16" fmla="*/ 99 w 236"/>
                <a:gd name="T17" fmla="*/ 13 h 567"/>
                <a:gd name="T18" fmla="*/ 96 w 236"/>
                <a:gd name="T19" fmla="*/ 28 h 567"/>
                <a:gd name="T20" fmla="*/ 80 w 236"/>
                <a:gd name="T21" fmla="*/ 39 h 567"/>
                <a:gd name="T22" fmla="*/ 56 w 236"/>
                <a:gd name="T23" fmla="*/ 79 h 567"/>
                <a:gd name="T24" fmla="*/ 50 w 236"/>
                <a:gd name="T25" fmla="*/ 118 h 567"/>
                <a:gd name="T26" fmla="*/ 27 w 236"/>
                <a:gd name="T27" fmla="*/ 136 h 567"/>
                <a:gd name="T28" fmla="*/ 23 w 236"/>
                <a:gd name="T29" fmla="*/ 175 h 567"/>
                <a:gd name="T30" fmla="*/ 9 w 236"/>
                <a:gd name="T31" fmla="*/ 195 h 567"/>
                <a:gd name="T32" fmla="*/ 0 w 236"/>
                <a:gd name="T33" fmla="*/ 217 h 567"/>
                <a:gd name="T34" fmla="*/ 26 w 236"/>
                <a:gd name="T35" fmla="*/ 255 h 567"/>
                <a:gd name="T36" fmla="*/ 39 w 236"/>
                <a:gd name="T37" fmla="*/ 253 h 567"/>
                <a:gd name="T38" fmla="*/ 47 w 236"/>
                <a:gd name="T39" fmla="*/ 285 h 567"/>
                <a:gd name="T40" fmla="*/ 59 w 236"/>
                <a:gd name="T41" fmla="*/ 291 h 567"/>
                <a:gd name="T42" fmla="*/ 77 w 236"/>
                <a:gd name="T43" fmla="*/ 334 h 567"/>
                <a:gd name="T44" fmla="*/ 84 w 236"/>
                <a:gd name="T45" fmla="*/ 381 h 567"/>
                <a:gd name="T46" fmla="*/ 116 w 236"/>
                <a:gd name="T47" fmla="*/ 372 h 567"/>
                <a:gd name="T48" fmla="*/ 141 w 236"/>
                <a:gd name="T49" fmla="*/ 333 h 567"/>
                <a:gd name="T50" fmla="*/ 170 w 236"/>
                <a:gd name="T51" fmla="*/ 399 h 567"/>
                <a:gd name="T52" fmla="*/ 200 w 236"/>
                <a:gd name="T53" fmla="*/ 468 h 567"/>
                <a:gd name="T54" fmla="*/ 206 w 236"/>
                <a:gd name="T55" fmla="*/ 508 h 567"/>
                <a:gd name="T56" fmla="*/ 201 w 236"/>
                <a:gd name="T57" fmla="*/ 567 h 567"/>
                <a:gd name="T58" fmla="*/ 218 w 236"/>
                <a:gd name="T59" fmla="*/ 513 h 567"/>
                <a:gd name="T60" fmla="*/ 215 w 236"/>
                <a:gd name="T61" fmla="*/ 468 h 567"/>
                <a:gd name="T62" fmla="*/ 197 w 236"/>
                <a:gd name="T63" fmla="*/ 423 h 567"/>
                <a:gd name="T64" fmla="*/ 180 w 236"/>
                <a:gd name="T65" fmla="*/ 393 h 567"/>
                <a:gd name="T66" fmla="*/ 191 w 236"/>
                <a:gd name="T67" fmla="*/ 360 h 567"/>
                <a:gd name="T68" fmla="*/ 161 w 236"/>
                <a:gd name="T69" fmla="*/ 322 h 567"/>
                <a:gd name="T70" fmla="*/ 161 w 236"/>
                <a:gd name="T71" fmla="*/ 295 h 567"/>
                <a:gd name="T72" fmla="*/ 159 w 236"/>
                <a:gd name="T73" fmla="*/ 261 h 567"/>
                <a:gd name="T74" fmla="*/ 210 w 236"/>
                <a:gd name="T75" fmla="*/ 243 h 567"/>
                <a:gd name="T76" fmla="*/ 222 w 236"/>
                <a:gd name="T77" fmla="*/ 231 h 567"/>
                <a:gd name="T78" fmla="*/ 236 w 236"/>
                <a:gd name="T79" fmla="*/ 217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 h="567">
                  <a:moveTo>
                    <a:pt x="236" y="217"/>
                  </a:moveTo>
                  <a:lnTo>
                    <a:pt x="225" y="202"/>
                  </a:lnTo>
                  <a:lnTo>
                    <a:pt x="210" y="211"/>
                  </a:lnTo>
                  <a:lnTo>
                    <a:pt x="200" y="195"/>
                  </a:lnTo>
                  <a:lnTo>
                    <a:pt x="177" y="195"/>
                  </a:lnTo>
                  <a:lnTo>
                    <a:pt x="183" y="163"/>
                  </a:lnTo>
                  <a:lnTo>
                    <a:pt x="170" y="160"/>
                  </a:lnTo>
                  <a:lnTo>
                    <a:pt x="155" y="136"/>
                  </a:lnTo>
                  <a:lnTo>
                    <a:pt x="131" y="138"/>
                  </a:lnTo>
                  <a:lnTo>
                    <a:pt x="125" y="123"/>
                  </a:lnTo>
                  <a:lnTo>
                    <a:pt x="131" y="100"/>
                  </a:lnTo>
                  <a:lnTo>
                    <a:pt x="147" y="84"/>
                  </a:lnTo>
                  <a:lnTo>
                    <a:pt x="147" y="43"/>
                  </a:lnTo>
                  <a:lnTo>
                    <a:pt x="138" y="28"/>
                  </a:lnTo>
                  <a:lnTo>
                    <a:pt x="126" y="30"/>
                  </a:lnTo>
                  <a:lnTo>
                    <a:pt x="119" y="7"/>
                  </a:lnTo>
                  <a:lnTo>
                    <a:pt x="104" y="0"/>
                  </a:lnTo>
                  <a:lnTo>
                    <a:pt x="99" y="13"/>
                  </a:lnTo>
                  <a:lnTo>
                    <a:pt x="107" y="21"/>
                  </a:lnTo>
                  <a:lnTo>
                    <a:pt x="96" y="28"/>
                  </a:lnTo>
                  <a:lnTo>
                    <a:pt x="101" y="43"/>
                  </a:lnTo>
                  <a:lnTo>
                    <a:pt x="80" y="39"/>
                  </a:lnTo>
                  <a:lnTo>
                    <a:pt x="56" y="63"/>
                  </a:lnTo>
                  <a:lnTo>
                    <a:pt x="56" y="79"/>
                  </a:lnTo>
                  <a:lnTo>
                    <a:pt x="51" y="94"/>
                  </a:lnTo>
                  <a:lnTo>
                    <a:pt x="50" y="118"/>
                  </a:lnTo>
                  <a:lnTo>
                    <a:pt x="39" y="139"/>
                  </a:lnTo>
                  <a:lnTo>
                    <a:pt x="27" y="136"/>
                  </a:lnTo>
                  <a:lnTo>
                    <a:pt x="26" y="154"/>
                  </a:lnTo>
                  <a:lnTo>
                    <a:pt x="23" y="175"/>
                  </a:lnTo>
                  <a:lnTo>
                    <a:pt x="24" y="199"/>
                  </a:lnTo>
                  <a:lnTo>
                    <a:pt x="9" y="195"/>
                  </a:lnTo>
                  <a:lnTo>
                    <a:pt x="15" y="211"/>
                  </a:lnTo>
                  <a:lnTo>
                    <a:pt x="0" y="217"/>
                  </a:lnTo>
                  <a:lnTo>
                    <a:pt x="11" y="232"/>
                  </a:lnTo>
                  <a:lnTo>
                    <a:pt x="26" y="255"/>
                  </a:lnTo>
                  <a:lnTo>
                    <a:pt x="35" y="262"/>
                  </a:lnTo>
                  <a:lnTo>
                    <a:pt x="39" y="253"/>
                  </a:lnTo>
                  <a:lnTo>
                    <a:pt x="51" y="268"/>
                  </a:lnTo>
                  <a:lnTo>
                    <a:pt x="47" y="285"/>
                  </a:lnTo>
                  <a:lnTo>
                    <a:pt x="51" y="298"/>
                  </a:lnTo>
                  <a:lnTo>
                    <a:pt x="59" y="291"/>
                  </a:lnTo>
                  <a:lnTo>
                    <a:pt x="77" y="312"/>
                  </a:lnTo>
                  <a:lnTo>
                    <a:pt x="77" y="334"/>
                  </a:lnTo>
                  <a:lnTo>
                    <a:pt x="72" y="372"/>
                  </a:lnTo>
                  <a:lnTo>
                    <a:pt x="84" y="381"/>
                  </a:lnTo>
                  <a:lnTo>
                    <a:pt x="107" y="385"/>
                  </a:lnTo>
                  <a:lnTo>
                    <a:pt x="116" y="372"/>
                  </a:lnTo>
                  <a:lnTo>
                    <a:pt x="135" y="363"/>
                  </a:lnTo>
                  <a:lnTo>
                    <a:pt x="141" y="333"/>
                  </a:lnTo>
                  <a:lnTo>
                    <a:pt x="155" y="355"/>
                  </a:lnTo>
                  <a:lnTo>
                    <a:pt x="170" y="399"/>
                  </a:lnTo>
                  <a:lnTo>
                    <a:pt x="186" y="444"/>
                  </a:lnTo>
                  <a:lnTo>
                    <a:pt x="200" y="468"/>
                  </a:lnTo>
                  <a:lnTo>
                    <a:pt x="201" y="493"/>
                  </a:lnTo>
                  <a:lnTo>
                    <a:pt x="206" y="508"/>
                  </a:lnTo>
                  <a:lnTo>
                    <a:pt x="194" y="532"/>
                  </a:lnTo>
                  <a:lnTo>
                    <a:pt x="201" y="567"/>
                  </a:lnTo>
                  <a:lnTo>
                    <a:pt x="209" y="532"/>
                  </a:lnTo>
                  <a:lnTo>
                    <a:pt x="218" y="513"/>
                  </a:lnTo>
                  <a:lnTo>
                    <a:pt x="228" y="493"/>
                  </a:lnTo>
                  <a:lnTo>
                    <a:pt x="215" y="468"/>
                  </a:lnTo>
                  <a:lnTo>
                    <a:pt x="210" y="444"/>
                  </a:lnTo>
                  <a:lnTo>
                    <a:pt x="197" y="423"/>
                  </a:lnTo>
                  <a:lnTo>
                    <a:pt x="180" y="408"/>
                  </a:lnTo>
                  <a:lnTo>
                    <a:pt x="180" y="393"/>
                  </a:lnTo>
                  <a:lnTo>
                    <a:pt x="191" y="390"/>
                  </a:lnTo>
                  <a:lnTo>
                    <a:pt x="191" y="360"/>
                  </a:lnTo>
                  <a:lnTo>
                    <a:pt x="179" y="340"/>
                  </a:lnTo>
                  <a:lnTo>
                    <a:pt x="161" y="322"/>
                  </a:lnTo>
                  <a:lnTo>
                    <a:pt x="147" y="297"/>
                  </a:lnTo>
                  <a:lnTo>
                    <a:pt x="161" y="295"/>
                  </a:lnTo>
                  <a:lnTo>
                    <a:pt x="155" y="276"/>
                  </a:lnTo>
                  <a:lnTo>
                    <a:pt x="159" y="261"/>
                  </a:lnTo>
                  <a:lnTo>
                    <a:pt x="179" y="264"/>
                  </a:lnTo>
                  <a:lnTo>
                    <a:pt x="210" y="243"/>
                  </a:lnTo>
                  <a:lnTo>
                    <a:pt x="210" y="231"/>
                  </a:lnTo>
                  <a:lnTo>
                    <a:pt x="222" y="231"/>
                  </a:lnTo>
                  <a:lnTo>
                    <a:pt x="222" y="217"/>
                  </a:lnTo>
                  <a:lnTo>
                    <a:pt x="236" y="217"/>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5" name="Freeform 238">
              <a:extLst>
                <a:ext uri="{FF2B5EF4-FFF2-40B4-BE49-F238E27FC236}">
                  <a16:creationId xmlns:a16="http://schemas.microsoft.com/office/drawing/2014/main" id="{052B9A31-46B7-694A-A39B-17F5C6209BF4}"/>
                </a:ext>
              </a:extLst>
            </p:cNvPr>
            <p:cNvSpPr>
              <a:spLocks/>
            </p:cNvSpPr>
            <p:nvPr/>
          </p:nvSpPr>
          <p:spPr bwMode="auto">
            <a:xfrm>
              <a:off x="4646" y="2381"/>
              <a:ext cx="150" cy="296"/>
            </a:xfrm>
            <a:custGeom>
              <a:avLst/>
              <a:gdLst>
                <a:gd name="T0" fmla="*/ 154 w 227"/>
                <a:gd name="T1" fmla="*/ 58 h 447"/>
                <a:gd name="T2" fmla="*/ 120 w 227"/>
                <a:gd name="T3" fmla="*/ 36 h 447"/>
                <a:gd name="T4" fmla="*/ 120 w 227"/>
                <a:gd name="T5" fmla="*/ 15 h 447"/>
                <a:gd name="T6" fmla="*/ 97 w 227"/>
                <a:gd name="T7" fmla="*/ 15 h 447"/>
                <a:gd name="T8" fmla="*/ 81 w 227"/>
                <a:gd name="T9" fmla="*/ 0 h 447"/>
                <a:gd name="T10" fmla="*/ 70 w 227"/>
                <a:gd name="T11" fmla="*/ 15 h 447"/>
                <a:gd name="T12" fmla="*/ 30 w 227"/>
                <a:gd name="T13" fmla="*/ 25 h 447"/>
                <a:gd name="T14" fmla="*/ 18 w 227"/>
                <a:gd name="T15" fmla="*/ 15 h 447"/>
                <a:gd name="T16" fmla="*/ 0 w 227"/>
                <a:gd name="T17" fmla="*/ 25 h 447"/>
                <a:gd name="T18" fmla="*/ 22 w 227"/>
                <a:gd name="T19" fmla="*/ 43 h 447"/>
                <a:gd name="T20" fmla="*/ 31 w 227"/>
                <a:gd name="T21" fmla="*/ 54 h 447"/>
                <a:gd name="T22" fmla="*/ 31 w 227"/>
                <a:gd name="T23" fmla="*/ 69 h 447"/>
                <a:gd name="T24" fmla="*/ 52 w 227"/>
                <a:gd name="T25" fmla="*/ 76 h 447"/>
                <a:gd name="T26" fmla="*/ 63 w 227"/>
                <a:gd name="T27" fmla="*/ 70 h 447"/>
                <a:gd name="T28" fmla="*/ 75 w 227"/>
                <a:gd name="T29" fmla="*/ 81 h 447"/>
                <a:gd name="T30" fmla="*/ 88 w 227"/>
                <a:gd name="T31" fmla="*/ 97 h 447"/>
                <a:gd name="T32" fmla="*/ 79 w 227"/>
                <a:gd name="T33" fmla="*/ 109 h 447"/>
                <a:gd name="T34" fmla="*/ 64 w 227"/>
                <a:gd name="T35" fmla="*/ 109 h 447"/>
                <a:gd name="T36" fmla="*/ 73 w 227"/>
                <a:gd name="T37" fmla="*/ 130 h 447"/>
                <a:gd name="T38" fmla="*/ 97 w 227"/>
                <a:gd name="T39" fmla="*/ 129 h 447"/>
                <a:gd name="T40" fmla="*/ 100 w 227"/>
                <a:gd name="T41" fmla="*/ 145 h 447"/>
                <a:gd name="T42" fmla="*/ 124 w 227"/>
                <a:gd name="T43" fmla="*/ 169 h 447"/>
                <a:gd name="T44" fmla="*/ 153 w 227"/>
                <a:gd name="T45" fmla="*/ 207 h 447"/>
                <a:gd name="T46" fmla="*/ 168 w 227"/>
                <a:gd name="T47" fmla="*/ 219 h 447"/>
                <a:gd name="T48" fmla="*/ 177 w 227"/>
                <a:gd name="T49" fmla="*/ 237 h 447"/>
                <a:gd name="T50" fmla="*/ 172 w 227"/>
                <a:gd name="T51" fmla="*/ 268 h 447"/>
                <a:gd name="T52" fmla="*/ 180 w 227"/>
                <a:gd name="T53" fmla="*/ 297 h 447"/>
                <a:gd name="T54" fmla="*/ 181 w 227"/>
                <a:gd name="T55" fmla="*/ 322 h 447"/>
                <a:gd name="T56" fmla="*/ 141 w 227"/>
                <a:gd name="T57" fmla="*/ 343 h 447"/>
                <a:gd name="T58" fmla="*/ 145 w 227"/>
                <a:gd name="T59" fmla="*/ 360 h 447"/>
                <a:gd name="T60" fmla="*/ 150 w 227"/>
                <a:gd name="T61" fmla="*/ 372 h 447"/>
                <a:gd name="T62" fmla="*/ 135 w 227"/>
                <a:gd name="T63" fmla="*/ 364 h 447"/>
                <a:gd name="T64" fmla="*/ 121 w 227"/>
                <a:gd name="T65" fmla="*/ 367 h 447"/>
                <a:gd name="T66" fmla="*/ 108 w 227"/>
                <a:gd name="T67" fmla="*/ 384 h 447"/>
                <a:gd name="T68" fmla="*/ 124 w 227"/>
                <a:gd name="T69" fmla="*/ 394 h 447"/>
                <a:gd name="T70" fmla="*/ 117 w 227"/>
                <a:gd name="T71" fmla="*/ 402 h 447"/>
                <a:gd name="T72" fmla="*/ 123 w 227"/>
                <a:gd name="T73" fmla="*/ 439 h 447"/>
                <a:gd name="T74" fmla="*/ 145 w 227"/>
                <a:gd name="T75" fmla="*/ 424 h 447"/>
                <a:gd name="T76" fmla="*/ 144 w 227"/>
                <a:gd name="T77" fmla="*/ 406 h 447"/>
                <a:gd name="T78" fmla="*/ 150 w 227"/>
                <a:gd name="T79" fmla="*/ 403 h 447"/>
                <a:gd name="T80" fmla="*/ 156 w 227"/>
                <a:gd name="T81" fmla="*/ 412 h 447"/>
                <a:gd name="T82" fmla="*/ 160 w 227"/>
                <a:gd name="T83" fmla="*/ 414 h 447"/>
                <a:gd name="T84" fmla="*/ 154 w 227"/>
                <a:gd name="T85" fmla="*/ 393 h 447"/>
                <a:gd name="T86" fmla="*/ 165 w 227"/>
                <a:gd name="T87" fmla="*/ 384 h 447"/>
                <a:gd name="T88" fmla="*/ 180 w 227"/>
                <a:gd name="T89" fmla="*/ 384 h 447"/>
                <a:gd name="T90" fmla="*/ 198 w 227"/>
                <a:gd name="T91" fmla="*/ 379 h 447"/>
                <a:gd name="T92" fmla="*/ 211 w 227"/>
                <a:gd name="T93" fmla="*/ 369 h 447"/>
                <a:gd name="T94" fmla="*/ 222 w 227"/>
                <a:gd name="T95" fmla="*/ 349 h 447"/>
                <a:gd name="T96" fmla="*/ 226 w 227"/>
                <a:gd name="T97" fmla="*/ 316 h 447"/>
                <a:gd name="T98" fmla="*/ 220 w 227"/>
                <a:gd name="T99" fmla="*/ 273 h 447"/>
                <a:gd name="T100" fmla="*/ 214 w 227"/>
                <a:gd name="T101" fmla="*/ 258 h 447"/>
                <a:gd name="T102" fmla="*/ 208 w 227"/>
                <a:gd name="T103" fmla="*/ 241 h 447"/>
                <a:gd name="T104" fmla="*/ 202 w 227"/>
                <a:gd name="T105" fmla="*/ 226 h 447"/>
                <a:gd name="T106" fmla="*/ 183 w 227"/>
                <a:gd name="T107" fmla="*/ 208 h 447"/>
                <a:gd name="T108" fmla="*/ 174 w 227"/>
                <a:gd name="T109" fmla="*/ 201 h 447"/>
                <a:gd name="T110" fmla="*/ 154 w 227"/>
                <a:gd name="T111" fmla="*/ 181 h 447"/>
                <a:gd name="T112" fmla="*/ 142 w 227"/>
                <a:gd name="T113" fmla="*/ 169 h 447"/>
                <a:gd name="T114" fmla="*/ 114 w 227"/>
                <a:gd name="T115" fmla="*/ 141 h 447"/>
                <a:gd name="T116" fmla="*/ 118 w 227"/>
                <a:gd name="T117" fmla="*/ 102 h 447"/>
                <a:gd name="T118" fmla="*/ 126 w 227"/>
                <a:gd name="T119" fmla="*/ 93 h 447"/>
                <a:gd name="T120" fmla="*/ 129 w 227"/>
                <a:gd name="T121" fmla="*/ 76 h 447"/>
                <a:gd name="T122" fmla="*/ 142 w 227"/>
                <a:gd name="T123" fmla="*/ 73 h 447"/>
                <a:gd name="T124" fmla="*/ 154 w 227"/>
                <a:gd name="T125" fmla="*/ 5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 h="447">
                  <a:moveTo>
                    <a:pt x="154" y="58"/>
                  </a:moveTo>
                  <a:lnTo>
                    <a:pt x="120" y="36"/>
                  </a:lnTo>
                  <a:lnTo>
                    <a:pt x="120" y="15"/>
                  </a:lnTo>
                  <a:lnTo>
                    <a:pt x="97" y="15"/>
                  </a:lnTo>
                  <a:lnTo>
                    <a:pt x="81" y="0"/>
                  </a:lnTo>
                  <a:lnTo>
                    <a:pt x="70" y="15"/>
                  </a:lnTo>
                  <a:lnTo>
                    <a:pt x="30" y="25"/>
                  </a:lnTo>
                  <a:lnTo>
                    <a:pt x="18" y="15"/>
                  </a:lnTo>
                  <a:lnTo>
                    <a:pt x="0" y="25"/>
                  </a:lnTo>
                  <a:lnTo>
                    <a:pt x="22" y="43"/>
                  </a:lnTo>
                  <a:lnTo>
                    <a:pt x="31" y="54"/>
                  </a:lnTo>
                  <a:lnTo>
                    <a:pt x="31" y="69"/>
                  </a:lnTo>
                  <a:lnTo>
                    <a:pt x="52" y="76"/>
                  </a:lnTo>
                  <a:lnTo>
                    <a:pt x="63" y="70"/>
                  </a:lnTo>
                  <a:lnTo>
                    <a:pt x="75" y="81"/>
                  </a:lnTo>
                  <a:lnTo>
                    <a:pt x="88" y="97"/>
                  </a:lnTo>
                  <a:lnTo>
                    <a:pt x="79" y="109"/>
                  </a:lnTo>
                  <a:lnTo>
                    <a:pt x="64" y="109"/>
                  </a:lnTo>
                  <a:lnTo>
                    <a:pt x="73" y="130"/>
                  </a:lnTo>
                  <a:lnTo>
                    <a:pt x="97" y="129"/>
                  </a:lnTo>
                  <a:lnTo>
                    <a:pt x="100" y="145"/>
                  </a:lnTo>
                  <a:lnTo>
                    <a:pt x="124" y="169"/>
                  </a:lnTo>
                  <a:lnTo>
                    <a:pt x="153" y="207"/>
                  </a:lnTo>
                  <a:lnTo>
                    <a:pt x="168" y="219"/>
                  </a:lnTo>
                  <a:lnTo>
                    <a:pt x="177" y="237"/>
                  </a:lnTo>
                  <a:lnTo>
                    <a:pt x="172" y="268"/>
                  </a:lnTo>
                  <a:lnTo>
                    <a:pt x="180" y="297"/>
                  </a:lnTo>
                  <a:lnTo>
                    <a:pt x="181" y="322"/>
                  </a:lnTo>
                  <a:lnTo>
                    <a:pt x="141" y="343"/>
                  </a:lnTo>
                  <a:lnTo>
                    <a:pt x="145" y="360"/>
                  </a:lnTo>
                  <a:lnTo>
                    <a:pt x="150" y="372"/>
                  </a:lnTo>
                  <a:lnTo>
                    <a:pt x="135" y="364"/>
                  </a:lnTo>
                  <a:lnTo>
                    <a:pt x="121" y="367"/>
                  </a:lnTo>
                  <a:lnTo>
                    <a:pt x="108" y="384"/>
                  </a:lnTo>
                  <a:lnTo>
                    <a:pt x="124" y="394"/>
                  </a:lnTo>
                  <a:lnTo>
                    <a:pt x="117" y="402"/>
                  </a:lnTo>
                  <a:cubicBezTo>
                    <a:pt x="114" y="447"/>
                    <a:pt x="110" y="422"/>
                    <a:pt x="123" y="439"/>
                  </a:cubicBezTo>
                  <a:cubicBezTo>
                    <a:pt x="134" y="437"/>
                    <a:pt x="136" y="428"/>
                    <a:pt x="145" y="424"/>
                  </a:cubicBezTo>
                  <a:cubicBezTo>
                    <a:pt x="150" y="417"/>
                    <a:pt x="152" y="412"/>
                    <a:pt x="144" y="406"/>
                  </a:cubicBezTo>
                  <a:cubicBezTo>
                    <a:pt x="142" y="403"/>
                    <a:pt x="138" y="396"/>
                    <a:pt x="150" y="403"/>
                  </a:cubicBezTo>
                  <a:cubicBezTo>
                    <a:pt x="153" y="405"/>
                    <a:pt x="153" y="410"/>
                    <a:pt x="156" y="412"/>
                  </a:cubicBezTo>
                  <a:cubicBezTo>
                    <a:pt x="157" y="413"/>
                    <a:pt x="159" y="413"/>
                    <a:pt x="160" y="414"/>
                  </a:cubicBezTo>
                  <a:cubicBezTo>
                    <a:pt x="159" y="403"/>
                    <a:pt x="158" y="402"/>
                    <a:pt x="154" y="393"/>
                  </a:cubicBezTo>
                  <a:cubicBezTo>
                    <a:pt x="162" y="390"/>
                    <a:pt x="167" y="393"/>
                    <a:pt x="165" y="384"/>
                  </a:cubicBezTo>
                  <a:cubicBezTo>
                    <a:pt x="167" y="373"/>
                    <a:pt x="173" y="381"/>
                    <a:pt x="180" y="384"/>
                  </a:cubicBezTo>
                  <a:cubicBezTo>
                    <a:pt x="191" y="382"/>
                    <a:pt x="191" y="384"/>
                    <a:pt x="198" y="379"/>
                  </a:cubicBezTo>
                  <a:cubicBezTo>
                    <a:pt x="202" y="376"/>
                    <a:pt x="211" y="369"/>
                    <a:pt x="211" y="369"/>
                  </a:cubicBezTo>
                  <a:cubicBezTo>
                    <a:pt x="214" y="362"/>
                    <a:pt x="218" y="356"/>
                    <a:pt x="222" y="349"/>
                  </a:cubicBezTo>
                  <a:cubicBezTo>
                    <a:pt x="223" y="335"/>
                    <a:pt x="224" y="328"/>
                    <a:pt x="226" y="316"/>
                  </a:cubicBezTo>
                  <a:cubicBezTo>
                    <a:pt x="225" y="299"/>
                    <a:pt x="227" y="287"/>
                    <a:pt x="220" y="273"/>
                  </a:cubicBezTo>
                  <a:cubicBezTo>
                    <a:pt x="219" y="268"/>
                    <a:pt x="214" y="258"/>
                    <a:pt x="214" y="258"/>
                  </a:cubicBezTo>
                  <a:cubicBezTo>
                    <a:pt x="213" y="252"/>
                    <a:pt x="211" y="247"/>
                    <a:pt x="208" y="241"/>
                  </a:cubicBezTo>
                  <a:cubicBezTo>
                    <a:pt x="207" y="235"/>
                    <a:pt x="205" y="232"/>
                    <a:pt x="202" y="226"/>
                  </a:cubicBezTo>
                  <a:cubicBezTo>
                    <a:pt x="200" y="216"/>
                    <a:pt x="191" y="213"/>
                    <a:pt x="183" y="208"/>
                  </a:cubicBezTo>
                  <a:cubicBezTo>
                    <a:pt x="180" y="206"/>
                    <a:pt x="174" y="201"/>
                    <a:pt x="174" y="201"/>
                  </a:cubicBezTo>
                  <a:cubicBezTo>
                    <a:pt x="170" y="194"/>
                    <a:pt x="161" y="185"/>
                    <a:pt x="154" y="181"/>
                  </a:cubicBezTo>
                  <a:cubicBezTo>
                    <a:pt x="146" y="170"/>
                    <a:pt x="150" y="174"/>
                    <a:pt x="142" y="169"/>
                  </a:cubicBezTo>
                  <a:cubicBezTo>
                    <a:pt x="135" y="159"/>
                    <a:pt x="124" y="149"/>
                    <a:pt x="114" y="141"/>
                  </a:cubicBezTo>
                  <a:cubicBezTo>
                    <a:pt x="107" y="129"/>
                    <a:pt x="106" y="111"/>
                    <a:pt x="118" y="102"/>
                  </a:cubicBezTo>
                  <a:cubicBezTo>
                    <a:pt x="120" y="99"/>
                    <a:pt x="124" y="97"/>
                    <a:pt x="126" y="93"/>
                  </a:cubicBezTo>
                  <a:cubicBezTo>
                    <a:pt x="129" y="88"/>
                    <a:pt x="125" y="81"/>
                    <a:pt x="129" y="76"/>
                  </a:cubicBezTo>
                  <a:cubicBezTo>
                    <a:pt x="132" y="73"/>
                    <a:pt x="138" y="74"/>
                    <a:pt x="142" y="73"/>
                  </a:cubicBezTo>
                  <a:cubicBezTo>
                    <a:pt x="140" y="59"/>
                    <a:pt x="148" y="75"/>
                    <a:pt x="154" y="58"/>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dirty="0"/>
            </a:p>
          </p:txBody>
        </p:sp>
        <p:sp>
          <p:nvSpPr>
            <p:cNvPr id="206" name="Freeform 239">
              <a:extLst>
                <a:ext uri="{FF2B5EF4-FFF2-40B4-BE49-F238E27FC236}">
                  <a16:creationId xmlns:a16="http://schemas.microsoft.com/office/drawing/2014/main" id="{C7BB0A3D-A699-4240-90CD-22B88D454D55}"/>
                </a:ext>
              </a:extLst>
            </p:cNvPr>
            <p:cNvSpPr>
              <a:spLocks/>
            </p:cNvSpPr>
            <p:nvPr/>
          </p:nvSpPr>
          <p:spPr bwMode="auto">
            <a:xfrm>
              <a:off x="4620" y="2397"/>
              <a:ext cx="143" cy="171"/>
            </a:xfrm>
            <a:custGeom>
              <a:avLst/>
              <a:gdLst>
                <a:gd name="T0" fmla="*/ 39 w 216"/>
                <a:gd name="T1" fmla="*/ 0 h 257"/>
                <a:gd name="T2" fmla="*/ 22 w 216"/>
                <a:gd name="T3" fmla="*/ 6 h 257"/>
                <a:gd name="T4" fmla="*/ 36 w 216"/>
                <a:gd name="T5" fmla="*/ 35 h 257"/>
                <a:gd name="T6" fmla="*/ 13 w 216"/>
                <a:gd name="T7" fmla="*/ 38 h 257"/>
                <a:gd name="T8" fmla="*/ 13 w 216"/>
                <a:gd name="T9" fmla="*/ 50 h 257"/>
                <a:gd name="T10" fmla="*/ 0 w 216"/>
                <a:gd name="T11" fmla="*/ 50 h 257"/>
                <a:gd name="T12" fmla="*/ 1 w 216"/>
                <a:gd name="T13" fmla="*/ 62 h 257"/>
                <a:gd name="T14" fmla="*/ 15 w 216"/>
                <a:gd name="T15" fmla="*/ 71 h 257"/>
                <a:gd name="T16" fmla="*/ 10 w 216"/>
                <a:gd name="T17" fmla="*/ 90 h 257"/>
                <a:gd name="T18" fmla="*/ 37 w 216"/>
                <a:gd name="T19" fmla="*/ 89 h 257"/>
                <a:gd name="T20" fmla="*/ 39 w 216"/>
                <a:gd name="T21" fmla="*/ 108 h 257"/>
                <a:gd name="T22" fmla="*/ 31 w 216"/>
                <a:gd name="T23" fmla="*/ 125 h 257"/>
                <a:gd name="T24" fmla="*/ 39 w 216"/>
                <a:gd name="T25" fmla="*/ 131 h 257"/>
                <a:gd name="T26" fmla="*/ 33 w 216"/>
                <a:gd name="T27" fmla="*/ 150 h 257"/>
                <a:gd name="T28" fmla="*/ 45 w 216"/>
                <a:gd name="T29" fmla="*/ 149 h 257"/>
                <a:gd name="T30" fmla="*/ 58 w 216"/>
                <a:gd name="T31" fmla="*/ 129 h 257"/>
                <a:gd name="T32" fmla="*/ 76 w 216"/>
                <a:gd name="T33" fmla="*/ 137 h 257"/>
                <a:gd name="T34" fmla="*/ 88 w 216"/>
                <a:gd name="T35" fmla="*/ 131 h 257"/>
                <a:gd name="T36" fmla="*/ 97 w 216"/>
                <a:gd name="T37" fmla="*/ 122 h 257"/>
                <a:gd name="T38" fmla="*/ 114 w 216"/>
                <a:gd name="T39" fmla="*/ 129 h 257"/>
                <a:gd name="T40" fmla="*/ 132 w 216"/>
                <a:gd name="T41" fmla="*/ 147 h 257"/>
                <a:gd name="T42" fmla="*/ 135 w 216"/>
                <a:gd name="T43" fmla="*/ 168 h 257"/>
                <a:gd name="T44" fmla="*/ 153 w 216"/>
                <a:gd name="T45" fmla="*/ 200 h 257"/>
                <a:gd name="T46" fmla="*/ 160 w 216"/>
                <a:gd name="T47" fmla="*/ 212 h 257"/>
                <a:gd name="T48" fmla="*/ 156 w 216"/>
                <a:gd name="T49" fmla="*/ 239 h 257"/>
                <a:gd name="T50" fmla="*/ 150 w 216"/>
                <a:gd name="T51" fmla="*/ 252 h 257"/>
                <a:gd name="T52" fmla="*/ 178 w 216"/>
                <a:gd name="T53" fmla="*/ 257 h 257"/>
                <a:gd name="T54" fmla="*/ 181 w 216"/>
                <a:gd name="T55" fmla="*/ 243 h 257"/>
                <a:gd name="T56" fmla="*/ 189 w 216"/>
                <a:gd name="T57" fmla="*/ 236 h 257"/>
                <a:gd name="T58" fmla="*/ 211 w 216"/>
                <a:gd name="T59" fmla="*/ 237 h 257"/>
                <a:gd name="T60" fmla="*/ 216 w 216"/>
                <a:gd name="T61" fmla="*/ 210 h 257"/>
                <a:gd name="T62" fmla="*/ 205 w 216"/>
                <a:gd name="T63" fmla="*/ 191 h 257"/>
                <a:gd name="T64" fmla="*/ 190 w 216"/>
                <a:gd name="T65" fmla="*/ 182 h 257"/>
                <a:gd name="T66" fmla="*/ 178 w 216"/>
                <a:gd name="T67" fmla="*/ 161 h 257"/>
                <a:gd name="T68" fmla="*/ 160 w 216"/>
                <a:gd name="T69" fmla="*/ 141 h 257"/>
                <a:gd name="T70" fmla="*/ 139 w 216"/>
                <a:gd name="T71" fmla="*/ 122 h 257"/>
                <a:gd name="T72" fmla="*/ 135 w 216"/>
                <a:gd name="T73" fmla="*/ 104 h 257"/>
                <a:gd name="T74" fmla="*/ 112 w 216"/>
                <a:gd name="T75" fmla="*/ 104 h 257"/>
                <a:gd name="T76" fmla="*/ 103 w 216"/>
                <a:gd name="T77" fmla="*/ 84 h 257"/>
                <a:gd name="T78" fmla="*/ 115 w 216"/>
                <a:gd name="T79" fmla="*/ 84 h 257"/>
                <a:gd name="T80" fmla="*/ 127 w 216"/>
                <a:gd name="T81" fmla="*/ 72 h 257"/>
                <a:gd name="T82" fmla="*/ 112 w 216"/>
                <a:gd name="T83" fmla="*/ 53 h 257"/>
                <a:gd name="T84" fmla="*/ 102 w 216"/>
                <a:gd name="T85" fmla="*/ 45 h 257"/>
                <a:gd name="T86" fmla="*/ 88 w 216"/>
                <a:gd name="T87" fmla="*/ 48 h 257"/>
                <a:gd name="T88" fmla="*/ 69 w 216"/>
                <a:gd name="T89" fmla="*/ 42 h 257"/>
                <a:gd name="T90" fmla="*/ 69 w 216"/>
                <a:gd name="T91" fmla="*/ 24 h 257"/>
                <a:gd name="T92" fmla="*/ 39 w 216"/>
                <a:gd name="T93"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6" h="257">
                  <a:moveTo>
                    <a:pt x="39" y="0"/>
                  </a:moveTo>
                  <a:lnTo>
                    <a:pt x="22" y="6"/>
                  </a:lnTo>
                  <a:lnTo>
                    <a:pt x="36" y="35"/>
                  </a:lnTo>
                  <a:lnTo>
                    <a:pt x="13" y="38"/>
                  </a:lnTo>
                  <a:lnTo>
                    <a:pt x="13" y="50"/>
                  </a:lnTo>
                  <a:lnTo>
                    <a:pt x="0" y="50"/>
                  </a:lnTo>
                  <a:lnTo>
                    <a:pt x="1" y="62"/>
                  </a:lnTo>
                  <a:lnTo>
                    <a:pt x="15" y="71"/>
                  </a:lnTo>
                  <a:lnTo>
                    <a:pt x="10" y="90"/>
                  </a:lnTo>
                  <a:lnTo>
                    <a:pt x="37" y="89"/>
                  </a:lnTo>
                  <a:lnTo>
                    <a:pt x="39" y="108"/>
                  </a:lnTo>
                  <a:lnTo>
                    <a:pt x="31" y="125"/>
                  </a:lnTo>
                  <a:lnTo>
                    <a:pt x="39" y="131"/>
                  </a:lnTo>
                  <a:lnTo>
                    <a:pt x="33" y="150"/>
                  </a:lnTo>
                  <a:lnTo>
                    <a:pt x="45" y="149"/>
                  </a:lnTo>
                  <a:lnTo>
                    <a:pt x="58" y="129"/>
                  </a:lnTo>
                  <a:lnTo>
                    <a:pt x="76" y="137"/>
                  </a:lnTo>
                  <a:lnTo>
                    <a:pt x="88" y="131"/>
                  </a:lnTo>
                  <a:lnTo>
                    <a:pt x="97" y="122"/>
                  </a:lnTo>
                  <a:lnTo>
                    <a:pt x="114" y="129"/>
                  </a:lnTo>
                  <a:lnTo>
                    <a:pt x="132" y="147"/>
                  </a:lnTo>
                  <a:lnTo>
                    <a:pt x="135" y="168"/>
                  </a:lnTo>
                  <a:lnTo>
                    <a:pt x="153" y="200"/>
                  </a:lnTo>
                  <a:lnTo>
                    <a:pt x="160" y="212"/>
                  </a:lnTo>
                  <a:lnTo>
                    <a:pt x="156" y="239"/>
                  </a:lnTo>
                  <a:lnTo>
                    <a:pt x="150" y="252"/>
                  </a:lnTo>
                  <a:lnTo>
                    <a:pt x="178" y="257"/>
                  </a:lnTo>
                  <a:lnTo>
                    <a:pt x="181" y="243"/>
                  </a:lnTo>
                  <a:lnTo>
                    <a:pt x="189" y="236"/>
                  </a:lnTo>
                  <a:lnTo>
                    <a:pt x="211" y="237"/>
                  </a:lnTo>
                  <a:lnTo>
                    <a:pt x="216" y="210"/>
                  </a:lnTo>
                  <a:lnTo>
                    <a:pt x="205" y="191"/>
                  </a:lnTo>
                  <a:lnTo>
                    <a:pt x="190" y="182"/>
                  </a:lnTo>
                  <a:lnTo>
                    <a:pt x="178" y="161"/>
                  </a:lnTo>
                  <a:lnTo>
                    <a:pt x="160" y="141"/>
                  </a:lnTo>
                  <a:lnTo>
                    <a:pt x="139" y="122"/>
                  </a:lnTo>
                  <a:lnTo>
                    <a:pt x="135" y="104"/>
                  </a:lnTo>
                  <a:lnTo>
                    <a:pt x="112" y="104"/>
                  </a:lnTo>
                  <a:lnTo>
                    <a:pt x="103" y="84"/>
                  </a:lnTo>
                  <a:lnTo>
                    <a:pt x="115" y="84"/>
                  </a:lnTo>
                  <a:lnTo>
                    <a:pt x="127" y="72"/>
                  </a:lnTo>
                  <a:lnTo>
                    <a:pt x="112" y="53"/>
                  </a:lnTo>
                  <a:lnTo>
                    <a:pt x="102" y="45"/>
                  </a:lnTo>
                  <a:lnTo>
                    <a:pt x="88" y="48"/>
                  </a:lnTo>
                  <a:lnTo>
                    <a:pt x="69" y="42"/>
                  </a:lnTo>
                  <a:lnTo>
                    <a:pt x="69" y="24"/>
                  </a:lnTo>
                  <a:lnTo>
                    <a:pt x="39" y="0"/>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7" name="Freeform 240">
              <a:extLst>
                <a:ext uri="{FF2B5EF4-FFF2-40B4-BE49-F238E27FC236}">
                  <a16:creationId xmlns:a16="http://schemas.microsoft.com/office/drawing/2014/main" id="{87733DE5-CEA4-7D49-B531-FF5FDEBE63F4}"/>
                </a:ext>
              </a:extLst>
            </p:cNvPr>
            <p:cNvSpPr>
              <a:spLocks/>
            </p:cNvSpPr>
            <p:nvPr/>
          </p:nvSpPr>
          <p:spPr bwMode="auto">
            <a:xfrm>
              <a:off x="4674" y="2552"/>
              <a:ext cx="91" cy="83"/>
            </a:xfrm>
            <a:custGeom>
              <a:avLst/>
              <a:gdLst>
                <a:gd name="T0" fmla="*/ 128 w 137"/>
                <a:gd name="T1" fmla="*/ 2 h 125"/>
                <a:gd name="T2" fmla="*/ 132 w 137"/>
                <a:gd name="T3" fmla="*/ 18 h 125"/>
                <a:gd name="T4" fmla="*/ 137 w 137"/>
                <a:gd name="T5" fmla="*/ 39 h 125"/>
                <a:gd name="T6" fmla="*/ 137 w 137"/>
                <a:gd name="T7" fmla="*/ 63 h 125"/>
                <a:gd name="T8" fmla="*/ 98 w 137"/>
                <a:gd name="T9" fmla="*/ 83 h 125"/>
                <a:gd name="T10" fmla="*/ 102 w 137"/>
                <a:gd name="T11" fmla="*/ 101 h 125"/>
                <a:gd name="T12" fmla="*/ 108 w 137"/>
                <a:gd name="T13" fmla="*/ 113 h 125"/>
                <a:gd name="T14" fmla="*/ 92 w 137"/>
                <a:gd name="T15" fmla="*/ 105 h 125"/>
                <a:gd name="T16" fmla="*/ 77 w 137"/>
                <a:gd name="T17" fmla="*/ 108 h 125"/>
                <a:gd name="T18" fmla="*/ 65 w 137"/>
                <a:gd name="T19" fmla="*/ 125 h 125"/>
                <a:gd name="T20" fmla="*/ 38 w 137"/>
                <a:gd name="T21" fmla="*/ 119 h 125"/>
                <a:gd name="T22" fmla="*/ 12 w 137"/>
                <a:gd name="T23" fmla="*/ 72 h 125"/>
                <a:gd name="T24" fmla="*/ 17 w 137"/>
                <a:gd name="T25" fmla="*/ 60 h 125"/>
                <a:gd name="T26" fmla="*/ 6 w 137"/>
                <a:gd name="T27" fmla="*/ 53 h 125"/>
                <a:gd name="T28" fmla="*/ 6 w 137"/>
                <a:gd name="T29" fmla="*/ 41 h 125"/>
                <a:gd name="T30" fmla="*/ 0 w 137"/>
                <a:gd name="T31" fmla="*/ 32 h 125"/>
                <a:gd name="T32" fmla="*/ 12 w 137"/>
                <a:gd name="T33" fmla="*/ 23 h 125"/>
                <a:gd name="T34" fmla="*/ 20 w 137"/>
                <a:gd name="T35" fmla="*/ 6 h 125"/>
                <a:gd name="T36" fmla="*/ 72 w 137"/>
                <a:gd name="T37" fmla="*/ 5 h 125"/>
                <a:gd name="T38" fmla="*/ 65 w 137"/>
                <a:gd name="T39" fmla="*/ 15 h 125"/>
                <a:gd name="T40" fmla="*/ 98 w 137"/>
                <a:gd name="T41" fmla="*/ 23 h 125"/>
                <a:gd name="T42" fmla="*/ 98 w 137"/>
                <a:gd name="T43" fmla="*/ 12 h 125"/>
                <a:gd name="T44" fmla="*/ 108 w 137"/>
                <a:gd name="T45" fmla="*/ 0 h 125"/>
                <a:gd name="T46" fmla="*/ 128 w 137"/>
                <a:gd name="T47" fmla="*/ 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7" h="125">
                  <a:moveTo>
                    <a:pt x="128" y="2"/>
                  </a:moveTo>
                  <a:lnTo>
                    <a:pt x="132" y="18"/>
                  </a:lnTo>
                  <a:lnTo>
                    <a:pt x="137" y="39"/>
                  </a:lnTo>
                  <a:lnTo>
                    <a:pt x="137" y="63"/>
                  </a:lnTo>
                  <a:lnTo>
                    <a:pt x="98" y="83"/>
                  </a:lnTo>
                  <a:lnTo>
                    <a:pt x="102" y="101"/>
                  </a:lnTo>
                  <a:lnTo>
                    <a:pt x="108" y="113"/>
                  </a:lnTo>
                  <a:lnTo>
                    <a:pt x="92" y="105"/>
                  </a:lnTo>
                  <a:lnTo>
                    <a:pt x="77" y="108"/>
                  </a:lnTo>
                  <a:lnTo>
                    <a:pt x="65" y="125"/>
                  </a:lnTo>
                  <a:lnTo>
                    <a:pt x="38" y="119"/>
                  </a:lnTo>
                  <a:lnTo>
                    <a:pt x="12" y="72"/>
                  </a:lnTo>
                  <a:lnTo>
                    <a:pt x="17" y="60"/>
                  </a:lnTo>
                  <a:lnTo>
                    <a:pt x="6" y="53"/>
                  </a:lnTo>
                  <a:lnTo>
                    <a:pt x="6" y="41"/>
                  </a:lnTo>
                  <a:lnTo>
                    <a:pt x="0" y="32"/>
                  </a:lnTo>
                  <a:lnTo>
                    <a:pt x="12" y="23"/>
                  </a:lnTo>
                  <a:lnTo>
                    <a:pt x="20" y="6"/>
                  </a:lnTo>
                  <a:lnTo>
                    <a:pt x="72" y="5"/>
                  </a:lnTo>
                  <a:lnTo>
                    <a:pt x="65" y="15"/>
                  </a:lnTo>
                  <a:lnTo>
                    <a:pt x="98" y="23"/>
                  </a:lnTo>
                  <a:lnTo>
                    <a:pt x="98" y="12"/>
                  </a:lnTo>
                  <a:lnTo>
                    <a:pt x="108" y="0"/>
                  </a:lnTo>
                  <a:lnTo>
                    <a:pt x="128" y="2"/>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8" name="Freeform 241">
              <a:extLst>
                <a:ext uri="{FF2B5EF4-FFF2-40B4-BE49-F238E27FC236}">
                  <a16:creationId xmlns:a16="http://schemas.microsoft.com/office/drawing/2014/main" id="{EFE97D0B-23F6-7149-B366-934C2B61C1E9}"/>
                </a:ext>
              </a:extLst>
            </p:cNvPr>
            <p:cNvSpPr>
              <a:spLocks/>
            </p:cNvSpPr>
            <p:nvPr/>
          </p:nvSpPr>
          <p:spPr bwMode="auto">
            <a:xfrm>
              <a:off x="4579" y="2437"/>
              <a:ext cx="147" cy="292"/>
            </a:xfrm>
            <a:custGeom>
              <a:avLst/>
              <a:gdLst>
                <a:gd name="T0" fmla="*/ 162 w 222"/>
                <a:gd name="T1" fmla="*/ 234 h 440"/>
                <a:gd name="T2" fmla="*/ 147 w 222"/>
                <a:gd name="T3" fmla="*/ 215 h 440"/>
                <a:gd name="T4" fmla="*/ 156 w 222"/>
                <a:gd name="T5" fmla="*/ 197 h 440"/>
                <a:gd name="T6" fmla="*/ 216 w 222"/>
                <a:gd name="T7" fmla="*/ 179 h 440"/>
                <a:gd name="T8" fmla="*/ 213 w 222"/>
                <a:gd name="T9" fmla="*/ 138 h 440"/>
                <a:gd name="T10" fmla="*/ 192 w 222"/>
                <a:gd name="T11" fmla="*/ 86 h 440"/>
                <a:gd name="T12" fmla="*/ 159 w 222"/>
                <a:gd name="T13" fmla="*/ 62 h 440"/>
                <a:gd name="T14" fmla="*/ 137 w 222"/>
                <a:gd name="T15" fmla="*/ 75 h 440"/>
                <a:gd name="T16" fmla="*/ 107 w 222"/>
                <a:gd name="T17" fmla="*/ 87 h 440"/>
                <a:gd name="T18" fmla="*/ 101 w 222"/>
                <a:gd name="T19" fmla="*/ 69 h 440"/>
                <a:gd name="T20" fmla="*/ 101 w 222"/>
                <a:gd name="T21" fmla="*/ 47 h 440"/>
                <a:gd name="T22" fmla="*/ 71 w 222"/>
                <a:gd name="T23" fmla="*/ 29 h 440"/>
                <a:gd name="T24" fmla="*/ 62 w 222"/>
                <a:gd name="T25" fmla="*/ 0 h 440"/>
                <a:gd name="T26" fmla="*/ 12 w 222"/>
                <a:gd name="T27" fmla="*/ 20 h 440"/>
                <a:gd name="T28" fmla="*/ 14 w 222"/>
                <a:gd name="T29" fmla="*/ 54 h 440"/>
                <a:gd name="T30" fmla="*/ 12 w 222"/>
                <a:gd name="T31" fmla="*/ 83 h 440"/>
                <a:gd name="T32" fmla="*/ 44 w 222"/>
                <a:gd name="T33" fmla="*/ 117 h 440"/>
                <a:gd name="T34" fmla="*/ 33 w 222"/>
                <a:gd name="T35" fmla="*/ 152 h 440"/>
                <a:gd name="T36" fmla="*/ 47 w 222"/>
                <a:gd name="T37" fmla="*/ 179 h 440"/>
                <a:gd name="T38" fmla="*/ 69 w 222"/>
                <a:gd name="T39" fmla="*/ 231 h 440"/>
                <a:gd name="T40" fmla="*/ 69 w 222"/>
                <a:gd name="T41" fmla="*/ 278 h 440"/>
                <a:gd name="T42" fmla="*/ 53 w 222"/>
                <a:gd name="T43" fmla="*/ 327 h 440"/>
                <a:gd name="T44" fmla="*/ 50 w 222"/>
                <a:gd name="T45" fmla="*/ 380 h 440"/>
                <a:gd name="T46" fmla="*/ 62 w 222"/>
                <a:gd name="T47" fmla="*/ 362 h 440"/>
                <a:gd name="T48" fmla="*/ 89 w 222"/>
                <a:gd name="T49" fmla="*/ 401 h 440"/>
                <a:gd name="T50" fmla="*/ 107 w 222"/>
                <a:gd name="T51" fmla="*/ 404 h 440"/>
                <a:gd name="T52" fmla="*/ 128 w 222"/>
                <a:gd name="T53" fmla="*/ 440 h 440"/>
                <a:gd name="T54" fmla="*/ 147 w 222"/>
                <a:gd name="T55" fmla="*/ 438 h 440"/>
                <a:gd name="T56" fmla="*/ 135 w 222"/>
                <a:gd name="T57" fmla="*/ 402 h 440"/>
                <a:gd name="T58" fmla="*/ 107 w 222"/>
                <a:gd name="T59" fmla="*/ 389 h 440"/>
                <a:gd name="T60" fmla="*/ 84 w 222"/>
                <a:gd name="T61" fmla="*/ 335 h 440"/>
                <a:gd name="T62" fmla="*/ 81 w 222"/>
                <a:gd name="T63" fmla="*/ 293 h 440"/>
                <a:gd name="T64" fmla="*/ 101 w 222"/>
                <a:gd name="T65" fmla="*/ 210 h 440"/>
                <a:gd name="T66" fmla="*/ 128 w 222"/>
                <a:gd name="T67" fmla="*/ 234 h 440"/>
                <a:gd name="T68" fmla="*/ 149 w 222"/>
                <a:gd name="T69" fmla="*/ 25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440">
                  <a:moveTo>
                    <a:pt x="156" y="246"/>
                  </a:moveTo>
                  <a:lnTo>
                    <a:pt x="162" y="234"/>
                  </a:lnTo>
                  <a:lnTo>
                    <a:pt x="150" y="228"/>
                  </a:lnTo>
                  <a:lnTo>
                    <a:pt x="147" y="215"/>
                  </a:lnTo>
                  <a:lnTo>
                    <a:pt x="143" y="204"/>
                  </a:lnTo>
                  <a:lnTo>
                    <a:pt x="156" y="197"/>
                  </a:lnTo>
                  <a:lnTo>
                    <a:pt x="162" y="179"/>
                  </a:lnTo>
                  <a:lnTo>
                    <a:pt x="216" y="179"/>
                  </a:lnTo>
                  <a:lnTo>
                    <a:pt x="222" y="156"/>
                  </a:lnTo>
                  <a:lnTo>
                    <a:pt x="213" y="138"/>
                  </a:lnTo>
                  <a:lnTo>
                    <a:pt x="197" y="107"/>
                  </a:lnTo>
                  <a:lnTo>
                    <a:pt x="192" y="86"/>
                  </a:lnTo>
                  <a:lnTo>
                    <a:pt x="174" y="69"/>
                  </a:lnTo>
                  <a:lnTo>
                    <a:pt x="159" y="62"/>
                  </a:lnTo>
                  <a:lnTo>
                    <a:pt x="149" y="71"/>
                  </a:lnTo>
                  <a:lnTo>
                    <a:pt x="137" y="75"/>
                  </a:lnTo>
                  <a:lnTo>
                    <a:pt x="120" y="69"/>
                  </a:lnTo>
                  <a:lnTo>
                    <a:pt x="107" y="87"/>
                  </a:lnTo>
                  <a:lnTo>
                    <a:pt x="93" y="90"/>
                  </a:lnTo>
                  <a:lnTo>
                    <a:pt x="101" y="69"/>
                  </a:lnTo>
                  <a:lnTo>
                    <a:pt x="92" y="62"/>
                  </a:lnTo>
                  <a:lnTo>
                    <a:pt x="101" y="47"/>
                  </a:lnTo>
                  <a:lnTo>
                    <a:pt x="99" y="29"/>
                  </a:lnTo>
                  <a:lnTo>
                    <a:pt x="71" y="29"/>
                  </a:lnTo>
                  <a:lnTo>
                    <a:pt x="77" y="11"/>
                  </a:lnTo>
                  <a:lnTo>
                    <a:pt x="62" y="0"/>
                  </a:lnTo>
                  <a:lnTo>
                    <a:pt x="32" y="23"/>
                  </a:lnTo>
                  <a:lnTo>
                    <a:pt x="12" y="20"/>
                  </a:lnTo>
                  <a:lnTo>
                    <a:pt x="8" y="33"/>
                  </a:lnTo>
                  <a:lnTo>
                    <a:pt x="14" y="54"/>
                  </a:lnTo>
                  <a:lnTo>
                    <a:pt x="0" y="57"/>
                  </a:lnTo>
                  <a:lnTo>
                    <a:pt x="12" y="83"/>
                  </a:lnTo>
                  <a:lnTo>
                    <a:pt x="32" y="98"/>
                  </a:lnTo>
                  <a:lnTo>
                    <a:pt x="44" y="117"/>
                  </a:lnTo>
                  <a:lnTo>
                    <a:pt x="44" y="149"/>
                  </a:lnTo>
                  <a:lnTo>
                    <a:pt x="33" y="152"/>
                  </a:lnTo>
                  <a:lnTo>
                    <a:pt x="33" y="167"/>
                  </a:lnTo>
                  <a:lnTo>
                    <a:pt x="47" y="179"/>
                  </a:lnTo>
                  <a:lnTo>
                    <a:pt x="60" y="203"/>
                  </a:lnTo>
                  <a:lnTo>
                    <a:pt x="69" y="231"/>
                  </a:lnTo>
                  <a:lnTo>
                    <a:pt x="80" y="252"/>
                  </a:lnTo>
                  <a:lnTo>
                    <a:pt x="69" y="278"/>
                  </a:lnTo>
                  <a:lnTo>
                    <a:pt x="62" y="293"/>
                  </a:lnTo>
                  <a:lnTo>
                    <a:pt x="53" y="327"/>
                  </a:lnTo>
                  <a:lnTo>
                    <a:pt x="50" y="344"/>
                  </a:lnTo>
                  <a:lnTo>
                    <a:pt x="50" y="380"/>
                  </a:lnTo>
                  <a:lnTo>
                    <a:pt x="54" y="369"/>
                  </a:lnTo>
                  <a:lnTo>
                    <a:pt x="62" y="362"/>
                  </a:lnTo>
                  <a:lnTo>
                    <a:pt x="71" y="375"/>
                  </a:lnTo>
                  <a:lnTo>
                    <a:pt x="89" y="401"/>
                  </a:lnTo>
                  <a:lnTo>
                    <a:pt x="99" y="411"/>
                  </a:lnTo>
                  <a:lnTo>
                    <a:pt x="107" y="404"/>
                  </a:lnTo>
                  <a:lnTo>
                    <a:pt x="125" y="419"/>
                  </a:lnTo>
                  <a:lnTo>
                    <a:pt x="128" y="440"/>
                  </a:lnTo>
                  <a:lnTo>
                    <a:pt x="135" y="431"/>
                  </a:lnTo>
                  <a:lnTo>
                    <a:pt x="147" y="438"/>
                  </a:lnTo>
                  <a:lnTo>
                    <a:pt x="155" y="422"/>
                  </a:lnTo>
                  <a:lnTo>
                    <a:pt x="135" y="402"/>
                  </a:lnTo>
                  <a:lnTo>
                    <a:pt x="120" y="402"/>
                  </a:lnTo>
                  <a:lnTo>
                    <a:pt x="107" y="389"/>
                  </a:lnTo>
                  <a:cubicBezTo>
                    <a:pt x="105" y="379"/>
                    <a:pt x="108" y="358"/>
                    <a:pt x="96" y="356"/>
                  </a:cubicBezTo>
                  <a:cubicBezTo>
                    <a:pt x="85" y="351"/>
                    <a:pt x="96" y="337"/>
                    <a:pt x="84" y="335"/>
                  </a:cubicBezTo>
                  <a:cubicBezTo>
                    <a:pt x="76" y="331"/>
                    <a:pt x="76" y="324"/>
                    <a:pt x="74" y="315"/>
                  </a:cubicBezTo>
                  <a:cubicBezTo>
                    <a:pt x="75" y="303"/>
                    <a:pt x="73" y="299"/>
                    <a:pt x="81" y="293"/>
                  </a:cubicBezTo>
                  <a:cubicBezTo>
                    <a:pt x="83" y="282"/>
                    <a:pt x="81" y="270"/>
                    <a:pt x="86" y="260"/>
                  </a:cubicBezTo>
                  <a:cubicBezTo>
                    <a:pt x="89" y="244"/>
                    <a:pt x="83" y="217"/>
                    <a:pt x="101" y="210"/>
                  </a:cubicBezTo>
                  <a:cubicBezTo>
                    <a:pt x="110" y="214"/>
                    <a:pt x="104" y="228"/>
                    <a:pt x="110" y="231"/>
                  </a:cubicBezTo>
                  <a:cubicBezTo>
                    <a:pt x="116" y="233"/>
                    <a:pt x="122" y="233"/>
                    <a:pt x="128" y="234"/>
                  </a:cubicBezTo>
                  <a:cubicBezTo>
                    <a:pt x="133" y="236"/>
                    <a:pt x="137" y="237"/>
                    <a:pt x="141" y="240"/>
                  </a:cubicBezTo>
                  <a:cubicBezTo>
                    <a:pt x="144" y="245"/>
                    <a:pt x="146" y="249"/>
                    <a:pt x="149" y="254"/>
                  </a:cubicBezTo>
                  <a:cubicBezTo>
                    <a:pt x="157" y="251"/>
                    <a:pt x="155" y="254"/>
                    <a:pt x="156" y="246"/>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09" name="Freeform 242">
              <a:extLst>
                <a:ext uri="{FF2B5EF4-FFF2-40B4-BE49-F238E27FC236}">
                  <a16:creationId xmlns:a16="http://schemas.microsoft.com/office/drawing/2014/main" id="{A0B58367-3E76-4346-A0DA-24AA75F4C122}"/>
                </a:ext>
              </a:extLst>
            </p:cNvPr>
            <p:cNvSpPr>
              <a:spLocks/>
            </p:cNvSpPr>
            <p:nvPr/>
          </p:nvSpPr>
          <p:spPr bwMode="auto">
            <a:xfrm>
              <a:off x="4968" y="2470"/>
              <a:ext cx="85" cy="126"/>
            </a:xfrm>
            <a:custGeom>
              <a:avLst/>
              <a:gdLst>
                <a:gd name="T0" fmla="*/ 7 w 129"/>
                <a:gd name="T1" fmla="*/ 9 h 189"/>
                <a:gd name="T2" fmla="*/ 30 w 129"/>
                <a:gd name="T3" fmla="*/ 4 h 189"/>
                <a:gd name="T4" fmla="*/ 45 w 129"/>
                <a:gd name="T5" fmla="*/ 19 h 189"/>
                <a:gd name="T6" fmla="*/ 57 w 129"/>
                <a:gd name="T7" fmla="*/ 16 h 189"/>
                <a:gd name="T8" fmla="*/ 52 w 129"/>
                <a:gd name="T9" fmla="*/ 34 h 189"/>
                <a:gd name="T10" fmla="*/ 64 w 129"/>
                <a:gd name="T11" fmla="*/ 45 h 189"/>
                <a:gd name="T12" fmla="*/ 49 w 129"/>
                <a:gd name="T13" fmla="*/ 82 h 189"/>
                <a:gd name="T14" fmla="*/ 51 w 129"/>
                <a:gd name="T15" fmla="*/ 112 h 189"/>
                <a:gd name="T16" fmla="*/ 57 w 129"/>
                <a:gd name="T17" fmla="*/ 133 h 189"/>
                <a:gd name="T18" fmla="*/ 78 w 129"/>
                <a:gd name="T19" fmla="*/ 132 h 189"/>
                <a:gd name="T20" fmla="*/ 93 w 129"/>
                <a:gd name="T21" fmla="*/ 151 h 189"/>
                <a:gd name="T22" fmla="*/ 102 w 129"/>
                <a:gd name="T23" fmla="*/ 139 h 189"/>
                <a:gd name="T24" fmla="*/ 108 w 129"/>
                <a:gd name="T25" fmla="*/ 156 h 189"/>
                <a:gd name="T26" fmla="*/ 129 w 129"/>
                <a:gd name="T27" fmla="*/ 177 h 189"/>
                <a:gd name="T28" fmla="*/ 120 w 129"/>
                <a:gd name="T29" fmla="*/ 189 h 189"/>
                <a:gd name="T30" fmla="*/ 82 w 129"/>
                <a:gd name="T31" fmla="*/ 148 h 189"/>
                <a:gd name="T32" fmla="*/ 87 w 129"/>
                <a:gd name="T33" fmla="*/ 160 h 189"/>
                <a:gd name="T34" fmla="*/ 79 w 129"/>
                <a:gd name="T35" fmla="*/ 168 h 189"/>
                <a:gd name="T36" fmla="*/ 57 w 129"/>
                <a:gd name="T37" fmla="*/ 148 h 189"/>
                <a:gd name="T38" fmla="*/ 39 w 129"/>
                <a:gd name="T39" fmla="*/ 153 h 189"/>
                <a:gd name="T40" fmla="*/ 27 w 129"/>
                <a:gd name="T41" fmla="*/ 142 h 189"/>
                <a:gd name="T42" fmla="*/ 34 w 129"/>
                <a:gd name="T43" fmla="*/ 126 h 189"/>
                <a:gd name="T44" fmla="*/ 22 w 129"/>
                <a:gd name="T45" fmla="*/ 133 h 189"/>
                <a:gd name="T46" fmla="*/ 10 w 129"/>
                <a:gd name="T47" fmla="*/ 117 h 189"/>
                <a:gd name="T48" fmla="*/ 4 w 129"/>
                <a:gd name="T49" fmla="*/ 93 h 189"/>
                <a:gd name="T50" fmla="*/ 0 w 129"/>
                <a:gd name="T51" fmla="*/ 79 h 189"/>
                <a:gd name="T52" fmla="*/ 12 w 129"/>
                <a:gd name="T53" fmla="*/ 78 h 189"/>
                <a:gd name="T54" fmla="*/ 13 w 129"/>
                <a:gd name="T55" fmla="*/ 54 h 189"/>
                <a:gd name="T56" fmla="*/ 7 w 129"/>
                <a:gd name="T57" fmla="*/ 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9" h="189">
                  <a:moveTo>
                    <a:pt x="7" y="9"/>
                  </a:moveTo>
                  <a:cubicBezTo>
                    <a:pt x="13" y="0"/>
                    <a:pt x="19" y="3"/>
                    <a:pt x="30" y="4"/>
                  </a:cubicBezTo>
                  <a:cubicBezTo>
                    <a:pt x="34" y="11"/>
                    <a:pt x="37" y="18"/>
                    <a:pt x="45" y="19"/>
                  </a:cubicBezTo>
                  <a:cubicBezTo>
                    <a:pt x="50" y="14"/>
                    <a:pt x="52" y="9"/>
                    <a:pt x="57" y="16"/>
                  </a:cubicBezTo>
                  <a:cubicBezTo>
                    <a:pt x="56" y="22"/>
                    <a:pt x="55" y="28"/>
                    <a:pt x="52" y="34"/>
                  </a:cubicBezTo>
                  <a:cubicBezTo>
                    <a:pt x="57" y="37"/>
                    <a:pt x="59" y="41"/>
                    <a:pt x="64" y="45"/>
                  </a:cubicBezTo>
                  <a:cubicBezTo>
                    <a:pt x="63" y="56"/>
                    <a:pt x="64" y="79"/>
                    <a:pt x="49" y="82"/>
                  </a:cubicBezTo>
                  <a:cubicBezTo>
                    <a:pt x="39" y="89"/>
                    <a:pt x="45" y="104"/>
                    <a:pt x="51" y="112"/>
                  </a:cubicBezTo>
                  <a:cubicBezTo>
                    <a:pt x="52" y="119"/>
                    <a:pt x="54" y="127"/>
                    <a:pt x="57" y="133"/>
                  </a:cubicBezTo>
                  <a:cubicBezTo>
                    <a:pt x="60" y="147"/>
                    <a:pt x="68" y="133"/>
                    <a:pt x="78" y="132"/>
                  </a:cubicBezTo>
                  <a:cubicBezTo>
                    <a:pt x="95" y="134"/>
                    <a:pt x="84" y="139"/>
                    <a:pt x="93" y="151"/>
                  </a:cubicBezTo>
                  <a:cubicBezTo>
                    <a:pt x="97" y="145"/>
                    <a:pt x="95" y="142"/>
                    <a:pt x="102" y="139"/>
                  </a:cubicBezTo>
                  <a:cubicBezTo>
                    <a:pt x="113" y="143"/>
                    <a:pt x="114" y="146"/>
                    <a:pt x="108" y="156"/>
                  </a:cubicBezTo>
                  <a:cubicBezTo>
                    <a:pt x="115" y="165"/>
                    <a:pt x="124" y="166"/>
                    <a:pt x="129" y="177"/>
                  </a:cubicBezTo>
                  <a:cubicBezTo>
                    <a:pt x="126" y="182"/>
                    <a:pt x="125" y="186"/>
                    <a:pt x="120" y="189"/>
                  </a:cubicBezTo>
                  <a:cubicBezTo>
                    <a:pt x="106" y="183"/>
                    <a:pt x="104" y="157"/>
                    <a:pt x="82" y="148"/>
                  </a:cubicBezTo>
                  <a:cubicBezTo>
                    <a:pt x="78" y="155"/>
                    <a:pt x="80" y="156"/>
                    <a:pt x="87" y="160"/>
                  </a:cubicBezTo>
                  <a:cubicBezTo>
                    <a:pt x="89" y="170"/>
                    <a:pt x="95" y="169"/>
                    <a:pt x="79" y="168"/>
                  </a:cubicBezTo>
                  <a:cubicBezTo>
                    <a:pt x="77" y="157"/>
                    <a:pt x="66" y="154"/>
                    <a:pt x="57" y="148"/>
                  </a:cubicBezTo>
                  <a:cubicBezTo>
                    <a:pt x="51" y="150"/>
                    <a:pt x="45" y="150"/>
                    <a:pt x="39" y="153"/>
                  </a:cubicBezTo>
                  <a:cubicBezTo>
                    <a:pt x="36" y="145"/>
                    <a:pt x="35" y="145"/>
                    <a:pt x="27" y="142"/>
                  </a:cubicBezTo>
                  <a:cubicBezTo>
                    <a:pt x="28" y="135"/>
                    <a:pt x="30" y="132"/>
                    <a:pt x="34" y="126"/>
                  </a:cubicBezTo>
                  <a:cubicBezTo>
                    <a:pt x="27" y="114"/>
                    <a:pt x="25" y="127"/>
                    <a:pt x="22" y="133"/>
                  </a:cubicBezTo>
                  <a:cubicBezTo>
                    <a:pt x="11" y="131"/>
                    <a:pt x="14" y="125"/>
                    <a:pt x="10" y="117"/>
                  </a:cubicBezTo>
                  <a:cubicBezTo>
                    <a:pt x="9" y="109"/>
                    <a:pt x="8" y="100"/>
                    <a:pt x="4" y="93"/>
                  </a:cubicBezTo>
                  <a:cubicBezTo>
                    <a:pt x="3" y="88"/>
                    <a:pt x="1" y="84"/>
                    <a:pt x="0" y="79"/>
                  </a:cubicBezTo>
                  <a:cubicBezTo>
                    <a:pt x="1" y="69"/>
                    <a:pt x="8" y="69"/>
                    <a:pt x="12" y="78"/>
                  </a:cubicBezTo>
                  <a:cubicBezTo>
                    <a:pt x="23" y="74"/>
                    <a:pt x="17" y="62"/>
                    <a:pt x="13" y="54"/>
                  </a:cubicBezTo>
                  <a:cubicBezTo>
                    <a:pt x="12" y="38"/>
                    <a:pt x="9" y="25"/>
                    <a:pt x="7" y="9"/>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0" name="Freeform 243">
              <a:extLst>
                <a:ext uri="{FF2B5EF4-FFF2-40B4-BE49-F238E27FC236}">
                  <a16:creationId xmlns:a16="http://schemas.microsoft.com/office/drawing/2014/main" id="{12B07865-C2DE-A348-AA49-93DF160DD31D}"/>
                </a:ext>
              </a:extLst>
            </p:cNvPr>
            <p:cNvSpPr>
              <a:spLocks/>
            </p:cNvSpPr>
            <p:nvPr/>
          </p:nvSpPr>
          <p:spPr bwMode="auto">
            <a:xfrm>
              <a:off x="5053" y="2588"/>
              <a:ext cx="31" cy="55"/>
            </a:xfrm>
            <a:custGeom>
              <a:avLst/>
              <a:gdLst>
                <a:gd name="T0" fmla="*/ 11 w 48"/>
                <a:gd name="T1" fmla="*/ 5 h 83"/>
                <a:gd name="T2" fmla="*/ 31 w 48"/>
                <a:gd name="T3" fmla="*/ 18 h 83"/>
                <a:gd name="T4" fmla="*/ 46 w 48"/>
                <a:gd name="T5" fmla="*/ 44 h 83"/>
                <a:gd name="T6" fmla="*/ 44 w 48"/>
                <a:gd name="T7" fmla="*/ 56 h 83"/>
                <a:gd name="T8" fmla="*/ 26 w 48"/>
                <a:gd name="T9" fmla="*/ 53 h 83"/>
                <a:gd name="T10" fmla="*/ 31 w 48"/>
                <a:gd name="T11" fmla="*/ 74 h 83"/>
                <a:gd name="T12" fmla="*/ 17 w 48"/>
                <a:gd name="T13" fmla="*/ 74 h 83"/>
                <a:gd name="T14" fmla="*/ 7 w 48"/>
                <a:gd name="T15" fmla="*/ 54 h 83"/>
                <a:gd name="T16" fmla="*/ 19 w 48"/>
                <a:gd name="T17" fmla="*/ 41 h 83"/>
                <a:gd name="T18" fmla="*/ 8 w 48"/>
                <a:gd name="T19" fmla="*/ 29 h 83"/>
                <a:gd name="T20" fmla="*/ 1 w 48"/>
                <a:gd name="T21" fmla="*/ 15 h 83"/>
                <a:gd name="T22" fmla="*/ 2 w 48"/>
                <a:gd name="T23" fmla="*/ 6 h 83"/>
                <a:gd name="T24" fmla="*/ 11 w 48"/>
                <a:gd name="T25"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83">
                  <a:moveTo>
                    <a:pt x="11" y="5"/>
                  </a:moveTo>
                  <a:cubicBezTo>
                    <a:pt x="24" y="6"/>
                    <a:pt x="26" y="6"/>
                    <a:pt x="31" y="18"/>
                  </a:cubicBezTo>
                  <a:cubicBezTo>
                    <a:pt x="33" y="28"/>
                    <a:pt x="37" y="38"/>
                    <a:pt x="46" y="44"/>
                  </a:cubicBezTo>
                  <a:cubicBezTo>
                    <a:pt x="45" y="48"/>
                    <a:pt x="48" y="54"/>
                    <a:pt x="44" y="56"/>
                  </a:cubicBezTo>
                  <a:cubicBezTo>
                    <a:pt x="38" y="58"/>
                    <a:pt x="26" y="53"/>
                    <a:pt x="26" y="53"/>
                  </a:cubicBezTo>
                  <a:cubicBezTo>
                    <a:pt x="24" y="63"/>
                    <a:pt x="28" y="66"/>
                    <a:pt x="31" y="74"/>
                  </a:cubicBezTo>
                  <a:cubicBezTo>
                    <a:pt x="28" y="83"/>
                    <a:pt x="21" y="82"/>
                    <a:pt x="17" y="74"/>
                  </a:cubicBezTo>
                  <a:cubicBezTo>
                    <a:pt x="16" y="54"/>
                    <a:pt x="18" y="62"/>
                    <a:pt x="7" y="54"/>
                  </a:cubicBezTo>
                  <a:cubicBezTo>
                    <a:pt x="8" y="43"/>
                    <a:pt x="9" y="43"/>
                    <a:pt x="19" y="41"/>
                  </a:cubicBezTo>
                  <a:cubicBezTo>
                    <a:pt x="17" y="34"/>
                    <a:pt x="14" y="33"/>
                    <a:pt x="8" y="29"/>
                  </a:cubicBezTo>
                  <a:cubicBezTo>
                    <a:pt x="7" y="23"/>
                    <a:pt x="4" y="20"/>
                    <a:pt x="1" y="15"/>
                  </a:cubicBezTo>
                  <a:cubicBezTo>
                    <a:pt x="1" y="12"/>
                    <a:pt x="0" y="9"/>
                    <a:pt x="2" y="6"/>
                  </a:cubicBezTo>
                  <a:cubicBezTo>
                    <a:pt x="6" y="0"/>
                    <a:pt x="17" y="14"/>
                    <a:pt x="11" y="5"/>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1" name="Freeform 244">
              <a:extLst>
                <a:ext uri="{FF2B5EF4-FFF2-40B4-BE49-F238E27FC236}">
                  <a16:creationId xmlns:a16="http://schemas.microsoft.com/office/drawing/2014/main" id="{878B80C8-90C9-4F49-9B7C-45287A179B39}"/>
                </a:ext>
              </a:extLst>
            </p:cNvPr>
            <p:cNvSpPr>
              <a:spLocks/>
            </p:cNvSpPr>
            <p:nvPr/>
          </p:nvSpPr>
          <p:spPr bwMode="auto">
            <a:xfrm>
              <a:off x="4986" y="2574"/>
              <a:ext cx="20" cy="31"/>
            </a:xfrm>
            <a:custGeom>
              <a:avLst/>
              <a:gdLst>
                <a:gd name="T0" fmla="*/ 27 w 30"/>
                <a:gd name="T1" fmla="*/ 10 h 47"/>
                <a:gd name="T2" fmla="*/ 1 w 30"/>
                <a:gd name="T3" fmla="*/ 0 h 47"/>
                <a:gd name="T4" fmla="*/ 7 w 30"/>
                <a:gd name="T5" fmla="*/ 15 h 47"/>
                <a:gd name="T6" fmla="*/ 18 w 30"/>
                <a:gd name="T7" fmla="*/ 31 h 47"/>
                <a:gd name="T8" fmla="*/ 27 w 30"/>
                <a:gd name="T9" fmla="*/ 37 h 47"/>
                <a:gd name="T10" fmla="*/ 27 w 30"/>
                <a:gd name="T11" fmla="*/ 10 h 47"/>
              </a:gdLst>
              <a:ahLst/>
              <a:cxnLst>
                <a:cxn ang="0">
                  <a:pos x="T0" y="T1"/>
                </a:cxn>
                <a:cxn ang="0">
                  <a:pos x="T2" y="T3"/>
                </a:cxn>
                <a:cxn ang="0">
                  <a:pos x="T4" y="T5"/>
                </a:cxn>
                <a:cxn ang="0">
                  <a:pos x="T6" y="T7"/>
                </a:cxn>
                <a:cxn ang="0">
                  <a:pos x="T8" y="T9"/>
                </a:cxn>
                <a:cxn ang="0">
                  <a:pos x="T10" y="T11"/>
                </a:cxn>
              </a:cxnLst>
              <a:rect l="0" t="0" r="r" b="b"/>
              <a:pathLst>
                <a:path w="30" h="47">
                  <a:moveTo>
                    <a:pt x="27" y="10"/>
                  </a:moveTo>
                  <a:cubicBezTo>
                    <a:pt x="20" y="6"/>
                    <a:pt x="9" y="1"/>
                    <a:pt x="1" y="0"/>
                  </a:cubicBezTo>
                  <a:cubicBezTo>
                    <a:pt x="0" y="8"/>
                    <a:pt x="1" y="10"/>
                    <a:pt x="7" y="15"/>
                  </a:cubicBezTo>
                  <a:cubicBezTo>
                    <a:pt x="10" y="21"/>
                    <a:pt x="14" y="26"/>
                    <a:pt x="18" y="31"/>
                  </a:cubicBezTo>
                  <a:cubicBezTo>
                    <a:pt x="19" y="38"/>
                    <a:pt x="21" y="47"/>
                    <a:pt x="27" y="37"/>
                  </a:cubicBezTo>
                  <a:cubicBezTo>
                    <a:pt x="29" y="23"/>
                    <a:pt x="30" y="29"/>
                    <a:pt x="27" y="1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2" name="Freeform 245">
              <a:extLst>
                <a:ext uri="{FF2B5EF4-FFF2-40B4-BE49-F238E27FC236}">
                  <a16:creationId xmlns:a16="http://schemas.microsoft.com/office/drawing/2014/main" id="{D792FA5C-F135-5F4A-BB91-E58223224C09}"/>
                </a:ext>
              </a:extLst>
            </p:cNvPr>
            <p:cNvSpPr>
              <a:spLocks/>
            </p:cNvSpPr>
            <p:nvPr/>
          </p:nvSpPr>
          <p:spPr bwMode="auto">
            <a:xfrm>
              <a:off x="4939" y="2616"/>
              <a:ext cx="50" cy="67"/>
            </a:xfrm>
            <a:custGeom>
              <a:avLst/>
              <a:gdLst>
                <a:gd name="T0" fmla="*/ 54 w 76"/>
                <a:gd name="T1" fmla="*/ 0 h 101"/>
                <a:gd name="T2" fmla="*/ 45 w 76"/>
                <a:gd name="T3" fmla="*/ 21 h 101"/>
                <a:gd name="T4" fmla="*/ 27 w 76"/>
                <a:gd name="T5" fmla="*/ 35 h 101"/>
                <a:gd name="T6" fmla="*/ 6 w 76"/>
                <a:gd name="T7" fmla="*/ 65 h 101"/>
                <a:gd name="T8" fmla="*/ 0 w 76"/>
                <a:gd name="T9" fmla="*/ 81 h 101"/>
                <a:gd name="T10" fmla="*/ 14 w 76"/>
                <a:gd name="T11" fmla="*/ 77 h 101"/>
                <a:gd name="T12" fmla="*/ 65 w 76"/>
                <a:gd name="T13" fmla="*/ 29 h 101"/>
                <a:gd name="T14" fmla="*/ 59 w 76"/>
                <a:gd name="T15" fmla="*/ 18 h 101"/>
                <a:gd name="T16" fmla="*/ 54 w 7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01">
                  <a:moveTo>
                    <a:pt x="54" y="0"/>
                  </a:moveTo>
                  <a:cubicBezTo>
                    <a:pt x="45" y="7"/>
                    <a:pt x="48" y="10"/>
                    <a:pt x="45" y="21"/>
                  </a:cubicBezTo>
                  <a:cubicBezTo>
                    <a:pt x="43" y="28"/>
                    <a:pt x="33" y="31"/>
                    <a:pt x="27" y="35"/>
                  </a:cubicBezTo>
                  <a:cubicBezTo>
                    <a:pt x="20" y="45"/>
                    <a:pt x="12" y="54"/>
                    <a:pt x="6" y="65"/>
                  </a:cubicBezTo>
                  <a:cubicBezTo>
                    <a:pt x="5" y="71"/>
                    <a:pt x="4" y="76"/>
                    <a:pt x="0" y="81"/>
                  </a:cubicBezTo>
                  <a:cubicBezTo>
                    <a:pt x="4" y="101"/>
                    <a:pt x="7" y="86"/>
                    <a:pt x="14" y="77"/>
                  </a:cubicBezTo>
                  <a:cubicBezTo>
                    <a:pt x="16" y="67"/>
                    <a:pt x="54" y="31"/>
                    <a:pt x="65" y="29"/>
                  </a:cubicBezTo>
                  <a:cubicBezTo>
                    <a:pt x="76" y="21"/>
                    <a:pt x="68" y="21"/>
                    <a:pt x="59" y="18"/>
                  </a:cubicBezTo>
                  <a:cubicBezTo>
                    <a:pt x="55" y="11"/>
                    <a:pt x="54" y="9"/>
                    <a:pt x="54" y="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3" name="Freeform 246">
              <a:extLst>
                <a:ext uri="{FF2B5EF4-FFF2-40B4-BE49-F238E27FC236}">
                  <a16:creationId xmlns:a16="http://schemas.microsoft.com/office/drawing/2014/main" id="{9F40F7F7-1507-3141-B6C0-96FFBAA9EEBA}"/>
                </a:ext>
              </a:extLst>
            </p:cNvPr>
            <p:cNvSpPr>
              <a:spLocks/>
            </p:cNvSpPr>
            <p:nvPr/>
          </p:nvSpPr>
          <p:spPr bwMode="auto">
            <a:xfrm>
              <a:off x="5015" y="2606"/>
              <a:ext cx="54" cy="57"/>
            </a:xfrm>
            <a:custGeom>
              <a:avLst/>
              <a:gdLst>
                <a:gd name="T0" fmla="*/ 0 w 81"/>
                <a:gd name="T1" fmla="*/ 0 h 86"/>
                <a:gd name="T2" fmla="*/ 1 w 81"/>
                <a:gd name="T3" fmla="*/ 23 h 86"/>
                <a:gd name="T4" fmla="*/ 12 w 81"/>
                <a:gd name="T5" fmla="*/ 35 h 86"/>
                <a:gd name="T6" fmla="*/ 27 w 81"/>
                <a:gd name="T7" fmla="*/ 33 h 86"/>
                <a:gd name="T8" fmla="*/ 16 w 81"/>
                <a:gd name="T9" fmla="*/ 56 h 86"/>
                <a:gd name="T10" fmla="*/ 37 w 81"/>
                <a:gd name="T11" fmla="*/ 86 h 86"/>
                <a:gd name="T12" fmla="*/ 37 w 81"/>
                <a:gd name="T13" fmla="*/ 54 h 86"/>
                <a:gd name="T14" fmla="*/ 46 w 81"/>
                <a:gd name="T15" fmla="*/ 71 h 86"/>
                <a:gd name="T16" fmla="*/ 52 w 81"/>
                <a:gd name="T17" fmla="*/ 60 h 86"/>
                <a:gd name="T18" fmla="*/ 63 w 81"/>
                <a:gd name="T19" fmla="*/ 72 h 86"/>
                <a:gd name="T20" fmla="*/ 61 w 81"/>
                <a:gd name="T21" fmla="*/ 56 h 86"/>
                <a:gd name="T22" fmla="*/ 57 w 81"/>
                <a:gd name="T23" fmla="*/ 42 h 86"/>
                <a:gd name="T24" fmla="*/ 46 w 81"/>
                <a:gd name="T25" fmla="*/ 36 h 86"/>
                <a:gd name="T26" fmla="*/ 42 w 81"/>
                <a:gd name="T27" fmla="*/ 39 h 86"/>
                <a:gd name="T28" fmla="*/ 40 w 81"/>
                <a:gd name="T29" fmla="*/ 44 h 86"/>
                <a:gd name="T30" fmla="*/ 39 w 81"/>
                <a:gd name="T31" fmla="*/ 50 h 86"/>
                <a:gd name="T32" fmla="*/ 40 w 81"/>
                <a:gd name="T33" fmla="*/ 39 h 86"/>
                <a:gd name="T34" fmla="*/ 28 w 81"/>
                <a:gd name="T35" fmla="*/ 26 h 86"/>
                <a:gd name="T36" fmla="*/ 31 w 81"/>
                <a:gd name="T37" fmla="*/ 18 h 86"/>
                <a:gd name="T38" fmla="*/ 13 w 81"/>
                <a:gd name="T39" fmla="*/ 5 h 86"/>
                <a:gd name="T40" fmla="*/ 0 w 81"/>
                <a:gd name="T4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6">
                  <a:moveTo>
                    <a:pt x="0" y="0"/>
                  </a:moveTo>
                  <a:cubicBezTo>
                    <a:pt x="4" y="17"/>
                    <a:pt x="4" y="9"/>
                    <a:pt x="1" y="23"/>
                  </a:cubicBezTo>
                  <a:cubicBezTo>
                    <a:pt x="3" y="31"/>
                    <a:pt x="4" y="32"/>
                    <a:pt x="12" y="35"/>
                  </a:cubicBezTo>
                  <a:cubicBezTo>
                    <a:pt x="18" y="32"/>
                    <a:pt x="21" y="32"/>
                    <a:pt x="27" y="33"/>
                  </a:cubicBezTo>
                  <a:cubicBezTo>
                    <a:pt x="24" y="45"/>
                    <a:pt x="29" y="53"/>
                    <a:pt x="16" y="56"/>
                  </a:cubicBezTo>
                  <a:cubicBezTo>
                    <a:pt x="7" y="68"/>
                    <a:pt x="29" y="80"/>
                    <a:pt x="37" y="86"/>
                  </a:cubicBezTo>
                  <a:cubicBezTo>
                    <a:pt x="30" y="75"/>
                    <a:pt x="35" y="66"/>
                    <a:pt x="37" y="54"/>
                  </a:cubicBezTo>
                  <a:cubicBezTo>
                    <a:pt x="41" y="60"/>
                    <a:pt x="40" y="66"/>
                    <a:pt x="46" y="71"/>
                  </a:cubicBezTo>
                  <a:cubicBezTo>
                    <a:pt x="48" y="65"/>
                    <a:pt x="45" y="51"/>
                    <a:pt x="52" y="60"/>
                  </a:cubicBezTo>
                  <a:cubicBezTo>
                    <a:pt x="55" y="68"/>
                    <a:pt x="55" y="71"/>
                    <a:pt x="63" y="72"/>
                  </a:cubicBezTo>
                  <a:cubicBezTo>
                    <a:pt x="81" y="70"/>
                    <a:pt x="74" y="58"/>
                    <a:pt x="61" y="56"/>
                  </a:cubicBezTo>
                  <a:cubicBezTo>
                    <a:pt x="52" y="51"/>
                    <a:pt x="47" y="52"/>
                    <a:pt x="57" y="42"/>
                  </a:cubicBezTo>
                  <a:cubicBezTo>
                    <a:pt x="59" y="32"/>
                    <a:pt x="54" y="35"/>
                    <a:pt x="46" y="36"/>
                  </a:cubicBezTo>
                  <a:cubicBezTo>
                    <a:pt x="45" y="37"/>
                    <a:pt x="43" y="38"/>
                    <a:pt x="42" y="39"/>
                  </a:cubicBezTo>
                  <a:cubicBezTo>
                    <a:pt x="41" y="40"/>
                    <a:pt x="40" y="42"/>
                    <a:pt x="40" y="44"/>
                  </a:cubicBezTo>
                  <a:cubicBezTo>
                    <a:pt x="39" y="46"/>
                    <a:pt x="39" y="52"/>
                    <a:pt x="39" y="50"/>
                  </a:cubicBezTo>
                  <a:cubicBezTo>
                    <a:pt x="39" y="46"/>
                    <a:pt x="40" y="43"/>
                    <a:pt x="40" y="39"/>
                  </a:cubicBezTo>
                  <a:cubicBezTo>
                    <a:pt x="39" y="27"/>
                    <a:pt x="39" y="28"/>
                    <a:pt x="28" y="26"/>
                  </a:cubicBezTo>
                  <a:cubicBezTo>
                    <a:pt x="25" y="11"/>
                    <a:pt x="27" y="30"/>
                    <a:pt x="31" y="18"/>
                  </a:cubicBezTo>
                  <a:cubicBezTo>
                    <a:pt x="34" y="7"/>
                    <a:pt x="19" y="6"/>
                    <a:pt x="13" y="5"/>
                  </a:cubicBezTo>
                  <a:cubicBezTo>
                    <a:pt x="6" y="2"/>
                    <a:pt x="10" y="3"/>
                    <a:pt x="0" y="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4" name="Freeform 247">
              <a:extLst>
                <a:ext uri="{FF2B5EF4-FFF2-40B4-BE49-F238E27FC236}">
                  <a16:creationId xmlns:a16="http://schemas.microsoft.com/office/drawing/2014/main" id="{60C78B57-FA00-1947-BB7E-2C1C3AF2FE7F}"/>
                </a:ext>
              </a:extLst>
            </p:cNvPr>
            <p:cNvSpPr>
              <a:spLocks/>
            </p:cNvSpPr>
            <p:nvPr/>
          </p:nvSpPr>
          <p:spPr bwMode="auto">
            <a:xfrm>
              <a:off x="5021" y="2637"/>
              <a:ext cx="83" cy="94"/>
            </a:xfrm>
            <a:custGeom>
              <a:avLst/>
              <a:gdLst>
                <a:gd name="T0" fmla="*/ 91 w 124"/>
                <a:gd name="T1" fmla="*/ 18 h 141"/>
                <a:gd name="T2" fmla="*/ 108 w 124"/>
                <a:gd name="T3" fmla="*/ 37 h 141"/>
                <a:gd name="T4" fmla="*/ 108 w 124"/>
                <a:gd name="T5" fmla="*/ 51 h 141"/>
                <a:gd name="T6" fmla="*/ 117 w 124"/>
                <a:gd name="T7" fmla="*/ 76 h 141"/>
                <a:gd name="T8" fmla="*/ 103 w 124"/>
                <a:gd name="T9" fmla="*/ 97 h 141"/>
                <a:gd name="T10" fmla="*/ 93 w 124"/>
                <a:gd name="T11" fmla="*/ 90 h 141"/>
                <a:gd name="T12" fmla="*/ 96 w 124"/>
                <a:gd name="T13" fmla="*/ 115 h 141"/>
                <a:gd name="T14" fmla="*/ 90 w 124"/>
                <a:gd name="T15" fmla="*/ 141 h 141"/>
                <a:gd name="T16" fmla="*/ 72 w 124"/>
                <a:gd name="T17" fmla="*/ 129 h 141"/>
                <a:gd name="T18" fmla="*/ 61 w 124"/>
                <a:gd name="T19" fmla="*/ 117 h 141"/>
                <a:gd name="T20" fmla="*/ 46 w 124"/>
                <a:gd name="T21" fmla="*/ 76 h 141"/>
                <a:gd name="T22" fmla="*/ 36 w 124"/>
                <a:gd name="T23" fmla="*/ 93 h 141"/>
                <a:gd name="T24" fmla="*/ 30 w 124"/>
                <a:gd name="T25" fmla="*/ 79 h 141"/>
                <a:gd name="T26" fmla="*/ 22 w 124"/>
                <a:gd name="T27" fmla="*/ 94 h 141"/>
                <a:gd name="T28" fmla="*/ 13 w 124"/>
                <a:gd name="T29" fmla="*/ 76 h 141"/>
                <a:gd name="T30" fmla="*/ 7 w 124"/>
                <a:gd name="T31" fmla="*/ 91 h 141"/>
                <a:gd name="T32" fmla="*/ 0 w 124"/>
                <a:gd name="T33" fmla="*/ 94 h 141"/>
                <a:gd name="T34" fmla="*/ 22 w 124"/>
                <a:gd name="T35" fmla="*/ 63 h 141"/>
                <a:gd name="T36" fmla="*/ 37 w 124"/>
                <a:gd name="T37" fmla="*/ 51 h 141"/>
                <a:gd name="T38" fmla="*/ 49 w 124"/>
                <a:gd name="T39" fmla="*/ 67 h 141"/>
                <a:gd name="T40" fmla="*/ 55 w 124"/>
                <a:gd name="T41" fmla="*/ 58 h 141"/>
                <a:gd name="T42" fmla="*/ 69 w 124"/>
                <a:gd name="T43" fmla="*/ 49 h 141"/>
                <a:gd name="T44" fmla="*/ 70 w 124"/>
                <a:gd name="T45" fmla="*/ 33 h 141"/>
                <a:gd name="T46" fmla="*/ 79 w 124"/>
                <a:gd name="T47" fmla="*/ 40 h 141"/>
                <a:gd name="T48" fmla="*/ 93 w 124"/>
                <a:gd name="T49" fmla="*/ 0 h 141"/>
                <a:gd name="T50" fmla="*/ 91 w 124"/>
                <a:gd name="T51" fmla="*/ 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141">
                  <a:moveTo>
                    <a:pt x="91" y="18"/>
                  </a:moveTo>
                  <a:cubicBezTo>
                    <a:pt x="98" y="19"/>
                    <a:pt x="101" y="32"/>
                    <a:pt x="108" y="37"/>
                  </a:cubicBezTo>
                  <a:cubicBezTo>
                    <a:pt x="112" y="44"/>
                    <a:pt x="109" y="44"/>
                    <a:pt x="108" y="51"/>
                  </a:cubicBezTo>
                  <a:cubicBezTo>
                    <a:pt x="114" y="58"/>
                    <a:pt x="113" y="68"/>
                    <a:pt x="117" y="76"/>
                  </a:cubicBezTo>
                  <a:cubicBezTo>
                    <a:pt x="119" y="93"/>
                    <a:pt x="124" y="100"/>
                    <a:pt x="103" y="97"/>
                  </a:cubicBezTo>
                  <a:cubicBezTo>
                    <a:pt x="98" y="90"/>
                    <a:pt x="102" y="87"/>
                    <a:pt x="93" y="90"/>
                  </a:cubicBezTo>
                  <a:cubicBezTo>
                    <a:pt x="87" y="98"/>
                    <a:pt x="90" y="108"/>
                    <a:pt x="96" y="115"/>
                  </a:cubicBezTo>
                  <a:cubicBezTo>
                    <a:pt x="98" y="125"/>
                    <a:pt x="98" y="135"/>
                    <a:pt x="90" y="141"/>
                  </a:cubicBezTo>
                  <a:cubicBezTo>
                    <a:pt x="72" y="134"/>
                    <a:pt x="99" y="131"/>
                    <a:pt x="72" y="129"/>
                  </a:cubicBezTo>
                  <a:cubicBezTo>
                    <a:pt x="66" y="126"/>
                    <a:pt x="65" y="122"/>
                    <a:pt x="61" y="117"/>
                  </a:cubicBezTo>
                  <a:cubicBezTo>
                    <a:pt x="58" y="104"/>
                    <a:pt x="58" y="83"/>
                    <a:pt x="46" y="76"/>
                  </a:cubicBezTo>
                  <a:cubicBezTo>
                    <a:pt x="35" y="80"/>
                    <a:pt x="46" y="86"/>
                    <a:pt x="36" y="93"/>
                  </a:cubicBezTo>
                  <a:cubicBezTo>
                    <a:pt x="33" y="88"/>
                    <a:pt x="31" y="85"/>
                    <a:pt x="30" y="79"/>
                  </a:cubicBezTo>
                  <a:cubicBezTo>
                    <a:pt x="27" y="84"/>
                    <a:pt x="26" y="89"/>
                    <a:pt x="22" y="94"/>
                  </a:cubicBezTo>
                  <a:cubicBezTo>
                    <a:pt x="16" y="86"/>
                    <a:pt x="25" y="74"/>
                    <a:pt x="13" y="76"/>
                  </a:cubicBezTo>
                  <a:cubicBezTo>
                    <a:pt x="12" y="81"/>
                    <a:pt x="7" y="91"/>
                    <a:pt x="7" y="91"/>
                  </a:cubicBezTo>
                  <a:cubicBezTo>
                    <a:pt x="6" y="97"/>
                    <a:pt x="2" y="104"/>
                    <a:pt x="0" y="94"/>
                  </a:cubicBezTo>
                  <a:cubicBezTo>
                    <a:pt x="1" y="77"/>
                    <a:pt x="4" y="65"/>
                    <a:pt x="22" y="63"/>
                  </a:cubicBezTo>
                  <a:cubicBezTo>
                    <a:pt x="25" y="53"/>
                    <a:pt x="25" y="52"/>
                    <a:pt x="37" y="51"/>
                  </a:cubicBezTo>
                  <a:cubicBezTo>
                    <a:pt x="57" y="53"/>
                    <a:pt x="42" y="48"/>
                    <a:pt x="49" y="67"/>
                  </a:cubicBezTo>
                  <a:cubicBezTo>
                    <a:pt x="50" y="70"/>
                    <a:pt x="53" y="61"/>
                    <a:pt x="55" y="58"/>
                  </a:cubicBezTo>
                  <a:cubicBezTo>
                    <a:pt x="59" y="52"/>
                    <a:pt x="63" y="51"/>
                    <a:pt x="69" y="49"/>
                  </a:cubicBezTo>
                  <a:cubicBezTo>
                    <a:pt x="69" y="44"/>
                    <a:pt x="67" y="38"/>
                    <a:pt x="70" y="33"/>
                  </a:cubicBezTo>
                  <a:cubicBezTo>
                    <a:pt x="72" y="30"/>
                    <a:pt x="78" y="36"/>
                    <a:pt x="79" y="40"/>
                  </a:cubicBezTo>
                  <a:cubicBezTo>
                    <a:pt x="98" y="38"/>
                    <a:pt x="81" y="16"/>
                    <a:pt x="93" y="0"/>
                  </a:cubicBezTo>
                  <a:cubicBezTo>
                    <a:pt x="94" y="8"/>
                    <a:pt x="99" y="13"/>
                    <a:pt x="91" y="18"/>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5" name="Freeform 248">
              <a:extLst>
                <a:ext uri="{FF2B5EF4-FFF2-40B4-BE49-F238E27FC236}">
                  <a16:creationId xmlns:a16="http://schemas.microsoft.com/office/drawing/2014/main" id="{D7889111-FB4F-C641-9B9B-6C9DE1D18032}"/>
                </a:ext>
              </a:extLst>
            </p:cNvPr>
            <p:cNvSpPr>
              <a:spLocks/>
            </p:cNvSpPr>
            <p:nvPr/>
          </p:nvSpPr>
          <p:spPr bwMode="auto">
            <a:xfrm>
              <a:off x="5066" y="2868"/>
              <a:ext cx="35" cy="21"/>
            </a:xfrm>
            <a:custGeom>
              <a:avLst/>
              <a:gdLst>
                <a:gd name="T0" fmla="*/ 53 w 53"/>
                <a:gd name="T1" fmla="*/ 7 h 31"/>
                <a:gd name="T2" fmla="*/ 18 w 53"/>
                <a:gd name="T3" fmla="*/ 3 h 31"/>
                <a:gd name="T4" fmla="*/ 0 w 53"/>
                <a:gd name="T5" fmla="*/ 6 h 31"/>
                <a:gd name="T6" fmla="*/ 11 w 53"/>
                <a:gd name="T7" fmla="*/ 16 h 31"/>
                <a:gd name="T8" fmla="*/ 38 w 53"/>
                <a:gd name="T9" fmla="*/ 18 h 31"/>
                <a:gd name="T10" fmla="*/ 45 w 53"/>
                <a:gd name="T11" fmla="*/ 31 h 31"/>
                <a:gd name="T12" fmla="*/ 53 w 53"/>
                <a:gd name="T13" fmla="*/ 7 h 31"/>
              </a:gdLst>
              <a:ahLst/>
              <a:cxnLst>
                <a:cxn ang="0">
                  <a:pos x="T0" y="T1"/>
                </a:cxn>
                <a:cxn ang="0">
                  <a:pos x="T2" y="T3"/>
                </a:cxn>
                <a:cxn ang="0">
                  <a:pos x="T4" y="T5"/>
                </a:cxn>
                <a:cxn ang="0">
                  <a:pos x="T6" y="T7"/>
                </a:cxn>
                <a:cxn ang="0">
                  <a:pos x="T8" y="T9"/>
                </a:cxn>
                <a:cxn ang="0">
                  <a:pos x="T10" y="T11"/>
                </a:cxn>
                <a:cxn ang="0">
                  <a:pos x="T12" y="T13"/>
                </a:cxn>
              </a:cxnLst>
              <a:rect l="0" t="0" r="r" b="b"/>
              <a:pathLst>
                <a:path w="53" h="31">
                  <a:moveTo>
                    <a:pt x="53" y="7"/>
                  </a:moveTo>
                  <a:cubicBezTo>
                    <a:pt x="41" y="6"/>
                    <a:pt x="30" y="5"/>
                    <a:pt x="18" y="3"/>
                  </a:cubicBezTo>
                  <a:cubicBezTo>
                    <a:pt x="11" y="0"/>
                    <a:pt x="6" y="2"/>
                    <a:pt x="0" y="6"/>
                  </a:cubicBezTo>
                  <a:cubicBezTo>
                    <a:pt x="2" y="14"/>
                    <a:pt x="3" y="14"/>
                    <a:pt x="11" y="16"/>
                  </a:cubicBezTo>
                  <a:cubicBezTo>
                    <a:pt x="17" y="19"/>
                    <a:pt x="31" y="17"/>
                    <a:pt x="38" y="18"/>
                  </a:cubicBezTo>
                  <a:cubicBezTo>
                    <a:pt x="39" y="25"/>
                    <a:pt x="40" y="27"/>
                    <a:pt x="45" y="31"/>
                  </a:cubicBezTo>
                  <a:cubicBezTo>
                    <a:pt x="53" y="26"/>
                    <a:pt x="53" y="16"/>
                    <a:pt x="53" y="7"/>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6" name="Freeform 249">
              <a:extLst>
                <a:ext uri="{FF2B5EF4-FFF2-40B4-BE49-F238E27FC236}">
                  <a16:creationId xmlns:a16="http://schemas.microsoft.com/office/drawing/2014/main" id="{C9C35C0D-C4B2-AB43-A55A-DEA1C766DD3A}"/>
                </a:ext>
              </a:extLst>
            </p:cNvPr>
            <p:cNvSpPr>
              <a:spLocks/>
            </p:cNvSpPr>
            <p:nvPr/>
          </p:nvSpPr>
          <p:spPr bwMode="auto">
            <a:xfrm>
              <a:off x="5344" y="2889"/>
              <a:ext cx="185" cy="169"/>
            </a:xfrm>
            <a:custGeom>
              <a:avLst/>
              <a:gdLst>
                <a:gd name="T0" fmla="*/ 5 w 279"/>
                <a:gd name="T1" fmla="*/ 195 h 255"/>
                <a:gd name="T2" fmla="*/ 11 w 279"/>
                <a:gd name="T3" fmla="*/ 126 h 255"/>
                <a:gd name="T4" fmla="*/ 0 w 279"/>
                <a:gd name="T5" fmla="*/ 122 h 255"/>
                <a:gd name="T6" fmla="*/ 14 w 279"/>
                <a:gd name="T7" fmla="*/ 101 h 255"/>
                <a:gd name="T8" fmla="*/ 14 w 279"/>
                <a:gd name="T9" fmla="*/ 0 h 255"/>
                <a:gd name="T10" fmla="*/ 38 w 279"/>
                <a:gd name="T11" fmla="*/ 9 h 255"/>
                <a:gd name="T12" fmla="*/ 50 w 279"/>
                <a:gd name="T13" fmla="*/ 18 h 255"/>
                <a:gd name="T14" fmla="*/ 78 w 279"/>
                <a:gd name="T15" fmla="*/ 30 h 255"/>
                <a:gd name="T16" fmla="*/ 101 w 279"/>
                <a:gd name="T17" fmla="*/ 39 h 255"/>
                <a:gd name="T18" fmla="*/ 128 w 279"/>
                <a:gd name="T19" fmla="*/ 56 h 255"/>
                <a:gd name="T20" fmla="*/ 137 w 279"/>
                <a:gd name="T21" fmla="*/ 69 h 255"/>
                <a:gd name="T22" fmla="*/ 131 w 279"/>
                <a:gd name="T23" fmla="*/ 83 h 255"/>
                <a:gd name="T24" fmla="*/ 161 w 279"/>
                <a:gd name="T25" fmla="*/ 95 h 255"/>
                <a:gd name="T26" fmla="*/ 179 w 279"/>
                <a:gd name="T27" fmla="*/ 98 h 255"/>
                <a:gd name="T28" fmla="*/ 189 w 279"/>
                <a:gd name="T29" fmla="*/ 113 h 255"/>
                <a:gd name="T30" fmla="*/ 170 w 279"/>
                <a:gd name="T31" fmla="*/ 126 h 255"/>
                <a:gd name="T32" fmla="*/ 191 w 279"/>
                <a:gd name="T33" fmla="*/ 161 h 255"/>
                <a:gd name="T34" fmla="*/ 198 w 279"/>
                <a:gd name="T35" fmla="*/ 183 h 255"/>
                <a:gd name="T36" fmla="*/ 221 w 279"/>
                <a:gd name="T37" fmla="*/ 192 h 255"/>
                <a:gd name="T38" fmla="*/ 218 w 279"/>
                <a:gd name="T39" fmla="*/ 203 h 255"/>
                <a:gd name="T40" fmla="*/ 233 w 279"/>
                <a:gd name="T41" fmla="*/ 210 h 255"/>
                <a:gd name="T42" fmla="*/ 233 w 279"/>
                <a:gd name="T43" fmla="*/ 224 h 255"/>
                <a:gd name="T44" fmla="*/ 248 w 279"/>
                <a:gd name="T45" fmla="*/ 228 h 255"/>
                <a:gd name="T46" fmla="*/ 263 w 279"/>
                <a:gd name="T47" fmla="*/ 228 h 255"/>
                <a:gd name="T48" fmla="*/ 246 w 279"/>
                <a:gd name="T49" fmla="*/ 213 h 255"/>
                <a:gd name="T50" fmla="*/ 240 w 279"/>
                <a:gd name="T51" fmla="*/ 194 h 255"/>
                <a:gd name="T52" fmla="*/ 258 w 279"/>
                <a:gd name="T53" fmla="*/ 195 h 255"/>
                <a:gd name="T54" fmla="*/ 273 w 279"/>
                <a:gd name="T55" fmla="*/ 231 h 255"/>
                <a:gd name="T56" fmla="*/ 279 w 279"/>
                <a:gd name="T57" fmla="*/ 245 h 255"/>
                <a:gd name="T58" fmla="*/ 252 w 279"/>
                <a:gd name="T59" fmla="*/ 240 h 255"/>
                <a:gd name="T60" fmla="*/ 236 w 279"/>
                <a:gd name="T61" fmla="*/ 246 h 255"/>
                <a:gd name="T62" fmla="*/ 225 w 279"/>
                <a:gd name="T63" fmla="*/ 236 h 255"/>
                <a:gd name="T64" fmla="*/ 201 w 279"/>
                <a:gd name="T65" fmla="*/ 230 h 255"/>
                <a:gd name="T66" fmla="*/ 179 w 279"/>
                <a:gd name="T67" fmla="*/ 224 h 255"/>
                <a:gd name="T68" fmla="*/ 162 w 279"/>
                <a:gd name="T69" fmla="*/ 204 h 255"/>
                <a:gd name="T70" fmla="*/ 111 w 279"/>
                <a:gd name="T71" fmla="*/ 152 h 255"/>
                <a:gd name="T72" fmla="*/ 86 w 279"/>
                <a:gd name="T73" fmla="*/ 147 h 255"/>
                <a:gd name="T74" fmla="*/ 83 w 279"/>
                <a:gd name="T75" fmla="*/ 159 h 255"/>
                <a:gd name="T76" fmla="*/ 66 w 279"/>
                <a:gd name="T77" fmla="*/ 162 h 255"/>
                <a:gd name="T78" fmla="*/ 77 w 279"/>
                <a:gd name="T79" fmla="*/ 173 h 255"/>
                <a:gd name="T80" fmla="*/ 42 w 279"/>
                <a:gd name="T81" fmla="*/ 167 h 255"/>
                <a:gd name="T82" fmla="*/ 38 w 279"/>
                <a:gd name="T83" fmla="*/ 165 h 255"/>
                <a:gd name="T84" fmla="*/ 39 w 279"/>
                <a:gd name="T85" fmla="*/ 170 h 255"/>
                <a:gd name="T86" fmla="*/ 50 w 279"/>
                <a:gd name="T87" fmla="*/ 173 h 255"/>
                <a:gd name="T88" fmla="*/ 62 w 279"/>
                <a:gd name="T89" fmla="*/ 189 h 255"/>
                <a:gd name="T90" fmla="*/ 44 w 279"/>
                <a:gd name="T91" fmla="*/ 198 h 255"/>
                <a:gd name="T92" fmla="*/ 24 w 279"/>
                <a:gd name="T93" fmla="*/ 194 h 255"/>
                <a:gd name="T94" fmla="*/ 5 w 279"/>
                <a:gd name="T95" fmla="*/ 19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9" h="255">
                  <a:moveTo>
                    <a:pt x="5" y="195"/>
                  </a:moveTo>
                  <a:lnTo>
                    <a:pt x="11" y="126"/>
                  </a:lnTo>
                  <a:lnTo>
                    <a:pt x="0" y="122"/>
                  </a:lnTo>
                  <a:lnTo>
                    <a:pt x="14" y="101"/>
                  </a:lnTo>
                  <a:lnTo>
                    <a:pt x="14" y="0"/>
                  </a:lnTo>
                  <a:cubicBezTo>
                    <a:pt x="22" y="3"/>
                    <a:pt x="31" y="4"/>
                    <a:pt x="38" y="9"/>
                  </a:cubicBezTo>
                  <a:cubicBezTo>
                    <a:pt x="44" y="13"/>
                    <a:pt x="42" y="16"/>
                    <a:pt x="50" y="18"/>
                  </a:cubicBezTo>
                  <a:cubicBezTo>
                    <a:pt x="58" y="24"/>
                    <a:pt x="68" y="29"/>
                    <a:pt x="78" y="30"/>
                  </a:cubicBezTo>
                  <a:cubicBezTo>
                    <a:pt x="86" y="33"/>
                    <a:pt x="93" y="38"/>
                    <a:pt x="101" y="39"/>
                  </a:cubicBezTo>
                  <a:cubicBezTo>
                    <a:pt x="109" y="45"/>
                    <a:pt x="119" y="52"/>
                    <a:pt x="128" y="56"/>
                  </a:cubicBezTo>
                  <a:cubicBezTo>
                    <a:pt x="136" y="66"/>
                    <a:pt x="133" y="62"/>
                    <a:pt x="137" y="69"/>
                  </a:cubicBezTo>
                  <a:cubicBezTo>
                    <a:pt x="138" y="76"/>
                    <a:pt x="135" y="77"/>
                    <a:pt x="131" y="83"/>
                  </a:cubicBezTo>
                  <a:cubicBezTo>
                    <a:pt x="140" y="87"/>
                    <a:pt x="151" y="93"/>
                    <a:pt x="161" y="95"/>
                  </a:cubicBezTo>
                  <a:cubicBezTo>
                    <a:pt x="167" y="96"/>
                    <a:pt x="179" y="98"/>
                    <a:pt x="179" y="98"/>
                  </a:cubicBezTo>
                  <a:cubicBezTo>
                    <a:pt x="188" y="105"/>
                    <a:pt x="188" y="97"/>
                    <a:pt x="189" y="113"/>
                  </a:cubicBezTo>
                  <a:cubicBezTo>
                    <a:pt x="187" y="124"/>
                    <a:pt x="180" y="125"/>
                    <a:pt x="170" y="126"/>
                  </a:cubicBezTo>
                  <a:cubicBezTo>
                    <a:pt x="152" y="132"/>
                    <a:pt x="181" y="155"/>
                    <a:pt x="191" y="161"/>
                  </a:cubicBezTo>
                  <a:cubicBezTo>
                    <a:pt x="192" y="169"/>
                    <a:pt x="191" y="178"/>
                    <a:pt x="198" y="183"/>
                  </a:cubicBezTo>
                  <a:cubicBezTo>
                    <a:pt x="203" y="194"/>
                    <a:pt x="207" y="191"/>
                    <a:pt x="221" y="192"/>
                  </a:cubicBezTo>
                  <a:cubicBezTo>
                    <a:pt x="227" y="197"/>
                    <a:pt x="223" y="199"/>
                    <a:pt x="218" y="203"/>
                  </a:cubicBezTo>
                  <a:cubicBezTo>
                    <a:pt x="223" y="208"/>
                    <a:pt x="226" y="209"/>
                    <a:pt x="233" y="210"/>
                  </a:cubicBezTo>
                  <a:cubicBezTo>
                    <a:pt x="237" y="217"/>
                    <a:pt x="234" y="217"/>
                    <a:pt x="233" y="224"/>
                  </a:cubicBezTo>
                  <a:cubicBezTo>
                    <a:pt x="238" y="225"/>
                    <a:pt x="243" y="227"/>
                    <a:pt x="248" y="228"/>
                  </a:cubicBezTo>
                  <a:cubicBezTo>
                    <a:pt x="254" y="231"/>
                    <a:pt x="257" y="232"/>
                    <a:pt x="263" y="228"/>
                  </a:cubicBezTo>
                  <a:cubicBezTo>
                    <a:pt x="260" y="219"/>
                    <a:pt x="254" y="217"/>
                    <a:pt x="246" y="213"/>
                  </a:cubicBezTo>
                  <a:cubicBezTo>
                    <a:pt x="239" y="204"/>
                    <a:pt x="239" y="210"/>
                    <a:pt x="240" y="194"/>
                  </a:cubicBezTo>
                  <a:cubicBezTo>
                    <a:pt x="246" y="194"/>
                    <a:pt x="252" y="194"/>
                    <a:pt x="258" y="195"/>
                  </a:cubicBezTo>
                  <a:cubicBezTo>
                    <a:pt x="270" y="197"/>
                    <a:pt x="265" y="223"/>
                    <a:pt x="273" y="231"/>
                  </a:cubicBezTo>
                  <a:cubicBezTo>
                    <a:pt x="275" y="236"/>
                    <a:pt x="278" y="239"/>
                    <a:pt x="279" y="245"/>
                  </a:cubicBezTo>
                  <a:cubicBezTo>
                    <a:pt x="271" y="255"/>
                    <a:pt x="261" y="243"/>
                    <a:pt x="252" y="240"/>
                  </a:cubicBezTo>
                  <a:cubicBezTo>
                    <a:pt x="246" y="247"/>
                    <a:pt x="245" y="249"/>
                    <a:pt x="236" y="246"/>
                  </a:cubicBezTo>
                  <a:cubicBezTo>
                    <a:pt x="232" y="241"/>
                    <a:pt x="232" y="237"/>
                    <a:pt x="225" y="236"/>
                  </a:cubicBezTo>
                  <a:cubicBezTo>
                    <a:pt x="218" y="233"/>
                    <a:pt x="209" y="231"/>
                    <a:pt x="201" y="230"/>
                  </a:cubicBezTo>
                  <a:cubicBezTo>
                    <a:pt x="194" y="227"/>
                    <a:pt x="187" y="225"/>
                    <a:pt x="179" y="224"/>
                  </a:cubicBezTo>
                  <a:cubicBezTo>
                    <a:pt x="169" y="220"/>
                    <a:pt x="167" y="213"/>
                    <a:pt x="162" y="204"/>
                  </a:cubicBezTo>
                  <a:cubicBezTo>
                    <a:pt x="149" y="183"/>
                    <a:pt x="138" y="156"/>
                    <a:pt x="111" y="152"/>
                  </a:cubicBezTo>
                  <a:cubicBezTo>
                    <a:pt x="103" y="148"/>
                    <a:pt x="94" y="151"/>
                    <a:pt x="86" y="147"/>
                  </a:cubicBezTo>
                  <a:cubicBezTo>
                    <a:pt x="71" y="152"/>
                    <a:pt x="91" y="148"/>
                    <a:pt x="83" y="159"/>
                  </a:cubicBezTo>
                  <a:cubicBezTo>
                    <a:pt x="80" y="164"/>
                    <a:pt x="72" y="162"/>
                    <a:pt x="66" y="162"/>
                  </a:cubicBezTo>
                  <a:cubicBezTo>
                    <a:pt x="69" y="168"/>
                    <a:pt x="71" y="170"/>
                    <a:pt x="77" y="173"/>
                  </a:cubicBezTo>
                  <a:cubicBezTo>
                    <a:pt x="70" y="187"/>
                    <a:pt x="51" y="169"/>
                    <a:pt x="42" y="167"/>
                  </a:cubicBezTo>
                  <a:cubicBezTo>
                    <a:pt x="41" y="166"/>
                    <a:pt x="39" y="164"/>
                    <a:pt x="38" y="165"/>
                  </a:cubicBezTo>
                  <a:cubicBezTo>
                    <a:pt x="37" y="166"/>
                    <a:pt x="38" y="169"/>
                    <a:pt x="39" y="170"/>
                  </a:cubicBezTo>
                  <a:cubicBezTo>
                    <a:pt x="42" y="173"/>
                    <a:pt x="46" y="172"/>
                    <a:pt x="50" y="173"/>
                  </a:cubicBezTo>
                  <a:cubicBezTo>
                    <a:pt x="54" y="179"/>
                    <a:pt x="59" y="182"/>
                    <a:pt x="62" y="189"/>
                  </a:cubicBezTo>
                  <a:cubicBezTo>
                    <a:pt x="57" y="197"/>
                    <a:pt x="53" y="197"/>
                    <a:pt x="44" y="198"/>
                  </a:cubicBezTo>
                  <a:cubicBezTo>
                    <a:pt x="35" y="201"/>
                    <a:pt x="33" y="196"/>
                    <a:pt x="24" y="194"/>
                  </a:cubicBezTo>
                  <a:cubicBezTo>
                    <a:pt x="19" y="194"/>
                    <a:pt x="9" y="198"/>
                    <a:pt x="5" y="195"/>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7" name="Freeform 250">
              <a:extLst>
                <a:ext uri="{FF2B5EF4-FFF2-40B4-BE49-F238E27FC236}">
                  <a16:creationId xmlns:a16="http://schemas.microsoft.com/office/drawing/2014/main" id="{DCDCCA1B-E6DC-154C-BEEF-21B2E6E75ED0}"/>
                </a:ext>
              </a:extLst>
            </p:cNvPr>
            <p:cNvSpPr>
              <a:spLocks/>
            </p:cNvSpPr>
            <p:nvPr/>
          </p:nvSpPr>
          <p:spPr bwMode="auto">
            <a:xfrm>
              <a:off x="5479" y="2888"/>
              <a:ext cx="87" cy="77"/>
            </a:xfrm>
            <a:custGeom>
              <a:avLst/>
              <a:gdLst>
                <a:gd name="T0" fmla="*/ 4 w 131"/>
                <a:gd name="T1" fmla="*/ 88 h 116"/>
                <a:gd name="T2" fmla="*/ 27 w 131"/>
                <a:gd name="T3" fmla="*/ 85 h 116"/>
                <a:gd name="T4" fmla="*/ 49 w 131"/>
                <a:gd name="T5" fmla="*/ 72 h 116"/>
                <a:gd name="T6" fmla="*/ 57 w 131"/>
                <a:gd name="T7" fmla="*/ 88 h 116"/>
                <a:gd name="T8" fmla="*/ 84 w 131"/>
                <a:gd name="T9" fmla="*/ 70 h 116"/>
                <a:gd name="T10" fmla="*/ 94 w 131"/>
                <a:gd name="T11" fmla="*/ 46 h 116"/>
                <a:gd name="T12" fmla="*/ 109 w 131"/>
                <a:gd name="T13" fmla="*/ 55 h 116"/>
                <a:gd name="T14" fmla="*/ 109 w 131"/>
                <a:gd name="T15" fmla="*/ 43 h 116"/>
                <a:gd name="T16" fmla="*/ 100 w 131"/>
                <a:gd name="T17" fmla="*/ 36 h 116"/>
                <a:gd name="T18" fmla="*/ 85 w 131"/>
                <a:gd name="T19" fmla="*/ 22 h 116"/>
                <a:gd name="T20" fmla="*/ 73 w 131"/>
                <a:gd name="T21" fmla="*/ 6 h 116"/>
                <a:gd name="T22" fmla="*/ 105 w 131"/>
                <a:gd name="T23" fmla="*/ 21 h 116"/>
                <a:gd name="T24" fmla="*/ 118 w 131"/>
                <a:gd name="T25" fmla="*/ 31 h 116"/>
                <a:gd name="T26" fmla="*/ 129 w 131"/>
                <a:gd name="T27" fmla="*/ 54 h 116"/>
                <a:gd name="T28" fmla="*/ 114 w 131"/>
                <a:gd name="T29" fmla="*/ 67 h 116"/>
                <a:gd name="T30" fmla="*/ 97 w 131"/>
                <a:gd name="T31" fmla="*/ 76 h 116"/>
                <a:gd name="T32" fmla="*/ 79 w 131"/>
                <a:gd name="T33" fmla="*/ 91 h 116"/>
                <a:gd name="T34" fmla="*/ 48 w 131"/>
                <a:gd name="T35" fmla="*/ 112 h 116"/>
                <a:gd name="T36" fmla="*/ 10 w 131"/>
                <a:gd name="T37" fmla="*/ 102 h 116"/>
                <a:gd name="T38" fmla="*/ 4 w 131"/>
                <a:gd name="T39" fmla="*/ 90 h 116"/>
                <a:gd name="T40" fmla="*/ 4 w 131"/>
                <a:gd name="T41"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16">
                  <a:moveTo>
                    <a:pt x="4" y="88"/>
                  </a:moveTo>
                  <a:cubicBezTo>
                    <a:pt x="16" y="86"/>
                    <a:pt x="11" y="84"/>
                    <a:pt x="27" y="85"/>
                  </a:cubicBezTo>
                  <a:cubicBezTo>
                    <a:pt x="43" y="84"/>
                    <a:pt x="38" y="80"/>
                    <a:pt x="49" y="72"/>
                  </a:cubicBezTo>
                  <a:cubicBezTo>
                    <a:pt x="53" y="79"/>
                    <a:pt x="48" y="86"/>
                    <a:pt x="57" y="88"/>
                  </a:cubicBezTo>
                  <a:cubicBezTo>
                    <a:pt x="71" y="86"/>
                    <a:pt x="72" y="75"/>
                    <a:pt x="84" y="70"/>
                  </a:cubicBezTo>
                  <a:cubicBezTo>
                    <a:pt x="85" y="63"/>
                    <a:pt x="87" y="49"/>
                    <a:pt x="94" y="46"/>
                  </a:cubicBezTo>
                  <a:cubicBezTo>
                    <a:pt x="102" y="48"/>
                    <a:pt x="104" y="49"/>
                    <a:pt x="109" y="55"/>
                  </a:cubicBezTo>
                  <a:cubicBezTo>
                    <a:pt x="111" y="51"/>
                    <a:pt x="113" y="49"/>
                    <a:pt x="109" y="43"/>
                  </a:cubicBezTo>
                  <a:cubicBezTo>
                    <a:pt x="107" y="40"/>
                    <a:pt x="100" y="36"/>
                    <a:pt x="100" y="36"/>
                  </a:cubicBezTo>
                  <a:cubicBezTo>
                    <a:pt x="99" y="29"/>
                    <a:pt x="91" y="26"/>
                    <a:pt x="85" y="22"/>
                  </a:cubicBezTo>
                  <a:cubicBezTo>
                    <a:pt x="81" y="16"/>
                    <a:pt x="76" y="13"/>
                    <a:pt x="73" y="6"/>
                  </a:cubicBezTo>
                  <a:cubicBezTo>
                    <a:pt x="83" y="0"/>
                    <a:pt x="95" y="17"/>
                    <a:pt x="105" y="21"/>
                  </a:cubicBezTo>
                  <a:cubicBezTo>
                    <a:pt x="109" y="25"/>
                    <a:pt x="114" y="27"/>
                    <a:pt x="118" y="31"/>
                  </a:cubicBezTo>
                  <a:cubicBezTo>
                    <a:pt x="121" y="39"/>
                    <a:pt x="126" y="46"/>
                    <a:pt x="129" y="54"/>
                  </a:cubicBezTo>
                  <a:cubicBezTo>
                    <a:pt x="125" y="73"/>
                    <a:pt x="131" y="70"/>
                    <a:pt x="114" y="67"/>
                  </a:cubicBezTo>
                  <a:cubicBezTo>
                    <a:pt x="100" y="58"/>
                    <a:pt x="107" y="74"/>
                    <a:pt x="97" y="76"/>
                  </a:cubicBezTo>
                  <a:cubicBezTo>
                    <a:pt x="93" y="91"/>
                    <a:pt x="94" y="90"/>
                    <a:pt x="79" y="91"/>
                  </a:cubicBezTo>
                  <a:cubicBezTo>
                    <a:pt x="72" y="103"/>
                    <a:pt x="62" y="110"/>
                    <a:pt x="48" y="112"/>
                  </a:cubicBezTo>
                  <a:cubicBezTo>
                    <a:pt x="38" y="116"/>
                    <a:pt x="24" y="103"/>
                    <a:pt x="10" y="102"/>
                  </a:cubicBezTo>
                  <a:cubicBezTo>
                    <a:pt x="6" y="100"/>
                    <a:pt x="0" y="96"/>
                    <a:pt x="4" y="90"/>
                  </a:cubicBezTo>
                  <a:cubicBezTo>
                    <a:pt x="6" y="87"/>
                    <a:pt x="15" y="88"/>
                    <a:pt x="4" y="88"/>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8" name="Freeform 251">
              <a:extLst>
                <a:ext uri="{FF2B5EF4-FFF2-40B4-BE49-F238E27FC236}">
                  <a16:creationId xmlns:a16="http://schemas.microsoft.com/office/drawing/2014/main" id="{E903823B-B6B7-A243-BCAD-FBB5A02C12C2}"/>
                </a:ext>
              </a:extLst>
            </p:cNvPr>
            <p:cNvSpPr>
              <a:spLocks/>
            </p:cNvSpPr>
            <p:nvPr/>
          </p:nvSpPr>
          <p:spPr bwMode="auto">
            <a:xfrm>
              <a:off x="5227" y="2946"/>
              <a:ext cx="19" cy="27"/>
            </a:xfrm>
            <a:custGeom>
              <a:avLst/>
              <a:gdLst>
                <a:gd name="T0" fmla="*/ 20 w 29"/>
                <a:gd name="T1" fmla="*/ 0 h 42"/>
                <a:gd name="T2" fmla="*/ 8 w 29"/>
                <a:gd name="T3" fmla="*/ 12 h 42"/>
                <a:gd name="T4" fmla="*/ 15 w 29"/>
                <a:gd name="T5" fmla="*/ 42 h 42"/>
                <a:gd name="T6" fmla="*/ 26 w 29"/>
                <a:gd name="T7" fmla="*/ 24 h 42"/>
                <a:gd name="T8" fmla="*/ 26 w 29"/>
                <a:gd name="T9" fmla="*/ 4 h 42"/>
                <a:gd name="T10" fmla="*/ 21 w 29"/>
                <a:gd name="T11" fmla="*/ 3 h 42"/>
                <a:gd name="T12" fmla="*/ 20 w 29"/>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9" h="42">
                  <a:moveTo>
                    <a:pt x="20" y="0"/>
                  </a:moveTo>
                  <a:cubicBezTo>
                    <a:pt x="15" y="4"/>
                    <a:pt x="13" y="8"/>
                    <a:pt x="8" y="12"/>
                  </a:cubicBezTo>
                  <a:cubicBezTo>
                    <a:pt x="2" y="25"/>
                    <a:pt x="0" y="35"/>
                    <a:pt x="15" y="42"/>
                  </a:cubicBezTo>
                  <a:cubicBezTo>
                    <a:pt x="18" y="35"/>
                    <a:pt x="22" y="30"/>
                    <a:pt x="26" y="24"/>
                  </a:cubicBezTo>
                  <a:cubicBezTo>
                    <a:pt x="27" y="17"/>
                    <a:pt x="29" y="12"/>
                    <a:pt x="26" y="4"/>
                  </a:cubicBezTo>
                  <a:cubicBezTo>
                    <a:pt x="25" y="2"/>
                    <a:pt x="22" y="4"/>
                    <a:pt x="21" y="3"/>
                  </a:cubicBezTo>
                  <a:cubicBezTo>
                    <a:pt x="20" y="2"/>
                    <a:pt x="20" y="1"/>
                    <a:pt x="20" y="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19" name="Freeform 252">
              <a:extLst>
                <a:ext uri="{FF2B5EF4-FFF2-40B4-BE49-F238E27FC236}">
                  <a16:creationId xmlns:a16="http://schemas.microsoft.com/office/drawing/2014/main" id="{8190B89B-A8AD-7646-8899-4996596C35F7}"/>
                </a:ext>
              </a:extLst>
            </p:cNvPr>
            <p:cNvSpPr>
              <a:spLocks/>
            </p:cNvSpPr>
            <p:nvPr/>
          </p:nvSpPr>
          <p:spPr bwMode="auto">
            <a:xfrm>
              <a:off x="5173" y="2976"/>
              <a:ext cx="24" cy="33"/>
            </a:xfrm>
            <a:custGeom>
              <a:avLst/>
              <a:gdLst>
                <a:gd name="T0" fmla="*/ 33 w 37"/>
                <a:gd name="T1" fmla="*/ 0 h 50"/>
                <a:gd name="T2" fmla="*/ 4 w 37"/>
                <a:gd name="T3" fmla="*/ 18 h 50"/>
                <a:gd name="T4" fmla="*/ 0 w 37"/>
                <a:gd name="T5" fmla="*/ 38 h 50"/>
                <a:gd name="T6" fmla="*/ 21 w 37"/>
                <a:gd name="T7" fmla="*/ 29 h 50"/>
                <a:gd name="T8" fmla="*/ 33 w 37"/>
                <a:gd name="T9" fmla="*/ 15 h 50"/>
                <a:gd name="T10" fmla="*/ 33 w 37"/>
                <a:gd name="T11" fmla="*/ 0 h 50"/>
              </a:gdLst>
              <a:ahLst/>
              <a:cxnLst>
                <a:cxn ang="0">
                  <a:pos x="T0" y="T1"/>
                </a:cxn>
                <a:cxn ang="0">
                  <a:pos x="T2" y="T3"/>
                </a:cxn>
                <a:cxn ang="0">
                  <a:pos x="T4" y="T5"/>
                </a:cxn>
                <a:cxn ang="0">
                  <a:pos x="T6" y="T7"/>
                </a:cxn>
                <a:cxn ang="0">
                  <a:pos x="T8" y="T9"/>
                </a:cxn>
                <a:cxn ang="0">
                  <a:pos x="T10" y="T11"/>
                </a:cxn>
              </a:cxnLst>
              <a:rect l="0" t="0" r="r" b="b"/>
              <a:pathLst>
                <a:path w="37" h="50">
                  <a:moveTo>
                    <a:pt x="33" y="0"/>
                  </a:moveTo>
                  <a:cubicBezTo>
                    <a:pt x="22" y="4"/>
                    <a:pt x="14" y="12"/>
                    <a:pt x="4" y="18"/>
                  </a:cubicBezTo>
                  <a:cubicBezTo>
                    <a:pt x="8" y="29"/>
                    <a:pt x="5" y="29"/>
                    <a:pt x="0" y="38"/>
                  </a:cubicBezTo>
                  <a:cubicBezTo>
                    <a:pt x="6" y="50"/>
                    <a:pt x="13" y="34"/>
                    <a:pt x="21" y="29"/>
                  </a:cubicBezTo>
                  <a:cubicBezTo>
                    <a:pt x="25" y="24"/>
                    <a:pt x="30" y="21"/>
                    <a:pt x="33" y="15"/>
                  </a:cubicBezTo>
                  <a:cubicBezTo>
                    <a:pt x="34" y="7"/>
                    <a:pt x="37" y="7"/>
                    <a:pt x="33" y="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0" name="Freeform 253">
              <a:extLst>
                <a:ext uri="{FF2B5EF4-FFF2-40B4-BE49-F238E27FC236}">
                  <a16:creationId xmlns:a16="http://schemas.microsoft.com/office/drawing/2014/main" id="{C63649BE-441F-0D41-BDBF-2340C91F4BF7}"/>
                </a:ext>
              </a:extLst>
            </p:cNvPr>
            <p:cNvSpPr>
              <a:spLocks/>
            </p:cNvSpPr>
            <p:nvPr/>
          </p:nvSpPr>
          <p:spPr bwMode="auto">
            <a:xfrm>
              <a:off x="5074" y="3001"/>
              <a:ext cx="40" cy="22"/>
            </a:xfrm>
            <a:custGeom>
              <a:avLst/>
              <a:gdLst>
                <a:gd name="T0" fmla="*/ 60 w 60"/>
                <a:gd name="T1" fmla="*/ 0 h 33"/>
                <a:gd name="T2" fmla="*/ 11 w 60"/>
                <a:gd name="T3" fmla="*/ 6 h 33"/>
                <a:gd name="T4" fmla="*/ 0 w 60"/>
                <a:gd name="T5" fmla="*/ 13 h 33"/>
                <a:gd name="T6" fmla="*/ 3 w 60"/>
                <a:gd name="T7" fmla="*/ 30 h 33"/>
                <a:gd name="T8" fmla="*/ 38 w 60"/>
                <a:gd name="T9" fmla="*/ 15 h 33"/>
                <a:gd name="T10" fmla="*/ 56 w 60"/>
                <a:gd name="T11" fmla="*/ 9 h 33"/>
                <a:gd name="T12" fmla="*/ 60 w 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60" y="0"/>
                  </a:moveTo>
                  <a:cubicBezTo>
                    <a:pt x="42" y="3"/>
                    <a:pt x="31" y="5"/>
                    <a:pt x="11" y="6"/>
                  </a:cubicBezTo>
                  <a:cubicBezTo>
                    <a:pt x="5" y="7"/>
                    <a:pt x="3" y="7"/>
                    <a:pt x="0" y="13"/>
                  </a:cubicBezTo>
                  <a:cubicBezTo>
                    <a:pt x="1" y="17"/>
                    <a:pt x="3" y="30"/>
                    <a:pt x="3" y="30"/>
                  </a:cubicBezTo>
                  <a:cubicBezTo>
                    <a:pt x="12" y="33"/>
                    <a:pt x="28" y="17"/>
                    <a:pt x="38" y="15"/>
                  </a:cubicBezTo>
                  <a:cubicBezTo>
                    <a:pt x="44" y="12"/>
                    <a:pt x="50" y="10"/>
                    <a:pt x="56" y="9"/>
                  </a:cubicBezTo>
                  <a:cubicBezTo>
                    <a:pt x="60" y="3"/>
                    <a:pt x="59" y="6"/>
                    <a:pt x="60" y="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1" name="Freeform 254">
              <a:extLst>
                <a:ext uri="{FF2B5EF4-FFF2-40B4-BE49-F238E27FC236}">
                  <a16:creationId xmlns:a16="http://schemas.microsoft.com/office/drawing/2014/main" id="{B2339BE3-523B-CB40-95BA-2EC30D63AEF7}"/>
                </a:ext>
              </a:extLst>
            </p:cNvPr>
            <p:cNvSpPr>
              <a:spLocks/>
            </p:cNvSpPr>
            <p:nvPr/>
          </p:nvSpPr>
          <p:spPr bwMode="auto">
            <a:xfrm>
              <a:off x="5585" y="2938"/>
              <a:ext cx="32" cy="38"/>
            </a:xfrm>
            <a:custGeom>
              <a:avLst/>
              <a:gdLst>
                <a:gd name="T0" fmla="*/ 14 w 49"/>
                <a:gd name="T1" fmla="*/ 10 h 58"/>
                <a:gd name="T2" fmla="*/ 3 w 49"/>
                <a:gd name="T3" fmla="*/ 0 h 58"/>
                <a:gd name="T4" fmla="*/ 29 w 49"/>
                <a:gd name="T5" fmla="*/ 58 h 58"/>
                <a:gd name="T6" fmla="*/ 29 w 49"/>
                <a:gd name="T7" fmla="*/ 24 h 58"/>
                <a:gd name="T8" fmla="*/ 14 w 49"/>
                <a:gd name="T9" fmla="*/ 10 h 58"/>
              </a:gdLst>
              <a:ahLst/>
              <a:cxnLst>
                <a:cxn ang="0">
                  <a:pos x="T0" y="T1"/>
                </a:cxn>
                <a:cxn ang="0">
                  <a:pos x="T2" y="T3"/>
                </a:cxn>
                <a:cxn ang="0">
                  <a:pos x="T4" y="T5"/>
                </a:cxn>
                <a:cxn ang="0">
                  <a:pos x="T6" y="T7"/>
                </a:cxn>
                <a:cxn ang="0">
                  <a:pos x="T8" y="T9"/>
                </a:cxn>
              </a:cxnLst>
              <a:rect l="0" t="0" r="r" b="b"/>
              <a:pathLst>
                <a:path w="49" h="58">
                  <a:moveTo>
                    <a:pt x="14" y="10"/>
                  </a:moveTo>
                  <a:cubicBezTo>
                    <a:pt x="11" y="3"/>
                    <a:pt x="11" y="1"/>
                    <a:pt x="3" y="0"/>
                  </a:cubicBezTo>
                  <a:cubicBezTo>
                    <a:pt x="0" y="20"/>
                    <a:pt x="17" y="42"/>
                    <a:pt x="29" y="58"/>
                  </a:cubicBezTo>
                  <a:cubicBezTo>
                    <a:pt x="49" y="56"/>
                    <a:pt x="41" y="33"/>
                    <a:pt x="29" y="24"/>
                  </a:cubicBezTo>
                  <a:cubicBezTo>
                    <a:pt x="26" y="19"/>
                    <a:pt x="13" y="10"/>
                    <a:pt x="14" y="1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2" name="Freeform 255">
              <a:extLst>
                <a:ext uri="{FF2B5EF4-FFF2-40B4-BE49-F238E27FC236}">
                  <a16:creationId xmlns:a16="http://schemas.microsoft.com/office/drawing/2014/main" id="{312868AE-6202-634C-A082-B314EC689EAA}"/>
                </a:ext>
              </a:extLst>
            </p:cNvPr>
            <p:cNvSpPr>
              <a:spLocks/>
            </p:cNvSpPr>
            <p:nvPr/>
          </p:nvSpPr>
          <p:spPr bwMode="auto">
            <a:xfrm>
              <a:off x="5620" y="2966"/>
              <a:ext cx="27" cy="23"/>
            </a:xfrm>
            <a:custGeom>
              <a:avLst/>
              <a:gdLst>
                <a:gd name="T0" fmla="*/ 0 w 40"/>
                <a:gd name="T1" fmla="*/ 0 h 35"/>
                <a:gd name="T2" fmla="*/ 7 w 40"/>
                <a:gd name="T3" fmla="*/ 12 h 35"/>
                <a:gd name="T4" fmla="*/ 31 w 40"/>
                <a:gd name="T5" fmla="*/ 35 h 35"/>
                <a:gd name="T6" fmla="*/ 0 w 40"/>
                <a:gd name="T7" fmla="*/ 0 h 35"/>
              </a:gdLst>
              <a:ahLst/>
              <a:cxnLst>
                <a:cxn ang="0">
                  <a:pos x="T0" y="T1"/>
                </a:cxn>
                <a:cxn ang="0">
                  <a:pos x="T2" y="T3"/>
                </a:cxn>
                <a:cxn ang="0">
                  <a:pos x="T4" y="T5"/>
                </a:cxn>
                <a:cxn ang="0">
                  <a:pos x="T6" y="T7"/>
                </a:cxn>
              </a:cxnLst>
              <a:rect l="0" t="0" r="r" b="b"/>
              <a:pathLst>
                <a:path w="40" h="35">
                  <a:moveTo>
                    <a:pt x="0" y="0"/>
                  </a:moveTo>
                  <a:cubicBezTo>
                    <a:pt x="1" y="6"/>
                    <a:pt x="2" y="8"/>
                    <a:pt x="7" y="12"/>
                  </a:cubicBezTo>
                  <a:cubicBezTo>
                    <a:pt x="12" y="21"/>
                    <a:pt x="23" y="29"/>
                    <a:pt x="31" y="35"/>
                  </a:cubicBezTo>
                  <a:cubicBezTo>
                    <a:pt x="40" y="16"/>
                    <a:pt x="15" y="2"/>
                    <a:pt x="0" y="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3" name="Freeform 256">
              <a:extLst>
                <a:ext uri="{FF2B5EF4-FFF2-40B4-BE49-F238E27FC236}">
                  <a16:creationId xmlns:a16="http://schemas.microsoft.com/office/drawing/2014/main" id="{5BBB1C8C-BD2D-7747-A26B-54830D8D710D}"/>
                </a:ext>
              </a:extLst>
            </p:cNvPr>
            <p:cNvSpPr>
              <a:spLocks/>
            </p:cNvSpPr>
            <p:nvPr/>
          </p:nvSpPr>
          <p:spPr bwMode="auto">
            <a:xfrm>
              <a:off x="5616" y="2984"/>
              <a:ext cx="36" cy="32"/>
            </a:xfrm>
            <a:custGeom>
              <a:avLst/>
              <a:gdLst>
                <a:gd name="T0" fmla="*/ 0 w 54"/>
                <a:gd name="T1" fmla="*/ 0 h 49"/>
                <a:gd name="T2" fmla="*/ 37 w 54"/>
                <a:gd name="T3" fmla="*/ 42 h 49"/>
                <a:gd name="T4" fmla="*/ 31 w 54"/>
                <a:gd name="T5" fmla="*/ 17 h 49"/>
                <a:gd name="T6" fmla="*/ 27 w 54"/>
                <a:gd name="T7" fmla="*/ 15 h 49"/>
                <a:gd name="T8" fmla="*/ 0 w 54"/>
                <a:gd name="T9" fmla="*/ 0 h 49"/>
              </a:gdLst>
              <a:ahLst/>
              <a:cxnLst>
                <a:cxn ang="0">
                  <a:pos x="T0" y="T1"/>
                </a:cxn>
                <a:cxn ang="0">
                  <a:pos x="T2" y="T3"/>
                </a:cxn>
                <a:cxn ang="0">
                  <a:pos x="T4" y="T5"/>
                </a:cxn>
                <a:cxn ang="0">
                  <a:pos x="T6" y="T7"/>
                </a:cxn>
                <a:cxn ang="0">
                  <a:pos x="T8" y="T9"/>
                </a:cxn>
              </a:cxnLst>
              <a:rect l="0" t="0" r="r" b="b"/>
              <a:pathLst>
                <a:path w="54" h="49">
                  <a:moveTo>
                    <a:pt x="0" y="0"/>
                  </a:moveTo>
                  <a:cubicBezTo>
                    <a:pt x="2" y="16"/>
                    <a:pt x="21" y="40"/>
                    <a:pt x="37" y="42"/>
                  </a:cubicBezTo>
                  <a:cubicBezTo>
                    <a:pt x="54" y="49"/>
                    <a:pt x="35" y="21"/>
                    <a:pt x="31" y="17"/>
                  </a:cubicBezTo>
                  <a:cubicBezTo>
                    <a:pt x="30" y="16"/>
                    <a:pt x="28" y="16"/>
                    <a:pt x="27" y="15"/>
                  </a:cubicBezTo>
                  <a:cubicBezTo>
                    <a:pt x="19" y="4"/>
                    <a:pt x="13" y="3"/>
                    <a:pt x="0" y="0"/>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4" name="Freeform 257">
              <a:extLst>
                <a:ext uri="{FF2B5EF4-FFF2-40B4-BE49-F238E27FC236}">
                  <a16:creationId xmlns:a16="http://schemas.microsoft.com/office/drawing/2014/main" id="{81BDF509-30D0-8A4E-889B-9B00214DE3B4}"/>
                </a:ext>
              </a:extLst>
            </p:cNvPr>
            <p:cNvSpPr>
              <a:spLocks/>
            </p:cNvSpPr>
            <p:nvPr/>
          </p:nvSpPr>
          <p:spPr bwMode="auto">
            <a:xfrm>
              <a:off x="5668" y="3002"/>
              <a:ext cx="34" cy="32"/>
            </a:xfrm>
            <a:custGeom>
              <a:avLst/>
              <a:gdLst>
                <a:gd name="T0" fmla="*/ 23 w 50"/>
                <a:gd name="T1" fmla="*/ 26 h 48"/>
                <a:gd name="T2" fmla="*/ 0 w 50"/>
                <a:gd name="T3" fmla="*/ 24 h 48"/>
                <a:gd name="T4" fmla="*/ 11 w 50"/>
                <a:gd name="T5" fmla="*/ 39 h 48"/>
                <a:gd name="T6" fmla="*/ 29 w 50"/>
                <a:gd name="T7" fmla="*/ 48 h 48"/>
                <a:gd name="T8" fmla="*/ 50 w 50"/>
                <a:gd name="T9" fmla="*/ 39 h 48"/>
                <a:gd name="T10" fmla="*/ 38 w 50"/>
                <a:gd name="T11" fmla="*/ 11 h 48"/>
                <a:gd name="T12" fmla="*/ 26 w 50"/>
                <a:gd name="T13" fmla="*/ 0 h 48"/>
                <a:gd name="T14" fmla="*/ 32 w 50"/>
                <a:gd name="T15" fmla="*/ 29 h 48"/>
                <a:gd name="T16" fmla="*/ 26 w 50"/>
                <a:gd name="T17" fmla="*/ 33 h 48"/>
                <a:gd name="T18" fmla="*/ 23 w 50"/>
                <a:gd name="T19"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8">
                  <a:moveTo>
                    <a:pt x="23" y="26"/>
                  </a:moveTo>
                  <a:cubicBezTo>
                    <a:pt x="6" y="22"/>
                    <a:pt x="14" y="22"/>
                    <a:pt x="0" y="24"/>
                  </a:cubicBezTo>
                  <a:cubicBezTo>
                    <a:pt x="2" y="37"/>
                    <a:pt x="0" y="37"/>
                    <a:pt x="11" y="39"/>
                  </a:cubicBezTo>
                  <a:cubicBezTo>
                    <a:pt x="18" y="42"/>
                    <a:pt x="22" y="47"/>
                    <a:pt x="29" y="48"/>
                  </a:cubicBezTo>
                  <a:cubicBezTo>
                    <a:pt x="31" y="34"/>
                    <a:pt x="40" y="45"/>
                    <a:pt x="50" y="39"/>
                  </a:cubicBezTo>
                  <a:cubicBezTo>
                    <a:pt x="48" y="29"/>
                    <a:pt x="45" y="18"/>
                    <a:pt x="38" y="11"/>
                  </a:cubicBezTo>
                  <a:cubicBezTo>
                    <a:pt x="35" y="4"/>
                    <a:pt x="33" y="3"/>
                    <a:pt x="26" y="0"/>
                  </a:cubicBezTo>
                  <a:cubicBezTo>
                    <a:pt x="11" y="6"/>
                    <a:pt x="23" y="23"/>
                    <a:pt x="32" y="29"/>
                  </a:cubicBezTo>
                  <a:cubicBezTo>
                    <a:pt x="37" y="36"/>
                    <a:pt x="31" y="37"/>
                    <a:pt x="26" y="33"/>
                  </a:cubicBezTo>
                  <a:cubicBezTo>
                    <a:pt x="24" y="29"/>
                    <a:pt x="18" y="28"/>
                    <a:pt x="23" y="26"/>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5" name="Freeform 258">
              <a:extLst>
                <a:ext uri="{FF2B5EF4-FFF2-40B4-BE49-F238E27FC236}">
                  <a16:creationId xmlns:a16="http://schemas.microsoft.com/office/drawing/2014/main" id="{A67AC8D2-7C11-E74D-B469-CEFC405568C2}"/>
                </a:ext>
              </a:extLst>
            </p:cNvPr>
            <p:cNvSpPr>
              <a:spLocks/>
            </p:cNvSpPr>
            <p:nvPr/>
          </p:nvSpPr>
          <p:spPr bwMode="auto">
            <a:xfrm>
              <a:off x="5702" y="3228"/>
              <a:ext cx="53" cy="58"/>
            </a:xfrm>
            <a:custGeom>
              <a:avLst/>
              <a:gdLst>
                <a:gd name="T0" fmla="*/ 18 w 80"/>
                <a:gd name="T1" fmla="*/ 6 h 88"/>
                <a:gd name="T2" fmla="*/ 3 w 80"/>
                <a:gd name="T3" fmla="*/ 3 h 88"/>
                <a:gd name="T4" fmla="*/ 8 w 80"/>
                <a:gd name="T5" fmla="*/ 21 h 88"/>
                <a:gd name="T6" fmla="*/ 18 w 80"/>
                <a:gd name="T7" fmla="*/ 36 h 88"/>
                <a:gd name="T8" fmla="*/ 27 w 80"/>
                <a:gd name="T9" fmla="*/ 43 h 88"/>
                <a:gd name="T10" fmla="*/ 59 w 80"/>
                <a:gd name="T11" fmla="*/ 76 h 88"/>
                <a:gd name="T12" fmla="*/ 71 w 80"/>
                <a:gd name="T13" fmla="*/ 88 h 88"/>
                <a:gd name="T14" fmla="*/ 69 w 80"/>
                <a:gd name="T15" fmla="*/ 67 h 88"/>
                <a:gd name="T16" fmla="*/ 36 w 80"/>
                <a:gd name="T17" fmla="*/ 33 h 88"/>
                <a:gd name="T18" fmla="*/ 29 w 80"/>
                <a:gd name="T19" fmla="*/ 24 h 88"/>
                <a:gd name="T20" fmla="*/ 21 w 80"/>
                <a:gd name="T21" fmla="*/ 4 h 88"/>
                <a:gd name="T22" fmla="*/ 18 w 80"/>
                <a:gd name="T23"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88">
                  <a:moveTo>
                    <a:pt x="18" y="6"/>
                  </a:moveTo>
                  <a:cubicBezTo>
                    <a:pt x="12" y="2"/>
                    <a:pt x="10" y="0"/>
                    <a:pt x="3" y="3"/>
                  </a:cubicBezTo>
                  <a:cubicBezTo>
                    <a:pt x="2" y="11"/>
                    <a:pt x="0" y="16"/>
                    <a:pt x="8" y="21"/>
                  </a:cubicBezTo>
                  <a:cubicBezTo>
                    <a:pt x="11" y="26"/>
                    <a:pt x="14" y="32"/>
                    <a:pt x="18" y="36"/>
                  </a:cubicBezTo>
                  <a:cubicBezTo>
                    <a:pt x="21" y="39"/>
                    <a:pt x="27" y="43"/>
                    <a:pt x="27" y="43"/>
                  </a:cubicBezTo>
                  <a:cubicBezTo>
                    <a:pt x="33" y="53"/>
                    <a:pt x="48" y="74"/>
                    <a:pt x="59" y="76"/>
                  </a:cubicBezTo>
                  <a:cubicBezTo>
                    <a:pt x="62" y="81"/>
                    <a:pt x="71" y="88"/>
                    <a:pt x="71" y="88"/>
                  </a:cubicBezTo>
                  <a:cubicBezTo>
                    <a:pt x="79" y="82"/>
                    <a:pt x="80" y="71"/>
                    <a:pt x="69" y="67"/>
                  </a:cubicBezTo>
                  <a:cubicBezTo>
                    <a:pt x="58" y="56"/>
                    <a:pt x="49" y="40"/>
                    <a:pt x="36" y="33"/>
                  </a:cubicBezTo>
                  <a:cubicBezTo>
                    <a:pt x="34" y="30"/>
                    <a:pt x="31" y="27"/>
                    <a:pt x="29" y="24"/>
                  </a:cubicBezTo>
                  <a:cubicBezTo>
                    <a:pt x="26" y="19"/>
                    <a:pt x="27" y="7"/>
                    <a:pt x="21" y="4"/>
                  </a:cubicBezTo>
                  <a:cubicBezTo>
                    <a:pt x="20" y="3"/>
                    <a:pt x="19" y="5"/>
                    <a:pt x="18" y="6"/>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6" name="Freeform 259">
              <a:extLst>
                <a:ext uri="{FF2B5EF4-FFF2-40B4-BE49-F238E27FC236}">
                  <a16:creationId xmlns:a16="http://schemas.microsoft.com/office/drawing/2014/main" id="{A655A86A-07CD-A34C-8B0B-00B4C9D7CA61}"/>
                </a:ext>
              </a:extLst>
            </p:cNvPr>
            <p:cNvSpPr>
              <a:spLocks/>
            </p:cNvSpPr>
            <p:nvPr/>
          </p:nvSpPr>
          <p:spPr bwMode="auto">
            <a:xfrm>
              <a:off x="5700" y="3514"/>
              <a:ext cx="107" cy="138"/>
            </a:xfrm>
            <a:custGeom>
              <a:avLst/>
              <a:gdLst>
                <a:gd name="T0" fmla="*/ 90 w 162"/>
                <a:gd name="T1" fmla="*/ 12 h 208"/>
                <a:gd name="T2" fmla="*/ 73 w 162"/>
                <a:gd name="T3" fmla="*/ 0 h 208"/>
                <a:gd name="T4" fmla="*/ 81 w 162"/>
                <a:gd name="T5" fmla="*/ 49 h 208"/>
                <a:gd name="T6" fmla="*/ 73 w 162"/>
                <a:gd name="T7" fmla="*/ 73 h 208"/>
                <a:gd name="T8" fmla="*/ 58 w 162"/>
                <a:gd name="T9" fmla="*/ 102 h 208"/>
                <a:gd name="T10" fmla="*/ 34 w 162"/>
                <a:gd name="T11" fmla="*/ 127 h 208"/>
                <a:gd name="T12" fmla="*/ 15 w 162"/>
                <a:gd name="T13" fmla="*/ 135 h 208"/>
                <a:gd name="T14" fmla="*/ 28 w 162"/>
                <a:gd name="T15" fmla="*/ 153 h 208"/>
                <a:gd name="T16" fmla="*/ 16 w 162"/>
                <a:gd name="T17" fmla="*/ 175 h 208"/>
                <a:gd name="T18" fmla="*/ 3 w 162"/>
                <a:gd name="T19" fmla="*/ 187 h 208"/>
                <a:gd name="T20" fmla="*/ 7 w 162"/>
                <a:gd name="T21" fmla="*/ 208 h 208"/>
                <a:gd name="T22" fmla="*/ 30 w 162"/>
                <a:gd name="T23" fmla="*/ 201 h 208"/>
                <a:gd name="T24" fmla="*/ 66 w 162"/>
                <a:gd name="T25" fmla="*/ 177 h 208"/>
                <a:gd name="T26" fmla="*/ 91 w 162"/>
                <a:gd name="T27" fmla="*/ 145 h 208"/>
                <a:gd name="T28" fmla="*/ 120 w 162"/>
                <a:gd name="T29" fmla="*/ 136 h 208"/>
                <a:gd name="T30" fmla="*/ 139 w 162"/>
                <a:gd name="T31" fmla="*/ 123 h 208"/>
                <a:gd name="T32" fmla="*/ 159 w 162"/>
                <a:gd name="T33" fmla="*/ 102 h 208"/>
                <a:gd name="T34" fmla="*/ 154 w 162"/>
                <a:gd name="T35" fmla="*/ 90 h 208"/>
                <a:gd name="T36" fmla="*/ 127 w 162"/>
                <a:gd name="T37" fmla="*/ 100 h 208"/>
                <a:gd name="T38" fmla="*/ 109 w 162"/>
                <a:gd name="T39" fmla="*/ 103 h 208"/>
                <a:gd name="T40" fmla="*/ 108 w 162"/>
                <a:gd name="T41" fmla="*/ 66 h 208"/>
                <a:gd name="T42" fmla="*/ 96 w 162"/>
                <a:gd name="T43" fmla="*/ 67 h 208"/>
                <a:gd name="T44" fmla="*/ 87 w 162"/>
                <a:gd name="T45" fmla="*/ 70 h 208"/>
                <a:gd name="T46" fmla="*/ 94 w 162"/>
                <a:gd name="T47" fmla="*/ 52 h 208"/>
                <a:gd name="T48" fmla="*/ 99 w 162"/>
                <a:gd name="T49" fmla="*/ 28 h 208"/>
                <a:gd name="T50" fmla="*/ 90 w 162"/>
                <a:gd name="T51" fmla="*/ 1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208">
                  <a:moveTo>
                    <a:pt x="90" y="12"/>
                  </a:moveTo>
                  <a:cubicBezTo>
                    <a:pt x="82" y="9"/>
                    <a:pt x="82" y="2"/>
                    <a:pt x="73" y="0"/>
                  </a:cubicBezTo>
                  <a:cubicBezTo>
                    <a:pt x="70" y="16"/>
                    <a:pt x="62" y="45"/>
                    <a:pt x="81" y="49"/>
                  </a:cubicBezTo>
                  <a:cubicBezTo>
                    <a:pt x="87" y="58"/>
                    <a:pt x="77" y="64"/>
                    <a:pt x="73" y="73"/>
                  </a:cubicBezTo>
                  <a:cubicBezTo>
                    <a:pt x="70" y="88"/>
                    <a:pt x="71" y="94"/>
                    <a:pt x="58" y="102"/>
                  </a:cubicBezTo>
                  <a:cubicBezTo>
                    <a:pt x="51" y="112"/>
                    <a:pt x="47" y="124"/>
                    <a:pt x="34" y="127"/>
                  </a:cubicBezTo>
                  <a:cubicBezTo>
                    <a:pt x="28" y="130"/>
                    <a:pt x="21" y="132"/>
                    <a:pt x="15" y="135"/>
                  </a:cubicBezTo>
                  <a:cubicBezTo>
                    <a:pt x="9" y="148"/>
                    <a:pt x="19" y="147"/>
                    <a:pt x="28" y="153"/>
                  </a:cubicBezTo>
                  <a:cubicBezTo>
                    <a:pt x="33" y="163"/>
                    <a:pt x="26" y="173"/>
                    <a:pt x="16" y="175"/>
                  </a:cubicBezTo>
                  <a:cubicBezTo>
                    <a:pt x="12" y="180"/>
                    <a:pt x="7" y="183"/>
                    <a:pt x="3" y="187"/>
                  </a:cubicBezTo>
                  <a:cubicBezTo>
                    <a:pt x="0" y="195"/>
                    <a:pt x="0" y="203"/>
                    <a:pt x="7" y="208"/>
                  </a:cubicBezTo>
                  <a:cubicBezTo>
                    <a:pt x="16" y="207"/>
                    <a:pt x="22" y="203"/>
                    <a:pt x="30" y="201"/>
                  </a:cubicBezTo>
                  <a:cubicBezTo>
                    <a:pt x="41" y="192"/>
                    <a:pt x="54" y="184"/>
                    <a:pt x="66" y="177"/>
                  </a:cubicBezTo>
                  <a:cubicBezTo>
                    <a:pt x="74" y="167"/>
                    <a:pt x="82" y="154"/>
                    <a:pt x="91" y="145"/>
                  </a:cubicBezTo>
                  <a:cubicBezTo>
                    <a:pt x="97" y="139"/>
                    <a:pt x="112" y="139"/>
                    <a:pt x="120" y="136"/>
                  </a:cubicBezTo>
                  <a:cubicBezTo>
                    <a:pt x="126" y="131"/>
                    <a:pt x="133" y="128"/>
                    <a:pt x="139" y="123"/>
                  </a:cubicBezTo>
                  <a:cubicBezTo>
                    <a:pt x="143" y="117"/>
                    <a:pt x="153" y="109"/>
                    <a:pt x="159" y="102"/>
                  </a:cubicBezTo>
                  <a:cubicBezTo>
                    <a:pt x="160" y="95"/>
                    <a:pt x="162" y="92"/>
                    <a:pt x="154" y="90"/>
                  </a:cubicBezTo>
                  <a:cubicBezTo>
                    <a:pt x="140" y="91"/>
                    <a:pt x="139" y="98"/>
                    <a:pt x="127" y="100"/>
                  </a:cubicBezTo>
                  <a:cubicBezTo>
                    <a:pt x="120" y="105"/>
                    <a:pt x="118" y="105"/>
                    <a:pt x="109" y="103"/>
                  </a:cubicBezTo>
                  <a:cubicBezTo>
                    <a:pt x="102" y="93"/>
                    <a:pt x="103" y="77"/>
                    <a:pt x="108" y="66"/>
                  </a:cubicBezTo>
                  <a:cubicBezTo>
                    <a:pt x="104" y="53"/>
                    <a:pt x="102" y="61"/>
                    <a:pt x="96" y="67"/>
                  </a:cubicBezTo>
                  <a:cubicBezTo>
                    <a:pt x="93" y="74"/>
                    <a:pt x="92" y="78"/>
                    <a:pt x="87" y="70"/>
                  </a:cubicBezTo>
                  <a:cubicBezTo>
                    <a:pt x="88" y="61"/>
                    <a:pt x="89" y="60"/>
                    <a:pt x="94" y="52"/>
                  </a:cubicBezTo>
                  <a:cubicBezTo>
                    <a:pt x="92" y="40"/>
                    <a:pt x="93" y="39"/>
                    <a:pt x="99" y="28"/>
                  </a:cubicBezTo>
                  <a:cubicBezTo>
                    <a:pt x="97" y="19"/>
                    <a:pt x="96" y="18"/>
                    <a:pt x="90" y="12"/>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7" name="Freeform 260">
              <a:extLst>
                <a:ext uri="{FF2B5EF4-FFF2-40B4-BE49-F238E27FC236}">
                  <a16:creationId xmlns:a16="http://schemas.microsoft.com/office/drawing/2014/main" id="{995E3075-1077-8E44-8B3C-77936A208FD6}"/>
                </a:ext>
              </a:extLst>
            </p:cNvPr>
            <p:cNvSpPr>
              <a:spLocks/>
            </p:cNvSpPr>
            <p:nvPr/>
          </p:nvSpPr>
          <p:spPr bwMode="auto">
            <a:xfrm>
              <a:off x="5497" y="3630"/>
              <a:ext cx="196" cy="122"/>
            </a:xfrm>
            <a:custGeom>
              <a:avLst/>
              <a:gdLst>
                <a:gd name="T0" fmla="*/ 270 w 296"/>
                <a:gd name="T1" fmla="*/ 4 h 184"/>
                <a:gd name="T2" fmla="*/ 253 w 296"/>
                <a:gd name="T3" fmla="*/ 6 h 184"/>
                <a:gd name="T4" fmla="*/ 246 w 296"/>
                <a:gd name="T5" fmla="*/ 19 h 184"/>
                <a:gd name="T6" fmla="*/ 223 w 296"/>
                <a:gd name="T7" fmla="*/ 34 h 184"/>
                <a:gd name="T8" fmla="*/ 211 w 296"/>
                <a:gd name="T9" fmla="*/ 43 h 184"/>
                <a:gd name="T10" fmla="*/ 175 w 296"/>
                <a:gd name="T11" fmla="*/ 67 h 184"/>
                <a:gd name="T12" fmla="*/ 163 w 296"/>
                <a:gd name="T13" fmla="*/ 78 h 184"/>
                <a:gd name="T14" fmla="*/ 148 w 296"/>
                <a:gd name="T15" fmla="*/ 85 h 184"/>
                <a:gd name="T16" fmla="*/ 133 w 296"/>
                <a:gd name="T17" fmla="*/ 91 h 184"/>
                <a:gd name="T18" fmla="*/ 85 w 296"/>
                <a:gd name="T19" fmla="*/ 109 h 184"/>
                <a:gd name="T20" fmla="*/ 69 w 296"/>
                <a:gd name="T21" fmla="*/ 115 h 184"/>
                <a:gd name="T22" fmla="*/ 43 w 296"/>
                <a:gd name="T23" fmla="*/ 127 h 184"/>
                <a:gd name="T24" fmla="*/ 25 w 296"/>
                <a:gd name="T25" fmla="*/ 142 h 184"/>
                <a:gd name="T26" fmla="*/ 21 w 296"/>
                <a:gd name="T27" fmla="*/ 145 h 184"/>
                <a:gd name="T28" fmla="*/ 6 w 296"/>
                <a:gd name="T29" fmla="*/ 162 h 184"/>
                <a:gd name="T30" fmla="*/ 24 w 296"/>
                <a:gd name="T31" fmla="*/ 174 h 184"/>
                <a:gd name="T32" fmla="*/ 30 w 296"/>
                <a:gd name="T33" fmla="*/ 175 h 184"/>
                <a:gd name="T34" fmla="*/ 42 w 296"/>
                <a:gd name="T35" fmla="*/ 184 h 184"/>
                <a:gd name="T36" fmla="*/ 72 w 296"/>
                <a:gd name="T37" fmla="*/ 180 h 184"/>
                <a:gd name="T38" fmla="*/ 96 w 296"/>
                <a:gd name="T39" fmla="*/ 171 h 184"/>
                <a:gd name="T40" fmla="*/ 124 w 296"/>
                <a:gd name="T41" fmla="*/ 144 h 184"/>
                <a:gd name="T42" fmla="*/ 150 w 296"/>
                <a:gd name="T43" fmla="*/ 123 h 184"/>
                <a:gd name="T44" fmla="*/ 214 w 296"/>
                <a:gd name="T45" fmla="*/ 97 h 184"/>
                <a:gd name="T46" fmla="*/ 237 w 296"/>
                <a:gd name="T47" fmla="*/ 75 h 184"/>
                <a:gd name="T48" fmla="*/ 273 w 296"/>
                <a:gd name="T49" fmla="*/ 52 h 184"/>
                <a:gd name="T50" fmla="*/ 286 w 296"/>
                <a:gd name="T51" fmla="*/ 36 h 184"/>
                <a:gd name="T52" fmla="*/ 283 w 296"/>
                <a:gd name="T53" fmla="*/ 18 h 184"/>
                <a:gd name="T54" fmla="*/ 277 w 296"/>
                <a:gd name="T55" fmla="*/ 21 h 184"/>
                <a:gd name="T56" fmla="*/ 270 w 296"/>
                <a:gd name="T57" fmla="*/ 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6" h="184">
                  <a:moveTo>
                    <a:pt x="270" y="4"/>
                  </a:moveTo>
                  <a:cubicBezTo>
                    <a:pt x="263" y="0"/>
                    <a:pt x="260" y="2"/>
                    <a:pt x="253" y="6"/>
                  </a:cubicBezTo>
                  <a:cubicBezTo>
                    <a:pt x="250" y="10"/>
                    <a:pt x="250" y="15"/>
                    <a:pt x="246" y="19"/>
                  </a:cubicBezTo>
                  <a:cubicBezTo>
                    <a:pt x="239" y="25"/>
                    <a:pt x="230" y="30"/>
                    <a:pt x="223" y="34"/>
                  </a:cubicBezTo>
                  <a:cubicBezTo>
                    <a:pt x="219" y="40"/>
                    <a:pt x="218" y="42"/>
                    <a:pt x="211" y="43"/>
                  </a:cubicBezTo>
                  <a:cubicBezTo>
                    <a:pt x="200" y="52"/>
                    <a:pt x="187" y="60"/>
                    <a:pt x="175" y="67"/>
                  </a:cubicBezTo>
                  <a:cubicBezTo>
                    <a:pt x="167" y="77"/>
                    <a:pt x="172" y="75"/>
                    <a:pt x="163" y="78"/>
                  </a:cubicBezTo>
                  <a:cubicBezTo>
                    <a:pt x="158" y="83"/>
                    <a:pt x="155" y="84"/>
                    <a:pt x="148" y="85"/>
                  </a:cubicBezTo>
                  <a:cubicBezTo>
                    <a:pt x="143" y="89"/>
                    <a:pt x="139" y="90"/>
                    <a:pt x="133" y="91"/>
                  </a:cubicBezTo>
                  <a:cubicBezTo>
                    <a:pt x="121" y="97"/>
                    <a:pt x="98" y="106"/>
                    <a:pt x="85" y="109"/>
                  </a:cubicBezTo>
                  <a:cubicBezTo>
                    <a:pt x="73" y="115"/>
                    <a:pt x="79" y="113"/>
                    <a:pt x="69" y="115"/>
                  </a:cubicBezTo>
                  <a:cubicBezTo>
                    <a:pt x="63" y="120"/>
                    <a:pt x="51" y="125"/>
                    <a:pt x="43" y="127"/>
                  </a:cubicBezTo>
                  <a:cubicBezTo>
                    <a:pt x="37" y="132"/>
                    <a:pt x="31" y="137"/>
                    <a:pt x="25" y="142"/>
                  </a:cubicBezTo>
                  <a:cubicBezTo>
                    <a:pt x="24" y="143"/>
                    <a:pt x="21" y="145"/>
                    <a:pt x="21" y="145"/>
                  </a:cubicBezTo>
                  <a:cubicBezTo>
                    <a:pt x="17" y="151"/>
                    <a:pt x="11" y="158"/>
                    <a:pt x="6" y="162"/>
                  </a:cubicBezTo>
                  <a:cubicBezTo>
                    <a:pt x="0" y="174"/>
                    <a:pt x="16" y="173"/>
                    <a:pt x="24" y="174"/>
                  </a:cubicBezTo>
                  <a:cubicBezTo>
                    <a:pt x="26" y="174"/>
                    <a:pt x="30" y="175"/>
                    <a:pt x="30" y="175"/>
                  </a:cubicBezTo>
                  <a:cubicBezTo>
                    <a:pt x="34" y="181"/>
                    <a:pt x="35" y="183"/>
                    <a:pt x="42" y="184"/>
                  </a:cubicBezTo>
                  <a:cubicBezTo>
                    <a:pt x="54" y="183"/>
                    <a:pt x="61" y="181"/>
                    <a:pt x="72" y="180"/>
                  </a:cubicBezTo>
                  <a:cubicBezTo>
                    <a:pt x="79" y="176"/>
                    <a:pt x="88" y="172"/>
                    <a:pt x="96" y="171"/>
                  </a:cubicBezTo>
                  <a:cubicBezTo>
                    <a:pt x="109" y="165"/>
                    <a:pt x="113" y="152"/>
                    <a:pt x="124" y="144"/>
                  </a:cubicBezTo>
                  <a:cubicBezTo>
                    <a:pt x="129" y="135"/>
                    <a:pt x="140" y="125"/>
                    <a:pt x="150" y="123"/>
                  </a:cubicBezTo>
                  <a:cubicBezTo>
                    <a:pt x="171" y="105"/>
                    <a:pt x="186" y="99"/>
                    <a:pt x="214" y="97"/>
                  </a:cubicBezTo>
                  <a:cubicBezTo>
                    <a:pt x="212" y="84"/>
                    <a:pt x="225" y="77"/>
                    <a:pt x="237" y="75"/>
                  </a:cubicBezTo>
                  <a:cubicBezTo>
                    <a:pt x="250" y="69"/>
                    <a:pt x="260" y="57"/>
                    <a:pt x="273" y="52"/>
                  </a:cubicBezTo>
                  <a:cubicBezTo>
                    <a:pt x="277" y="46"/>
                    <a:pt x="281" y="41"/>
                    <a:pt x="286" y="36"/>
                  </a:cubicBezTo>
                  <a:cubicBezTo>
                    <a:pt x="289" y="28"/>
                    <a:pt x="296" y="20"/>
                    <a:pt x="283" y="18"/>
                  </a:cubicBezTo>
                  <a:cubicBezTo>
                    <a:pt x="281" y="19"/>
                    <a:pt x="279" y="21"/>
                    <a:pt x="277" y="21"/>
                  </a:cubicBezTo>
                  <a:cubicBezTo>
                    <a:pt x="261" y="22"/>
                    <a:pt x="273" y="13"/>
                    <a:pt x="270" y="4"/>
                  </a:cubicBezTo>
                  <a:close/>
                </a:path>
              </a:pathLst>
            </a:custGeom>
            <a:solidFill>
              <a:schemeClr val="accent4">
                <a:lumMod val="40000"/>
                <a:lumOff val="60000"/>
              </a:schemeClr>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8" name="Freeform 261">
              <a:extLst>
                <a:ext uri="{FF2B5EF4-FFF2-40B4-BE49-F238E27FC236}">
                  <a16:creationId xmlns:a16="http://schemas.microsoft.com/office/drawing/2014/main" id="{DF1B95EF-067E-994B-82B7-9EDCE1D0295E}"/>
                </a:ext>
              </a:extLst>
            </p:cNvPr>
            <p:cNvSpPr>
              <a:spLocks/>
            </p:cNvSpPr>
            <p:nvPr/>
          </p:nvSpPr>
          <p:spPr bwMode="auto">
            <a:xfrm>
              <a:off x="5156" y="3055"/>
              <a:ext cx="25" cy="16"/>
            </a:xfrm>
            <a:custGeom>
              <a:avLst/>
              <a:gdLst>
                <a:gd name="T0" fmla="*/ 37 w 38"/>
                <a:gd name="T1" fmla="*/ 1 h 24"/>
                <a:gd name="T2" fmla="*/ 2 w 38"/>
                <a:gd name="T3" fmla="*/ 13 h 24"/>
                <a:gd name="T4" fmla="*/ 17 w 38"/>
                <a:gd name="T5" fmla="*/ 24 h 24"/>
                <a:gd name="T6" fmla="*/ 37 w 38"/>
                <a:gd name="T7" fmla="*/ 13 h 24"/>
                <a:gd name="T8" fmla="*/ 37 w 38"/>
                <a:gd name="T9" fmla="*/ 1 h 24"/>
              </a:gdLst>
              <a:ahLst/>
              <a:cxnLst>
                <a:cxn ang="0">
                  <a:pos x="T0" y="T1"/>
                </a:cxn>
                <a:cxn ang="0">
                  <a:pos x="T2" y="T3"/>
                </a:cxn>
                <a:cxn ang="0">
                  <a:pos x="T4" y="T5"/>
                </a:cxn>
                <a:cxn ang="0">
                  <a:pos x="T6" y="T7"/>
                </a:cxn>
                <a:cxn ang="0">
                  <a:pos x="T8" y="T9"/>
                </a:cxn>
              </a:cxnLst>
              <a:rect l="0" t="0" r="r" b="b"/>
              <a:pathLst>
                <a:path w="38" h="24">
                  <a:moveTo>
                    <a:pt x="37" y="1"/>
                  </a:moveTo>
                  <a:cubicBezTo>
                    <a:pt x="22" y="5"/>
                    <a:pt x="12" y="0"/>
                    <a:pt x="2" y="13"/>
                  </a:cubicBezTo>
                  <a:cubicBezTo>
                    <a:pt x="0" y="23"/>
                    <a:pt x="9" y="22"/>
                    <a:pt x="17" y="24"/>
                  </a:cubicBezTo>
                  <a:cubicBezTo>
                    <a:pt x="32" y="22"/>
                    <a:pt x="32" y="24"/>
                    <a:pt x="37" y="13"/>
                  </a:cubicBezTo>
                  <a:cubicBezTo>
                    <a:pt x="38" y="5"/>
                    <a:pt x="38" y="9"/>
                    <a:pt x="37" y="1"/>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29" name="Freeform 262">
              <a:extLst>
                <a:ext uri="{FF2B5EF4-FFF2-40B4-BE49-F238E27FC236}">
                  <a16:creationId xmlns:a16="http://schemas.microsoft.com/office/drawing/2014/main" id="{465E67A7-44A6-F34E-8B76-153633CA2EFD}"/>
                </a:ext>
              </a:extLst>
            </p:cNvPr>
            <p:cNvSpPr>
              <a:spLocks/>
            </p:cNvSpPr>
            <p:nvPr/>
          </p:nvSpPr>
          <p:spPr bwMode="auto">
            <a:xfrm>
              <a:off x="5145" y="3532"/>
              <a:ext cx="23" cy="15"/>
            </a:xfrm>
            <a:custGeom>
              <a:avLst/>
              <a:gdLst>
                <a:gd name="T0" fmla="*/ 33 w 35"/>
                <a:gd name="T1" fmla="*/ 7 h 23"/>
                <a:gd name="T2" fmla="*/ 3 w 35"/>
                <a:gd name="T3" fmla="*/ 10 h 23"/>
                <a:gd name="T4" fmla="*/ 10 w 35"/>
                <a:gd name="T5" fmla="*/ 22 h 23"/>
                <a:gd name="T6" fmla="*/ 33 w 35"/>
                <a:gd name="T7" fmla="*/ 14 h 23"/>
                <a:gd name="T8" fmla="*/ 33 w 35"/>
                <a:gd name="T9" fmla="*/ 7 h 23"/>
              </a:gdLst>
              <a:ahLst/>
              <a:cxnLst>
                <a:cxn ang="0">
                  <a:pos x="T0" y="T1"/>
                </a:cxn>
                <a:cxn ang="0">
                  <a:pos x="T2" y="T3"/>
                </a:cxn>
                <a:cxn ang="0">
                  <a:pos x="T4" y="T5"/>
                </a:cxn>
                <a:cxn ang="0">
                  <a:pos x="T6" y="T7"/>
                </a:cxn>
                <a:cxn ang="0">
                  <a:pos x="T8" y="T9"/>
                </a:cxn>
              </a:cxnLst>
              <a:rect l="0" t="0" r="r" b="b"/>
              <a:pathLst>
                <a:path w="35" h="23">
                  <a:moveTo>
                    <a:pt x="33" y="7"/>
                  </a:moveTo>
                  <a:cubicBezTo>
                    <a:pt x="23" y="7"/>
                    <a:pt x="5" y="0"/>
                    <a:pt x="3" y="10"/>
                  </a:cubicBezTo>
                  <a:cubicBezTo>
                    <a:pt x="0" y="21"/>
                    <a:pt x="3" y="20"/>
                    <a:pt x="10" y="22"/>
                  </a:cubicBezTo>
                  <a:cubicBezTo>
                    <a:pt x="19" y="20"/>
                    <a:pt x="29" y="23"/>
                    <a:pt x="33" y="14"/>
                  </a:cubicBezTo>
                  <a:cubicBezTo>
                    <a:pt x="34" y="8"/>
                    <a:pt x="35" y="9"/>
                    <a:pt x="33" y="7"/>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30" name="Freeform 263">
              <a:extLst>
                <a:ext uri="{FF2B5EF4-FFF2-40B4-BE49-F238E27FC236}">
                  <a16:creationId xmlns:a16="http://schemas.microsoft.com/office/drawing/2014/main" id="{E47EB016-6913-EB49-B6B1-B1D8DD32B3DF}"/>
                </a:ext>
              </a:extLst>
            </p:cNvPr>
            <p:cNvSpPr>
              <a:spLocks/>
            </p:cNvSpPr>
            <p:nvPr/>
          </p:nvSpPr>
          <p:spPr bwMode="auto">
            <a:xfrm>
              <a:off x="3650" y="3075"/>
              <a:ext cx="134" cy="264"/>
            </a:xfrm>
            <a:custGeom>
              <a:avLst/>
              <a:gdLst>
                <a:gd name="T0" fmla="*/ 174 w 203"/>
                <a:gd name="T1" fmla="*/ 0 h 398"/>
                <a:gd name="T2" fmla="*/ 164 w 203"/>
                <a:gd name="T3" fmla="*/ 11 h 398"/>
                <a:gd name="T4" fmla="*/ 153 w 203"/>
                <a:gd name="T5" fmla="*/ 36 h 398"/>
                <a:gd name="T6" fmla="*/ 141 w 203"/>
                <a:gd name="T7" fmla="*/ 44 h 398"/>
                <a:gd name="T8" fmla="*/ 126 w 203"/>
                <a:gd name="T9" fmla="*/ 84 h 398"/>
                <a:gd name="T10" fmla="*/ 116 w 203"/>
                <a:gd name="T11" fmla="*/ 93 h 398"/>
                <a:gd name="T12" fmla="*/ 99 w 203"/>
                <a:gd name="T13" fmla="*/ 104 h 398"/>
                <a:gd name="T14" fmla="*/ 81 w 203"/>
                <a:gd name="T15" fmla="*/ 114 h 398"/>
                <a:gd name="T16" fmla="*/ 66 w 203"/>
                <a:gd name="T17" fmla="*/ 119 h 398"/>
                <a:gd name="T18" fmla="*/ 41 w 203"/>
                <a:gd name="T19" fmla="*/ 120 h 398"/>
                <a:gd name="T20" fmla="*/ 36 w 203"/>
                <a:gd name="T21" fmla="*/ 147 h 398"/>
                <a:gd name="T22" fmla="*/ 30 w 203"/>
                <a:gd name="T23" fmla="*/ 165 h 398"/>
                <a:gd name="T24" fmla="*/ 35 w 203"/>
                <a:gd name="T25" fmla="*/ 180 h 398"/>
                <a:gd name="T26" fmla="*/ 30 w 203"/>
                <a:gd name="T27" fmla="*/ 243 h 398"/>
                <a:gd name="T28" fmla="*/ 15 w 203"/>
                <a:gd name="T29" fmla="*/ 270 h 398"/>
                <a:gd name="T30" fmla="*/ 11 w 203"/>
                <a:gd name="T31" fmla="*/ 281 h 398"/>
                <a:gd name="T32" fmla="*/ 6 w 203"/>
                <a:gd name="T33" fmla="*/ 299 h 398"/>
                <a:gd name="T34" fmla="*/ 11 w 203"/>
                <a:gd name="T35" fmla="*/ 324 h 398"/>
                <a:gd name="T36" fmla="*/ 20 w 203"/>
                <a:gd name="T37" fmla="*/ 384 h 398"/>
                <a:gd name="T38" fmla="*/ 35 w 203"/>
                <a:gd name="T39" fmla="*/ 393 h 398"/>
                <a:gd name="T40" fmla="*/ 72 w 203"/>
                <a:gd name="T41" fmla="*/ 395 h 398"/>
                <a:gd name="T42" fmla="*/ 92 w 203"/>
                <a:gd name="T43" fmla="*/ 389 h 398"/>
                <a:gd name="T44" fmla="*/ 105 w 203"/>
                <a:gd name="T45" fmla="*/ 363 h 398"/>
                <a:gd name="T46" fmla="*/ 113 w 203"/>
                <a:gd name="T47" fmla="*/ 350 h 398"/>
                <a:gd name="T48" fmla="*/ 122 w 203"/>
                <a:gd name="T49" fmla="*/ 320 h 398"/>
                <a:gd name="T50" fmla="*/ 128 w 203"/>
                <a:gd name="T51" fmla="*/ 302 h 398"/>
                <a:gd name="T52" fmla="*/ 137 w 203"/>
                <a:gd name="T53" fmla="*/ 279 h 398"/>
                <a:gd name="T54" fmla="*/ 158 w 203"/>
                <a:gd name="T55" fmla="*/ 230 h 398"/>
                <a:gd name="T56" fmla="*/ 165 w 203"/>
                <a:gd name="T57" fmla="*/ 207 h 398"/>
                <a:gd name="T58" fmla="*/ 176 w 203"/>
                <a:gd name="T59" fmla="*/ 161 h 398"/>
                <a:gd name="T60" fmla="*/ 183 w 203"/>
                <a:gd name="T61" fmla="*/ 144 h 398"/>
                <a:gd name="T62" fmla="*/ 188 w 203"/>
                <a:gd name="T63" fmla="*/ 107 h 398"/>
                <a:gd name="T64" fmla="*/ 189 w 203"/>
                <a:gd name="T65" fmla="*/ 113 h 398"/>
                <a:gd name="T66" fmla="*/ 194 w 203"/>
                <a:gd name="T67" fmla="*/ 114 h 398"/>
                <a:gd name="T68" fmla="*/ 203 w 203"/>
                <a:gd name="T69" fmla="*/ 95 h 398"/>
                <a:gd name="T70" fmla="*/ 195 w 203"/>
                <a:gd name="T71" fmla="*/ 74 h 398"/>
                <a:gd name="T72" fmla="*/ 197 w 203"/>
                <a:gd name="T73" fmla="*/ 53 h 398"/>
                <a:gd name="T74" fmla="*/ 191 w 203"/>
                <a:gd name="T75" fmla="*/ 21 h 398"/>
                <a:gd name="T76" fmla="*/ 183 w 203"/>
                <a:gd name="T77" fmla="*/ 8 h 398"/>
                <a:gd name="T78" fmla="*/ 174 w 203"/>
                <a:gd name="T79"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3" h="398">
                  <a:moveTo>
                    <a:pt x="174" y="0"/>
                  </a:moveTo>
                  <a:cubicBezTo>
                    <a:pt x="169" y="4"/>
                    <a:pt x="165" y="4"/>
                    <a:pt x="164" y="11"/>
                  </a:cubicBezTo>
                  <a:cubicBezTo>
                    <a:pt x="163" y="22"/>
                    <a:pt x="168" y="42"/>
                    <a:pt x="153" y="36"/>
                  </a:cubicBezTo>
                  <a:cubicBezTo>
                    <a:pt x="147" y="39"/>
                    <a:pt x="145" y="38"/>
                    <a:pt x="141" y="44"/>
                  </a:cubicBezTo>
                  <a:cubicBezTo>
                    <a:pt x="139" y="57"/>
                    <a:pt x="141" y="82"/>
                    <a:pt x="126" y="84"/>
                  </a:cubicBezTo>
                  <a:cubicBezTo>
                    <a:pt x="121" y="86"/>
                    <a:pt x="120" y="90"/>
                    <a:pt x="116" y="93"/>
                  </a:cubicBezTo>
                  <a:cubicBezTo>
                    <a:pt x="112" y="99"/>
                    <a:pt x="106" y="100"/>
                    <a:pt x="99" y="104"/>
                  </a:cubicBezTo>
                  <a:cubicBezTo>
                    <a:pt x="94" y="111"/>
                    <a:pt x="89" y="113"/>
                    <a:pt x="81" y="114"/>
                  </a:cubicBezTo>
                  <a:cubicBezTo>
                    <a:pt x="76" y="116"/>
                    <a:pt x="71" y="117"/>
                    <a:pt x="66" y="119"/>
                  </a:cubicBezTo>
                  <a:cubicBezTo>
                    <a:pt x="59" y="115"/>
                    <a:pt x="49" y="119"/>
                    <a:pt x="41" y="120"/>
                  </a:cubicBezTo>
                  <a:cubicBezTo>
                    <a:pt x="40" y="130"/>
                    <a:pt x="40" y="138"/>
                    <a:pt x="36" y="147"/>
                  </a:cubicBezTo>
                  <a:cubicBezTo>
                    <a:pt x="35" y="153"/>
                    <a:pt x="33" y="159"/>
                    <a:pt x="30" y="165"/>
                  </a:cubicBezTo>
                  <a:cubicBezTo>
                    <a:pt x="32" y="170"/>
                    <a:pt x="33" y="175"/>
                    <a:pt x="35" y="180"/>
                  </a:cubicBezTo>
                  <a:cubicBezTo>
                    <a:pt x="27" y="200"/>
                    <a:pt x="40" y="224"/>
                    <a:pt x="30" y="243"/>
                  </a:cubicBezTo>
                  <a:cubicBezTo>
                    <a:pt x="28" y="253"/>
                    <a:pt x="21" y="262"/>
                    <a:pt x="15" y="270"/>
                  </a:cubicBezTo>
                  <a:cubicBezTo>
                    <a:pt x="14" y="274"/>
                    <a:pt x="11" y="277"/>
                    <a:pt x="11" y="281"/>
                  </a:cubicBezTo>
                  <a:cubicBezTo>
                    <a:pt x="8" y="287"/>
                    <a:pt x="6" y="299"/>
                    <a:pt x="6" y="299"/>
                  </a:cubicBezTo>
                  <a:cubicBezTo>
                    <a:pt x="7" y="308"/>
                    <a:pt x="7" y="316"/>
                    <a:pt x="11" y="324"/>
                  </a:cubicBezTo>
                  <a:cubicBezTo>
                    <a:pt x="12" y="344"/>
                    <a:pt x="0" y="380"/>
                    <a:pt x="20" y="384"/>
                  </a:cubicBezTo>
                  <a:cubicBezTo>
                    <a:pt x="26" y="388"/>
                    <a:pt x="28" y="392"/>
                    <a:pt x="35" y="393"/>
                  </a:cubicBezTo>
                  <a:cubicBezTo>
                    <a:pt x="46" y="398"/>
                    <a:pt x="61" y="396"/>
                    <a:pt x="72" y="395"/>
                  </a:cubicBezTo>
                  <a:cubicBezTo>
                    <a:pt x="80" y="390"/>
                    <a:pt x="82" y="390"/>
                    <a:pt x="92" y="389"/>
                  </a:cubicBezTo>
                  <a:cubicBezTo>
                    <a:pt x="97" y="380"/>
                    <a:pt x="96" y="370"/>
                    <a:pt x="105" y="363"/>
                  </a:cubicBezTo>
                  <a:cubicBezTo>
                    <a:pt x="107" y="358"/>
                    <a:pt x="111" y="355"/>
                    <a:pt x="113" y="350"/>
                  </a:cubicBezTo>
                  <a:cubicBezTo>
                    <a:pt x="114" y="341"/>
                    <a:pt x="116" y="328"/>
                    <a:pt x="122" y="320"/>
                  </a:cubicBezTo>
                  <a:cubicBezTo>
                    <a:pt x="123" y="314"/>
                    <a:pt x="125" y="308"/>
                    <a:pt x="128" y="302"/>
                  </a:cubicBezTo>
                  <a:cubicBezTo>
                    <a:pt x="130" y="294"/>
                    <a:pt x="133" y="286"/>
                    <a:pt x="137" y="279"/>
                  </a:cubicBezTo>
                  <a:cubicBezTo>
                    <a:pt x="140" y="260"/>
                    <a:pt x="141" y="240"/>
                    <a:pt x="158" y="230"/>
                  </a:cubicBezTo>
                  <a:cubicBezTo>
                    <a:pt x="162" y="223"/>
                    <a:pt x="163" y="215"/>
                    <a:pt x="165" y="207"/>
                  </a:cubicBezTo>
                  <a:cubicBezTo>
                    <a:pt x="166" y="187"/>
                    <a:pt x="165" y="176"/>
                    <a:pt x="176" y="161"/>
                  </a:cubicBezTo>
                  <a:cubicBezTo>
                    <a:pt x="177" y="153"/>
                    <a:pt x="179" y="151"/>
                    <a:pt x="183" y="144"/>
                  </a:cubicBezTo>
                  <a:cubicBezTo>
                    <a:pt x="184" y="132"/>
                    <a:pt x="184" y="95"/>
                    <a:pt x="188" y="107"/>
                  </a:cubicBezTo>
                  <a:cubicBezTo>
                    <a:pt x="189" y="109"/>
                    <a:pt x="188" y="111"/>
                    <a:pt x="189" y="113"/>
                  </a:cubicBezTo>
                  <a:cubicBezTo>
                    <a:pt x="190" y="114"/>
                    <a:pt x="192" y="114"/>
                    <a:pt x="194" y="114"/>
                  </a:cubicBezTo>
                  <a:cubicBezTo>
                    <a:pt x="201" y="109"/>
                    <a:pt x="199" y="102"/>
                    <a:pt x="203" y="95"/>
                  </a:cubicBezTo>
                  <a:cubicBezTo>
                    <a:pt x="200" y="88"/>
                    <a:pt x="198" y="81"/>
                    <a:pt x="195" y="74"/>
                  </a:cubicBezTo>
                  <a:cubicBezTo>
                    <a:pt x="194" y="67"/>
                    <a:pt x="194" y="60"/>
                    <a:pt x="197" y="53"/>
                  </a:cubicBezTo>
                  <a:cubicBezTo>
                    <a:pt x="198" y="42"/>
                    <a:pt x="201" y="28"/>
                    <a:pt x="191" y="21"/>
                  </a:cubicBezTo>
                  <a:cubicBezTo>
                    <a:pt x="189" y="16"/>
                    <a:pt x="186" y="12"/>
                    <a:pt x="183" y="8"/>
                  </a:cubicBezTo>
                  <a:cubicBezTo>
                    <a:pt x="182" y="2"/>
                    <a:pt x="180" y="0"/>
                    <a:pt x="174" y="0"/>
                  </a:cubicBez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31" name="Freeform 264">
              <a:extLst>
                <a:ext uri="{FF2B5EF4-FFF2-40B4-BE49-F238E27FC236}">
                  <a16:creationId xmlns:a16="http://schemas.microsoft.com/office/drawing/2014/main" id="{5E20D5FC-FED8-CB4B-B998-EED175FC2021}"/>
                </a:ext>
              </a:extLst>
            </p:cNvPr>
            <p:cNvSpPr>
              <a:spLocks/>
            </p:cNvSpPr>
            <p:nvPr/>
          </p:nvSpPr>
          <p:spPr bwMode="auto">
            <a:xfrm>
              <a:off x="1974" y="3427"/>
              <a:ext cx="82" cy="93"/>
            </a:xfrm>
            <a:custGeom>
              <a:avLst/>
              <a:gdLst>
                <a:gd name="T0" fmla="*/ 0 w 124"/>
                <a:gd name="T1" fmla="*/ 109 h 140"/>
                <a:gd name="T2" fmla="*/ 0 w 124"/>
                <a:gd name="T3" fmla="*/ 0 h 140"/>
                <a:gd name="T4" fmla="*/ 16 w 124"/>
                <a:gd name="T5" fmla="*/ 0 h 140"/>
                <a:gd name="T6" fmla="*/ 47 w 124"/>
                <a:gd name="T7" fmla="*/ 31 h 140"/>
                <a:gd name="T8" fmla="*/ 47 w 124"/>
                <a:gd name="T9" fmla="*/ 16 h 140"/>
                <a:gd name="T10" fmla="*/ 91 w 124"/>
                <a:gd name="T11" fmla="*/ 56 h 140"/>
                <a:gd name="T12" fmla="*/ 124 w 124"/>
                <a:gd name="T13" fmla="*/ 78 h 140"/>
                <a:gd name="T14" fmla="*/ 124 w 124"/>
                <a:gd name="T15" fmla="*/ 109 h 140"/>
                <a:gd name="T16" fmla="*/ 109 w 124"/>
                <a:gd name="T17" fmla="*/ 124 h 140"/>
                <a:gd name="T18" fmla="*/ 92 w 124"/>
                <a:gd name="T19" fmla="*/ 140 h 140"/>
                <a:gd name="T20" fmla="*/ 62 w 124"/>
                <a:gd name="T21" fmla="*/ 140 h 140"/>
                <a:gd name="T22" fmla="*/ 23 w 124"/>
                <a:gd name="T23" fmla="*/ 126 h 140"/>
                <a:gd name="T24" fmla="*/ 0 w 124"/>
                <a:gd name="T25" fmla="*/ 10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140">
                  <a:moveTo>
                    <a:pt x="0" y="109"/>
                  </a:moveTo>
                  <a:lnTo>
                    <a:pt x="0" y="0"/>
                  </a:lnTo>
                  <a:lnTo>
                    <a:pt x="16" y="0"/>
                  </a:lnTo>
                  <a:lnTo>
                    <a:pt x="47" y="31"/>
                  </a:lnTo>
                  <a:lnTo>
                    <a:pt x="47" y="16"/>
                  </a:lnTo>
                  <a:lnTo>
                    <a:pt x="91" y="56"/>
                  </a:lnTo>
                  <a:lnTo>
                    <a:pt x="124" y="78"/>
                  </a:lnTo>
                  <a:lnTo>
                    <a:pt x="124" y="109"/>
                  </a:lnTo>
                  <a:lnTo>
                    <a:pt x="109" y="124"/>
                  </a:lnTo>
                  <a:lnTo>
                    <a:pt x="92" y="140"/>
                  </a:lnTo>
                  <a:lnTo>
                    <a:pt x="62" y="140"/>
                  </a:lnTo>
                  <a:lnTo>
                    <a:pt x="23" y="126"/>
                  </a:lnTo>
                  <a:lnTo>
                    <a:pt x="0" y="109"/>
                  </a:lnTo>
                  <a:close/>
                </a:path>
              </a:pathLst>
            </a:custGeom>
            <a:solidFill>
              <a:schemeClr val="accent4">
                <a:lumMod val="40000"/>
                <a:lumOff val="60000"/>
              </a:schemeClr>
            </a:solidFill>
            <a:ln w="3175" cmpd="sng">
              <a:solidFill>
                <a:schemeClr val="bg1"/>
              </a:solidFill>
              <a:prstDash val="solid"/>
              <a:round/>
              <a:headEnd/>
              <a:tailEnd/>
            </a:ln>
          </p:spPr>
          <p:txBody>
            <a:bodyPr/>
            <a:lstStyle/>
            <a:p>
              <a:endParaRPr lang="de-DE" sz="1286"/>
            </a:p>
          </p:txBody>
        </p:sp>
        <p:sp>
          <p:nvSpPr>
            <p:cNvPr id="232" name="Freeform 265">
              <a:extLst>
                <a:ext uri="{FF2B5EF4-FFF2-40B4-BE49-F238E27FC236}">
                  <a16:creationId xmlns:a16="http://schemas.microsoft.com/office/drawing/2014/main" id="{C64014D0-46DF-D84F-8D81-165B24C9E68B}"/>
                </a:ext>
              </a:extLst>
            </p:cNvPr>
            <p:cNvSpPr>
              <a:spLocks/>
            </p:cNvSpPr>
            <p:nvPr/>
          </p:nvSpPr>
          <p:spPr bwMode="auto">
            <a:xfrm>
              <a:off x="1647" y="2739"/>
              <a:ext cx="672" cy="761"/>
            </a:xfrm>
            <a:custGeom>
              <a:avLst/>
              <a:gdLst>
                <a:gd name="T0" fmla="*/ 522 w 1014"/>
                <a:gd name="T1" fmla="*/ 83 h 1148"/>
                <a:gd name="T2" fmla="*/ 461 w 1014"/>
                <a:gd name="T3" fmla="*/ 78 h 1148"/>
                <a:gd name="T4" fmla="*/ 430 w 1014"/>
                <a:gd name="T5" fmla="*/ 93 h 1148"/>
                <a:gd name="T6" fmla="*/ 352 w 1014"/>
                <a:gd name="T7" fmla="*/ 78 h 1148"/>
                <a:gd name="T8" fmla="*/ 336 w 1014"/>
                <a:gd name="T9" fmla="*/ 0 h 1148"/>
                <a:gd name="T10" fmla="*/ 234 w 1014"/>
                <a:gd name="T11" fmla="*/ 26 h 1148"/>
                <a:gd name="T12" fmla="*/ 269 w 1014"/>
                <a:gd name="T13" fmla="*/ 80 h 1148"/>
                <a:gd name="T14" fmla="*/ 181 w 1014"/>
                <a:gd name="T15" fmla="*/ 124 h 1148"/>
                <a:gd name="T16" fmla="*/ 107 w 1014"/>
                <a:gd name="T17" fmla="*/ 98 h 1148"/>
                <a:gd name="T18" fmla="*/ 87 w 1014"/>
                <a:gd name="T19" fmla="*/ 140 h 1148"/>
                <a:gd name="T20" fmla="*/ 103 w 1014"/>
                <a:gd name="T21" fmla="*/ 279 h 1148"/>
                <a:gd name="T22" fmla="*/ 20 w 1014"/>
                <a:gd name="T23" fmla="*/ 309 h 1148"/>
                <a:gd name="T24" fmla="*/ 0 w 1014"/>
                <a:gd name="T25" fmla="*/ 374 h 1148"/>
                <a:gd name="T26" fmla="*/ 87 w 1014"/>
                <a:gd name="T27" fmla="*/ 434 h 1148"/>
                <a:gd name="T28" fmla="*/ 149 w 1014"/>
                <a:gd name="T29" fmla="*/ 481 h 1148"/>
                <a:gd name="T30" fmla="*/ 227 w 1014"/>
                <a:gd name="T31" fmla="*/ 481 h 1148"/>
                <a:gd name="T32" fmla="*/ 368 w 1014"/>
                <a:gd name="T33" fmla="*/ 590 h 1148"/>
                <a:gd name="T34" fmla="*/ 414 w 1014"/>
                <a:gd name="T35" fmla="*/ 636 h 1148"/>
                <a:gd name="T36" fmla="*/ 438 w 1014"/>
                <a:gd name="T37" fmla="*/ 731 h 1148"/>
                <a:gd name="T38" fmla="*/ 470 w 1014"/>
                <a:gd name="T39" fmla="*/ 806 h 1148"/>
                <a:gd name="T40" fmla="*/ 508 w 1014"/>
                <a:gd name="T41" fmla="*/ 853 h 1148"/>
                <a:gd name="T42" fmla="*/ 555 w 1014"/>
                <a:gd name="T43" fmla="*/ 900 h 1148"/>
                <a:gd name="T44" fmla="*/ 524 w 1014"/>
                <a:gd name="T45" fmla="*/ 986 h 1148"/>
                <a:gd name="T46" fmla="*/ 539 w 1014"/>
                <a:gd name="T47" fmla="*/ 1070 h 1148"/>
                <a:gd name="T48" fmla="*/ 617 w 1014"/>
                <a:gd name="T49" fmla="*/ 1117 h 1148"/>
                <a:gd name="T50" fmla="*/ 630 w 1014"/>
                <a:gd name="T51" fmla="*/ 1121 h 1148"/>
                <a:gd name="T52" fmla="*/ 648 w 1014"/>
                <a:gd name="T53" fmla="*/ 1059 h 1148"/>
                <a:gd name="T54" fmla="*/ 660 w 1014"/>
                <a:gd name="T55" fmla="*/ 1059 h 1148"/>
                <a:gd name="T56" fmla="*/ 672 w 1014"/>
                <a:gd name="T57" fmla="*/ 1050 h 1148"/>
                <a:gd name="T58" fmla="*/ 704 w 1014"/>
                <a:gd name="T59" fmla="*/ 987 h 1148"/>
                <a:gd name="T60" fmla="*/ 696 w 1014"/>
                <a:gd name="T61" fmla="*/ 918 h 1148"/>
                <a:gd name="T62" fmla="*/ 740 w 1014"/>
                <a:gd name="T63" fmla="*/ 866 h 1148"/>
                <a:gd name="T64" fmla="*/ 777 w 1014"/>
                <a:gd name="T65" fmla="*/ 843 h 1148"/>
                <a:gd name="T66" fmla="*/ 827 w 1014"/>
                <a:gd name="T67" fmla="*/ 828 h 1148"/>
                <a:gd name="T68" fmla="*/ 882 w 1014"/>
                <a:gd name="T69" fmla="*/ 791 h 1148"/>
                <a:gd name="T70" fmla="*/ 905 w 1014"/>
                <a:gd name="T71" fmla="*/ 723 h 1148"/>
                <a:gd name="T72" fmla="*/ 913 w 1014"/>
                <a:gd name="T73" fmla="*/ 667 h 1148"/>
                <a:gd name="T74" fmla="*/ 917 w 1014"/>
                <a:gd name="T75" fmla="*/ 603 h 1148"/>
                <a:gd name="T76" fmla="*/ 918 w 1014"/>
                <a:gd name="T77" fmla="*/ 531 h 1148"/>
                <a:gd name="T78" fmla="*/ 954 w 1014"/>
                <a:gd name="T79" fmla="*/ 485 h 1148"/>
                <a:gd name="T80" fmla="*/ 1002 w 1014"/>
                <a:gd name="T81" fmla="*/ 420 h 1148"/>
                <a:gd name="T82" fmla="*/ 1010 w 1014"/>
                <a:gd name="T83" fmla="*/ 339 h 1148"/>
                <a:gd name="T84" fmla="*/ 960 w 1014"/>
                <a:gd name="T85" fmla="*/ 295 h 1148"/>
                <a:gd name="T86" fmla="*/ 882 w 1014"/>
                <a:gd name="T87" fmla="*/ 233 h 1148"/>
                <a:gd name="T88" fmla="*/ 789 w 1014"/>
                <a:gd name="T89" fmla="*/ 217 h 1148"/>
                <a:gd name="T90" fmla="*/ 758 w 1014"/>
                <a:gd name="T91" fmla="*/ 202 h 1148"/>
                <a:gd name="T92" fmla="*/ 680 w 1014"/>
                <a:gd name="T93" fmla="*/ 171 h 1148"/>
                <a:gd name="T94" fmla="*/ 648 w 1014"/>
                <a:gd name="T95" fmla="*/ 155 h 1148"/>
                <a:gd name="T96" fmla="*/ 586 w 1014"/>
                <a:gd name="T97" fmla="*/ 155 h 1148"/>
                <a:gd name="T98" fmla="*/ 602 w 1014"/>
                <a:gd name="T99" fmla="*/ 93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4" h="1148">
                  <a:moveTo>
                    <a:pt x="570" y="31"/>
                  </a:moveTo>
                  <a:lnTo>
                    <a:pt x="542" y="86"/>
                  </a:lnTo>
                  <a:lnTo>
                    <a:pt x="522" y="83"/>
                  </a:lnTo>
                  <a:lnTo>
                    <a:pt x="508" y="93"/>
                  </a:lnTo>
                  <a:lnTo>
                    <a:pt x="489" y="75"/>
                  </a:lnTo>
                  <a:lnTo>
                    <a:pt x="461" y="78"/>
                  </a:lnTo>
                  <a:lnTo>
                    <a:pt x="461" y="93"/>
                  </a:lnTo>
                  <a:lnTo>
                    <a:pt x="446" y="93"/>
                  </a:lnTo>
                  <a:lnTo>
                    <a:pt x="430" y="93"/>
                  </a:lnTo>
                  <a:lnTo>
                    <a:pt x="383" y="109"/>
                  </a:lnTo>
                  <a:lnTo>
                    <a:pt x="368" y="109"/>
                  </a:lnTo>
                  <a:lnTo>
                    <a:pt x="352" y="78"/>
                  </a:lnTo>
                  <a:lnTo>
                    <a:pt x="368" y="31"/>
                  </a:lnTo>
                  <a:lnTo>
                    <a:pt x="352" y="0"/>
                  </a:lnTo>
                  <a:lnTo>
                    <a:pt x="336" y="0"/>
                  </a:lnTo>
                  <a:lnTo>
                    <a:pt x="336" y="16"/>
                  </a:lnTo>
                  <a:lnTo>
                    <a:pt x="279" y="38"/>
                  </a:lnTo>
                  <a:lnTo>
                    <a:pt x="234" y="26"/>
                  </a:lnTo>
                  <a:lnTo>
                    <a:pt x="243" y="47"/>
                  </a:lnTo>
                  <a:lnTo>
                    <a:pt x="252" y="69"/>
                  </a:lnTo>
                  <a:lnTo>
                    <a:pt x="269" y="80"/>
                  </a:lnTo>
                  <a:lnTo>
                    <a:pt x="259" y="93"/>
                  </a:lnTo>
                  <a:lnTo>
                    <a:pt x="212" y="124"/>
                  </a:lnTo>
                  <a:lnTo>
                    <a:pt x="181" y="124"/>
                  </a:lnTo>
                  <a:lnTo>
                    <a:pt x="181" y="109"/>
                  </a:lnTo>
                  <a:lnTo>
                    <a:pt x="165" y="93"/>
                  </a:lnTo>
                  <a:lnTo>
                    <a:pt x="107" y="98"/>
                  </a:lnTo>
                  <a:lnTo>
                    <a:pt x="102" y="110"/>
                  </a:lnTo>
                  <a:lnTo>
                    <a:pt x="120" y="126"/>
                  </a:lnTo>
                  <a:lnTo>
                    <a:pt x="87" y="140"/>
                  </a:lnTo>
                  <a:lnTo>
                    <a:pt x="108" y="176"/>
                  </a:lnTo>
                  <a:lnTo>
                    <a:pt x="104" y="209"/>
                  </a:lnTo>
                  <a:lnTo>
                    <a:pt x="103" y="279"/>
                  </a:lnTo>
                  <a:lnTo>
                    <a:pt x="77" y="276"/>
                  </a:lnTo>
                  <a:lnTo>
                    <a:pt x="38" y="290"/>
                  </a:lnTo>
                  <a:lnTo>
                    <a:pt x="20" y="309"/>
                  </a:lnTo>
                  <a:lnTo>
                    <a:pt x="20" y="338"/>
                  </a:lnTo>
                  <a:lnTo>
                    <a:pt x="3" y="351"/>
                  </a:lnTo>
                  <a:lnTo>
                    <a:pt x="0" y="374"/>
                  </a:lnTo>
                  <a:lnTo>
                    <a:pt x="25" y="419"/>
                  </a:lnTo>
                  <a:lnTo>
                    <a:pt x="56" y="450"/>
                  </a:lnTo>
                  <a:lnTo>
                    <a:pt x="87" y="434"/>
                  </a:lnTo>
                  <a:lnTo>
                    <a:pt x="87" y="465"/>
                  </a:lnTo>
                  <a:lnTo>
                    <a:pt x="118" y="465"/>
                  </a:lnTo>
                  <a:lnTo>
                    <a:pt x="149" y="481"/>
                  </a:lnTo>
                  <a:lnTo>
                    <a:pt x="179" y="452"/>
                  </a:lnTo>
                  <a:lnTo>
                    <a:pt x="227" y="434"/>
                  </a:lnTo>
                  <a:lnTo>
                    <a:pt x="227" y="481"/>
                  </a:lnTo>
                  <a:lnTo>
                    <a:pt x="243" y="512"/>
                  </a:lnTo>
                  <a:lnTo>
                    <a:pt x="352" y="558"/>
                  </a:lnTo>
                  <a:lnTo>
                    <a:pt x="368" y="590"/>
                  </a:lnTo>
                  <a:lnTo>
                    <a:pt x="368" y="605"/>
                  </a:lnTo>
                  <a:lnTo>
                    <a:pt x="368" y="621"/>
                  </a:lnTo>
                  <a:lnTo>
                    <a:pt x="414" y="636"/>
                  </a:lnTo>
                  <a:lnTo>
                    <a:pt x="414" y="652"/>
                  </a:lnTo>
                  <a:lnTo>
                    <a:pt x="446" y="683"/>
                  </a:lnTo>
                  <a:lnTo>
                    <a:pt x="438" y="731"/>
                  </a:lnTo>
                  <a:lnTo>
                    <a:pt x="430" y="745"/>
                  </a:lnTo>
                  <a:lnTo>
                    <a:pt x="446" y="791"/>
                  </a:lnTo>
                  <a:lnTo>
                    <a:pt x="470" y="806"/>
                  </a:lnTo>
                  <a:lnTo>
                    <a:pt x="492" y="807"/>
                  </a:lnTo>
                  <a:lnTo>
                    <a:pt x="508" y="807"/>
                  </a:lnTo>
                  <a:lnTo>
                    <a:pt x="508" y="853"/>
                  </a:lnTo>
                  <a:lnTo>
                    <a:pt x="539" y="853"/>
                  </a:lnTo>
                  <a:lnTo>
                    <a:pt x="539" y="900"/>
                  </a:lnTo>
                  <a:lnTo>
                    <a:pt x="555" y="900"/>
                  </a:lnTo>
                  <a:lnTo>
                    <a:pt x="570" y="946"/>
                  </a:lnTo>
                  <a:lnTo>
                    <a:pt x="555" y="962"/>
                  </a:lnTo>
                  <a:lnTo>
                    <a:pt x="524" y="986"/>
                  </a:lnTo>
                  <a:lnTo>
                    <a:pt x="492" y="1039"/>
                  </a:lnTo>
                  <a:lnTo>
                    <a:pt x="508" y="1039"/>
                  </a:lnTo>
                  <a:lnTo>
                    <a:pt x="539" y="1070"/>
                  </a:lnTo>
                  <a:lnTo>
                    <a:pt x="539" y="1055"/>
                  </a:lnTo>
                  <a:lnTo>
                    <a:pt x="590" y="1097"/>
                  </a:lnTo>
                  <a:lnTo>
                    <a:pt x="617" y="1117"/>
                  </a:lnTo>
                  <a:lnTo>
                    <a:pt x="606" y="1133"/>
                  </a:lnTo>
                  <a:lnTo>
                    <a:pt x="617" y="1148"/>
                  </a:lnTo>
                  <a:lnTo>
                    <a:pt x="630" y="1121"/>
                  </a:lnTo>
                  <a:lnTo>
                    <a:pt x="633" y="1101"/>
                  </a:lnTo>
                  <a:lnTo>
                    <a:pt x="636" y="1083"/>
                  </a:lnTo>
                  <a:lnTo>
                    <a:pt x="648" y="1059"/>
                  </a:lnTo>
                  <a:lnTo>
                    <a:pt x="650" y="1047"/>
                  </a:lnTo>
                  <a:lnTo>
                    <a:pt x="662" y="1044"/>
                  </a:lnTo>
                  <a:lnTo>
                    <a:pt x="660" y="1059"/>
                  </a:lnTo>
                  <a:lnTo>
                    <a:pt x="650" y="1088"/>
                  </a:lnTo>
                  <a:lnTo>
                    <a:pt x="666" y="1068"/>
                  </a:lnTo>
                  <a:lnTo>
                    <a:pt x="672" y="1050"/>
                  </a:lnTo>
                  <a:lnTo>
                    <a:pt x="680" y="1024"/>
                  </a:lnTo>
                  <a:lnTo>
                    <a:pt x="690" y="1005"/>
                  </a:lnTo>
                  <a:lnTo>
                    <a:pt x="704" y="987"/>
                  </a:lnTo>
                  <a:lnTo>
                    <a:pt x="708" y="969"/>
                  </a:lnTo>
                  <a:lnTo>
                    <a:pt x="701" y="951"/>
                  </a:lnTo>
                  <a:lnTo>
                    <a:pt x="696" y="918"/>
                  </a:lnTo>
                  <a:lnTo>
                    <a:pt x="695" y="900"/>
                  </a:lnTo>
                  <a:lnTo>
                    <a:pt x="720" y="881"/>
                  </a:lnTo>
                  <a:lnTo>
                    <a:pt x="740" y="866"/>
                  </a:lnTo>
                  <a:lnTo>
                    <a:pt x="758" y="853"/>
                  </a:lnTo>
                  <a:lnTo>
                    <a:pt x="773" y="853"/>
                  </a:lnTo>
                  <a:lnTo>
                    <a:pt x="777" y="843"/>
                  </a:lnTo>
                  <a:lnTo>
                    <a:pt x="789" y="838"/>
                  </a:lnTo>
                  <a:lnTo>
                    <a:pt x="798" y="831"/>
                  </a:lnTo>
                  <a:lnTo>
                    <a:pt x="827" y="828"/>
                  </a:lnTo>
                  <a:lnTo>
                    <a:pt x="852" y="825"/>
                  </a:lnTo>
                  <a:lnTo>
                    <a:pt x="858" y="812"/>
                  </a:lnTo>
                  <a:lnTo>
                    <a:pt x="882" y="791"/>
                  </a:lnTo>
                  <a:lnTo>
                    <a:pt x="882" y="776"/>
                  </a:lnTo>
                  <a:lnTo>
                    <a:pt x="893" y="746"/>
                  </a:lnTo>
                  <a:lnTo>
                    <a:pt x="905" y="723"/>
                  </a:lnTo>
                  <a:lnTo>
                    <a:pt x="905" y="707"/>
                  </a:lnTo>
                  <a:lnTo>
                    <a:pt x="905" y="687"/>
                  </a:lnTo>
                  <a:lnTo>
                    <a:pt x="913" y="667"/>
                  </a:lnTo>
                  <a:lnTo>
                    <a:pt x="917" y="645"/>
                  </a:lnTo>
                  <a:lnTo>
                    <a:pt x="918" y="621"/>
                  </a:lnTo>
                  <a:lnTo>
                    <a:pt x="917" y="603"/>
                  </a:lnTo>
                  <a:lnTo>
                    <a:pt x="917" y="570"/>
                  </a:lnTo>
                  <a:lnTo>
                    <a:pt x="917" y="549"/>
                  </a:lnTo>
                  <a:lnTo>
                    <a:pt x="918" y="531"/>
                  </a:lnTo>
                  <a:lnTo>
                    <a:pt x="936" y="524"/>
                  </a:lnTo>
                  <a:lnTo>
                    <a:pt x="944" y="509"/>
                  </a:lnTo>
                  <a:lnTo>
                    <a:pt x="954" y="485"/>
                  </a:lnTo>
                  <a:lnTo>
                    <a:pt x="965" y="465"/>
                  </a:lnTo>
                  <a:lnTo>
                    <a:pt x="984" y="446"/>
                  </a:lnTo>
                  <a:lnTo>
                    <a:pt x="1002" y="420"/>
                  </a:lnTo>
                  <a:lnTo>
                    <a:pt x="1013" y="396"/>
                  </a:lnTo>
                  <a:lnTo>
                    <a:pt x="1014" y="369"/>
                  </a:lnTo>
                  <a:lnTo>
                    <a:pt x="1010" y="339"/>
                  </a:lnTo>
                  <a:lnTo>
                    <a:pt x="998" y="306"/>
                  </a:lnTo>
                  <a:lnTo>
                    <a:pt x="986" y="300"/>
                  </a:lnTo>
                  <a:lnTo>
                    <a:pt x="960" y="295"/>
                  </a:lnTo>
                  <a:lnTo>
                    <a:pt x="938" y="281"/>
                  </a:lnTo>
                  <a:lnTo>
                    <a:pt x="920" y="258"/>
                  </a:lnTo>
                  <a:lnTo>
                    <a:pt x="882" y="233"/>
                  </a:lnTo>
                  <a:lnTo>
                    <a:pt x="845" y="237"/>
                  </a:lnTo>
                  <a:lnTo>
                    <a:pt x="822" y="234"/>
                  </a:lnTo>
                  <a:lnTo>
                    <a:pt x="789" y="217"/>
                  </a:lnTo>
                  <a:lnTo>
                    <a:pt x="758" y="233"/>
                  </a:lnTo>
                  <a:lnTo>
                    <a:pt x="758" y="217"/>
                  </a:lnTo>
                  <a:lnTo>
                    <a:pt x="758" y="202"/>
                  </a:lnTo>
                  <a:lnTo>
                    <a:pt x="742" y="202"/>
                  </a:lnTo>
                  <a:lnTo>
                    <a:pt x="726" y="186"/>
                  </a:lnTo>
                  <a:lnTo>
                    <a:pt x="680" y="171"/>
                  </a:lnTo>
                  <a:lnTo>
                    <a:pt x="664" y="171"/>
                  </a:lnTo>
                  <a:lnTo>
                    <a:pt x="664" y="155"/>
                  </a:lnTo>
                  <a:lnTo>
                    <a:pt x="648" y="155"/>
                  </a:lnTo>
                  <a:lnTo>
                    <a:pt x="633" y="149"/>
                  </a:lnTo>
                  <a:lnTo>
                    <a:pt x="617" y="140"/>
                  </a:lnTo>
                  <a:lnTo>
                    <a:pt x="586" y="155"/>
                  </a:lnTo>
                  <a:lnTo>
                    <a:pt x="617" y="124"/>
                  </a:lnTo>
                  <a:lnTo>
                    <a:pt x="617" y="109"/>
                  </a:lnTo>
                  <a:lnTo>
                    <a:pt x="602" y="93"/>
                  </a:lnTo>
                  <a:lnTo>
                    <a:pt x="586" y="47"/>
                  </a:lnTo>
                  <a:lnTo>
                    <a:pt x="570" y="31"/>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233" name="Freeform 266">
              <a:extLst>
                <a:ext uri="{FF2B5EF4-FFF2-40B4-BE49-F238E27FC236}">
                  <a16:creationId xmlns:a16="http://schemas.microsoft.com/office/drawing/2014/main" id="{A703AC6C-27A6-8447-8A7C-15D19C064786}"/>
                </a:ext>
              </a:extLst>
            </p:cNvPr>
            <p:cNvSpPr>
              <a:spLocks/>
            </p:cNvSpPr>
            <p:nvPr/>
          </p:nvSpPr>
          <p:spPr bwMode="auto">
            <a:xfrm>
              <a:off x="1519" y="2843"/>
              <a:ext cx="227" cy="353"/>
            </a:xfrm>
            <a:custGeom>
              <a:avLst/>
              <a:gdLst>
                <a:gd name="T0" fmla="*/ 16 w 342"/>
                <a:gd name="T1" fmla="*/ 93 h 533"/>
                <a:gd name="T2" fmla="*/ 0 w 342"/>
                <a:gd name="T3" fmla="*/ 124 h 533"/>
                <a:gd name="T4" fmla="*/ 16 w 342"/>
                <a:gd name="T5" fmla="*/ 170 h 533"/>
                <a:gd name="T6" fmla="*/ 0 w 342"/>
                <a:gd name="T7" fmla="*/ 170 h 533"/>
                <a:gd name="T8" fmla="*/ 36 w 342"/>
                <a:gd name="T9" fmla="*/ 192 h 533"/>
                <a:gd name="T10" fmla="*/ 62 w 342"/>
                <a:gd name="T11" fmla="*/ 248 h 533"/>
                <a:gd name="T12" fmla="*/ 96 w 342"/>
                <a:gd name="T13" fmla="*/ 306 h 533"/>
                <a:gd name="T14" fmla="*/ 133 w 342"/>
                <a:gd name="T15" fmla="*/ 377 h 533"/>
                <a:gd name="T16" fmla="*/ 145 w 342"/>
                <a:gd name="T17" fmla="*/ 395 h 533"/>
                <a:gd name="T18" fmla="*/ 147 w 342"/>
                <a:gd name="T19" fmla="*/ 416 h 533"/>
                <a:gd name="T20" fmla="*/ 155 w 342"/>
                <a:gd name="T21" fmla="*/ 433 h 533"/>
                <a:gd name="T22" fmla="*/ 190 w 342"/>
                <a:gd name="T23" fmla="*/ 459 h 533"/>
                <a:gd name="T24" fmla="*/ 249 w 342"/>
                <a:gd name="T25" fmla="*/ 489 h 533"/>
                <a:gd name="T26" fmla="*/ 271 w 342"/>
                <a:gd name="T27" fmla="*/ 504 h 533"/>
                <a:gd name="T28" fmla="*/ 295 w 342"/>
                <a:gd name="T29" fmla="*/ 526 h 533"/>
                <a:gd name="T30" fmla="*/ 316 w 342"/>
                <a:gd name="T31" fmla="*/ 533 h 533"/>
                <a:gd name="T32" fmla="*/ 326 w 342"/>
                <a:gd name="T33" fmla="*/ 511 h 533"/>
                <a:gd name="T34" fmla="*/ 342 w 342"/>
                <a:gd name="T35" fmla="*/ 480 h 533"/>
                <a:gd name="T36" fmla="*/ 326 w 342"/>
                <a:gd name="T37" fmla="*/ 464 h 533"/>
                <a:gd name="T38" fmla="*/ 326 w 342"/>
                <a:gd name="T39" fmla="*/ 356 h 533"/>
                <a:gd name="T40" fmla="*/ 311 w 342"/>
                <a:gd name="T41" fmla="*/ 309 h 533"/>
                <a:gd name="T42" fmla="*/ 280 w 342"/>
                <a:gd name="T43" fmla="*/ 309 h 533"/>
                <a:gd name="T44" fmla="*/ 280 w 342"/>
                <a:gd name="T45" fmla="*/ 278 h 533"/>
                <a:gd name="T46" fmla="*/ 249 w 342"/>
                <a:gd name="T47" fmla="*/ 294 h 533"/>
                <a:gd name="T48" fmla="*/ 218 w 342"/>
                <a:gd name="T49" fmla="*/ 263 h 533"/>
                <a:gd name="T50" fmla="*/ 192 w 342"/>
                <a:gd name="T51" fmla="*/ 219 h 533"/>
                <a:gd name="T52" fmla="*/ 196 w 342"/>
                <a:gd name="T53" fmla="*/ 195 h 533"/>
                <a:gd name="T54" fmla="*/ 214 w 342"/>
                <a:gd name="T55" fmla="*/ 179 h 533"/>
                <a:gd name="T56" fmla="*/ 211 w 342"/>
                <a:gd name="T57" fmla="*/ 152 h 533"/>
                <a:gd name="T58" fmla="*/ 231 w 342"/>
                <a:gd name="T59" fmla="*/ 132 h 533"/>
                <a:gd name="T60" fmla="*/ 271 w 342"/>
                <a:gd name="T61" fmla="*/ 120 h 533"/>
                <a:gd name="T62" fmla="*/ 295 w 342"/>
                <a:gd name="T63" fmla="*/ 124 h 533"/>
                <a:gd name="T64" fmla="*/ 280 w 342"/>
                <a:gd name="T65" fmla="*/ 108 h 533"/>
                <a:gd name="T66" fmla="*/ 280 w 342"/>
                <a:gd name="T67" fmla="*/ 77 h 533"/>
                <a:gd name="T68" fmla="*/ 264 w 342"/>
                <a:gd name="T69" fmla="*/ 62 h 533"/>
                <a:gd name="T70" fmla="*/ 213 w 342"/>
                <a:gd name="T71" fmla="*/ 66 h 533"/>
                <a:gd name="T72" fmla="*/ 187 w 342"/>
                <a:gd name="T73" fmla="*/ 31 h 533"/>
                <a:gd name="T74" fmla="*/ 155 w 342"/>
                <a:gd name="T75" fmla="*/ 0 h 533"/>
                <a:gd name="T76" fmla="*/ 140 w 342"/>
                <a:gd name="T77" fmla="*/ 0 h 533"/>
                <a:gd name="T78" fmla="*/ 155 w 342"/>
                <a:gd name="T79" fmla="*/ 31 h 533"/>
                <a:gd name="T80" fmla="*/ 140 w 342"/>
                <a:gd name="T81" fmla="*/ 46 h 533"/>
                <a:gd name="T82" fmla="*/ 112 w 342"/>
                <a:gd name="T83" fmla="*/ 74 h 533"/>
                <a:gd name="T84" fmla="*/ 93 w 342"/>
                <a:gd name="T85" fmla="*/ 80 h 533"/>
                <a:gd name="T86" fmla="*/ 78 w 342"/>
                <a:gd name="T87" fmla="*/ 93 h 533"/>
                <a:gd name="T88" fmla="*/ 63 w 342"/>
                <a:gd name="T89" fmla="*/ 129 h 533"/>
                <a:gd name="T90" fmla="*/ 47 w 342"/>
                <a:gd name="T91" fmla="*/ 139 h 533"/>
                <a:gd name="T92" fmla="*/ 16 w 342"/>
                <a:gd name="T93" fmla="*/ 124 h 533"/>
                <a:gd name="T94" fmla="*/ 16 w 342"/>
                <a:gd name="T95" fmla="*/ 9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2" h="533">
                  <a:moveTo>
                    <a:pt x="16" y="93"/>
                  </a:moveTo>
                  <a:lnTo>
                    <a:pt x="0" y="124"/>
                  </a:lnTo>
                  <a:lnTo>
                    <a:pt x="16" y="170"/>
                  </a:lnTo>
                  <a:lnTo>
                    <a:pt x="0" y="170"/>
                  </a:lnTo>
                  <a:lnTo>
                    <a:pt x="36" y="192"/>
                  </a:lnTo>
                  <a:lnTo>
                    <a:pt x="62" y="248"/>
                  </a:lnTo>
                  <a:lnTo>
                    <a:pt x="96" y="306"/>
                  </a:lnTo>
                  <a:lnTo>
                    <a:pt x="133" y="377"/>
                  </a:lnTo>
                  <a:lnTo>
                    <a:pt x="145" y="395"/>
                  </a:lnTo>
                  <a:lnTo>
                    <a:pt x="147" y="416"/>
                  </a:lnTo>
                  <a:lnTo>
                    <a:pt x="155" y="433"/>
                  </a:lnTo>
                  <a:lnTo>
                    <a:pt x="190" y="459"/>
                  </a:lnTo>
                  <a:lnTo>
                    <a:pt x="249" y="489"/>
                  </a:lnTo>
                  <a:lnTo>
                    <a:pt x="271" y="504"/>
                  </a:lnTo>
                  <a:lnTo>
                    <a:pt x="295" y="526"/>
                  </a:lnTo>
                  <a:lnTo>
                    <a:pt x="316" y="533"/>
                  </a:lnTo>
                  <a:lnTo>
                    <a:pt x="326" y="511"/>
                  </a:lnTo>
                  <a:lnTo>
                    <a:pt x="342" y="480"/>
                  </a:lnTo>
                  <a:lnTo>
                    <a:pt x="326" y="464"/>
                  </a:lnTo>
                  <a:lnTo>
                    <a:pt x="326" y="356"/>
                  </a:lnTo>
                  <a:lnTo>
                    <a:pt x="311" y="309"/>
                  </a:lnTo>
                  <a:lnTo>
                    <a:pt x="280" y="309"/>
                  </a:lnTo>
                  <a:lnTo>
                    <a:pt x="280" y="278"/>
                  </a:lnTo>
                  <a:lnTo>
                    <a:pt x="249" y="294"/>
                  </a:lnTo>
                  <a:lnTo>
                    <a:pt x="218" y="263"/>
                  </a:lnTo>
                  <a:lnTo>
                    <a:pt x="192" y="219"/>
                  </a:lnTo>
                  <a:lnTo>
                    <a:pt x="196" y="195"/>
                  </a:lnTo>
                  <a:lnTo>
                    <a:pt x="214" y="179"/>
                  </a:lnTo>
                  <a:lnTo>
                    <a:pt x="211" y="152"/>
                  </a:lnTo>
                  <a:lnTo>
                    <a:pt x="231" y="132"/>
                  </a:lnTo>
                  <a:lnTo>
                    <a:pt x="271" y="120"/>
                  </a:lnTo>
                  <a:lnTo>
                    <a:pt x="295" y="124"/>
                  </a:lnTo>
                  <a:lnTo>
                    <a:pt x="280" y="108"/>
                  </a:lnTo>
                  <a:lnTo>
                    <a:pt x="280" y="77"/>
                  </a:lnTo>
                  <a:lnTo>
                    <a:pt x="264" y="62"/>
                  </a:lnTo>
                  <a:lnTo>
                    <a:pt x="213" y="66"/>
                  </a:lnTo>
                  <a:lnTo>
                    <a:pt x="187" y="31"/>
                  </a:lnTo>
                  <a:lnTo>
                    <a:pt x="155" y="0"/>
                  </a:lnTo>
                  <a:lnTo>
                    <a:pt x="140" y="0"/>
                  </a:lnTo>
                  <a:lnTo>
                    <a:pt x="155" y="31"/>
                  </a:lnTo>
                  <a:lnTo>
                    <a:pt x="140" y="46"/>
                  </a:lnTo>
                  <a:lnTo>
                    <a:pt x="112" y="74"/>
                  </a:lnTo>
                  <a:lnTo>
                    <a:pt x="93" y="80"/>
                  </a:lnTo>
                  <a:lnTo>
                    <a:pt x="78" y="93"/>
                  </a:lnTo>
                  <a:lnTo>
                    <a:pt x="63" y="129"/>
                  </a:lnTo>
                  <a:lnTo>
                    <a:pt x="47" y="139"/>
                  </a:lnTo>
                  <a:lnTo>
                    <a:pt x="16" y="124"/>
                  </a:lnTo>
                  <a:lnTo>
                    <a:pt x="16" y="93"/>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234" name="Freeform 267">
              <a:extLst>
                <a:ext uri="{FF2B5EF4-FFF2-40B4-BE49-F238E27FC236}">
                  <a16:creationId xmlns:a16="http://schemas.microsoft.com/office/drawing/2014/main" id="{CEFDD5DE-186F-204B-884D-CFA5127C78C6}"/>
                </a:ext>
              </a:extLst>
            </p:cNvPr>
            <p:cNvSpPr>
              <a:spLocks/>
            </p:cNvSpPr>
            <p:nvPr/>
          </p:nvSpPr>
          <p:spPr bwMode="auto">
            <a:xfrm>
              <a:off x="1519" y="2812"/>
              <a:ext cx="104" cy="123"/>
            </a:xfrm>
            <a:custGeom>
              <a:avLst/>
              <a:gdLst>
                <a:gd name="T0" fmla="*/ 16 w 156"/>
                <a:gd name="T1" fmla="*/ 140 h 186"/>
                <a:gd name="T2" fmla="*/ 16 w 156"/>
                <a:gd name="T3" fmla="*/ 171 h 186"/>
                <a:gd name="T4" fmla="*/ 47 w 156"/>
                <a:gd name="T5" fmla="*/ 186 h 186"/>
                <a:gd name="T6" fmla="*/ 66 w 156"/>
                <a:gd name="T7" fmla="*/ 176 h 186"/>
                <a:gd name="T8" fmla="*/ 78 w 156"/>
                <a:gd name="T9" fmla="*/ 140 h 186"/>
                <a:gd name="T10" fmla="*/ 96 w 156"/>
                <a:gd name="T11" fmla="*/ 128 h 186"/>
                <a:gd name="T12" fmla="*/ 111 w 156"/>
                <a:gd name="T13" fmla="*/ 122 h 186"/>
                <a:gd name="T14" fmla="*/ 140 w 156"/>
                <a:gd name="T15" fmla="*/ 93 h 186"/>
                <a:gd name="T16" fmla="*/ 156 w 156"/>
                <a:gd name="T17" fmla="*/ 78 h 186"/>
                <a:gd name="T18" fmla="*/ 140 w 156"/>
                <a:gd name="T19" fmla="*/ 47 h 186"/>
                <a:gd name="T20" fmla="*/ 156 w 156"/>
                <a:gd name="T21" fmla="*/ 47 h 186"/>
                <a:gd name="T22" fmla="*/ 140 w 156"/>
                <a:gd name="T23" fmla="*/ 31 h 186"/>
                <a:gd name="T24" fmla="*/ 94 w 156"/>
                <a:gd name="T25" fmla="*/ 28 h 186"/>
                <a:gd name="T26" fmla="*/ 62 w 156"/>
                <a:gd name="T27" fmla="*/ 0 h 186"/>
                <a:gd name="T28" fmla="*/ 34 w 156"/>
                <a:gd name="T29" fmla="*/ 14 h 186"/>
                <a:gd name="T30" fmla="*/ 25 w 156"/>
                <a:gd name="T31" fmla="*/ 26 h 186"/>
                <a:gd name="T32" fmla="*/ 24 w 156"/>
                <a:gd name="T33" fmla="*/ 41 h 186"/>
                <a:gd name="T34" fmla="*/ 16 w 156"/>
                <a:gd name="T35" fmla="*/ 47 h 186"/>
                <a:gd name="T36" fmla="*/ 12 w 156"/>
                <a:gd name="T37" fmla="*/ 65 h 186"/>
                <a:gd name="T38" fmla="*/ 0 w 156"/>
                <a:gd name="T39" fmla="*/ 78 h 186"/>
                <a:gd name="T40" fmla="*/ 7 w 156"/>
                <a:gd name="T41" fmla="*/ 91 h 186"/>
                <a:gd name="T42" fmla="*/ 4 w 156"/>
                <a:gd name="T43" fmla="*/ 113 h 186"/>
                <a:gd name="T44" fmla="*/ 21 w 156"/>
                <a:gd name="T45" fmla="*/ 122 h 186"/>
                <a:gd name="T46" fmla="*/ 34 w 156"/>
                <a:gd name="T47" fmla="*/ 122 h 186"/>
                <a:gd name="T48" fmla="*/ 31 w 156"/>
                <a:gd name="T49" fmla="*/ 140 h 186"/>
                <a:gd name="T50" fmla="*/ 31 w 156"/>
                <a:gd name="T51" fmla="*/ 140 h 186"/>
                <a:gd name="T52" fmla="*/ 16 w 156"/>
                <a:gd name="T53" fmla="*/ 14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186">
                  <a:moveTo>
                    <a:pt x="16" y="140"/>
                  </a:moveTo>
                  <a:lnTo>
                    <a:pt x="16" y="171"/>
                  </a:lnTo>
                  <a:lnTo>
                    <a:pt x="47" y="186"/>
                  </a:lnTo>
                  <a:lnTo>
                    <a:pt x="66" y="176"/>
                  </a:lnTo>
                  <a:lnTo>
                    <a:pt x="78" y="140"/>
                  </a:lnTo>
                  <a:lnTo>
                    <a:pt x="96" y="128"/>
                  </a:lnTo>
                  <a:lnTo>
                    <a:pt x="111" y="122"/>
                  </a:lnTo>
                  <a:lnTo>
                    <a:pt x="140" y="93"/>
                  </a:lnTo>
                  <a:lnTo>
                    <a:pt x="156" y="78"/>
                  </a:lnTo>
                  <a:lnTo>
                    <a:pt x="140" y="47"/>
                  </a:lnTo>
                  <a:lnTo>
                    <a:pt x="156" y="47"/>
                  </a:lnTo>
                  <a:lnTo>
                    <a:pt x="140" y="31"/>
                  </a:lnTo>
                  <a:lnTo>
                    <a:pt x="94" y="28"/>
                  </a:lnTo>
                  <a:lnTo>
                    <a:pt x="62" y="0"/>
                  </a:lnTo>
                  <a:lnTo>
                    <a:pt x="34" y="14"/>
                  </a:lnTo>
                  <a:lnTo>
                    <a:pt x="25" y="26"/>
                  </a:lnTo>
                  <a:lnTo>
                    <a:pt x="24" y="41"/>
                  </a:lnTo>
                  <a:lnTo>
                    <a:pt x="16" y="47"/>
                  </a:lnTo>
                  <a:lnTo>
                    <a:pt x="12" y="65"/>
                  </a:lnTo>
                  <a:lnTo>
                    <a:pt x="0" y="78"/>
                  </a:lnTo>
                  <a:lnTo>
                    <a:pt x="7" y="91"/>
                  </a:lnTo>
                  <a:lnTo>
                    <a:pt x="4" y="113"/>
                  </a:lnTo>
                  <a:lnTo>
                    <a:pt x="21" y="122"/>
                  </a:lnTo>
                  <a:lnTo>
                    <a:pt x="34" y="122"/>
                  </a:lnTo>
                  <a:lnTo>
                    <a:pt x="31" y="140"/>
                  </a:lnTo>
                  <a:lnTo>
                    <a:pt x="31" y="140"/>
                  </a:lnTo>
                  <a:lnTo>
                    <a:pt x="16" y="140"/>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235" name="Freeform 268">
              <a:extLst>
                <a:ext uri="{FF2B5EF4-FFF2-40B4-BE49-F238E27FC236}">
                  <a16:creationId xmlns:a16="http://schemas.microsoft.com/office/drawing/2014/main" id="{C68E2340-F854-D244-93AC-42A0658737A8}"/>
                </a:ext>
              </a:extLst>
            </p:cNvPr>
            <p:cNvSpPr>
              <a:spLocks/>
            </p:cNvSpPr>
            <p:nvPr/>
          </p:nvSpPr>
          <p:spPr bwMode="auto">
            <a:xfrm>
              <a:off x="1556" y="2596"/>
              <a:ext cx="211" cy="329"/>
            </a:xfrm>
            <a:custGeom>
              <a:avLst/>
              <a:gdLst>
                <a:gd name="T0" fmla="*/ 8 w 319"/>
                <a:gd name="T1" fmla="*/ 326 h 496"/>
                <a:gd name="T2" fmla="*/ 8 w 319"/>
                <a:gd name="T3" fmla="*/ 326 h 496"/>
                <a:gd name="T4" fmla="*/ 0 w 319"/>
                <a:gd name="T5" fmla="*/ 312 h 496"/>
                <a:gd name="T6" fmla="*/ 14 w 319"/>
                <a:gd name="T7" fmla="*/ 294 h 496"/>
                <a:gd name="T8" fmla="*/ 30 w 319"/>
                <a:gd name="T9" fmla="*/ 287 h 496"/>
                <a:gd name="T10" fmla="*/ 42 w 319"/>
                <a:gd name="T11" fmla="*/ 264 h 496"/>
                <a:gd name="T12" fmla="*/ 50 w 319"/>
                <a:gd name="T13" fmla="*/ 254 h 496"/>
                <a:gd name="T14" fmla="*/ 44 w 319"/>
                <a:gd name="T15" fmla="*/ 245 h 496"/>
                <a:gd name="T16" fmla="*/ 44 w 319"/>
                <a:gd name="T17" fmla="*/ 210 h 496"/>
                <a:gd name="T18" fmla="*/ 45 w 319"/>
                <a:gd name="T19" fmla="*/ 189 h 496"/>
                <a:gd name="T20" fmla="*/ 45 w 319"/>
                <a:gd name="T21" fmla="*/ 171 h 496"/>
                <a:gd name="T22" fmla="*/ 39 w 319"/>
                <a:gd name="T23" fmla="*/ 155 h 496"/>
                <a:gd name="T24" fmla="*/ 35 w 319"/>
                <a:gd name="T25" fmla="*/ 147 h 496"/>
                <a:gd name="T26" fmla="*/ 54 w 319"/>
                <a:gd name="T27" fmla="*/ 124 h 496"/>
                <a:gd name="T28" fmla="*/ 62 w 319"/>
                <a:gd name="T29" fmla="*/ 116 h 496"/>
                <a:gd name="T30" fmla="*/ 71 w 319"/>
                <a:gd name="T31" fmla="*/ 105 h 496"/>
                <a:gd name="T32" fmla="*/ 93 w 319"/>
                <a:gd name="T33" fmla="*/ 83 h 496"/>
                <a:gd name="T34" fmla="*/ 101 w 319"/>
                <a:gd name="T35" fmla="*/ 47 h 496"/>
                <a:gd name="T36" fmla="*/ 126 w 319"/>
                <a:gd name="T37" fmla="*/ 42 h 496"/>
                <a:gd name="T38" fmla="*/ 141 w 319"/>
                <a:gd name="T39" fmla="*/ 33 h 496"/>
                <a:gd name="T40" fmla="*/ 162 w 319"/>
                <a:gd name="T41" fmla="*/ 29 h 496"/>
                <a:gd name="T42" fmla="*/ 185 w 319"/>
                <a:gd name="T43" fmla="*/ 9 h 496"/>
                <a:gd name="T44" fmla="*/ 210 w 319"/>
                <a:gd name="T45" fmla="*/ 0 h 496"/>
                <a:gd name="T46" fmla="*/ 218 w 319"/>
                <a:gd name="T47" fmla="*/ 8 h 496"/>
                <a:gd name="T48" fmla="*/ 210 w 319"/>
                <a:gd name="T49" fmla="*/ 16 h 496"/>
                <a:gd name="T50" fmla="*/ 194 w 319"/>
                <a:gd name="T51" fmla="*/ 31 h 496"/>
                <a:gd name="T52" fmla="*/ 179 w 319"/>
                <a:gd name="T53" fmla="*/ 47 h 496"/>
                <a:gd name="T54" fmla="*/ 163 w 319"/>
                <a:gd name="T55" fmla="*/ 93 h 496"/>
                <a:gd name="T56" fmla="*/ 179 w 319"/>
                <a:gd name="T57" fmla="*/ 140 h 496"/>
                <a:gd name="T58" fmla="*/ 179 w 319"/>
                <a:gd name="T59" fmla="*/ 155 h 496"/>
                <a:gd name="T60" fmla="*/ 194 w 319"/>
                <a:gd name="T61" fmla="*/ 155 h 496"/>
                <a:gd name="T62" fmla="*/ 241 w 319"/>
                <a:gd name="T63" fmla="*/ 171 h 496"/>
                <a:gd name="T64" fmla="*/ 257 w 319"/>
                <a:gd name="T65" fmla="*/ 186 h 496"/>
                <a:gd name="T66" fmla="*/ 303 w 319"/>
                <a:gd name="T67" fmla="*/ 186 h 496"/>
                <a:gd name="T68" fmla="*/ 288 w 319"/>
                <a:gd name="T69" fmla="*/ 233 h 496"/>
                <a:gd name="T70" fmla="*/ 303 w 319"/>
                <a:gd name="T71" fmla="*/ 279 h 496"/>
                <a:gd name="T72" fmla="*/ 288 w 319"/>
                <a:gd name="T73" fmla="*/ 279 h 496"/>
                <a:gd name="T74" fmla="*/ 319 w 319"/>
                <a:gd name="T75" fmla="*/ 326 h 496"/>
                <a:gd name="T76" fmla="*/ 303 w 319"/>
                <a:gd name="T77" fmla="*/ 310 h 496"/>
                <a:gd name="T78" fmla="*/ 245 w 319"/>
                <a:gd name="T79" fmla="*/ 315 h 496"/>
                <a:gd name="T80" fmla="*/ 241 w 319"/>
                <a:gd name="T81" fmla="*/ 326 h 496"/>
                <a:gd name="T82" fmla="*/ 257 w 319"/>
                <a:gd name="T83" fmla="*/ 339 h 496"/>
                <a:gd name="T84" fmla="*/ 243 w 319"/>
                <a:gd name="T85" fmla="*/ 348 h 496"/>
                <a:gd name="T86" fmla="*/ 226 w 319"/>
                <a:gd name="T87" fmla="*/ 357 h 496"/>
                <a:gd name="T88" fmla="*/ 246 w 319"/>
                <a:gd name="T89" fmla="*/ 389 h 496"/>
                <a:gd name="T90" fmla="*/ 242 w 319"/>
                <a:gd name="T91" fmla="*/ 432 h 496"/>
                <a:gd name="T92" fmla="*/ 241 w 319"/>
                <a:gd name="T93" fmla="*/ 496 h 496"/>
                <a:gd name="T94" fmla="*/ 226 w 319"/>
                <a:gd name="T95" fmla="*/ 481 h 496"/>
                <a:gd name="T96" fmla="*/ 226 w 319"/>
                <a:gd name="T97" fmla="*/ 450 h 496"/>
                <a:gd name="T98" fmla="*/ 210 w 319"/>
                <a:gd name="T99" fmla="*/ 434 h 496"/>
                <a:gd name="T100" fmla="*/ 159 w 319"/>
                <a:gd name="T101" fmla="*/ 438 h 496"/>
                <a:gd name="T102" fmla="*/ 132 w 319"/>
                <a:gd name="T103" fmla="*/ 403 h 496"/>
                <a:gd name="T104" fmla="*/ 101 w 319"/>
                <a:gd name="T105" fmla="*/ 372 h 496"/>
                <a:gd name="T106" fmla="*/ 85 w 319"/>
                <a:gd name="T107" fmla="*/ 357 h 496"/>
                <a:gd name="T108" fmla="*/ 41 w 319"/>
                <a:gd name="T109" fmla="*/ 353 h 496"/>
                <a:gd name="T110" fmla="*/ 8 w 319"/>
                <a:gd name="T111" fmla="*/ 32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9" h="496">
                  <a:moveTo>
                    <a:pt x="8" y="326"/>
                  </a:moveTo>
                  <a:lnTo>
                    <a:pt x="8" y="326"/>
                  </a:lnTo>
                  <a:lnTo>
                    <a:pt x="0" y="312"/>
                  </a:lnTo>
                  <a:lnTo>
                    <a:pt x="14" y="294"/>
                  </a:lnTo>
                  <a:lnTo>
                    <a:pt x="30" y="287"/>
                  </a:lnTo>
                  <a:lnTo>
                    <a:pt x="42" y="264"/>
                  </a:lnTo>
                  <a:lnTo>
                    <a:pt x="50" y="254"/>
                  </a:lnTo>
                  <a:lnTo>
                    <a:pt x="44" y="245"/>
                  </a:lnTo>
                  <a:lnTo>
                    <a:pt x="44" y="210"/>
                  </a:lnTo>
                  <a:lnTo>
                    <a:pt x="45" y="189"/>
                  </a:lnTo>
                  <a:lnTo>
                    <a:pt x="45" y="171"/>
                  </a:lnTo>
                  <a:lnTo>
                    <a:pt x="39" y="155"/>
                  </a:lnTo>
                  <a:lnTo>
                    <a:pt x="35" y="147"/>
                  </a:lnTo>
                  <a:lnTo>
                    <a:pt x="54" y="124"/>
                  </a:lnTo>
                  <a:lnTo>
                    <a:pt x="62" y="116"/>
                  </a:lnTo>
                  <a:lnTo>
                    <a:pt x="71" y="105"/>
                  </a:lnTo>
                  <a:lnTo>
                    <a:pt x="93" y="83"/>
                  </a:lnTo>
                  <a:lnTo>
                    <a:pt x="101" y="47"/>
                  </a:lnTo>
                  <a:lnTo>
                    <a:pt x="126" y="42"/>
                  </a:lnTo>
                  <a:lnTo>
                    <a:pt x="141" y="33"/>
                  </a:lnTo>
                  <a:lnTo>
                    <a:pt x="162" y="29"/>
                  </a:lnTo>
                  <a:lnTo>
                    <a:pt x="185" y="9"/>
                  </a:lnTo>
                  <a:lnTo>
                    <a:pt x="210" y="0"/>
                  </a:lnTo>
                  <a:lnTo>
                    <a:pt x="218" y="8"/>
                  </a:lnTo>
                  <a:lnTo>
                    <a:pt x="210" y="16"/>
                  </a:lnTo>
                  <a:lnTo>
                    <a:pt x="194" y="31"/>
                  </a:lnTo>
                  <a:lnTo>
                    <a:pt x="179" y="47"/>
                  </a:lnTo>
                  <a:lnTo>
                    <a:pt x="163" y="93"/>
                  </a:lnTo>
                  <a:lnTo>
                    <a:pt x="179" y="140"/>
                  </a:lnTo>
                  <a:lnTo>
                    <a:pt x="179" y="155"/>
                  </a:lnTo>
                  <a:lnTo>
                    <a:pt x="194" y="155"/>
                  </a:lnTo>
                  <a:lnTo>
                    <a:pt x="241" y="171"/>
                  </a:lnTo>
                  <a:lnTo>
                    <a:pt x="257" y="186"/>
                  </a:lnTo>
                  <a:lnTo>
                    <a:pt x="303" y="186"/>
                  </a:lnTo>
                  <a:lnTo>
                    <a:pt x="288" y="233"/>
                  </a:lnTo>
                  <a:lnTo>
                    <a:pt x="303" y="279"/>
                  </a:lnTo>
                  <a:lnTo>
                    <a:pt x="288" y="279"/>
                  </a:lnTo>
                  <a:lnTo>
                    <a:pt x="319" y="326"/>
                  </a:lnTo>
                  <a:lnTo>
                    <a:pt x="303" y="310"/>
                  </a:lnTo>
                  <a:lnTo>
                    <a:pt x="245" y="315"/>
                  </a:lnTo>
                  <a:lnTo>
                    <a:pt x="241" y="326"/>
                  </a:lnTo>
                  <a:lnTo>
                    <a:pt x="257" y="339"/>
                  </a:lnTo>
                  <a:lnTo>
                    <a:pt x="243" y="348"/>
                  </a:lnTo>
                  <a:lnTo>
                    <a:pt x="226" y="357"/>
                  </a:lnTo>
                  <a:lnTo>
                    <a:pt x="246" y="389"/>
                  </a:lnTo>
                  <a:lnTo>
                    <a:pt x="242" y="432"/>
                  </a:lnTo>
                  <a:lnTo>
                    <a:pt x="241" y="496"/>
                  </a:lnTo>
                  <a:lnTo>
                    <a:pt x="226" y="481"/>
                  </a:lnTo>
                  <a:lnTo>
                    <a:pt x="226" y="450"/>
                  </a:lnTo>
                  <a:lnTo>
                    <a:pt x="210" y="434"/>
                  </a:lnTo>
                  <a:lnTo>
                    <a:pt x="159" y="438"/>
                  </a:lnTo>
                  <a:lnTo>
                    <a:pt x="132" y="403"/>
                  </a:lnTo>
                  <a:lnTo>
                    <a:pt x="101" y="372"/>
                  </a:lnTo>
                  <a:lnTo>
                    <a:pt x="85" y="357"/>
                  </a:lnTo>
                  <a:lnTo>
                    <a:pt x="41" y="353"/>
                  </a:lnTo>
                  <a:lnTo>
                    <a:pt x="8" y="326"/>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236" name="Freeform 269">
              <a:extLst>
                <a:ext uri="{FF2B5EF4-FFF2-40B4-BE49-F238E27FC236}">
                  <a16:creationId xmlns:a16="http://schemas.microsoft.com/office/drawing/2014/main" id="{49C0882F-E06F-1743-9D36-86CED9B5D48C}"/>
                </a:ext>
              </a:extLst>
            </p:cNvPr>
            <p:cNvSpPr>
              <a:spLocks/>
            </p:cNvSpPr>
            <p:nvPr/>
          </p:nvSpPr>
          <p:spPr bwMode="auto">
            <a:xfrm>
              <a:off x="1664" y="2600"/>
              <a:ext cx="227" cy="222"/>
            </a:xfrm>
            <a:custGeom>
              <a:avLst/>
              <a:gdLst>
                <a:gd name="T0" fmla="*/ 343 w 343"/>
                <a:gd name="T1" fmla="*/ 118 h 335"/>
                <a:gd name="T2" fmla="*/ 312 w 343"/>
                <a:gd name="T3" fmla="*/ 133 h 335"/>
                <a:gd name="T4" fmla="*/ 312 w 343"/>
                <a:gd name="T5" fmla="*/ 149 h 335"/>
                <a:gd name="T6" fmla="*/ 327 w 343"/>
                <a:gd name="T7" fmla="*/ 164 h 335"/>
                <a:gd name="T8" fmla="*/ 312 w 343"/>
                <a:gd name="T9" fmla="*/ 164 h 335"/>
                <a:gd name="T10" fmla="*/ 296 w 343"/>
                <a:gd name="T11" fmla="*/ 195 h 335"/>
                <a:gd name="T12" fmla="*/ 312 w 343"/>
                <a:gd name="T13" fmla="*/ 211 h 335"/>
                <a:gd name="T14" fmla="*/ 312 w 343"/>
                <a:gd name="T15" fmla="*/ 226 h 335"/>
                <a:gd name="T16" fmla="*/ 254 w 343"/>
                <a:gd name="T17" fmla="*/ 249 h 335"/>
                <a:gd name="T18" fmla="*/ 209 w 343"/>
                <a:gd name="T19" fmla="*/ 236 h 335"/>
                <a:gd name="T20" fmla="*/ 226 w 343"/>
                <a:gd name="T21" fmla="*/ 281 h 335"/>
                <a:gd name="T22" fmla="*/ 242 w 343"/>
                <a:gd name="T23" fmla="*/ 288 h 335"/>
                <a:gd name="T24" fmla="*/ 234 w 343"/>
                <a:gd name="T25" fmla="*/ 304 h 335"/>
                <a:gd name="T26" fmla="*/ 187 w 343"/>
                <a:gd name="T27" fmla="*/ 335 h 335"/>
                <a:gd name="T28" fmla="*/ 156 w 343"/>
                <a:gd name="T29" fmla="*/ 335 h 335"/>
                <a:gd name="T30" fmla="*/ 156 w 343"/>
                <a:gd name="T31" fmla="*/ 319 h 335"/>
                <a:gd name="T32" fmla="*/ 125 w 343"/>
                <a:gd name="T33" fmla="*/ 273 h 335"/>
                <a:gd name="T34" fmla="*/ 140 w 343"/>
                <a:gd name="T35" fmla="*/ 273 h 335"/>
                <a:gd name="T36" fmla="*/ 125 w 343"/>
                <a:gd name="T37" fmla="*/ 226 h 335"/>
                <a:gd name="T38" fmla="*/ 140 w 343"/>
                <a:gd name="T39" fmla="*/ 180 h 335"/>
                <a:gd name="T40" fmla="*/ 94 w 343"/>
                <a:gd name="T41" fmla="*/ 180 h 335"/>
                <a:gd name="T42" fmla="*/ 78 w 343"/>
                <a:gd name="T43" fmla="*/ 164 h 335"/>
                <a:gd name="T44" fmla="*/ 31 w 343"/>
                <a:gd name="T45" fmla="*/ 149 h 335"/>
                <a:gd name="T46" fmla="*/ 16 w 343"/>
                <a:gd name="T47" fmla="*/ 149 h 335"/>
                <a:gd name="T48" fmla="*/ 16 w 343"/>
                <a:gd name="T49" fmla="*/ 133 h 335"/>
                <a:gd name="T50" fmla="*/ 0 w 343"/>
                <a:gd name="T51" fmla="*/ 87 h 335"/>
                <a:gd name="T52" fmla="*/ 16 w 343"/>
                <a:gd name="T53" fmla="*/ 40 h 335"/>
                <a:gd name="T54" fmla="*/ 31 w 343"/>
                <a:gd name="T55" fmla="*/ 25 h 335"/>
                <a:gd name="T56" fmla="*/ 38 w 343"/>
                <a:gd name="T57" fmla="*/ 48 h 335"/>
                <a:gd name="T58" fmla="*/ 26 w 343"/>
                <a:gd name="T59" fmla="*/ 68 h 335"/>
                <a:gd name="T60" fmla="*/ 34 w 343"/>
                <a:gd name="T61" fmla="*/ 90 h 335"/>
                <a:gd name="T62" fmla="*/ 47 w 343"/>
                <a:gd name="T63" fmla="*/ 87 h 335"/>
                <a:gd name="T64" fmla="*/ 47 w 343"/>
                <a:gd name="T65" fmla="*/ 40 h 335"/>
                <a:gd name="T66" fmla="*/ 78 w 343"/>
                <a:gd name="T67" fmla="*/ 25 h 335"/>
                <a:gd name="T68" fmla="*/ 74 w 343"/>
                <a:gd name="T69" fmla="*/ 0 h 335"/>
                <a:gd name="T70" fmla="*/ 82 w 343"/>
                <a:gd name="T71" fmla="*/ 0 h 335"/>
                <a:gd name="T72" fmla="*/ 89 w 343"/>
                <a:gd name="T73" fmla="*/ 15 h 335"/>
                <a:gd name="T74" fmla="*/ 109 w 343"/>
                <a:gd name="T75" fmla="*/ 23 h 335"/>
                <a:gd name="T76" fmla="*/ 122 w 343"/>
                <a:gd name="T77" fmla="*/ 32 h 335"/>
                <a:gd name="T78" fmla="*/ 125 w 343"/>
                <a:gd name="T79" fmla="*/ 47 h 335"/>
                <a:gd name="T80" fmla="*/ 139 w 343"/>
                <a:gd name="T81" fmla="*/ 51 h 335"/>
                <a:gd name="T82" fmla="*/ 161 w 343"/>
                <a:gd name="T83" fmla="*/ 50 h 335"/>
                <a:gd name="T84" fmla="*/ 173 w 343"/>
                <a:gd name="T85" fmla="*/ 45 h 335"/>
                <a:gd name="T86" fmla="*/ 211 w 343"/>
                <a:gd name="T87" fmla="*/ 63 h 335"/>
                <a:gd name="T88" fmla="*/ 227 w 343"/>
                <a:gd name="T89" fmla="*/ 53 h 335"/>
                <a:gd name="T90" fmla="*/ 248 w 343"/>
                <a:gd name="T91" fmla="*/ 45 h 335"/>
                <a:gd name="T92" fmla="*/ 271 w 343"/>
                <a:gd name="T93" fmla="*/ 44 h 335"/>
                <a:gd name="T94" fmla="*/ 266 w 343"/>
                <a:gd name="T95" fmla="*/ 60 h 335"/>
                <a:gd name="T96" fmla="*/ 281 w 343"/>
                <a:gd name="T97" fmla="*/ 71 h 335"/>
                <a:gd name="T98" fmla="*/ 296 w 343"/>
                <a:gd name="T99" fmla="*/ 72 h 335"/>
                <a:gd name="T100" fmla="*/ 316 w 343"/>
                <a:gd name="T101" fmla="*/ 83 h 335"/>
                <a:gd name="T102" fmla="*/ 305 w 343"/>
                <a:gd name="T103" fmla="*/ 108 h 335"/>
                <a:gd name="T104" fmla="*/ 334 w 343"/>
                <a:gd name="T105" fmla="*/ 104 h 335"/>
                <a:gd name="T106" fmla="*/ 343 w 343"/>
                <a:gd name="T107" fmla="*/ 11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3" h="335">
                  <a:moveTo>
                    <a:pt x="343" y="118"/>
                  </a:moveTo>
                  <a:lnTo>
                    <a:pt x="312" y="133"/>
                  </a:lnTo>
                  <a:lnTo>
                    <a:pt x="312" y="149"/>
                  </a:lnTo>
                  <a:lnTo>
                    <a:pt x="327" y="164"/>
                  </a:lnTo>
                  <a:lnTo>
                    <a:pt x="312" y="164"/>
                  </a:lnTo>
                  <a:lnTo>
                    <a:pt x="296" y="195"/>
                  </a:lnTo>
                  <a:lnTo>
                    <a:pt x="312" y="211"/>
                  </a:lnTo>
                  <a:lnTo>
                    <a:pt x="312" y="226"/>
                  </a:lnTo>
                  <a:lnTo>
                    <a:pt x="254" y="249"/>
                  </a:lnTo>
                  <a:lnTo>
                    <a:pt x="209" y="236"/>
                  </a:lnTo>
                  <a:lnTo>
                    <a:pt x="226" y="281"/>
                  </a:lnTo>
                  <a:lnTo>
                    <a:pt x="242" y="288"/>
                  </a:lnTo>
                  <a:lnTo>
                    <a:pt x="234" y="304"/>
                  </a:lnTo>
                  <a:lnTo>
                    <a:pt x="187" y="335"/>
                  </a:lnTo>
                  <a:lnTo>
                    <a:pt x="156" y="335"/>
                  </a:lnTo>
                  <a:lnTo>
                    <a:pt x="156" y="319"/>
                  </a:lnTo>
                  <a:lnTo>
                    <a:pt x="125" y="273"/>
                  </a:lnTo>
                  <a:lnTo>
                    <a:pt x="140" y="273"/>
                  </a:lnTo>
                  <a:lnTo>
                    <a:pt x="125" y="226"/>
                  </a:lnTo>
                  <a:lnTo>
                    <a:pt x="140" y="180"/>
                  </a:lnTo>
                  <a:lnTo>
                    <a:pt x="94" y="180"/>
                  </a:lnTo>
                  <a:lnTo>
                    <a:pt x="78" y="164"/>
                  </a:lnTo>
                  <a:lnTo>
                    <a:pt x="31" y="149"/>
                  </a:lnTo>
                  <a:lnTo>
                    <a:pt x="16" y="149"/>
                  </a:lnTo>
                  <a:lnTo>
                    <a:pt x="16" y="133"/>
                  </a:lnTo>
                  <a:lnTo>
                    <a:pt x="0" y="87"/>
                  </a:lnTo>
                  <a:lnTo>
                    <a:pt x="16" y="40"/>
                  </a:lnTo>
                  <a:lnTo>
                    <a:pt x="31" y="25"/>
                  </a:lnTo>
                  <a:lnTo>
                    <a:pt x="38" y="48"/>
                  </a:lnTo>
                  <a:lnTo>
                    <a:pt x="26" y="68"/>
                  </a:lnTo>
                  <a:lnTo>
                    <a:pt x="34" y="90"/>
                  </a:lnTo>
                  <a:lnTo>
                    <a:pt x="47" y="87"/>
                  </a:lnTo>
                  <a:lnTo>
                    <a:pt x="47" y="40"/>
                  </a:lnTo>
                  <a:lnTo>
                    <a:pt x="78" y="25"/>
                  </a:lnTo>
                  <a:lnTo>
                    <a:pt x="74" y="0"/>
                  </a:lnTo>
                  <a:lnTo>
                    <a:pt x="82" y="0"/>
                  </a:lnTo>
                  <a:lnTo>
                    <a:pt x="89" y="15"/>
                  </a:lnTo>
                  <a:lnTo>
                    <a:pt x="109" y="23"/>
                  </a:lnTo>
                  <a:lnTo>
                    <a:pt x="122" y="32"/>
                  </a:lnTo>
                  <a:lnTo>
                    <a:pt x="125" y="47"/>
                  </a:lnTo>
                  <a:lnTo>
                    <a:pt x="139" y="51"/>
                  </a:lnTo>
                  <a:lnTo>
                    <a:pt x="161" y="50"/>
                  </a:lnTo>
                  <a:lnTo>
                    <a:pt x="173" y="45"/>
                  </a:lnTo>
                  <a:lnTo>
                    <a:pt x="211" y="63"/>
                  </a:lnTo>
                  <a:lnTo>
                    <a:pt x="227" y="53"/>
                  </a:lnTo>
                  <a:lnTo>
                    <a:pt x="248" y="45"/>
                  </a:lnTo>
                  <a:lnTo>
                    <a:pt x="271" y="44"/>
                  </a:lnTo>
                  <a:lnTo>
                    <a:pt x="266" y="60"/>
                  </a:lnTo>
                  <a:lnTo>
                    <a:pt x="281" y="71"/>
                  </a:lnTo>
                  <a:lnTo>
                    <a:pt x="296" y="72"/>
                  </a:lnTo>
                  <a:lnTo>
                    <a:pt x="316" y="83"/>
                  </a:lnTo>
                  <a:lnTo>
                    <a:pt x="305" y="108"/>
                  </a:lnTo>
                  <a:lnTo>
                    <a:pt x="334" y="104"/>
                  </a:lnTo>
                  <a:lnTo>
                    <a:pt x="343" y="118"/>
                  </a:lnTo>
                  <a:close/>
                </a:path>
              </a:pathLst>
            </a:custGeom>
            <a:solidFill>
              <a:srgbClr val="E5E6E7"/>
            </a:solidFill>
            <a:ln w="3175" cmpd="sng">
              <a:solidFill>
                <a:schemeClr val="bg1"/>
              </a:solidFill>
              <a:prstDash val="solid"/>
              <a:round/>
              <a:headEnd/>
              <a:tailEnd/>
            </a:ln>
          </p:spPr>
          <p:txBody>
            <a:bodyPr/>
            <a:lstStyle/>
            <a:p>
              <a:endParaRPr lang="de-DE" sz="1286"/>
            </a:p>
          </p:txBody>
        </p:sp>
        <p:sp>
          <p:nvSpPr>
            <p:cNvPr id="237" name="Freeform 270">
              <a:extLst>
                <a:ext uri="{FF2B5EF4-FFF2-40B4-BE49-F238E27FC236}">
                  <a16:creationId xmlns:a16="http://schemas.microsoft.com/office/drawing/2014/main" id="{C062EA06-1DB8-0549-A793-A2B025D777CB}"/>
                </a:ext>
              </a:extLst>
            </p:cNvPr>
            <p:cNvSpPr>
              <a:spLocks/>
            </p:cNvSpPr>
            <p:nvPr/>
          </p:nvSpPr>
          <p:spPr bwMode="auto">
            <a:xfrm>
              <a:off x="1984" y="2723"/>
              <a:ext cx="41" cy="79"/>
            </a:xfrm>
            <a:custGeom>
              <a:avLst/>
              <a:gdLst>
                <a:gd name="T0" fmla="*/ 62 w 62"/>
                <a:gd name="T1" fmla="*/ 56 h 118"/>
                <a:gd name="T2" fmla="*/ 34 w 62"/>
                <a:gd name="T3" fmla="*/ 108 h 118"/>
                <a:gd name="T4" fmla="*/ 14 w 62"/>
                <a:gd name="T5" fmla="*/ 105 h 118"/>
                <a:gd name="T6" fmla="*/ 0 w 62"/>
                <a:gd name="T7" fmla="*/ 118 h 118"/>
                <a:gd name="T8" fmla="*/ 0 w 62"/>
                <a:gd name="T9" fmla="*/ 71 h 118"/>
                <a:gd name="T10" fmla="*/ 0 w 62"/>
                <a:gd name="T11" fmla="*/ 40 h 118"/>
                <a:gd name="T12" fmla="*/ 1 w 62"/>
                <a:gd name="T13" fmla="*/ 0 h 118"/>
                <a:gd name="T14" fmla="*/ 26 w 62"/>
                <a:gd name="T15" fmla="*/ 8 h 118"/>
                <a:gd name="T16" fmla="*/ 49 w 62"/>
                <a:gd name="T17" fmla="*/ 23 h 118"/>
                <a:gd name="T18" fmla="*/ 62 w 62"/>
                <a:gd name="T19" fmla="*/ 5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118">
                  <a:moveTo>
                    <a:pt x="62" y="56"/>
                  </a:moveTo>
                  <a:lnTo>
                    <a:pt x="34" y="108"/>
                  </a:lnTo>
                  <a:lnTo>
                    <a:pt x="14" y="105"/>
                  </a:lnTo>
                  <a:lnTo>
                    <a:pt x="0" y="118"/>
                  </a:lnTo>
                  <a:lnTo>
                    <a:pt x="0" y="71"/>
                  </a:lnTo>
                  <a:lnTo>
                    <a:pt x="0" y="40"/>
                  </a:lnTo>
                  <a:lnTo>
                    <a:pt x="1" y="0"/>
                  </a:lnTo>
                  <a:lnTo>
                    <a:pt x="26" y="8"/>
                  </a:lnTo>
                  <a:lnTo>
                    <a:pt x="49" y="23"/>
                  </a:lnTo>
                  <a:lnTo>
                    <a:pt x="62" y="56"/>
                  </a:lnTo>
                  <a:close/>
                </a:path>
              </a:pathLst>
            </a:custGeom>
            <a:solidFill>
              <a:srgbClr val="E5E6E7"/>
            </a:solidFill>
            <a:ln w="3175" cmpd="sng">
              <a:solidFill>
                <a:schemeClr val="bg1"/>
              </a:solidFill>
              <a:prstDash val="solid"/>
              <a:round/>
              <a:headEnd/>
              <a:tailEnd/>
            </a:ln>
          </p:spPr>
          <p:txBody>
            <a:bodyPr/>
            <a:lstStyle/>
            <a:p>
              <a:endParaRPr lang="de-DE" sz="1286"/>
            </a:p>
          </p:txBody>
        </p:sp>
        <p:sp>
          <p:nvSpPr>
            <p:cNvPr id="238" name="Freeform 271">
              <a:extLst>
                <a:ext uri="{FF2B5EF4-FFF2-40B4-BE49-F238E27FC236}">
                  <a16:creationId xmlns:a16="http://schemas.microsoft.com/office/drawing/2014/main" id="{A4E1CF38-150F-C049-A71A-F2BEB609914A}"/>
                </a:ext>
              </a:extLst>
            </p:cNvPr>
            <p:cNvSpPr>
              <a:spLocks/>
            </p:cNvSpPr>
            <p:nvPr/>
          </p:nvSpPr>
          <p:spPr bwMode="auto">
            <a:xfrm>
              <a:off x="1922" y="2721"/>
              <a:ext cx="62" cy="81"/>
            </a:xfrm>
            <a:custGeom>
              <a:avLst/>
              <a:gdLst>
                <a:gd name="T0" fmla="*/ 92 w 93"/>
                <a:gd name="T1" fmla="*/ 3 h 122"/>
                <a:gd name="T2" fmla="*/ 64 w 93"/>
                <a:gd name="T3" fmla="*/ 0 h 122"/>
                <a:gd name="T4" fmla="*/ 19 w 93"/>
                <a:gd name="T5" fmla="*/ 1 h 122"/>
                <a:gd name="T6" fmla="*/ 2 w 93"/>
                <a:gd name="T7" fmla="*/ 28 h 122"/>
                <a:gd name="T8" fmla="*/ 0 w 93"/>
                <a:gd name="T9" fmla="*/ 60 h 122"/>
                <a:gd name="T10" fmla="*/ 31 w 93"/>
                <a:gd name="T11" fmla="*/ 122 h 122"/>
                <a:gd name="T12" fmla="*/ 47 w 93"/>
                <a:gd name="T13" fmla="*/ 122 h 122"/>
                <a:gd name="T14" fmla="*/ 47 w 93"/>
                <a:gd name="T15" fmla="*/ 106 h 122"/>
                <a:gd name="T16" fmla="*/ 74 w 93"/>
                <a:gd name="T17" fmla="*/ 103 h 122"/>
                <a:gd name="T18" fmla="*/ 93 w 93"/>
                <a:gd name="T19" fmla="*/ 122 h 122"/>
                <a:gd name="T20" fmla="*/ 93 w 93"/>
                <a:gd name="T21" fmla="*/ 75 h 122"/>
                <a:gd name="T22" fmla="*/ 93 w 93"/>
                <a:gd name="T23" fmla="*/ 44 h 122"/>
                <a:gd name="T24" fmla="*/ 92 w 93"/>
                <a:gd name="T25"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2">
                  <a:moveTo>
                    <a:pt x="92" y="3"/>
                  </a:moveTo>
                  <a:lnTo>
                    <a:pt x="64" y="0"/>
                  </a:lnTo>
                  <a:lnTo>
                    <a:pt x="19" y="1"/>
                  </a:lnTo>
                  <a:lnTo>
                    <a:pt x="2" y="28"/>
                  </a:lnTo>
                  <a:lnTo>
                    <a:pt x="0" y="60"/>
                  </a:lnTo>
                  <a:lnTo>
                    <a:pt x="31" y="122"/>
                  </a:lnTo>
                  <a:lnTo>
                    <a:pt x="47" y="122"/>
                  </a:lnTo>
                  <a:lnTo>
                    <a:pt x="47" y="106"/>
                  </a:lnTo>
                  <a:lnTo>
                    <a:pt x="74" y="103"/>
                  </a:lnTo>
                  <a:lnTo>
                    <a:pt x="93" y="122"/>
                  </a:lnTo>
                  <a:lnTo>
                    <a:pt x="93" y="75"/>
                  </a:lnTo>
                  <a:lnTo>
                    <a:pt x="93" y="44"/>
                  </a:lnTo>
                  <a:lnTo>
                    <a:pt x="92" y="3"/>
                  </a:lnTo>
                  <a:close/>
                </a:path>
              </a:pathLst>
            </a:custGeom>
            <a:solidFill>
              <a:srgbClr val="E5E6E7"/>
            </a:solidFill>
            <a:ln w="3175" cmpd="sng">
              <a:solidFill>
                <a:schemeClr val="bg1"/>
              </a:solidFill>
              <a:prstDash val="solid"/>
              <a:round/>
              <a:headEnd/>
              <a:tailEnd/>
            </a:ln>
          </p:spPr>
          <p:txBody>
            <a:bodyPr/>
            <a:lstStyle/>
            <a:p>
              <a:endParaRPr lang="de-DE" sz="1286"/>
            </a:p>
          </p:txBody>
        </p:sp>
        <p:sp>
          <p:nvSpPr>
            <p:cNvPr id="239" name="Freeform 272">
              <a:extLst>
                <a:ext uri="{FF2B5EF4-FFF2-40B4-BE49-F238E27FC236}">
                  <a16:creationId xmlns:a16="http://schemas.microsoft.com/office/drawing/2014/main" id="{17196DCE-070A-F540-8100-1FD63F4B81BA}"/>
                </a:ext>
              </a:extLst>
            </p:cNvPr>
            <p:cNvSpPr>
              <a:spLocks/>
            </p:cNvSpPr>
            <p:nvPr/>
          </p:nvSpPr>
          <p:spPr bwMode="auto">
            <a:xfrm>
              <a:off x="1727" y="3182"/>
              <a:ext cx="195" cy="706"/>
            </a:xfrm>
            <a:custGeom>
              <a:avLst/>
              <a:gdLst>
                <a:gd name="T0" fmla="*/ 2 w 295"/>
                <a:gd name="T1" fmla="*/ 23 h 1066"/>
                <a:gd name="T2" fmla="*/ 45 w 295"/>
                <a:gd name="T3" fmla="*/ 46 h 1066"/>
                <a:gd name="T4" fmla="*/ 77 w 295"/>
                <a:gd name="T5" fmla="*/ 155 h 1066"/>
                <a:gd name="T6" fmla="*/ 92 w 295"/>
                <a:gd name="T7" fmla="*/ 186 h 1066"/>
                <a:gd name="T8" fmla="*/ 77 w 295"/>
                <a:gd name="T9" fmla="*/ 263 h 1066"/>
                <a:gd name="T10" fmla="*/ 54 w 295"/>
                <a:gd name="T11" fmla="*/ 418 h 1066"/>
                <a:gd name="T12" fmla="*/ 77 w 295"/>
                <a:gd name="T13" fmla="*/ 527 h 1066"/>
                <a:gd name="T14" fmla="*/ 77 w 295"/>
                <a:gd name="T15" fmla="*/ 573 h 1066"/>
                <a:gd name="T16" fmla="*/ 93 w 295"/>
                <a:gd name="T17" fmla="*/ 643 h 1066"/>
                <a:gd name="T18" fmla="*/ 123 w 295"/>
                <a:gd name="T19" fmla="*/ 712 h 1066"/>
                <a:gd name="T20" fmla="*/ 139 w 295"/>
                <a:gd name="T21" fmla="*/ 790 h 1066"/>
                <a:gd name="T22" fmla="*/ 155 w 295"/>
                <a:gd name="T23" fmla="*/ 790 h 1066"/>
                <a:gd name="T24" fmla="*/ 170 w 295"/>
                <a:gd name="T25" fmla="*/ 945 h 1066"/>
                <a:gd name="T26" fmla="*/ 206 w 295"/>
                <a:gd name="T27" fmla="*/ 976 h 1066"/>
                <a:gd name="T28" fmla="*/ 295 w 295"/>
                <a:gd name="T29" fmla="*/ 1007 h 1066"/>
                <a:gd name="T30" fmla="*/ 279 w 295"/>
                <a:gd name="T31" fmla="*/ 1022 h 1066"/>
                <a:gd name="T32" fmla="*/ 279 w 295"/>
                <a:gd name="T33" fmla="*/ 1053 h 1066"/>
                <a:gd name="T34" fmla="*/ 242 w 295"/>
                <a:gd name="T35" fmla="*/ 1054 h 1066"/>
                <a:gd name="T36" fmla="*/ 264 w 295"/>
                <a:gd name="T37" fmla="*/ 1022 h 1066"/>
                <a:gd name="T38" fmla="*/ 225 w 295"/>
                <a:gd name="T39" fmla="*/ 1027 h 1066"/>
                <a:gd name="T40" fmla="*/ 204 w 295"/>
                <a:gd name="T41" fmla="*/ 1004 h 1066"/>
                <a:gd name="T42" fmla="*/ 170 w 295"/>
                <a:gd name="T43" fmla="*/ 1007 h 1066"/>
                <a:gd name="T44" fmla="*/ 170 w 295"/>
                <a:gd name="T45" fmla="*/ 976 h 1066"/>
                <a:gd name="T46" fmla="*/ 155 w 295"/>
                <a:gd name="T47" fmla="*/ 991 h 1066"/>
                <a:gd name="T48" fmla="*/ 147 w 295"/>
                <a:gd name="T49" fmla="*/ 964 h 1066"/>
                <a:gd name="T50" fmla="*/ 139 w 295"/>
                <a:gd name="T51" fmla="*/ 945 h 1066"/>
                <a:gd name="T52" fmla="*/ 108 w 295"/>
                <a:gd name="T53" fmla="*/ 926 h 1066"/>
                <a:gd name="T54" fmla="*/ 108 w 295"/>
                <a:gd name="T55" fmla="*/ 883 h 1066"/>
                <a:gd name="T56" fmla="*/ 119 w 295"/>
                <a:gd name="T57" fmla="*/ 874 h 1066"/>
                <a:gd name="T58" fmla="*/ 92 w 295"/>
                <a:gd name="T59" fmla="*/ 862 h 1066"/>
                <a:gd name="T60" fmla="*/ 92 w 295"/>
                <a:gd name="T61" fmla="*/ 836 h 1066"/>
                <a:gd name="T62" fmla="*/ 77 w 295"/>
                <a:gd name="T63" fmla="*/ 774 h 1066"/>
                <a:gd name="T64" fmla="*/ 95 w 295"/>
                <a:gd name="T65" fmla="*/ 793 h 1066"/>
                <a:gd name="T66" fmla="*/ 110 w 295"/>
                <a:gd name="T67" fmla="*/ 820 h 1066"/>
                <a:gd name="T68" fmla="*/ 92 w 295"/>
                <a:gd name="T69" fmla="*/ 712 h 1066"/>
                <a:gd name="T70" fmla="*/ 77 w 295"/>
                <a:gd name="T71" fmla="*/ 712 h 1066"/>
                <a:gd name="T72" fmla="*/ 51 w 295"/>
                <a:gd name="T73" fmla="*/ 664 h 1066"/>
                <a:gd name="T74" fmla="*/ 30 w 295"/>
                <a:gd name="T75" fmla="*/ 588 h 1066"/>
                <a:gd name="T76" fmla="*/ 41 w 295"/>
                <a:gd name="T77" fmla="*/ 545 h 1066"/>
                <a:gd name="T78" fmla="*/ 39 w 295"/>
                <a:gd name="T79" fmla="*/ 445 h 1066"/>
                <a:gd name="T80" fmla="*/ 24 w 295"/>
                <a:gd name="T81" fmla="*/ 370 h 1066"/>
                <a:gd name="T82" fmla="*/ 20 w 295"/>
                <a:gd name="T83" fmla="*/ 295 h 1066"/>
                <a:gd name="T84" fmla="*/ 17 w 295"/>
                <a:gd name="T85" fmla="*/ 214 h 1066"/>
                <a:gd name="T86" fmla="*/ 14 w 295"/>
                <a:gd name="T87" fmla="*/ 124 h 1066"/>
                <a:gd name="T88" fmla="*/ 0 w 295"/>
                <a:gd name="T89" fmla="*/ 44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1066">
                  <a:moveTo>
                    <a:pt x="0" y="44"/>
                  </a:moveTo>
                  <a:lnTo>
                    <a:pt x="2" y="23"/>
                  </a:lnTo>
                  <a:lnTo>
                    <a:pt x="14" y="0"/>
                  </a:lnTo>
                  <a:lnTo>
                    <a:pt x="45" y="46"/>
                  </a:lnTo>
                  <a:lnTo>
                    <a:pt x="45" y="77"/>
                  </a:lnTo>
                  <a:lnTo>
                    <a:pt x="77" y="155"/>
                  </a:lnTo>
                  <a:lnTo>
                    <a:pt x="92" y="155"/>
                  </a:lnTo>
                  <a:lnTo>
                    <a:pt x="92" y="186"/>
                  </a:lnTo>
                  <a:lnTo>
                    <a:pt x="61" y="201"/>
                  </a:lnTo>
                  <a:lnTo>
                    <a:pt x="77" y="263"/>
                  </a:lnTo>
                  <a:lnTo>
                    <a:pt x="61" y="310"/>
                  </a:lnTo>
                  <a:lnTo>
                    <a:pt x="54" y="418"/>
                  </a:lnTo>
                  <a:lnTo>
                    <a:pt x="92" y="480"/>
                  </a:lnTo>
                  <a:lnTo>
                    <a:pt x="77" y="527"/>
                  </a:lnTo>
                  <a:lnTo>
                    <a:pt x="92" y="542"/>
                  </a:lnTo>
                  <a:lnTo>
                    <a:pt x="77" y="573"/>
                  </a:lnTo>
                  <a:lnTo>
                    <a:pt x="108" y="619"/>
                  </a:lnTo>
                  <a:lnTo>
                    <a:pt x="93" y="643"/>
                  </a:lnTo>
                  <a:lnTo>
                    <a:pt x="108" y="697"/>
                  </a:lnTo>
                  <a:lnTo>
                    <a:pt x="123" y="712"/>
                  </a:lnTo>
                  <a:lnTo>
                    <a:pt x="123" y="743"/>
                  </a:lnTo>
                  <a:lnTo>
                    <a:pt x="139" y="790"/>
                  </a:lnTo>
                  <a:lnTo>
                    <a:pt x="155" y="805"/>
                  </a:lnTo>
                  <a:lnTo>
                    <a:pt x="155" y="790"/>
                  </a:lnTo>
                  <a:lnTo>
                    <a:pt x="170" y="852"/>
                  </a:lnTo>
                  <a:lnTo>
                    <a:pt x="170" y="945"/>
                  </a:lnTo>
                  <a:lnTo>
                    <a:pt x="188" y="974"/>
                  </a:lnTo>
                  <a:lnTo>
                    <a:pt x="206" y="976"/>
                  </a:lnTo>
                  <a:lnTo>
                    <a:pt x="233" y="1007"/>
                  </a:lnTo>
                  <a:lnTo>
                    <a:pt x="295" y="1007"/>
                  </a:lnTo>
                  <a:lnTo>
                    <a:pt x="295" y="1022"/>
                  </a:lnTo>
                  <a:lnTo>
                    <a:pt x="279" y="1022"/>
                  </a:lnTo>
                  <a:lnTo>
                    <a:pt x="272" y="1034"/>
                  </a:lnTo>
                  <a:lnTo>
                    <a:pt x="279" y="1053"/>
                  </a:lnTo>
                  <a:lnTo>
                    <a:pt x="248" y="1066"/>
                  </a:lnTo>
                  <a:lnTo>
                    <a:pt x="242" y="1054"/>
                  </a:lnTo>
                  <a:lnTo>
                    <a:pt x="264" y="1038"/>
                  </a:lnTo>
                  <a:lnTo>
                    <a:pt x="264" y="1022"/>
                  </a:lnTo>
                  <a:lnTo>
                    <a:pt x="228" y="1054"/>
                  </a:lnTo>
                  <a:lnTo>
                    <a:pt x="225" y="1027"/>
                  </a:lnTo>
                  <a:lnTo>
                    <a:pt x="206" y="1024"/>
                  </a:lnTo>
                  <a:lnTo>
                    <a:pt x="204" y="1004"/>
                  </a:lnTo>
                  <a:lnTo>
                    <a:pt x="185" y="1012"/>
                  </a:lnTo>
                  <a:lnTo>
                    <a:pt x="170" y="1007"/>
                  </a:lnTo>
                  <a:lnTo>
                    <a:pt x="186" y="991"/>
                  </a:lnTo>
                  <a:lnTo>
                    <a:pt x="170" y="976"/>
                  </a:lnTo>
                  <a:lnTo>
                    <a:pt x="165" y="982"/>
                  </a:lnTo>
                  <a:lnTo>
                    <a:pt x="155" y="991"/>
                  </a:lnTo>
                  <a:lnTo>
                    <a:pt x="155" y="960"/>
                  </a:lnTo>
                  <a:lnTo>
                    <a:pt x="147" y="964"/>
                  </a:lnTo>
                  <a:lnTo>
                    <a:pt x="139" y="960"/>
                  </a:lnTo>
                  <a:lnTo>
                    <a:pt x="139" y="945"/>
                  </a:lnTo>
                  <a:lnTo>
                    <a:pt x="123" y="945"/>
                  </a:lnTo>
                  <a:lnTo>
                    <a:pt x="108" y="926"/>
                  </a:lnTo>
                  <a:lnTo>
                    <a:pt x="108" y="898"/>
                  </a:lnTo>
                  <a:lnTo>
                    <a:pt x="108" y="883"/>
                  </a:lnTo>
                  <a:lnTo>
                    <a:pt x="123" y="898"/>
                  </a:lnTo>
                  <a:lnTo>
                    <a:pt x="119" y="874"/>
                  </a:lnTo>
                  <a:lnTo>
                    <a:pt x="108" y="865"/>
                  </a:lnTo>
                  <a:lnTo>
                    <a:pt x="92" y="862"/>
                  </a:lnTo>
                  <a:lnTo>
                    <a:pt x="77" y="852"/>
                  </a:lnTo>
                  <a:lnTo>
                    <a:pt x="92" y="836"/>
                  </a:lnTo>
                  <a:lnTo>
                    <a:pt x="92" y="821"/>
                  </a:lnTo>
                  <a:lnTo>
                    <a:pt x="77" y="774"/>
                  </a:lnTo>
                  <a:lnTo>
                    <a:pt x="92" y="774"/>
                  </a:lnTo>
                  <a:lnTo>
                    <a:pt x="95" y="793"/>
                  </a:lnTo>
                  <a:lnTo>
                    <a:pt x="108" y="805"/>
                  </a:lnTo>
                  <a:lnTo>
                    <a:pt x="110" y="820"/>
                  </a:lnTo>
                  <a:lnTo>
                    <a:pt x="108" y="774"/>
                  </a:lnTo>
                  <a:lnTo>
                    <a:pt x="92" y="712"/>
                  </a:lnTo>
                  <a:lnTo>
                    <a:pt x="77" y="697"/>
                  </a:lnTo>
                  <a:lnTo>
                    <a:pt x="77" y="712"/>
                  </a:lnTo>
                  <a:lnTo>
                    <a:pt x="53" y="697"/>
                  </a:lnTo>
                  <a:lnTo>
                    <a:pt x="51" y="664"/>
                  </a:lnTo>
                  <a:lnTo>
                    <a:pt x="61" y="650"/>
                  </a:lnTo>
                  <a:lnTo>
                    <a:pt x="30" y="588"/>
                  </a:lnTo>
                  <a:lnTo>
                    <a:pt x="30" y="573"/>
                  </a:lnTo>
                  <a:lnTo>
                    <a:pt x="41" y="545"/>
                  </a:lnTo>
                  <a:lnTo>
                    <a:pt x="42" y="484"/>
                  </a:lnTo>
                  <a:lnTo>
                    <a:pt x="39" y="445"/>
                  </a:lnTo>
                  <a:lnTo>
                    <a:pt x="21" y="394"/>
                  </a:lnTo>
                  <a:lnTo>
                    <a:pt x="24" y="370"/>
                  </a:lnTo>
                  <a:lnTo>
                    <a:pt x="14" y="341"/>
                  </a:lnTo>
                  <a:lnTo>
                    <a:pt x="20" y="295"/>
                  </a:lnTo>
                  <a:lnTo>
                    <a:pt x="17" y="247"/>
                  </a:lnTo>
                  <a:lnTo>
                    <a:pt x="17" y="214"/>
                  </a:lnTo>
                  <a:lnTo>
                    <a:pt x="14" y="155"/>
                  </a:lnTo>
                  <a:lnTo>
                    <a:pt x="14" y="124"/>
                  </a:lnTo>
                  <a:lnTo>
                    <a:pt x="8" y="80"/>
                  </a:lnTo>
                  <a:lnTo>
                    <a:pt x="0" y="44"/>
                  </a:lnTo>
                  <a:close/>
                </a:path>
              </a:pathLst>
            </a:custGeom>
            <a:solidFill>
              <a:schemeClr val="accent4">
                <a:lumMod val="40000"/>
                <a:lumOff val="60000"/>
              </a:schemeClr>
            </a:solidFill>
            <a:ln w="3175" cmpd="sng">
              <a:solidFill>
                <a:schemeClr val="bg1"/>
              </a:solidFill>
              <a:prstDash val="solid"/>
              <a:round/>
              <a:headEnd/>
              <a:tailEnd/>
            </a:ln>
          </p:spPr>
          <p:txBody>
            <a:bodyPr/>
            <a:lstStyle/>
            <a:p>
              <a:endParaRPr lang="de-DE" sz="1286"/>
            </a:p>
          </p:txBody>
        </p:sp>
        <p:sp>
          <p:nvSpPr>
            <p:cNvPr id="240" name="Freeform 273">
              <a:extLst>
                <a:ext uri="{FF2B5EF4-FFF2-40B4-BE49-F238E27FC236}">
                  <a16:creationId xmlns:a16="http://schemas.microsoft.com/office/drawing/2014/main" id="{054381EB-C66C-714D-ABC1-F4EE4D38090C}"/>
                </a:ext>
              </a:extLst>
            </p:cNvPr>
            <p:cNvSpPr>
              <a:spLocks/>
            </p:cNvSpPr>
            <p:nvPr/>
          </p:nvSpPr>
          <p:spPr bwMode="auto">
            <a:xfrm>
              <a:off x="1725" y="3027"/>
              <a:ext cx="218" cy="263"/>
            </a:xfrm>
            <a:custGeom>
              <a:avLst/>
              <a:gdLst>
                <a:gd name="T0" fmla="*/ 0 w 328"/>
                <a:gd name="T1" fmla="*/ 31 h 397"/>
                <a:gd name="T2" fmla="*/ 31 w 328"/>
                <a:gd name="T3" fmla="*/ 47 h 397"/>
                <a:gd name="T4" fmla="*/ 61 w 328"/>
                <a:gd name="T5" fmla="*/ 19 h 397"/>
                <a:gd name="T6" fmla="*/ 109 w 328"/>
                <a:gd name="T7" fmla="*/ 0 h 397"/>
                <a:gd name="T8" fmla="*/ 109 w 328"/>
                <a:gd name="T9" fmla="*/ 47 h 397"/>
                <a:gd name="T10" fmla="*/ 125 w 328"/>
                <a:gd name="T11" fmla="*/ 78 h 397"/>
                <a:gd name="T12" fmla="*/ 234 w 328"/>
                <a:gd name="T13" fmla="*/ 124 h 397"/>
                <a:gd name="T14" fmla="*/ 250 w 328"/>
                <a:gd name="T15" fmla="*/ 155 h 397"/>
                <a:gd name="T16" fmla="*/ 250 w 328"/>
                <a:gd name="T17" fmla="*/ 171 h 397"/>
                <a:gd name="T18" fmla="*/ 250 w 328"/>
                <a:gd name="T19" fmla="*/ 186 h 397"/>
                <a:gd name="T20" fmla="*/ 297 w 328"/>
                <a:gd name="T21" fmla="*/ 202 h 397"/>
                <a:gd name="T22" fmla="*/ 297 w 328"/>
                <a:gd name="T23" fmla="*/ 217 h 397"/>
                <a:gd name="T24" fmla="*/ 328 w 328"/>
                <a:gd name="T25" fmla="*/ 248 h 397"/>
                <a:gd name="T26" fmla="*/ 319 w 328"/>
                <a:gd name="T27" fmla="*/ 300 h 397"/>
                <a:gd name="T28" fmla="*/ 295 w 328"/>
                <a:gd name="T29" fmla="*/ 289 h 397"/>
                <a:gd name="T30" fmla="*/ 254 w 328"/>
                <a:gd name="T31" fmla="*/ 288 h 397"/>
                <a:gd name="T32" fmla="*/ 223 w 328"/>
                <a:gd name="T33" fmla="*/ 300 h 397"/>
                <a:gd name="T34" fmla="*/ 203 w 328"/>
                <a:gd name="T35" fmla="*/ 372 h 397"/>
                <a:gd name="T36" fmla="*/ 172 w 328"/>
                <a:gd name="T37" fmla="*/ 372 h 397"/>
                <a:gd name="T38" fmla="*/ 169 w 328"/>
                <a:gd name="T39" fmla="*/ 397 h 397"/>
                <a:gd name="T40" fmla="*/ 164 w 328"/>
                <a:gd name="T41" fmla="*/ 373 h 397"/>
                <a:gd name="T42" fmla="*/ 139 w 328"/>
                <a:gd name="T43" fmla="*/ 370 h 397"/>
                <a:gd name="T44" fmla="*/ 125 w 328"/>
                <a:gd name="T45" fmla="*/ 357 h 397"/>
                <a:gd name="T46" fmla="*/ 94 w 328"/>
                <a:gd name="T47" fmla="*/ 388 h 397"/>
                <a:gd name="T48" fmla="*/ 78 w 328"/>
                <a:gd name="T49" fmla="*/ 388 h 397"/>
                <a:gd name="T50" fmla="*/ 47 w 328"/>
                <a:gd name="T51" fmla="*/ 310 h 397"/>
                <a:gd name="T52" fmla="*/ 47 w 328"/>
                <a:gd name="T53" fmla="*/ 279 h 397"/>
                <a:gd name="T54" fmla="*/ 16 w 328"/>
                <a:gd name="T55" fmla="*/ 233 h 397"/>
                <a:gd name="T56" fmla="*/ 31 w 328"/>
                <a:gd name="T57" fmla="*/ 202 h 397"/>
                <a:gd name="T58" fmla="*/ 16 w 328"/>
                <a:gd name="T59" fmla="*/ 186 h 397"/>
                <a:gd name="T60" fmla="*/ 16 w 328"/>
                <a:gd name="T61" fmla="*/ 78 h 397"/>
                <a:gd name="T62" fmla="*/ 0 w 328"/>
                <a:gd name="T63" fmla="*/ 31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97">
                  <a:moveTo>
                    <a:pt x="0" y="31"/>
                  </a:moveTo>
                  <a:lnTo>
                    <a:pt x="31" y="47"/>
                  </a:lnTo>
                  <a:lnTo>
                    <a:pt x="61" y="19"/>
                  </a:lnTo>
                  <a:lnTo>
                    <a:pt x="109" y="0"/>
                  </a:lnTo>
                  <a:lnTo>
                    <a:pt x="109" y="47"/>
                  </a:lnTo>
                  <a:lnTo>
                    <a:pt x="125" y="78"/>
                  </a:lnTo>
                  <a:lnTo>
                    <a:pt x="234" y="124"/>
                  </a:lnTo>
                  <a:lnTo>
                    <a:pt x="250" y="155"/>
                  </a:lnTo>
                  <a:lnTo>
                    <a:pt x="250" y="171"/>
                  </a:lnTo>
                  <a:lnTo>
                    <a:pt x="250" y="186"/>
                  </a:lnTo>
                  <a:lnTo>
                    <a:pt x="297" y="202"/>
                  </a:lnTo>
                  <a:lnTo>
                    <a:pt x="297" y="217"/>
                  </a:lnTo>
                  <a:lnTo>
                    <a:pt x="328" y="248"/>
                  </a:lnTo>
                  <a:lnTo>
                    <a:pt x="319" y="300"/>
                  </a:lnTo>
                  <a:lnTo>
                    <a:pt x="295" y="289"/>
                  </a:lnTo>
                  <a:lnTo>
                    <a:pt x="254" y="288"/>
                  </a:lnTo>
                  <a:lnTo>
                    <a:pt x="223" y="300"/>
                  </a:lnTo>
                  <a:lnTo>
                    <a:pt x="203" y="372"/>
                  </a:lnTo>
                  <a:lnTo>
                    <a:pt x="172" y="372"/>
                  </a:lnTo>
                  <a:lnTo>
                    <a:pt x="169" y="397"/>
                  </a:lnTo>
                  <a:lnTo>
                    <a:pt x="164" y="373"/>
                  </a:lnTo>
                  <a:lnTo>
                    <a:pt x="139" y="370"/>
                  </a:lnTo>
                  <a:lnTo>
                    <a:pt x="125" y="357"/>
                  </a:lnTo>
                  <a:lnTo>
                    <a:pt x="94" y="388"/>
                  </a:lnTo>
                  <a:lnTo>
                    <a:pt x="78" y="388"/>
                  </a:lnTo>
                  <a:lnTo>
                    <a:pt x="47" y="310"/>
                  </a:lnTo>
                  <a:lnTo>
                    <a:pt x="47" y="279"/>
                  </a:lnTo>
                  <a:lnTo>
                    <a:pt x="16" y="233"/>
                  </a:lnTo>
                  <a:lnTo>
                    <a:pt x="31" y="202"/>
                  </a:lnTo>
                  <a:lnTo>
                    <a:pt x="16" y="186"/>
                  </a:lnTo>
                  <a:lnTo>
                    <a:pt x="16" y="78"/>
                  </a:lnTo>
                  <a:lnTo>
                    <a:pt x="0" y="31"/>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241" name="Freeform 274">
              <a:extLst>
                <a:ext uri="{FF2B5EF4-FFF2-40B4-BE49-F238E27FC236}">
                  <a16:creationId xmlns:a16="http://schemas.microsoft.com/office/drawing/2014/main" id="{585CC9EA-3460-7E43-9C4C-38335B6883BB}"/>
                </a:ext>
              </a:extLst>
            </p:cNvPr>
            <p:cNvSpPr>
              <a:spLocks/>
            </p:cNvSpPr>
            <p:nvPr/>
          </p:nvSpPr>
          <p:spPr bwMode="auto">
            <a:xfrm>
              <a:off x="1860" y="3218"/>
              <a:ext cx="145" cy="158"/>
            </a:xfrm>
            <a:custGeom>
              <a:avLst/>
              <a:gdLst>
                <a:gd name="T0" fmla="*/ 218 w 218"/>
                <a:gd name="T1" fmla="*/ 177 h 239"/>
                <a:gd name="T2" fmla="*/ 218 w 218"/>
                <a:gd name="T3" fmla="*/ 131 h 239"/>
                <a:gd name="T4" fmla="*/ 187 w 218"/>
                <a:gd name="T5" fmla="*/ 131 h 239"/>
                <a:gd name="T6" fmla="*/ 187 w 218"/>
                <a:gd name="T7" fmla="*/ 84 h 239"/>
                <a:gd name="T8" fmla="*/ 171 w 218"/>
                <a:gd name="T9" fmla="*/ 84 h 239"/>
                <a:gd name="T10" fmla="*/ 147 w 218"/>
                <a:gd name="T11" fmla="*/ 84 h 239"/>
                <a:gd name="T12" fmla="*/ 125 w 218"/>
                <a:gd name="T13" fmla="*/ 69 h 239"/>
                <a:gd name="T14" fmla="*/ 109 w 218"/>
                <a:gd name="T15" fmla="*/ 22 h 239"/>
                <a:gd name="T16" fmla="*/ 116 w 218"/>
                <a:gd name="T17" fmla="*/ 9 h 239"/>
                <a:gd name="T18" fmla="*/ 93 w 218"/>
                <a:gd name="T19" fmla="*/ 1 h 239"/>
                <a:gd name="T20" fmla="*/ 53 w 218"/>
                <a:gd name="T21" fmla="*/ 0 h 239"/>
                <a:gd name="T22" fmla="*/ 21 w 218"/>
                <a:gd name="T23" fmla="*/ 12 h 239"/>
                <a:gd name="T24" fmla="*/ 0 w 218"/>
                <a:gd name="T25" fmla="*/ 84 h 239"/>
                <a:gd name="T26" fmla="*/ 62 w 218"/>
                <a:gd name="T27" fmla="*/ 131 h 239"/>
                <a:gd name="T28" fmla="*/ 93 w 218"/>
                <a:gd name="T29" fmla="*/ 146 h 239"/>
                <a:gd name="T30" fmla="*/ 140 w 218"/>
                <a:gd name="T31" fmla="*/ 162 h 239"/>
                <a:gd name="T32" fmla="*/ 140 w 218"/>
                <a:gd name="T33" fmla="*/ 193 h 239"/>
                <a:gd name="T34" fmla="*/ 125 w 218"/>
                <a:gd name="T35" fmla="*/ 224 h 239"/>
                <a:gd name="T36" fmla="*/ 187 w 218"/>
                <a:gd name="T37" fmla="*/ 239 h 239"/>
                <a:gd name="T38" fmla="*/ 202 w 218"/>
                <a:gd name="T39" fmla="*/ 239 h 239"/>
                <a:gd name="T40" fmla="*/ 218 w 218"/>
                <a:gd name="T41" fmla="*/ 208 h 239"/>
                <a:gd name="T42" fmla="*/ 218 w 218"/>
                <a:gd name="T43" fmla="*/ 17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239">
                  <a:moveTo>
                    <a:pt x="218" y="177"/>
                  </a:moveTo>
                  <a:lnTo>
                    <a:pt x="218" y="131"/>
                  </a:lnTo>
                  <a:lnTo>
                    <a:pt x="187" y="131"/>
                  </a:lnTo>
                  <a:lnTo>
                    <a:pt x="187" y="84"/>
                  </a:lnTo>
                  <a:lnTo>
                    <a:pt x="171" y="84"/>
                  </a:lnTo>
                  <a:lnTo>
                    <a:pt x="147" y="84"/>
                  </a:lnTo>
                  <a:lnTo>
                    <a:pt x="125" y="69"/>
                  </a:lnTo>
                  <a:lnTo>
                    <a:pt x="109" y="22"/>
                  </a:lnTo>
                  <a:lnTo>
                    <a:pt x="116" y="9"/>
                  </a:lnTo>
                  <a:lnTo>
                    <a:pt x="93" y="1"/>
                  </a:lnTo>
                  <a:lnTo>
                    <a:pt x="53" y="0"/>
                  </a:lnTo>
                  <a:lnTo>
                    <a:pt x="21" y="12"/>
                  </a:lnTo>
                  <a:lnTo>
                    <a:pt x="0" y="84"/>
                  </a:lnTo>
                  <a:lnTo>
                    <a:pt x="62" y="131"/>
                  </a:lnTo>
                  <a:lnTo>
                    <a:pt x="93" y="146"/>
                  </a:lnTo>
                  <a:lnTo>
                    <a:pt x="140" y="162"/>
                  </a:lnTo>
                  <a:lnTo>
                    <a:pt x="140" y="193"/>
                  </a:lnTo>
                  <a:lnTo>
                    <a:pt x="125" y="224"/>
                  </a:lnTo>
                  <a:lnTo>
                    <a:pt x="187" y="239"/>
                  </a:lnTo>
                  <a:lnTo>
                    <a:pt x="202" y="239"/>
                  </a:lnTo>
                  <a:lnTo>
                    <a:pt x="218" y="208"/>
                  </a:lnTo>
                  <a:lnTo>
                    <a:pt x="218" y="177"/>
                  </a:lnTo>
                  <a:close/>
                </a:path>
              </a:pathLst>
            </a:custGeom>
            <a:solidFill>
              <a:srgbClr val="E5E6E7"/>
            </a:solidFill>
            <a:ln w="3175" cmpd="sng">
              <a:solidFill>
                <a:schemeClr val="bg1"/>
              </a:solidFill>
              <a:prstDash val="solid"/>
              <a:round/>
              <a:headEnd/>
              <a:tailEnd/>
            </a:ln>
          </p:spPr>
          <p:txBody>
            <a:bodyPr/>
            <a:lstStyle/>
            <a:p>
              <a:endParaRPr lang="de-DE" sz="1286"/>
            </a:p>
          </p:txBody>
        </p:sp>
        <p:sp>
          <p:nvSpPr>
            <p:cNvPr id="242" name="Freeform 275">
              <a:extLst>
                <a:ext uri="{FF2B5EF4-FFF2-40B4-BE49-F238E27FC236}">
                  <a16:creationId xmlns:a16="http://schemas.microsoft.com/office/drawing/2014/main" id="{ADFFD461-A45E-E242-B03B-47141DFDBD80}"/>
                </a:ext>
              </a:extLst>
            </p:cNvPr>
            <p:cNvSpPr>
              <a:spLocks/>
            </p:cNvSpPr>
            <p:nvPr/>
          </p:nvSpPr>
          <p:spPr bwMode="auto">
            <a:xfrm>
              <a:off x="1763" y="3264"/>
              <a:ext cx="262" cy="592"/>
            </a:xfrm>
            <a:custGeom>
              <a:avLst/>
              <a:gdLst>
                <a:gd name="T0" fmla="*/ 318 w 396"/>
                <a:gd name="T1" fmla="*/ 356 h 894"/>
                <a:gd name="T2" fmla="*/ 365 w 396"/>
                <a:gd name="T3" fmla="*/ 403 h 894"/>
                <a:gd name="T4" fmla="*/ 380 w 396"/>
                <a:gd name="T5" fmla="*/ 434 h 894"/>
                <a:gd name="T6" fmla="*/ 371 w 396"/>
                <a:gd name="T7" fmla="*/ 480 h 894"/>
                <a:gd name="T8" fmla="*/ 302 w 396"/>
                <a:gd name="T9" fmla="*/ 511 h 894"/>
                <a:gd name="T10" fmla="*/ 256 w 396"/>
                <a:gd name="T11" fmla="*/ 496 h 894"/>
                <a:gd name="T12" fmla="*/ 272 w 396"/>
                <a:gd name="T13" fmla="*/ 558 h 894"/>
                <a:gd name="T14" fmla="*/ 209 w 396"/>
                <a:gd name="T15" fmla="*/ 558 h 894"/>
                <a:gd name="T16" fmla="*/ 240 w 396"/>
                <a:gd name="T17" fmla="*/ 604 h 894"/>
                <a:gd name="T18" fmla="*/ 263 w 396"/>
                <a:gd name="T19" fmla="*/ 603 h 894"/>
                <a:gd name="T20" fmla="*/ 243 w 396"/>
                <a:gd name="T21" fmla="*/ 616 h 894"/>
                <a:gd name="T22" fmla="*/ 245 w 396"/>
                <a:gd name="T23" fmla="*/ 628 h 894"/>
                <a:gd name="T24" fmla="*/ 240 w 396"/>
                <a:gd name="T25" fmla="*/ 666 h 894"/>
                <a:gd name="T26" fmla="*/ 218 w 396"/>
                <a:gd name="T27" fmla="*/ 685 h 894"/>
                <a:gd name="T28" fmla="*/ 209 w 396"/>
                <a:gd name="T29" fmla="*/ 728 h 894"/>
                <a:gd name="T30" fmla="*/ 256 w 396"/>
                <a:gd name="T31" fmla="*/ 744 h 894"/>
                <a:gd name="T32" fmla="*/ 266 w 396"/>
                <a:gd name="T33" fmla="*/ 777 h 894"/>
                <a:gd name="T34" fmla="*/ 242 w 396"/>
                <a:gd name="T35" fmla="*/ 828 h 894"/>
                <a:gd name="T36" fmla="*/ 225 w 396"/>
                <a:gd name="T37" fmla="*/ 852 h 894"/>
                <a:gd name="T38" fmla="*/ 257 w 396"/>
                <a:gd name="T39" fmla="*/ 894 h 894"/>
                <a:gd name="T40" fmla="*/ 178 w 396"/>
                <a:gd name="T41" fmla="*/ 883 h 894"/>
                <a:gd name="T42" fmla="*/ 134 w 396"/>
                <a:gd name="T43" fmla="*/ 850 h 894"/>
                <a:gd name="T44" fmla="*/ 116 w 396"/>
                <a:gd name="T45" fmla="*/ 728 h 894"/>
                <a:gd name="T46" fmla="*/ 100 w 396"/>
                <a:gd name="T47" fmla="*/ 682 h 894"/>
                <a:gd name="T48" fmla="*/ 69 w 396"/>
                <a:gd name="T49" fmla="*/ 620 h 894"/>
                <a:gd name="T50" fmla="*/ 54 w 396"/>
                <a:gd name="T51" fmla="*/ 573 h 894"/>
                <a:gd name="T52" fmla="*/ 54 w 396"/>
                <a:gd name="T53" fmla="*/ 496 h 894"/>
                <a:gd name="T54" fmla="*/ 38 w 396"/>
                <a:gd name="T55" fmla="*/ 418 h 894"/>
                <a:gd name="T56" fmla="*/ 38 w 396"/>
                <a:gd name="T57" fmla="*/ 356 h 894"/>
                <a:gd name="T58" fmla="*/ 7 w 396"/>
                <a:gd name="T59" fmla="*/ 186 h 894"/>
                <a:gd name="T60" fmla="*/ 7 w 396"/>
                <a:gd name="T61" fmla="*/ 77 h 894"/>
                <a:gd name="T62" fmla="*/ 38 w 396"/>
                <a:gd name="T63" fmla="*/ 31 h 894"/>
                <a:gd name="T64" fmla="*/ 87 w 396"/>
                <a:gd name="T65" fmla="*/ 12 h 894"/>
                <a:gd name="T66" fmla="*/ 111 w 396"/>
                <a:gd name="T67" fmla="*/ 36 h 894"/>
                <a:gd name="T68" fmla="*/ 147 w 396"/>
                <a:gd name="T69" fmla="*/ 15 h 894"/>
                <a:gd name="T70" fmla="*/ 240 w 396"/>
                <a:gd name="T71" fmla="*/ 77 h 894"/>
                <a:gd name="T72" fmla="*/ 287 w 396"/>
                <a:gd name="T73" fmla="*/ 124 h 894"/>
                <a:gd name="T74" fmla="*/ 334 w 396"/>
                <a:gd name="T75" fmla="*/ 170 h 894"/>
                <a:gd name="T76" fmla="*/ 365 w 396"/>
                <a:gd name="T77" fmla="*/ 139 h 894"/>
                <a:gd name="T78" fmla="*/ 380 w 396"/>
                <a:gd name="T79" fmla="*/ 108 h 894"/>
                <a:gd name="T80" fmla="*/ 380 w 396"/>
                <a:gd name="T81" fmla="*/ 170 h 894"/>
                <a:gd name="T82" fmla="*/ 318 w 396"/>
                <a:gd name="T83" fmla="*/ 24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6" h="894">
                  <a:moveTo>
                    <a:pt x="318" y="248"/>
                  </a:moveTo>
                  <a:lnTo>
                    <a:pt x="318" y="356"/>
                  </a:lnTo>
                  <a:lnTo>
                    <a:pt x="318" y="372"/>
                  </a:lnTo>
                  <a:lnTo>
                    <a:pt x="365" y="403"/>
                  </a:lnTo>
                  <a:lnTo>
                    <a:pt x="349" y="418"/>
                  </a:lnTo>
                  <a:lnTo>
                    <a:pt x="380" y="434"/>
                  </a:lnTo>
                  <a:lnTo>
                    <a:pt x="380" y="449"/>
                  </a:lnTo>
                  <a:lnTo>
                    <a:pt x="371" y="480"/>
                  </a:lnTo>
                  <a:lnTo>
                    <a:pt x="354" y="495"/>
                  </a:lnTo>
                  <a:lnTo>
                    <a:pt x="302" y="511"/>
                  </a:lnTo>
                  <a:lnTo>
                    <a:pt x="272" y="511"/>
                  </a:lnTo>
                  <a:lnTo>
                    <a:pt x="256" y="496"/>
                  </a:lnTo>
                  <a:lnTo>
                    <a:pt x="272" y="527"/>
                  </a:lnTo>
                  <a:lnTo>
                    <a:pt x="272" y="558"/>
                  </a:lnTo>
                  <a:lnTo>
                    <a:pt x="240" y="573"/>
                  </a:lnTo>
                  <a:lnTo>
                    <a:pt x="209" y="558"/>
                  </a:lnTo>
                  <a:lnTo>
                    <a:pt x="224" y="598"/>
                  </a:lnTo>
                  <a:lnTo>
                    <a:pt x="240" y="604"/>
                  </a:lnTo>
                  <a:lnTo>
                    <a:pt x="240" y="604"/>
                  </a:lnTo>
                  <a:lnTo>
                    <a:pt x="263" y="603"/>
                  </a:lnTo>
                  <a:lnTo>
                    <a:pt x="258" y="622"/>
                  </a:lnTo>
                  <a:lnTo>
                    <a:pt x="243" y="616"/>
                  </a:lnTo>
                  <a:lnTo>
                    <a:pt x="233" y="618"/>
                  </a:lnTo>
                  <a:lnTo>
                    <a:pt x="245" y="628"/>
                  </a:lnTo>
                  <a:lnTo>
                    <a:pt x="233" y="648"/>
                  </a:lnTo>
                  <a:lnTo>
                    <a:pt x="240" y="666"/>
                  </a:lnTo>
                  <a:lnTo>
                    <a:pt x="240" y="682"/>
                  </a:lnTo>
                  <a:lnTo>
                    <a:pt x="218" y="685"/>
                  </a:lnTo>
                  <a:lnTo>
                    <a:pt x="209" y="713"/>
                  </a:lnTo>
                  <a:lnTo>
                    <a:pt x="209" y="728"/>
                  </a:lnTo>
                  <a:lnTo>
                    <a:pt x="240" y="744"/>
                  </a:lnTo>
                  <a:lnTo>
                    <a:pt x="256" y="744"/>
                  </a:lnTo>
                  <a:lnTo>
                    <a:pt x="264" y="760"/>
                  </a:lnTo>
                  <a:lnTo>
                    <a:pt x="266" y="777"/>
                  </a:lnTo>
                  <a:lnTo>
                    <a:pt x="242" y="802"/>
                  </a:lnTo>
                  <a:lnTo>
                    <a:pt x="242" y="828"/>
                  </a:lnTo>
                  <a:lnTo>
                    <a:pt x="225" y="837"/>
                  </a:lnTo>
                  <a:lnTo>
                    <a:pt x="225" y="852"/>
                  </a:lnTo>
                  <a:lnTo>
                    <a:pt x="240" y="867"/>
                  </a:lnTo>
                  <a:lnTo>
                    <a:pt x="257" y="894"/>
                  </a:lnTo>
                  <a:lnTo>
                    <a:pt x="240" y="883"/>
                  </a:lnTo>
                  <a:lnTo>
                    <a:pt x="178" y="883"/>
                  </a:lnTo>
                  <a:lnTo>
                    <a:pt x="155" y="853"/>
                  </a:lnTo>
                  <a:lnTo>
                    <a:pt x="134" y="850"/>
                  </a:lnTo>
                  <a:lnTo>
                    <a:pt x="116" y="821"/>
                  </a:lnTo>
                  <a:lnTo>
                    <a:pt x="116" y="728"/>
                  </a:lnTo>
                  <a:lnTo>
                    <a:pt x="100" y="666"/>
                  </a:lnTo>
                  <a:lnTo>
                    <a:pt x="100" y="682"/>
                  </a:lnTo>
                  <a:lnTo>
                    <a:pt x="85" y="666"/>
                  </a:lnTo>
                  <a:lnTo>
                    <a:pt x="69" y="620"/>
                  </a:lnTo>
                  <a:lnTo>
                    <a:pt x="69" y="589"/>
                  </a:lnTo>
                  <a:lnTo>
                    <a:pt x="54" y="573"/>
                  </a:lnTo>
                  <a:lnTo>
                    <a:pt x="39" y="519"/>
                  </a:lnTo>
                  <a:lnTo>
                    <a:pt x="54" y="496"/>
                  </a:lnTo>
                  <a:lnTo>
                    <a:pt x="23" y="449"/>
                  </a:lnTo>
                  <a:lnTo>
                    <a:pt x="38" y="418"/>
                  </a:lnTo>
                  <a:lnTo>
                    <a:pt x="23" y="403"/>
                  </a:lnTo>
                  <a:lnTo>
                    <a:pt x="38" y="356"/>
                  </a:lnTo>
                  <a:lnTo>
                    <a:pt x="0" y="295"/>
                  </a:lnTo>
                  <a:lnTo>
                    <a:pt x="7" y="186"/>
                  </a:lnTo>
                  <a:lnTo>
                    <a:pt x="23" y="139"/>
                  </a:lnTo>
                  <a:lnTo>
                    <a:pt x="7" y="77"/>
                  </a:lnTo>
                  <a:lnTo>
                    <a:pt x="38" y="62"/>
                  </a:lnTo>
                  <a:lnTo>
                    <a:pt x="38" y="31"/>
                  </a:lnTo>
                  <a:lnTo>
                    <a:pt x="69" y="0"/>
                  </a:lnTo>
                  <a:lnTo>
                    <a:pt x="87" y="12"/>
                  </a:lnTo>
                  <a:lnTo>
                    <a:pt x="107" y="18"/>
                  </a:lnTo>
                  <a:lnTo>
                    <a:pt x="111" y="36"/>
                  </a:lnTo>
                  <a:lnTo>
                    <a:pt x="116" y="15"/>
                  </a:lnTo>
                  <a:lnTo>
                    <a:pt x="147" y="15"/>
                  </a:lnTo>
                  <a:lnTo>
                    <a:pt x="209" y="62"/>
                  </a:lnTo>
                  <a:lnTo>
                    <a:pt x="240" y="77"/>
                  </a:lnTo>
                  <a:lnTo>
                    <a:pt x="287" y="93"/>
                  </a:lnTo>
                  <a:lnTo>
                    <a:pt x="287" y="124"/>
                  </a:lnTo>
                  <a:lnTo>
                    <a:pt x="272" y="155"/>
                  </a:lnTo>
                  <a:lnTo>
                    <a:pt x="334" y="170"/>
                  </a:lnTo>
                  <a:lnTo>
                    <a:pt x="349" y="170"/>
                  </a:lnTo>
                  <a:lnTo>
                    <a:pt x="365" y="139"/>
                  </a:lnTo>
                  <a:lnTo>
                    <a:pt x="365" y="108"/>
                  </a:lnTo>
                  <a:lnTo>
                    <a:pt x="380" y="108"/>
                  </a:lnTo>
                  <a:lnTo>
                    <a:pt x="396" y="155"/>
                  </a:lnTo>
                  <a:lnTo>
                    <a:pt x="380" y="170"/>
                  </a:lnTo>
                  <a:lnTo>
                    <a:pt x="350" y="195"/>
                  </a:lnTo>
                  <a:lnTo>
                    <a:pt x="318" y="248"/>
                  </a:lnTo>
                  <a:close/>
                </a:path>
              </a:pathLst>
            </a:custGeom>
            <a:solidFill>
              <a:srgbClr val="E5E6E7"/>
            </a:solidFill>
            <a:ln w="3175" cmpd="sng">
              <a:solidFill>
                <a:schemeClr val="bg1"/>
              </a:solidFill>
              <a:prstDash val="solid"/>
              <a:round/>
              <a:headEnd/>
              <a:tailEnd/>
            </a:ln>
          </p:spPr>
          <p:txBody>
            <a:bodyPr/>
            <a:lstStyle/>
            <a:p>
              <a:endParaRPr lang="de-DE" sz="1286"/>
            </a:p>
          </p:txBody>
        </p:sp>
        <p:sp>
          <p:nvSpPr>
            <p:cNvPr id="243" name="Freeform 276">
              <a:extLst>
                <a:ext uri="{FF2B5EF4-FFF2-40B4-BE49-F238E27FC236}">
                  <a16:creationId xmlns:a16="http://schemas.microsoft.com/office/drawing/2014/main" id="{25F2B6A4-CDDD-8748-8EE1-3C50C5B85A98}"/>
                </a:ext>
              </a:extLst>
            </p:cNvPr>
            <p:cNvSpPr>
              <a:spLocks/>
            </p:cNvSpPr>
            <p:nvPr/>
          </p:nvSpPr>
          <p:spPr bwMode="auto">
            <a:xfrm>
              <a:off x="1860" y="2678"/>
              <a:ext cx="83" cy="134"/>
            </a:xfrm>
            <a:custGeom>
              <a:avLst/>
              <a:gdLst>
                <a:gd name="T0" fmla="*/ 47 w 125"/>
                <a:gd name="T1" fmla="*/ 0 h 201"/>
                <a:gd name="T2" fmla="*/ 16 w 125"/>
                <a:gd name="T3" fmla="*/ 15 h 201"/>
                <a:gd name="T4" fmla="*/ 16 w 125"/>
                <a:gd name="T5" fmla="*/ 31 h 201"/>
                <a:gd name="T6" fmla="*/ 31 w 125"/>
                <a:gd name="T7" fmla="*/ 46 h 201"/>
                <a:gd name="T8" fmla="*/ 16 w 125"/>
                <a:gd name="T9" fmla="*/ 46 h 201"/>
                <a:gd name="T10" fmla="*/ 0 w 125"/>
                <a:gd name="T11" fmla="*/ 77 h 201"/>
                <a:gd name="T12" fmla="*/ 16 w 125"/>
                <a:gd name="T13" fmla="*/ 93 h 201"/>
                <a:gd name="T14" fmla="*/ 31 w 125"/>
                <a:gd name="T15" fmla="*/ 93 h 201"/>
                <a:gd name="T16" fmla="*/ 47 w 125"/>
                <a:gd name="T17" fmla="*/ 124 h 201"/>
                <a:gd name="T18" fmla="*/ 31 w 125"/>
                <a:gd name="T19" fmla="*/ 170 h 201"/>
                <a:gd name="T20" fmla="*/ 47 w 125"/>
                <a:gd name="T21" fmla="*/ 201 h 201"/>
                <a:gd name="T22" fmla="*/ 63 w 125"/>
                <a:gd name="T23" fmla="*/ 201 h 201"/>
                <a:gd name="T24" fmla="*/ 109 w 125"/>
                <a:gd name="T25" fmla="*/ 186 h 201"/>
                <a:gd name="T26" fmla="*/ 125 w 125"/>
                <a:gd name="T27" fmla="*/ 186 h 201"/>
                <a:gd name="T28" fmla="*/ 94 w 125"/>
                <a:gd name="T29" fmla="*/ 124 h 201"/>
                <a:gd name="T30" fmla="*/ 93 w 125"/>
                <a:gd name="T31" fmla="*/ 94 h 201"/>
                <a:gd name="T32" fmla="*/ 111 w 125"/>
                <a:gd name="T33" fmla="*/ 65 h 201"/>
                <a:gd name="T34" fmla="*/ 87 w 125"/>
                <a:gd name="T35" fmla="*/ 40 h 201"/>
                <a:gd name="T36" fmla="*/ 71 w 125"/>
                <a:gd name="T37" fmla="*/ 47 h 201"/>
                <a:gd name="T38" fmla="*/ 78 w 125"/>
                <a:gd name="T39" fmla="*/ 15 h 201"/>
                <a:gd name="T40" fmla="*/ 47 w 125"/>
                <a:gd name="T41"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201">
                  <a:moveTo>
                    <a:pt x="47" y="0"/>
                  </a:moveTo>
                  <a:lnTo>
                    <a:pt x="16" y="15"/>
                  </a:lnTo>
                  <a:lnTo>
                    <a:pt x="16" y="31"/>
                  </a:lnTo>
                  <a:lnTo>
                    <a:pt x="31" y="46"/>
                  </a:lnTo>
                  <a:lnTo>
                    <a:pt x="16" y="46"/>
                  </a:lnTo>
                  <a:lnTo>
                    <a:pt x="0" y="77"/>
                  </a:lnTo>
                  <a:lnTo>
                    <a:pt x="16" y="93"/>
                  </a:lnTo>
                  <a:lnTo>
                    <a:pt x="31" y="93"/>
                  </a:lnTo>
                  <a:lnTo>
                    <a:pt x="47" y="124"/>
                  </a:lnTo>
                  <a:lnTo>
                    <a:pt x="31" y="170"/>
                  </a:lnTo>
                  <a:lnTo>
                    <a:pt x="47" y="201"/>
                  </a:lnTo>
                  <a:lnTo>
                    <a:pt x="63" y="201"/>
                  </a:lnTo>
                  <a:lnTo>
                    <a:pt x="109" y="186"/>
                  </a:lnTo>
                  <a:lnTo>
                    <a:pt x="125" y="186"/>
                  </a:lnTo>
                  <a:lnTo>
                    <a:pt x="94" y="124"/>
                  </a:lnTo>
                  <a:lnTo>
                    <a:pt x="93" y="94"/>
                  </a:lnTo>
                  <a:lnTo>
                    <a:pt x="111" y="65"/>
                  </a:lnTo>
                  <a:lnTo>
                    <a:pt x="87" y="40"/>
                  </a:lnTo>
                  <a:lnTo>
                    <a:pt x="71" y="47"/>
                  </a:lnTo>
                  <a:lnTo>
                    <a:pt x="78" y="15"/>
                  </a:lnTo>
                  <a:lnTo>
                    <a:pt x="47" y="0"/>
                  </a:lnTo>
                  <a:close/>
                </a:path>
              </a:pathLst>
            </a:custGeom>
            <a:solidFill>
              <a:srgbClr val="E5E6E7"/>
            </a:solidFill>
            <a:ln w="3175" cmpd="sng">
              <a:solidFill>
                <a:schemeClr val="bg1"/>
              </a:solidFill>
              <a:prstDash val="solid"/>
              <a:round/>
              <a:headEnd/>
              <a:tailEnd/>
            </a:ln>
          </p:spPr>
          <p:txBody>
            <a:bodyPr/>
            <a:lstStyle/>
            <a:p>
              <a:endParaRPr lang="de-DE" sz="1286"/>
            </a:p>
          </p:txBody>
        </p:sp>
        <p:sp>
          <p:nvSpPr>
            <p:cNvPr id="244" name="Freeform 277">
              <a:extLst>
                <a:ext uri="{FF2B5EF4-FFF2-40B4-BE49-F238E27FC236}">
                  <a16:creationId xmlns:a16="http://schemas.microsoft.com/office/drawing/2014/main" id="{176D682C-4631-6E40-8A1C-6736F0159883}"/>
                </a:ext>
              </a:extLst>
            </p:cNvPr>
            <p:cNvSpPr>
              <a:spLocks/>
            </p:cNvSpPr>
            <p:nvPr/>
          </p:nvSpPr>
          <p:spPr bwMode="auto">
            <a:xfrm>
              <a:off x="2066" y="3839"/>
              <a:ext cx="21" cy="18"/>
            </a:xfrm>
            <a:custGeom>
              <a:avLst/>
              <a:gdLst>
                <a:gd name="T0" fmla="*/ 0 w 32"/>
                <a:gd name="T1" fmla="*/ 15 h 27"/>
                <a:gd name="T2" fmla="*/ 1 w 32"/>
                <a:gd name="T3" fmla="*/ 27 h 27"/>
                <a:gd name="T4" fmla="*/ 13 w 32"/>
                <a:gd name="T5" fmla="*/ 21 h 27"/>
                <a:gd name="T6" fmla="*/ 32 w 32"/>
                <a:gd name="T7" fmla="*/ 0 h 27"/>
                <a:gd name="T8" fmla="*/ 16 w 32"/>
                <a:gd name="T9" fmla="*/ 0 h 27"/>
                <a:gd name="T10" fmla="*/ 1 w 32"/>
                <a:gd name="T11" fmla="*/ 5 h 27"/>
                <a:gd name="T12" fmla="*/ 0 w 32"/>
                <a:gd name="T13" fmla="*/ 15 h 27"/>
              </a:gdLst>
              <a:ahLst/>
              <a:cxnLst>
                <a:cxn ang="0">
                  <a:pos x="T0" y="T1"/>
                </a:cxn>
                <a:cxn ang="0">
                  <a:pos x="T2" y="T3"/>
                </a:cxn>
                <a:cxn ang="0">
                  <a:pos x="T4" y="T5"/>
                </a:cxn>
                <a:cxn ang="0">
                  <a:pos x="T6" y="T7"/>
                </a:cxn>
                <a:cxn ang="0">
                  <a:pos x="T8" y="T9"/>
                </a:cxn>
                <a:cxn ang="0">
                  <a:pos x="T10" y="T11"/>
                </a:cxn>
                <a:cxn ang="0">
                  <a:pos x="T12" y="T13"/>
                </a:cxn>
              </a:cxnLst>
              <a:rect l="0" t="0" r="r" b="b"/>
              <a:pathLst>
                <a:path w="32" h="27">
                  <a:moveTo>
                    <a:pt x="0" y="15"/>
                  </a:moveTo>
                  <a:lnTo>
                    <a:pt x="1" y="27"/>
                  </a:lnTo>
                  <a:lnTo>
                    <a:pt x="13" y="21"/>
                  </a:lnTo>
                  <a:lnTo>
                    <a:pt x="32" y="0"/>
                  </a:lnTo>
                  <a:lnTo>
                    <a:pt x="16" y="0"/>
                  </a:lnTo>
                  <a:lnTo>
                    <a:pt x="1" y="5"/>
                  </a:lnTo>
                  <a:lnTo>
                    <a:pt x="0" y="15"/>
                  </a:lnTo>
                  <a:close/>
                </a:path>
              </a:pathLst>
            </a:custGeom>
            <a:solidFill>
              <a:schemeClr val="accent4">
                <a:lumMod val="40000"/>
                <a:lumOff val="60000"/>
              </a:schemeClr>
            </a:solidFill>
            <a:ln w="3175" cmpd="sng">
              <a:solidFill>
                <a:schemeClr val="bg1"/>
              </a:solidFill>
              <a:prstDash val="solid"/>
              <a:round/>
              <a:headEnd/>
              <a:tailEnd/>
            </a:ln>
          </p:spPr>
          <p:txBody>
            <a:bodyPr/>
            <a:lstStyle/>
            <a:p>
              <a:endParaRPr lang="de-DE" sz="1286"/>
            </a:p>
          </p:txBody>
        </p:sp>
        <p:sp>
          <p:nvSpPr>
            <p:cNvPr id="245" name="Line 278">
              <a:extLst>
                <a:ext uri="{FF2B5EF4-FFF2-40B4-BE49-F238E27FC236}">
                  <a16:creationId xmlns:a16="http://schemas.microsoft.com/office/drawing/2014/main" id="{9977E0C4-36F3-524A-99BE-8AB7438D03FD}"/>
                </a:ext>
              </a:extLst>
            </p:cNvPr>
            <p:cNvSpPr>
              <a:spLocks noChangeShapeType="1"/>
            </p:cNvSpPr>
            <p:nvPr/>
          </p:nvSpPr>
          <p:spPr bwMode="auto">
            <a:xfrm>
              <a:off x="1871" y="2565"/>
              <a:ext cx="10" cy="1"/>
            </a:xfrm>
            <a:prstGeom prst="line">
              <a:avLst/>
            </a:prstGeom>
            <a:grpFill/>
            <a:ln w="3175">
              <a:solidFill>
                <a:schemeClr val="bg1"/>
              </a:solidFill>
              <a:round/>
              <a:headEnd/>
              <a:tailEnd/>
            </a:ln>
          </p:spPr>
          <p:txBody>
            <a:bodyPr/>
            <a:lstStyle/>
            <a:p>
              <a:endParaRPr lang="de-DE" sz="1286"/>
            </a:p>
          </p:txBody>
        </p:sp>
        <p:sp>
          <p:nvSpPr>
            <p:cNvPr id="246" name="Line 279">
              <a:extLst>
                <a:ext uri="{FF2B5EF4-FFF2-40B4-BE49-F238E27FC236}">
                  <a16:creationId xmlns:a16="http://schemas.microsoft.com/office/drawing/2014/main" id="{A3312067-75EF-4649-AF62-2FD5351EF397}"/>
                </a:ext>
              </a:extLst>
            </p:cNvPr>
            <p:cNvSpPr>
              <a:spLocks noChangeShapeType="1"/>
            </p:cNvSpPr>
            <p:nvPr/>
          </p:nvSpPr>
          <p:spPr bwMode="auto">
            <a:xfrm>
              <a:off x="1871" y="2532"/>
              <a:ext cx="1" cy="11"/>
            </a:xfrm>
            <a:prstGeom prst="line">
              <a:avLst/>
            </a:prstGeom>
            <a:grpFill/>
            <a:ln w="3175">
              <a:solidFill>
                <a:schemeClr val="bg1"/>
              </a:solidFill>
              <a:round/>
              <a:headEnd/>
              <a:tailEnd/>
            </a:ln>
          </p:spPr>
          <p:txBody>
            <a:bodyPr/>
            <a:lstStyle/>
            <a:p>
              <a:endParaRPr lang="de-DE" sz="1286"/>
            </a:p>
          </p:txBody>
        </p:sp>
        <p:sp>
          <p:nvSpPr>
            <p:cNvPr id="247" name="Freeform 280">
              <a:extLst>
                <a:ext uri="{FF2B5EF4-FFF2-40B4-BE49-F238E27FC236}">
                  <a16:creationId xmlns:a16="http://schemas.microsoft.com/office/drawing/2014/main" id="{35F6582F-DE20-574E-892F-04DC2E092085}"/>
                </a:ext>
              </a:extLst>
            </p:cNvPr>
            <p:cNvSpPr>
              <a:spLocks/>
            </p:cNvSpPr>
            <p:nvPr/>
          </p:nvSpPr>
          <p:spPr bwMode="auto">
            <a:xfrm>
              <a:off x="1940" y="3865"/>
              <a:ext cx="67" cy="44"/>
            </a:xfrm>
            <a:custGeom>
              <a:avLst/>
              <a:gdLst>
                <a:gd name="T0" fmla="*/ 0 w 102"/>
                <a:gd name="T1" fmla="*/ 0 h 66"/>
                <a:gd name="T2" fmla="*/ 26 w 102"/>
                <a:gd name="T3" fmla="*/ 63 h 66"/>
                <a:gd name="T4" fmla="*/ 42 w 102"/>
                <a:gd name="T5" fmla="*/ 60 h 66"/>
                <a:gd name="T6" fmla="*/ 74 w 102"/>
                <a:gd name="T7" fmla="*/ 66 h 66"/>
                <a:gd name="T8" fmla="*/ 87 w 102"/>
                <a:gd name="T9" fmla="*/ 60 h 66"/>
                <a:gd name="T10" fmla="*/ 102 w 102"/>
                <a:gd name="T11" fmla="*/ 57 h 66"/>
                <a:gd name="T12" fmla="*/ 78 w 102"/>
                <a:gd name="T13" fmla="*/ 50 h 66"/>
                <a:gd name="T14" fmla="*/ 35 w 102"/>
                <a:gd name="T15" fmla="*/ 30 h 66"/>
                <a:gd name="T16" fmla="*/ 14 w 102"/>
                <a:gd name="T17" fmla="*/ 12 h 66"/>
                <a:gd name="T18" fmla="*/ 0 w 102"/>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6">
                  <a:moveTo>
                    <a:pt x="0" y="0"/>
                  </a:moveTo>
                  <a:lnTo>
                    <a:pt x="26" y="63"/>
                  </a:lnTo>
                  <a:lnTo>
                    <a:pt x="42" y="60"/>
                  </a:lnTo>
                  <a:lnTo>
                    <a:pt x="74" y="66"/>
                  </a:lnTo>
                  <a:lnTo>
                    <a:pt x="87" y="60"/>
                  </a:lnTo>
                  <a:lnTo>
                    <a:pt x="102" y="57"/>
                  </a:lnTo>
                  <a:lnTo>
                    <a:pt x="78" y="50"/>
                  </a:lnTo>
                  <a:lnTo>
                    <a:pt x="35" y="30"/>
                  </a:lnTo>
                  <a:lnTo>
                    <a:pt x="14" y="12"/>
                  </a:lnTo>
                  <a:lnTo>
                    <a:pt x="0" y="0"/>
                  </a:lnTo>
                  <a:close/>
                </a:path>
              </a:pathLst>
            </a:custGeom>
            <a:solidFill>
              <a:schemeClr val="accent4">
                <a:lumMod val="40000"/>
                <a:lumOff val="60000"/>
              </a:schemeClr>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48" name="Freeform 281">
              <a:extLst>
                <a:ext uri="{FF2B5EF4-FFF2-40B4-BE49-F238E27FC236}">
                  <a16:creationId xmlns:a16="http://schemas.microsoft.com/office/drawing/2014/main" id="{538D2F63-2F0F-E143-86E2-7F92C6D8D487}"/>
                </a:ext>
              </a:extLst>
            </p:cNvPr>
            <p:cNvSpPr>
              <a:spLocks/>
            </p:cNvSpPr>
            <p:nvPr/>
          </p:nvSpPr>
          <p:spPr bwMode="auto">
            <a:xfrm>
              <a:off x="1900" y="3864"/>
              <a:ext cx="58" cy="46"/>
            </a:xfrm>
            <a:custGeom>
              <a:avLst/>
              <a:gdLst>
                <a:gd name="T0" fmla="*/ 87 w 87"/>
                <a:gd name="T1" fmla="*/ 64 h 69"/>
                <a:gd name="T2" fmla="*/ 60 w 87"/>
                <a:gd name="T3" fmla="*/ 1 h 69"/>
                <a:gd name="T4" fmla="*/ 48 w 87"/>
                <a:gd name="T5" fmla="*/ 1 h 69"/>
                <a:gd name="T6" fmla="*/ 35 w 87"/>
                <a:gd name="T7" fmla="*/ 0 h 69"/>
                <a:gd name="T8" fmla="*/ 24 w 87"/>
                <a:gd name="T9" fmla="*/ 6 h 69"/>
                <a:gd name="T10" fmla="*/ 26 w 87"/>
                <a:gd name="T11" fmla="*/ 19 h 69"/>
                <a:gd name="T12" fmla="*/ 39 w 87"/>
                <a:gd name="T13" fmla="*/ 16 h 69"/>
                <a:gd name="T14" fmla="*/ 48 w 87"/>
                <a:gd name="T15" fmla="*/ 21 h 69"/>
                <a:gd name="T16" fmla="*/ 38 w 87"/>
                <a:gd name="T17" fmla="*/ 28 h 69"/>
                <a:gd name="T18" fmla="*/ 41 w 87"/>
                <a:gd name="T19" fmla="*/ 39 h 69"/>
                <a:gd name="T20" fmla="*/ 60 w 87"/>
                <a:gd name="T21" fmla="*/ 46 h 69"/>
                <a:gd name="T22" fmla="*/ 44 w 87"/>
                <a:gd name="T23" fmla="*/ 46 h 69"/>
                <a:gd name="T24" fmla="*/ 26 w 87"/>
                <a:gd name="T25" fmla="*/ 28 h 69"/>
                <a:gd name="T26" fmla="*/ 14 w 87"/>
                <a:gd name="T27" fmla="*/ 34 h 69"/>
                <a:gd name="T28" fmla="*/ 0 w 87"/>
                <a:gd name="T29" fmla="*/ 37 h 69"/>
                <a:gd name="T30" fmla="*/ 6 w 87"/>
                <a:gd name="T31" fmla="*/ 51 h 69"/>
                <a:gd name="T32" fmla="*/ 32 w 87"/>
                <a:gd name="T33" fmla="*/ 49 h 69"/>
                <a:gd name="T34" fmla="*/ 39 w 87"/>
                <a:gd name="T35" fmla="*/ 58 h 69"/>
                <a:gd name="T36" fmla="*/ 60 w 87"/>
                <a:gd name="T37" fmla="*/ 64 h 69"/>
                <a:gd name="T38" fmla="*/ 75 w 87"/>
                <a:gd name="T39" fmla="*/ 69 h 69"/>
                <a:gd name="T40" fmla="*/ 87 w 87"/>
                <a:gd name="T41" fmla="*/ 6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69">
                  <a:moveTo>
                    <a:pt x="87" y="64"/>
                  </a:moveTo>
                  <a:lnTo>
                    <a:pt x="60" y="1"/>
                  </a:lnTo>
                  <a:lnTo>
                    <a:pt x="48" y="1"/>
                  </a:lnTo>
                  <a:lnTo>
                    <a:pt x="35" y="0"/>
                  </a:lnTo>
                  <a:lnTo>
                    <a:pt x="24" y="6"/>
                  </a:lnTo>
                  <a:lnTo>
                    <a:pt x="26" y="19"/>
                  </a:lnTo>
                  <a:lnTo>
                    <a:pt x="39" y="16"/>
                  </a:lnTo>
                  <a:lnTo>
                    <a:pt x="48" y="21"/>
                  </a:lnTo>
                  <a:lnTo>
                    <a:pt x="38" y="28"/>
                  </a:lnTo>
                  <a:lnTo>
                    <a:pt x="41" y="39"/>
                  </a:lnTo>
                  <a:lnTo>
                    <a:pt x="60" y="46"/>
                  </a:lnTo>
                  <a:lnTo>
                    <a:pt x="44" y="46"/>
                  </a:lnTo>
                  <a:lnTo>
                    <a:pt x="26" y="28"/>
                  </a:lnTo>
                  <a:lnTo>
                    <a:pt x="14" y="34"/>
                  </a:lnTo>
                  <a:lnTo>
                    <a:pt x="0" y="37"/>
                  </a:lnTo>
                  <a:lnTo>
                    <a:pt x="6" y="51"/>
                  </a:lnTo>
                  <a:lnTo>
                    <a:pt x="32" y="49"/>
                  </a:lnTo>
                  <a:lnTo>
                    <a:pt x="39" y="58"/>
                  </a:lnTo>
                  <a:lnTo>
                    <a:pt x="60" y="64"/>
                  </a:lnTo>
                  <a:lnTo>
                    <a:pt x="75" y="69"/>
                  </a:lnTo>
                  <a:lnTo>
                    <a:pt x="87" y="64"/>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49" name="Freeform 282">
              <a:extLst>
                <a:ext uri="{FF2B5EF4-FFF2-40B4-BE49-F238E27FC236}">
                  <a16:creationId xmlns:a16="http://schemas.microsoft.com/office/drawing/2014/main" id="{EE7A721F-7FE7-0E4E-A2E4-3822F054F323}"/>
                </a:ext>
              </a:extLst>
            </p:cNvPr>
            <p:cNvSpPr>
              <a:spLocks/>
            </p:cNvSpPr>
            <p:nvPr/>
          </p:nvSpPr>
          <p:spPr bwMode="auto">
            <a:xfrm>
              <a:off x="2042" y="3839"/>
              <a:ext cx="21" cy="17"/>
            </a:xfrm>
            <a:custGeom>
              <a:avLst/>
              <a:gdLst>
                <a:gd name="T0" fmla="*/ 31 w 31"/>
                <a:gd name="T1" fmla="*/ 2 h 26"/>
                <a:gd name="T2" fmla="*/ 9 w 31"/>
                <a:gd name="T3" fmla="*/ 0 h 26"/>
                <a:gd name="T4" fmla="*/ 10 w 31"/>
                <a:gd name="T5" fmla="*/ 18 h 26"/>
                <a:gd name="T6" fmla="*/ 0 w 31"/>
                <a:gd name="T7" fmla="*/ 14 h 26"/>
                <a:gd name="T8" fmla="*/ 1 w 31"/>
                <a:gd name="T9" fmla="*/ 24 h 26"/>
                <a:gd name="T10" fmla="*/ 18 w 31"/>
                <a:gd name="T11" fmla="*/ 26 h 26"/>
                <a:gd name="T12" fmla="*/ 30 w 31"/>
                <a:gd name="T13" fmla="*/ 14 h 26"/>
                <a:gd name="T14" fmla="*/ 31 w 31"/>
                <a:gd name="T15" fmla="*/ 2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6">
                  <a:moveTo>
                    <a:pt x="31" y="2"/>
                  </a:moveTo>
                  <a:lnTo>
                    <a:pt x="9" y="0"/>
                  </a:lnTo>
                  <a:lnTo>
                    <a:pt x="10" y="18"/>
                  </a:lnTo>
                  <a:lnTo>
                    <a:pt x="0" y="14"/>
                  </a:lnTo>
                  <a:lnTo>
                    <a:pt x="1" y="24"/>
                  </a:lnTo>
                  <a:lnTo>
                    <a:pt x="18" y="26"/>
                  </a:lnTo>
                  <a:lnTo>
                    <a:pt x="30" y="14"/>
                  </a:lnTo>
                  <a:lnTo>
                    <a:pt x="31" y="2"/>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0" name="Freeform 283">
              <a:extLst>
                <a:ext uri="{FF2B5EF4-FFF2-40B4-BE49-F238E27FC236}">
                  <a16:creationId xmlns:a16="http://schemas.microsoft.com/office/drawing/2014/main" id="{4C29CC39-A3C7-B543-B80E-EDCB575CCE6A}"/>
                </a:ext>
              </a:extLst>
            </p:cNvPr>
            <p:cNvSpPr>
              <a:spLocks/>
            </p:cNvSpPr>
            <p:nvPr/>
          </p:nvSpPr>
          <p:spPr bwMode="auto">
            <a:xfrm>
              <a:off x="1494" y="2649"/>
              <a:ext cx="98" cy="47"/>
            </a:xfrm>
            <a:custGeom>
              <a:avLst/>
              <a:gdLst>
                <a:gd name="T0" fmla="*/ 147 w 147"/>
                <a:gd name="T1" fmla="*/ 45 h 70"/>
                <a:gd name="T2" fmla="*/ 135 w 147"/>
                <a:gd name="T3" fmla="*/ 24 h 70"/>
                <a:gd name="T4" fmla="*/ 117 w 147"/>
                <a:gd name="T5" fmla="*/ 9 h 70"/>
                <a:gd name="T6" fmla="*/ 95 w 147"/>
                <a:gd name="T7" fmla="*/ 7 h 70"/>
                <a:gd name="T8" fmla="*/ 83 w 147"/>
                <a:gd name="T9" fmla="*/ 7 h 70"/>
                <a:gd name="T10" fmla="*/ 41 w 147"/>
                <a:gd name="T11" fmla="*/ 25 h 70"/>
                <a:gd name="T12" fmla="*/ 15 w 147"/>
                <a:gd name="T13" fmla="*/ 16 h 70"/>
                <a:gd name="T14" fmla="*/ 9 w 147"/>
                <a:gd name="T15" fmla="*/ 0 h 70"/>
                <a:gd name="T16" fmla="*/ 0 w 147"/>
                <a:gd name="T17" fmla="*/ 10 h 70"/>
                <a:gd name="T18" fmla="*/ 0 w 147"/>
                <a:gd name="T19" fmla="*/ 37 h 70"/>
                <a:gd name="T20" fmla="*/ 29 w 147"/>
                <a:gd name="T21" fmla="*/ 46 h 70"/>
                <a:gd name="T22" fmla="*/ 32 w 147"/>
                <a:gd name="T23" fmla="*/ 61 h 70"/>
                <a:gd name="T24" fmla="*/ 45 w 147"/>
                <a:gd name="T25" fmla="*/ 63 h 70"/>
                <a:gd name="T26" fmla="*/ 66 w 147"/>
                <a:gd name="T27" fmla="*/ 70 h 70"/>
                <a:gd name="T28" fmla="*/ 66 w 147"/>
                <a:gd name="T29" fmla="*/ 54 h 70"/>
                <a:gd name="T30" fmla="*/ 63 w 147"/>
                <a:gd name="T31" fmla="*/ 43 h 70"/>
                <a:gd name="T32" fmla="*/ 86 w 147"/>
                <a:gd name="T33" fmla="*/ 36 h 70"/>
                <a:gd name="T34" fmla="*/ 86 w 147"/>
                <a:gd name="T35" fmla="*/ 22 h 70"/>
                <a:gd name="T36" fmla="*/ 102 w 147"/>
                <a:gd name="T37" fmla="*/ 19 h 70"/>
                <a:gd name="T38" fmla="*/ 116 w 147"/>
                <a:gd name="T39" fmla="*/ 33 h 70"/>
                <a:gd name="T40" fmla="*/ 119 w 147"/>
                <a:gd name="T41" fmla="*/ 43 h 70"/>
                <a:gd name="T42" fmla="*/ 126 w 147"/>
                <a:gd name="T43" fmla="*/ 66 h 70"/>
                <a:gd name="T44" fmla="*/ 147 w 147"/>
                <a:gd name="T45"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70">
                  <a:moveTo>
                    <a:pt x="147" y="45"/>
                  </a:moveTo>
                  <a:lnTo>
                    <a:pt x="135" y="24"/>
                  </a:lnTo>
                  <a:lnTo>
                    <a:pt x="117" y="9"/>
                  </a:lnTo>
                  <a:lnTo>
                    <a:pt x="95" y="7"/>
                  </a:lnTo>
                  <a:lnTo>
                    <a:pt x="83" y="7"/>
                  </a:lnTo>
                  <a:lnTo>
                    <a:pt x="41" y="25"/>
                  </a:lnTo>
                  <a:lnTo>
                    <a:pt x="15" y="16"/>
                  </a:lnTo>
                  <a:lnTo>
                    <a:pt x="9" y="0"/>
                  </a:lnTo>
                  <a:lnTo>
                    <a:pt x="0" y="10"/>
                  </a:lnTo>
                  <a:lnTo>
                    <a:pt x="0" y="37"/>
                  </a:lnTo>
                  <a:lnTo>
                    <a:pt x="29" y="46"/>
                  </a:lnTo>
                  <a:lnTo>
                    <a:pt x="32" y="61"/>
                  </a:lnTo>
                  <a:lnTo>
                    <a:pt x="45" y="63"/>
                  </a:lnTo>
                  <a:lnTo>
                    <a:pt x="66" y="70"/>
                  </a:lnTo>
                  <a:lnTo>
                    <a:pt x="66" y="54"/>
                  </a:lnTo>
                  <a:lnTo>
                    <a:pt x="63" y="43"/>
                  </a:lnTo>
                  <a:lnTo>
                    <a:pt x="86" y="36"/>
                  </a:lnTo>
                  <a:lnTo>
                    <a:pt x="86" y="22"/>
                  </a:lnTo>
                  <a:lnTo>
                    <a:pt x="102" y="19"/>
                  </a:lnTo>
                  <a:lnTo>
                    <a:pt x="116" y="33"/>
                  </a:lnTo>
                  <a:lnTo>
                    <a:pt x="119" y="43"/>
                  </a:lnTo>
                  <a:lnTo>
                    <a:pt x="126" y="66"/>
                  </a:lnTo>
                  <a:lnTo>
                    <a:pt x="147" y="45"/>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1" name="Freeform 284">
              <a:extLst>
                <a:ext uri="{FF2B5EF4-FFF2-40B4-BE49-F238E27FC236}">
                  <a16:creationId xmlns:a16="http://schemas.microsoft.com/office/drawing/2014/main" id="{087AF912-352D-F94D-ABBA-4FA23AFAE107}"/>
                </a:ext>
              </a:extLst>
            </p:cNvPr>
            <p:cNvSpPr>
              <a:spLocks/>
            </p:cNvSpPr>
            <p:nvPr/>
          </p:nvSpPr>
          <p:spPr bwMode="auto">
            <a:xfrm>
              <a:off x="1442" y="2617"/>
              <a:ext cx="58" cy="66"/>
            </a:xfrm>
            <a:custGeom>
              <a:avLst/>
              <a:gdLst>
                <a:gd name="T0" fmla="*/ 77 w 87"/>
                <a:gd name="T1" fmla="*/ 87 h 99"/>
                <a:gd name="T2" fmla="*/ 77 w 87"/>
                <a:gd name="T3" fmla="*/ 57 h 99"/>
                <a:gd name="T4" fmla="*/ 87 w 87"/>
                <a:gd name="T5" fmla="*/ 48 h 99"/>
                <a:gd name="T6" fmla="*/ 66 w 87"/>
                <a:gd name="T7" fmla="*/ 25 h 99"/>
                <a:gd name="T8" fmla="*/ 62 w 87"/>
                <a:gd name="T9" fmla="*/ 16 h 99"/>
                <a:gd name="T10" fmla="*/ 33 w 87"/>
                <a:gd name="T11" fmla="*/ 7 h 99"/>
                <a:gd name="T12" fmla="*/ 21 w 87"/>
                <a:gd name="T13" fmla="*/ 10 h 99"/>
                <a:gd name="T14" fmla="*/ 5 w 87"/>
                <a:gd name="T15" fmla="*/ 0 h 99"/>
                <a:gd name="T16" fmla="*/ 5 w 87"/>
                <a:gd name="T17" fmla="*/ 12 h 99"/>
                <a:gd name="T18" fmla="*/ 0 w 87"/>
                <a:gd name="T19" fmla="*/ 30 h 99"/>
                <a:gd name="T20" fmla="*/ 18 w 87"/>
                <a:gd name="T21" fmla="*/ 49 h 99"/>
                <a:gd name="T22" fmla="*/ 30 w 87"/>
                <a:gd name="T23" fmla="*/ 40 h 99"/>
                <a:gd name="T24" fmla="*/ 50 w 87"/>
                <a:gd name="T25" fmla="*/ 60 h 99"/>
                <a:gd name="T26" fmla="*/ 50 w 87"/>
                <a:gd name="T27" fmla="*/ 70 h 99"/>
                <a:gd name="T28" fmla="*/ 59 w 87"/>
                <a:gd name="T29" fmla="*/ 85 h 99"/>
                <a:gd name="T30" fmla="*/ 77 w 87"/>
                <a:gd name="T31" fmla="*/ 99 h 99"/>
                <a:gd name="T32" fmla="*/ 77 w 87"/>
                <a:gd name="T33" fmla="*/ 8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99">
                  <a:moveTo>
                    <a:pt x="77" y="87"/>
                  </a:moveTo>
                  <a:lnTo>
                    <a:pt x="77" y="57"/>
                  </a:lnTo>
                  <a:lnTo>
                    <a:pt x="87" y="48"/>
                  </a:lnTo>
                  <a:lnTo>
                    <a:pt x="66" y="25"/>
                  </a:lnTo>
                  <a:lnTo>
                    <a:pt x="62" y="16"/>
                  </a:lnTo>
                  <a:lnTo>
                    <a:pt x="33" y="7"/>
                  </a:lnTo>
                  <a:lnTo>
                    <a:pt x="21" y="10"/>
                  </a:lnTo>
                  <a:lnTo>
                    <a:pt x="5" y="0"/>
                  </a:lnTo>
                  <a:lnTo>
                    <a:pt x="5" y="12"/>
                  </a:lnTo>
                  <a:lnTo>
                    <a:pt x="0" y="30"/>
                  </a:lnTo>
                  <a:lnTo>
                    <a:pt x="18" y="49"/>
                  </a:lnTo>
                  <a:lnTo>
                    <a:pt x="30" y="40"/>
                  </a:lnTo>
                  <a:lnTo>
                    <a:pt x="50" y="60"/>
                  </a:lnTo>
                  <a:lnTo>
                    <a:pt x="50" y="70"/>
                  </a:lnTo>
                  <a:lnTo>
                    <a:pt x="59" y="85"/>
                  </a:lnTo>
                  <a:lnTo>
                    <a:pt x="77" y="99"/>
                  </a:lnTo>
                  <a:lnTo>
                    <a:pt x="77" y="87"/>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2" name="Freeform 285">
              <a:extLst>
                <a:ext uri="{FF2B5EF4-FFF2-40B4-BE49-F238E27FC236}">
                  <a16:creationId xmlns:a16="http://schemas.microsoft.com/office/drawing/2014/main" id="{DD82D0E2-3A34-8F4C-9C86-003104D05E24}"/>
                </a:ext>
              </a:extLst>
            </p:cNvPr>
            <p:cNvSpPr>
              <a:spLocks/>
            </p:cNvSpPr>
            <p:nvPr/>
          </p:nvSpPr>
          <p:spPr bwMode="auto">
            <a:xfrm>
              <a:off x="1419" y="2543"/>
              <a:ext cx="77" cy="84"/>
            </a:xfrm>
            <a:custGeom>
              <a:avLst/>
              <a:gdLst>
                <a:gd name="T0" fmla="*/ 71 w 117"/>
                <a:gd name="T1" fmla="*/ 120 h 128"/>
                <a:gd name="T2" fmla="*/ 96 w 117"/>
                <a:gd name="T3" fmla="*/ 128 h 128"/>
                <a:gd name="T4" fmla="*/ 93 w 117"/>
                <a:gd name="T5" fmla="*/ 113 h 128"/>
                <a:gd name="T6" fmla="*/ 98 w 117"/>
                <a:gd name="T7" fmla="*/ 102 h 128"/>
                <a:gd name="T8" fmla="*/ 101 w 117"/>
                <a:gd name="T9" fmla="*/ 81 h 128"/>
                <a:gd name="T10" fmla="*/ 108 w 117"/>
                <a:gd name="T11" fmla="*/ 42 h 128"/>
                <a:gd name="T12" fmla="*/ 117 w 117"/>
                <a:gd name="T13" fmla="*/ 26 h 128"/>
                <a:gd name="T14" fmla="*/ 117 w 117"/>
                <a:gd name="T15" fmla="*/ 0 h 128"/>
                <a:gd name="T16" fmla="*/ 98 w 117"/>
                <a:gd name="T17" fmla="*/ 12 h 128"/>
                <a:gd name="T18" fmla="*/ 75 w 117"/>
                <a:gd name="T19" fmla="*/ 9 h 128"/>
                <a:gd name="T20" fmla="*/ 68 w 117"/>
                <a:gd name="T21" fmla="*/ 23 h 128"/>
                <a:gd name="T22" fmla="*/ 53 w 117"/>
                <a:gd name="T23" fmla="*/ 39 h 128"/>
                <a:gd name="T24" fmla="*/ 42 w 117"/>
                <a:gd name="T25" fmla="*/ 32 h 128"/>
                <a:gd name="T26" fmla="*/ 38 w 117"/>
                <a:gd name="T27" fmla="*/ 41 h 128"/>
                <a:gd name="T28" fmla="*/ 26 w 117"/>
                <a:gd name="T29" fmla="*/ 41 h 128"/>
                <a:gd name="T30" fmla="*/ 17 w 117"/>
                <a:gd name="T31" fmla="*/ 56 h 128"/>
                <a:gd name="T32" fmla="*/ 0 w 117"/>
                <a:gd name="T33" fmla="*/ 66 h 128"/>
                <a:gd name="T34" fmla="*/ 12 w 117"/>
                <a:gd name="T35" fmla="*/ 81 h 128"/>
                <a:gd name="T36" fmla="*/ 27 w 117"/>
                <a:gd name="T37" fmla="*/ 99 h 128"/>
                <a:gd name="T38" fmla="*/ 39 w 117"/>
                <a:gd name="T39" fmla="*/ 111 h 128"/>
                <a:gd name="T40" fmla="*/ 42 w 117"/>
                <a:gd name="T41" fmla="*/ 98 h 128"/>
                <a:gd name="T42" fmla="*/ 45 w 117"/>
                <a:gd name="T43" fmla="*/ 87 h 128"/>
                <a:gd name="T44" fmla="*/ 63 w 117"/>
                <a:gd name="T45" fmla="*/ 104 h 128"/>
                <a:gd name="T46" fmla="*/ 71 w 117"/>
                <a:gd name="T4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28">
                  <a:moveTo>
                    <a:pt x="71" y="120"/>
                  </a:moveTo>
                  <a:lnTo>
                    <a:pt x="96" y="128"/>
                  </a:lnTo>
                  <a:lnTo>
                    <a:pt x="93" y="113"/>
                  </a:lnTo>
                  <a:lnTo>
                    <a:pt x="98" y="102"/>
                  </a:lnTo>
                  <a:lnTo>
                    <a:pt x="101" y="81"/>
                  </a:lnTo>
                  <a:lnTo>
                    <a:pt x="108" y="42"/>
                  </a:lnTo>
                  <a:lnTo>
                    <a:pt x="117" y="26"/>
                  </a:lnTo>
                  <a:lnTo>
                    <a:pt x="117" y="0"/>
                  </a:lnTo>
                  <a:lnTo>
                    <a:pt x="98" y="12"/>
                  </a:lnTo>
                  <a:lnTo>
                    <a:pt x="75" y="9"/>
                  </a:lnTo>
                  <a:lnTo>
                    <a:pt x="68" y="23"/>
                  </a:lnTo>
                  <a:lnTo>
                    <a:pt x="53" y="39"/>
                  </a:lnTo>
                  <a:lnTo>
                    <a:pt x="42" y="32"/>
                  </a:lnTo>
                  <a:lnTo>
                    <a:pt x="38" y="41"/>
                  </a:lnTo>
                  <a:lnTo>
                    <a:pt x="26" y="41"/>
                  </a:lnTo>
                  <a:lnTo>
                    <a:pt x="17" y="56"/>
                  </a:lnTo>
                  <a:lnTo>
                    <a:pt x="0" y="66"/>
                  </a:lnTo>
                  <a:lnTo>
                    <a:pt x="12" y="81"/>
                  </a:lnTo>
                  <a:lnTo>
                    <a:pt x="27" y="99"/>
                  </a:lnTo>
                  <a:lnTo>
                    <a:pt x="39" y="111"/>
                  </a:lnTo>
                  <a:lnTo>
                    <a:pt x="42" y="98"/>
                  </a:lnTo>
                  <a:lnTo>
                    <a:pt x="45" y="87"/>
                  </a:lnTo>
                  <a:lnTo>
                    <a:pt x="63" y="104"/>
                  </a:lnTo>
                  <a:lnTo>
                    <a:pt x="71" y="120"/>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3" name="Freeform 286">
              <a:extLst>
                <a:ext uri="{FF2B5EF4-FFF2-40B4-BE49-F238E27FC236}">
                  <a16:creationId xmlns:a16="http://schemas.microsoft.com/office/drawing/2014/main" id="{8CE6E091-D8BF-6642-B459-0C4DDEE35A8C}"/>
                </a:ext>
              </a:extLst>
            </p:cNvPr>
            <p:cNvSpPr>
              <a:spLocks/>
            </p:cNvSpPr>
            <p:nvPr/>
          </p:nvSpPr>
          <p:spPr bwMode="auto">
            <a:xfrm>
              <a:off x="1394" y="2525"/>
              <a:ext cx="102" cy="55"/>
            </a:xfrm>
            <a:custGeom>
              <a:avLst/>
              <a:gdLst>
                <a:gd name="T0" fmla="*/ 154 w 154"/>
                <a:gd name="T1" fmla="*/ 26 h 84"/>
                <a:gd name="T2" fmla="*/ 135 w 154"/>
                <a:gd name="T3" fmla="*/ 38 h 84"/>
                <a:gd name="T4" fmla="*/ 112 w 154"/>
                <a:gd name="T5" fmla="*/ 35 h 84"/>
                <a:gd name="T6" fmla="*/ 105 w 154"/>
                <a:gd name="T7" fmla="*/ 48 h 84"/>
                <a:gd name="T8" fmla="*/ 90 w 154"/>
                <a:gd name="T9" fmla="*/ 65 h 84"/>
                <a:gd name="T10" fmla="*/ 79 w 154"/>
                <a:gd name="T11" fmla="*/ 57 h 84"/>
                <a:gd name="T12" fmla="*/ 75 w 154"/>
                <a:gd name="T13" fmla="*/ 66 h 84"/>
                <a:gd name="T14" fmla="*/ 64 w 154"/>
                <a:gd name="T15" fmla="*/ 66 h 84"/>
                <a:gd name="T16" fmla="*/ 52 w 154"/>
                <a:gd name="T17" fmla="*/ 84 h 84"/>
                <a:gd name="T18" fmla="*/ 34 w 154"/>
                <a:gd name="T19" fmla="*/ 74 h 84"/>
                <a:gd name="T20" fmla="*/ 39 w 154"/>
                <a:gd name="T21" fmla="*/ 65 h 84"/>
                <a:gd name="T22" fmla="*/ 18 w 154"/>
                <a:gd name="T23" fmla="*/ 62 h 84"/>
                <a:gd name="T24" fmla="*/ 0 w 154"/>
                <a:gd name="T25" fmla="*/ 48 h 84"/>
                <a:gd name="T26" fmla="*/ 7 w 154"/>
                <a:gd name="T27" fmla="*/ 32 h 84"/>
                <a:gd name="T28" fmla="*/ 34 w 154"/>
                <a:gd name="T29" fmla="*/ 8 h 84"/>
                <a:gd name="T30" fmla="*/ 46 w 154"/>
                <a:gd name="T31" fmla="*/ 3 h 84"/>
                <a:gd name="T32" fmla="*/ 76 w 154"/>
                <a:gd name="T33" fmla="*/ 8 h 84"/>
                <a:gd name="T34" fmla="*/ 94 w 154"/>
                <a:gd name="T35" fmla="*/ 0 h 84"/>
                <a:gd name="T36" fmla="*/ 120 w 154"/>
                <a:gd name="T37" fmla="*/ 0 h 84"/>
                <a:gd name="T38" fmla="*/ 139 w 154"/>
                <a:gd name="T39" fmla="*/ 12 h 84"/>
                <a:gd name="T40" fmla="*/ 154 w 154"/>
                <a:gd name="T41"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84">
                  <a:moveTo>
                    <a:pt x="154" y="26"/>
                  </a:moveTo>
                  <a:lnTo>
                    <a:pt x="135" y="38"/>
                  </a:lnTo>
                  <a:lnTo>
                    <a:pt x="112" y="35"/>
                  </a:lnTo>
                  <a:lnTo>
                    <a:pt x="105" y="48"/>
                  </a:lnTo>
                  <a:lnTo>
                    <a:pt x="90" y="65"/>
                  </a:lnTo>
                  <a:lnTo>
                    <a:pt x="79" y="57"/>
                  </a:lnTo>
                  <a:lnTo>
                    <a:pt x="75" y="66"/>
                  </a:lnTo>
                  <a:lnTo>
                    <a:pt x="64" y="66"/>
                  </a:lnTo>
                  <a:lnTo>
                    <a:pt x="52" y="84"/>
                  </a:lnTo>
                  <a:lnTo>
                    <a:pt x="34" y="74"/>
                  </a:lnTo>
                  <a:lnTo>
                    <a:pt x="39" y="65"/>
                  </a:lnTo>
                  <a:lnTo>
                    <a:pt x="18" y="62"/>
                  </a:lnTo>
                  <a:lnTo>
                    <a:pt x="0" y="48"/>
                  </a:lnTo>
                  <a:lnTo>
                    <a:pt x="7" y="32"/>
                  </a:lnTo>
                  <a:lnTo>
                    <a:pt x="34" y="8"/>
                  </a:lnTo>
                  <a:lnTo>
                    <a:pt x="46" y="3"/>
                  </a:lnTo>
                  <a:lnTo>
                    <a:pt x="76" y="8"/>
                  </a:lnTo>
                  <a:lnTo>
                    <a:pt x="94" y="0"/>
                  </a:lnTo>
                  <a:lnTo>
                    <a:pt x="120" y="0"/>
                  </a:lnTo>
                  <a:lnTo>
                    <a:pt x="139" y="12"/>
                  </a:lnTo>
                  <a:lnTo>
                    <a:pt x="154" y="26"/>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4" name="Freeform 287">
              <a:extLst>
                <a:ext uri="{FF2B5EF4-FFF2-40B4-BE49-F238E27FC236}">
                  <a16:creationId xmlns:a16="http://schemas.microsoft.com/office/drawing/2014/main" id="{29B94B79-BE84-344C-AD72-1234C7E5C430}"/>
                </a:ext>
              </a:extLst>
            </p:cNvPr>
            <p:cNvSpPr>
              <a:spLocks/>
            </p:cNvSpPr>
            <p:nvPr/>
          </p:nvSpPr>
          <p:spPr bwMode="auto">
            <a:xfrm>
              <a:off x="1378" y="2556"/>
              <a:ext cx="42" cy="24"/>
            </a:xfrm>
            <a:custGeom>
              <a:avLst/>
              <a:gdLst>
                <a:gd name="T0" fmla="*/ 58 w 63"/>
                <a:gd name="T1" fmla="*/ 26 h 36"/>
                <a:gd name="T2" fmla="*/ 63 w 63"/>
                <a:gd name="T3" fmla="*/ 15 h 36"/>
                <a:gd name="T4" fmla="*/ 42 w 63"/>
                <a:gd name="T5" fmla="*/ 12 h 36"/>
                <a:gd name="T6" fmla="*/ 24 w 63"/>
                <a:gd name="T7" fmla="*/ 0 h 36"/>
                <a:gd name="T8" fmla="*/ 0 w 63"/>
                <a:gd name="T9" fmla="*/ 14 h 36"/>
                <a:gd name="T10" fmla="*/ 10 w 63"/>
                <a:gd name="T11" fmla="*/ 27 h 36"/>
                <a:gd name="T12" fmla="*/ 28 w 63"/>
                <a:gd name="T13" fmla="*/ 30 h 36"/>
                <a:gd name="T14" fmla="*/ 49 w 63"/>
                <a:gd name="T15" fmla="*/ 36 h 36"/>
                <a:gd name="T16" fmla="*/ 58 w 63"/>
                <a:gd name="T17"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6">
                  <a:moveTo>
                    <a:pt x="58" y="26"/>
                  </a:moveTo>
                  <a:lnTo>
                    <a:pt x="63" y="15"/>
                  </a:lnTo>
                  <a:lnTo>
                    <a:pt x="42" y="12"/>
                  </a:lnTo>
                  <a:lnTo>
                    <a:pt x="24" y="0"/>
                  </a:lnTo>
                  <a:lnTo>
                    <a:pt x="0" y="14"/>
                  </a:lnTo>
                  <a:lnTo>
                    <a:pt x="10" y="27"/>
                  </a:lnTo>
                  <a:lnTo>
                    <a:pt x="28" y="30"/>
                  </a:lnTo>
                  <a:lnTo>
                    <a:pt x="49" y="36"/>
                  </a:lnTo>
                  <a:lnTo>
                    <a:pt x="58" y="26"/>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5" name="Freeform 288">
              <a:extLst>
                <a:ext uri="{FF2B5EF4-FFF2-40B4-BE49-F238E27FC236}">
                  <a16:creationId xmlns:a16="http://schemas.microsoft.com/office/drawing/2014/main" id="{7DD0A393-A9E5-E646-930B-E23A112AC1C4}"/>
                </a:ext>
              </a:extLst>
            </p:cNvPr>
            <p:cNvSpPr>
              <a:spLocks/>
            </p:cNvSpPr>
            <p:nvPr/>
          </p:nvSpPr>
          <p:spPr bwMode="auto">
            <a:xfrm>
              <a:off x="1343" y="2489"/>
              <a:ext cx="72" cy="77"/>
            </a:xfrm>
            <a:custGeom>
              <a:avLst/>
              <a:gdLst>
                <a:gd name="T0" fmla="*/ 0 w 108"/>
                <a:gd name="T1" fmla="*/ 95 h 116"/>
                <a:gd name="T2" fmla="*/ 12 w 108"/>
                <a:gd name="T3" fmla="*/ 59 h 116"/>
                <a:gd name="T4" fmla="*/ 30 w 108"/>
                <a:gd name="T5" fmla="*/ 50 h 116"/>
                <a:gd name="T6" fmla="*/ 48 w 108"/>
                <a:gd name="T7" fmla="*/ 50 h 116"/>
                <a:gd name="T8" fmla="*/ 44 w 108"/>
                <a:gd name="T9" fmla="*/ 35 h 116"/>
                <a:gd name="T10" fmla="*/ 36 w 108"/>
                <a:gd name="T11" fmla="*/ 20 h 116"/>
                <a:gd name="T12" fmla="*/ 48 w 108"/>
                <a:gd name="T13" fmla="*/ 2 h 116"/>
                <a:gd name="T14" fmla="*/ 95 w 108"/>
                <a:gd name="T15" fmla="*/ 0 h 116"/>
                <a:gd name="T16" fmla="*/ 89 w 108"/>
                <a:gd name="T17" fmla="*/ 33 h 116"/>
                <a:gd name="T18" fmla="*/ 84 w 108"/>
                <a:gd name="T19" fmla="*/ 56 h 116"/>
                <a:gd name="T20" fmla="*/ 102 w 108"/>
                <a:gd name="T21" fmla="*/ 56 h 116"/>
                <a:gd name="T22" fmla="*/ 108 w 108"/>
                <a:gd name="T23" fmla="*/ 65 h 116"/>
                <a:gd name="T24" fmla="*/ 84 w 108"/>
                <a:gd name="T25" fmla="*/ 84 h 116"/>
                <a:gd name="T26" fmla="*/ 77 w 108"/>
                <a:gd name="T27" fmla="*/ 104 h 116"/>
                <a:gd name="T28" fmla="*/ 54 w 108"/>
                <a:gd name="T29" fmla="*/ 114 h 116"/>
                <a:gd name="T30" fmla="*/ 29 w 108"/>
                <a:gd name="T31" fmla="*/ 116 h 116"/>
                <a:gd name="T32" fmla="*/ 9 w 108"/>
                <a:gd name="T33" fmla="*/ 108 h 116"/>
                <a:gd name="T34" fmla="*/ 0 w 108"/>
                <a:gd name="T35" fmla="*/ 9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16">
                  <a:moveTo>
                    <a:pt x="0" y="95"/>
                  </a:moveTo>
                  <a:lnTo>
                    <a:pt x="12" y="59"/>
                  </a:lnTo>
                  <a:lnTo>
                    <a:pt x="30" y="50"/>
                  </a:lnTo>
                  <a:lnTo>
                    <a:pt x="48" y="50"/>
                  </a:lnTo>
                  <a:lnTo>
                    <a:pt x="44" y="35"/>
                  </a:lnTo>
                  <a:lnTo>
                    <a:pt x="36" y="20"/>
                  </a:lnTo>
                  <a:lnTo>
                    <a:pt x="48" y="2"/>
                  </a:lnTo>
                  <a:lnTo>
                    <a:pt x="95" y="0"/>
                  </a:lnTo>
                  <a:lnTo>
                    <a:pt x="89" y="33"/>
                  </a:lnTo>
                  <a:lnTo>
                    <a:pt x="84" y="56"/>
                  </a:lnTo>
                  <a:lnTo>
                    <a:pt x="102" y="56"/>
                  </a:lnTo>
                  <a:lnTo>
                    <a:pt x="108" y="65"/>
                  </a:lnTo>
                  <a:lnTo>
                    <a:pt x="84" y="84"/>
                  </a:lnTo>
                  <a:lnTo>
                    <a:pt x="77" y="104"/>
                  </a:lnTo>
                  <a:lnTo>
                    <a:pt x="54" y="114"/>
                  </a:lnTo>
                  <a:lnTo>
                    <a:pt x="29" y="116"/>
                  </a:lnTo>
                  <a:lnTo>
                    <a:pt x="9" y="108"/>
                  </a:lnTo>
                  <a:lnTo>
                    <a:pt x="0" y="95"/>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6" name="Freeform 289">
              <a:extLst>
                <a:ext uri="{FF2B5EF4-FFF2-40B4-BE49-F238E27FC236}">
                  <a16:creationId xmlns:a16="http://schemas.microsoft.com/office/drawing/2014/main" id="{AACA113D-D12F-9446-B6C9-94C094EB18C1}"/>
                </a:ext>
              </a:extLst>
            </p:cNvPr>
            <p:cNvSpPr>
              <a:spLocks/>
            </p:cNvSpPr>
            <p:nvPr/>
          </p:nvSpPr>
          <p:spPr bwMode="auto">
            <a:xfrm>
              <a:off x="1398" y="2472"/>
              <a:ext cx="29" cy="54"/>
            </a:xfrm>
            <a:custGeom>
              <a:avLst/>
              <a:gdLst>
                <a:gd name="T0" fmla="*/ 10 w 43"/>
                <a:gd name="T1" fmla="*/ 24 h 81"/>
                <a:gd name="T2" fmla="*/ 4 w 43"/>
                <a:gd name="T3" fmla="*/ 58 h 81"/>
                <a:gd name="T4" fmla="*/ 0 w 43"/>
                <a:gd name="T5" fmla="*/ 81 h 81"/>
                <a:gd name="T6" fmla="*/ 12 w 43"/>
                <a:gd name="T7" fmla="*/ 81 h 81"/>
                <a:gd name="T8" fmla="*/ 16 w 43"/>
                <a:gd name="T9" fmla="*/ 70 h 81"/>
                <a:gd name="T10" fmla="*/ 28 w 43"/>
                <a:gd name="T11" fmla="*/ 54 h 81"/>
                <a:gd name="T12" fmla="*/ 37 w 43"/>
                <a:gd name="T13" fmla="*/ 24 h 81"/>
                <a:gd name="T14" fmla="*/ 43 w 43"/>
                <a:gd name="T15" fmla="*/ 9 h 81"/>
                <a:gd name="T16" fmla="*/ 39 w 43"/>
                <a:gd name="T17" fmla="*/ 0 h 81"/>
                <a:gd name="T18" fmla="*/ 10 w 43"/>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81">
                  <a:moveTo>
                    <a:pt x="10" y="24"/>
                  </a:moveTo>
                  <a:lnTo>
                    <a:pt x="4" y="58"/>
                  </a:lnTo>
                  <a:lnTo>
                    <a:pt x="0" y="81"/>
                  </a:lnTo>
                  <a:lnTo>
                    <a:pt x="12" y="81"/>
                  </a:lnTo>
                  <a:lnTo>
                    <a:pt x="16" y="70"/>
                  </a:lnTo>
                  <a:lnTo>
                    <a:pt x="28" y="54"/>
                  </a:lnTo>
                  <a:lnTo>
                    <a:pt x="37" y="24"/>
                  </a:lnTo>
                  <a:lnTo>
                    <a:pt x="43" y="9"/>
                  </a:lnTo>
                  <a:lnTo>
                    <a:pt x="39" y="0"/>
                  </a:lnTo>
                  <a:lnTo>
                    <a:pt x="10" y="24"/>
                  </a:lnTo>
                  <a:close/>
                </a:path>
              </a:pathLst>
            </a:custGeom>
            <a:solidFill>
              <a:srgbClr val="E5E6E7"/>
            </a:solidFill>
            <a:ln w="31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7" name="Freeform 290">
              <a:extLst>
                <a:ext uri="{FF2B5EF4-FFF2-40B4-BE49-F238E27FC236}">
                  <a16:creationId xmlns:a16="http://schemas.microsoft.com/office/drawing/2014/main" id="{1D576C4E-A171-8C42-BA80-484DB3486365}"/>
                </a:ext>
              </a:extLst>
            </p:cNvPr>
            <p:cNvSpPr>
              <a:spLocks/>
            </p:cNvSpPr>
            <p:nvPr/>
          </p:nvSpPr>
          <p:spPr bwMode="auto">
            <a:xfrm>
              <a:off x="1497" y="2383"/>
              <a:ext cx="164" cy="69"/>
            </a:xfrm>
            <a:custGeom>
              <a:avLst/>
              <a:gdLst>
                <a:gd name="T0" fmla="*/ 13 w 247"/>
                <a:gd name="T1" fmla="*/ 36 h 105"/>
                <a:gd name="T2" fmla="*/ 0 w 247"/>
                <a:gd name="T3" fmla="*/ 34 h 105"/>
                <a:gd name="T4" fmla="*/ 18 w 247"/>
                <a:gd name="T5" fmla="*/ 19 h 105"/>
                <a:gd name="T6" fmla="*/ 39 w 247"/>
                <a:gd name="T7" fmla="*/ 12 h 105"/>
                <a:gd name="T8" fmla="*/ 57 w 247"/>
                <a:gd name="T9" fmla="*/ 4 h 105"/>
                <a:gd name="T10" fmla="*/ 121 w 247"/>
                <a:gd name="T11" fmla="*/ 15 h 105"/>
                <a:gd name="T12" fmla="*/ 144 w 247"/>
                <a:gd name="T13" fmla="*/ 28 h 105"/>
                <a:gd name="T14" fmla="*/ 162 w 247"/>
                <a:gd name="T15" fmla="*/ 40 h 105"/>
                <a:gd name="T16" fmla="*/ 180 w 247"/>
                <a:gd name="T17" fmla="*/ 46 h 105"/>
                <a:gd name="T18" fmla="*/ 202 w 247"/>
                <a:gd name="T19" fmla="*/ 57 h 105"/>
                <a:gd name="T20" fmla="*/ 237 w 247"/>
                <a:gd name="T21" fmla="*/ 82 h 105"/>
                <a:gd name="T22" fmla="*/ 247 w 247"/>
                <a:gd name="T23" fmla="*/ 90 h 105"/>
                <a:gd name="T24" fmla="*/ 220 w 247"/>
                <a:gd name="T25" fmla="*/ 97 h 105"/>
                <a:gd name="T26" fmla="*/ 184 w 247"/>
                <a:gd name="T27" fmla="*/ 105 h 105"/>
                <a:gd name="T28" fmla="*/ 168 w 247"/>
                <a:gd name="T29" fmla="*/ 96 h 105"/>
                <a:gd name="T30" fmla="*/ 174 w 247"/>
                <a:gd name="T31" fmla="*/ 81 h 105"/>
                <a:gd name="T32" fmla="*/ 151 w 247"/>
                <a:gd name="T33" fmla="*/ 75 h 105"/>
                <a:gd name="T34" fmla="*/ 142 w 247"/>
                <a:gd name="T35" fmla="*/ 64 h 105"/>
                <a:gd name="T36" fmla="*/ 121 w 247"/>
                <a:gd name="T37" fmla="*/ 52 h 105"/>
                <a:gd name="T38" fmla="*/ 97 w 247"/>
                <a:gd name="T39" fmla="*/ 42 h 105"/>
                <a:gd name="T40" fmla="*/ 64 w 247"/>
                <a:gd name="T41" fmla="*/ 33 h 105"/>
                <a:gd name="T42" fmla="*/ 64 w 247"/>
                <a:gd name="T43" fmla="*/ 25 h 105"/>
                <a:gd name="T44" fmla="*/ 48 w 247"/>
                <a:gd name="T45" fmla="*/ 21 h 105"/>
                <a:gd name="T46" fmla="*/ 24 w 247"/>
                <a:gd name="T47" fmla="*/ 31 h 105"/>
                <a:gd name="T48" fmla="*/ 13 w 247"/>
                <a:gd name="T49" fmla="*/ 3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05">
                  <a:moveTo>
                    <a:pt x="13" y="36"/>
                  </a:moveTo>
                  <a:cubicBezTo>
                    <a:pt x="5" y="37"/>
                    <a:pt x="4" y="41"/>
                    <a:pt x="0" y="34"/>
                  </a:cubicBezTo>
                  <a:cubicBezTo>
                    <a:pt x="1" y="24"/>
                    <a:pt x="8" y="21"/>
                    <a:pt x="18" y="19"/>
                  </a:cubicBezTo>
                  <a:cubicBezTo>
                    <a:pt x="24" y="12"/>
                    <a:pt x="30" y="13"/>
                    <a:pt x="39" y="12"/>
                  </a:cubicBezTo>
                  <a:cubicBezTo>
                    <a:pt x="45" y="9"/>
                    <a:pt x="51" y="6"/>
                    <a:pt x="57" y="4"/>
                  </a:cubicBezTo>
                  <a:cubicBezTo>
                    <a:pt x="92" y="6"/>
                    <a:pt x="101" y="0"/>
                    <a:pt x="121" y="15"/>
                  </a:cubicBezTo>
                  <a:cubicBezTo>
                    <a:pt x="125" y="23"/>
                    <a:pt x="136" y="26"/>
                    <a:pt x="144" y="28"/>
                  </a:cubicBezTo>
                  <a:cubicBezTo>
                    <a:pt x="148" y="35"/>
                    <a:pt x="153" y="39"/>
                    <a:pt x="162" y="40"/>
                  </a:cubicBezTo>
                  <a:cubicBezTo>
                    <a:pt x="169" y="44"/>
                    <a:pt x="172" y="45"/>
                    <a:pt x="180" y="46"/>
                  </a:cubicBezTo>
                  <a:cubicBezTo>
                    <a:pt x="188" y="50"/>
                    <a:pt x="195" y="52"/>
                    <a:pt x="202" y="57"/>
                  </a:cubicBezTo>
                  <a:cubicBezTo>
                    <a:pt x="207" y="67"/>
                    <a:pt x="226" y="80"/>
                    <a:pt x="237" y="82"/>
                  </a:cubicBezTo>
                  <a:cubicBezTo>
                    <a:pt x="243" y="85"/>
                    <a:pt x="246" y="83"/>
                    <a:pt x="247" y="90"/>
                  </a:cubicBezTo>
                  <a:cubicBezTo>
                    <a:pt x="240" y="95"/>
                    <a:pt x="229" y="95"/>
                    <a:pt x="220" y="97"/>
                  </a:cubicBezTo>
                  <a:cubicBezTo>
                    <a:pt x="211" y="104"/>
                    <a:pt x="195" y="104"/>
                    <a:pt x="184" y="105"/>
                  </a:cubicBezTo>
                  <a:cubicBezTo>
                    <a:pt x="179" y="104"/>
                    <a:pt x="153" y="105"/>
                    <a:pt x="168" y="96"/>
                  </a:cubicBezTo>
                  <a:cubicBezTo>
                    <a:pt x="171" y="91"/>
                    <a:pt x="171" y="86"/>
                    <a:pt x="174" y="81"/>
                  </a:cubicBezTo>
                  <a:cubicBezTo>
                    <a:pt x="167" y="78"/>
                    <a:pt x="159" y="77"/>
                    <a:pt x="151" y="75"/>
                  </a:cubicBezTo>
                  <a:cubicBezTo>
                    <a:pt x="146" y="72"/>
                    <a:pt x="144" y="70"/>
                    <a:pt x="142" y="64"/>
                  </a:cubicBezTo>
                  <a:cubicBezTo>
                    <a:pt x="140" y="48"/>
                    <a:pt x="137" y="51"/>
                    <a:pt x="121" y="52"/>
                  </a:cubicBezTo>
                  <a:cubicBezTo>
                    <a:pt x="112" y="50"/>
                    <a:pt x="106" y="44"/>
                    <a:pt x="97" y="42"/>
                  </a:cubicBezTo>
                  <a:cubicBezTo>
                    <a:pt x="87" y="37"/>
                    <a:pt x="75" y="35"/>
                    <a:pt x="64" y="33"/>
                  </a:cubicBezTo>
                  <a:cubicBezTo>
                    <a:pt x="56" y="29"/>
                    <a:pt x="50" y="28"/>
                    <a:pt x="64" y="25"/>
                  </a:cubicBezTo>
                  <a:cubicBezTo>
                    <a:pt x="69" y="15"/>
                    <a:pt x="53" y="20"/>
                    <a:pt x="48" y="21"/>
                  </a:cubicBezTo>
                  <a:cubicBezTo>
                    <a:pt x="39" y="27"/>
                    <a:pt x="36" y="30"/>
                    <a:pt x="24" y="31"/>
                  </a:cubicBezTo>
                  <a:cubicBezTo>
                    <a:pt x="19" y="33"/>
                    <a:pt x="18" y="38"/>
                    <a:pt x="13" y="36"/>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8" name="Freeform 291">
              <a:extLst>
                <a:ext uri="{FF2B5EF4-FFF2-40B4-BE49-F238E27FC236}">
                  <a16:creationId xmlns:a16="http://schemas.microsoft.com/office/drawing/2014/main" id="{3A73E899-9F0F-064A-9E5C-41CA64893833}"/>
                </a:ext>
              </a:extLst>
            </p:cNvPr>
            <p:cNvSpPr>
              <a:spLocks/>
            </p:cNvSpPr>
            <p:nvPr/>
          </p:nvSpPr>
          <p:spPr bwMode="auto">
            <a:xfrm>
              <a:off x="1587" y="2475"/>
              <a:ext cx="38" cy="16"/>
            </a:xfrm>
            <a:custGeom>
              <a:avLst/>
              <a:gdLst>
                <a:gd name="T0" fmla="*/ 58 w 58"/>
                <a:gd name="T1" fmla="*/ 11 h 24"/>
                <a:gd name="T2" fmla="*/ 37 w 58"/>
                <a:gd name="T3" fmla="*/ 5 h 24"/>
                <a:gd name="T4" fmla="*/ 19 w 58"/>
                <a:gd name="T5" fmla="*/ 0 h 24"/>
                <a:gd name="T6" fmla="*/ 7 w 58"/>
                <a:gd name="T7" fmla="*/ 2 h 24"/>
                <a:gd name="T8" fmla="*/ 13 w 58"/>
                <a:gd name="T9" fmla="*/ 15 h 24"/>
                <a:gd name="T10" fmla="*/ 24 w 58"/>
                <a:gd name="T11" fmla="*/ 24 h 24"/>
                <a:gd name="T12" fmla="*/ 51 w 58"/>
                <a:gd name="T13" fmla="*/ 20 h 24"/>
                <a:gd name="T14" fmla="*/ 58 w 58"/>
                <a:gd name="T15" fmla="*/ 1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4">
                  <a:moveTo>
                    <a:pt x="58" y="11"/>
                  </a:moveTo>
                  <a:cubicBezTo>
                    <a:pt x="52" y="8"/>
                    <a:pt x="44" y="6"/>
                    <a:pt x="37" y="5"/>
                  </a:cubicBezTo>
                  <a:cubicBezTo>
                    <a:pt x="31" y="2"/>
                    <a:pt x="25" y="2"/>
                    <a:pt x="19" y="0"/>
                  </a:cubicBezTo>
                  <a:cubicBezTo>
                    <a:pt x="15" y="1"/>
                    <a:pt x="10" y="0"/>
                    <a:pt x="7" y="2"/>
                  </a:cubicBezTo>
                  <a:cubicBezTo>
                    <a:pt x="0" y="6"/>
                    <a:pt x="9" y="14"/>
                    <a:pt x="13" y="15"/>
                  </a:cubicBezTo>
                  <a:cubicBezTo>
                    <a:pt x="20" y="19"/>
                    <a:pt x="16" y="22"/>
                    <a:pt x="24" y="24"/>
                  </a:cubicBezTo>
                  <a:cubicBezTo>
                    <a:pt x="34" y="23"/>
                    <a:pt x="41" y="21"/>
                    <a:pt x="51" y="20"/>
                  </a:cubicBezTo>
                  <a:cubicBezTo>
                    <a:pt x="53" y="12"/>
                    <a:pt x="56" y="17"/>
                    <a:pt x="58" y="11"/>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59" name="Freeform 292">
              <a:extLst>
                <a:ext uri="{FF2B5EF4-FFF2-40B4-BE49-F238E27FC236}">
                  <a16:creationId xmlns:a16="http://schemas.microsoft.com/office/drawing/2014/main" id="{D5D64EA2-99AC-0A40-B186-F69D7F1936A4}"/>
                </a:ext>
              </a:extLst>
            </p:cNvPr>
            <p:cNvSpPr>
              <a:spLocks/>
            </p:cNvSpPr>
            <p:nvPr/>
          </p:nvSpPr>
          <p:spPr bwMode="auto">
            <a:xfrm>
              <a:off x="1779" y="2476"/>
              <a:ext cx="27" cy="14"/>
            </a:xfrm>
            <a:custGeom>
              <a:avLst/>
              <a:gdLst>
                <a:gd name="T0" fmla="*/ 2 w 41"/>
                <a:gd name="T1" fmla="*/ 16 h 21"/>
                <a:gd name="T2" fmla="*/ 20 w 41"/>
                <a:gd name="T3" fmla="*/ 17 h 21"/>
                <a:gd name="T4" fmla="*/ 41 w 41"/>
                <a:gd name="T5" fmla="*/ 13 h 21"/>
                <a:gd name="T6" fmla="*/ 12 w 41"/>
                <a:gd name="T7" fmla="*/ 1 h 21"/>
                <a:gd name="T8" fmla="*/ 0 w 41"/>
                <a:gd name="T9" fmla="*/ 7 h 21"/>
                <a:gd name="T10" fmla="*/ 2 w 41"/>
                <a:gd name="T11" fmla="*/ 16 h 21"/>
              </a:gdLst>
              <a:ahLst/>
              <a:cxnLst>
                <a:cxn ang="0">
                  <a:pos x="T0" y="T1"/>
                </a:cxn>
                <a:cxn ang="0">
                  <a:pos x="T2" y="T3"/>
                </a:cxn>
                <a:cxn ang="0">
                  <a:pos x="T4" y="T5"/>
                </a:cxn>
                <a:cxn ang="0">
                  <a:pos x="T6" y="T7"/>
                </a:cxn>
                <a:cxn ang="0">
                  <a:pos x="T8" y="T9"/>
                </a:cxn>
                <a:cxn ang="0">
                  <a:pos x="T10" y="T11"/>
                </a:cxn>
              </a:cxnLst>
              <a:rect l="0" t="0" r="r" b="b"/>
              <a:pathLst>
                <a:path w="41" h="21">
                  <a:moveTo>
                    <a:pt x="2" y="16"/>
                  </a:moveTo>
                  <a:cubicBezTo>
                    <a:pt x="8" y="17"/>
                    <a:pt x="14" y="16"/>
                    <a:pt x="20" y="17"/>
                  </a:cubicBezTo>
                  <a:cubicBezTo>
                    <a:pt x="28" y="21"/>
                    <a:pt x="36" y="20"/>
                    <a:pt x="41" y="13"/>
                  </a:cubicBezTo>
                  <a:cubicBezTo>
                    <a:pt x="38" y="5"/>
                    <a:pt x="21" y="2"/>
                    <a:pt x="12" y="1"/>
                  </a:cubicBezTo>
                  <a:cubicBezTo>
                    <a:pt x="7" y="2"/>
                    <a:pt x="1" y="0"/>
                    <a:pt x="0" y="7"/>
                  </a:cubicBezTo>
                  <a:cubicBezTo>
                    <a:pt x="0" y="10"/>
                    <a:pt x="2" y="16"/>
                    <a:pt x="2" y="16"/>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60" name="Freeform 293">
              <a:extLst>
                <a:ext uri="{FF2B5EF4-FFF2-40B4-BE49-F238E27FC236}">
                  <a16:creationId xmlns:a16="http://schemas.microsoft.com/office/drawing/2014/main" id="{13186433-CE9B-BD47-B8BD-F7FDD3870D40}"/>
                </a:ext>
              </a:extLst>
            </p:cNvPr>
            <p:cNvSpPr>
              <a:spLocks/>
            </p:cNvSpPr>
            <p:nvPr/>
          </p:nvSpPr>
          <p:spPr bwMode="auto">
            <a:xfrm>
              <a:off x="1655" y="2447"/>
              <a:ext cx="50" cy="40"/>
            </a:xfrm>
            <a:custGeom>
              <a:avLst/>
              <a:gdLst>
                <a:gd name="T0" fmla="*/ 68 w 75"/>
                <a:gd name="T1" fmla="*/ 57 h 60"/>
                <a:gd name="T2" fmla="*/ 75 w 75"/>
                <a:gd name="T3" fmla="*/ 6 h 60"/>
                <a:gd name="T4" fmla="*/ 59 w 75"/>
                <a:gd name="T5" fmla="*/ 0 h 60"/>
                <a:gd name="T6" fmla="*/ 44 w 75"/>
                <a:gd name="T7" fmla="*/ 17 h 60"/>
                <a:gd name="T8" fmla="*/ 41 w 75"/>
                <a:gd name="T9" fmla="*/ 45 h 60"/>
                <a:gd name="T10" fmla="*/ 20 w 75"/>
                <a:gd name="T11" fmla="*/ 39 h 60"/>
                <a:gd name="T12" fmla="*/ 0 w 75"/>
                <a:gd name="T13" fmla="*/ 48 h 60"/>
                <a:gd name="T14" fmla="*/ 14 w 75"/>
                <a:gd name="T15" fmla="*/ 60 h 60"/>
                <a:gd name="T16" fmla="*/ 36 w 75"/>
                <a:gd name="T17" fmla="*/ 57 h 60"/>
                <a:gd name="T18" fmla="*/ 54 w 75"/>
                <a:gd name="T19" fmla="*/ 54 h 60"/>
                <a:gd name="T20" fmla="*/ 68 w 75"/>
                <a:gd name="T21" fmla="*/ 5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60">
                  <a:moveTo>
                    <a:pt x="68" y="57"/>
                  </a:moveTo>
                  <a:lnTo>
                    <a:pt x="75" y="6"/>
                  </a:lnTo>
                  <a:cubicBezTo>
                    <a:pt x="68" y="5"/>
                    <a:pt x="64" y="4"/>
                    <a:pt x="59" y="0"/>
                  </a:cubicBezTo>
                  <a:cubicBezTo>
                    <a:pt x="42" y="2"/>
                    <a:pt x="41" y="1"/>
                    <a:pt x="44" y="17"/>
                  </a:cubicBezTo>
                  <a:cubicBezTo>
                    <a:pt x="45" y="28"/>
                    <a:pt x="50" y="38"/>
                    <a:pt x="41" y="45"/>
                  </a:cubicBezTo>
                  <a:cubicBezTo>
                    <a:pt x="34" y="41"/>
                    <a:pt x="28" y="41"/>
                    <a:pt x="20" y="39"/>
                  </a:cubicBezTo>
                  <a:cubicBezTo>
                    <a:pt x="9" y="41"/>
                    <a:pt x="5" y="39"/>
                    <a:pt x="0" y="48"/>
                  </a:cubicBezTo>
                  <a:cubicBezTo>
                    <a:pt x="3" y="56"/>
                    <a:pt x="6" y="58"/>
                    <a:pt x="14" y="60"/>
                  </a:cubicBezTo>
                  <a:cubicBezTo>
                    <a:pt x="21" y="54"/>
                    <a:pt x="27" y="56"/>
                    <a:pt x="36" y="57"/>
                  </a:cubicBezTo>
                  <a:cubicBezTo>
                    <a:pt x="46" y="59"/>
                    <a:pt x="46" y="58"/>
                    <a:pt x="54" y="54"/>
                  </a:cubicBezTo>
                  <a:cubicBezTo>
                    <a:pt x="65" y="56"/>
                    <a:pt x="60" y="55"/>
                    <a:pt x="68" y="57"/>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61" name="Freeform 294">
              <a:extLst>
                <a:ext uri="{FF2B5EF4-FFF2-40B4-BE49-F238E27FC236}">
                  <a16:creationId xmlns:a16="http://schemas.microsoft.com/office/drawing/2014/main" id="{83FB1361-89F2-1545-90E1-6E562BB0EC57}"/>
                </a:ext>
              </a:extLst>
            </p:cNvPr>
            <p:cNvSpPr>
              <a:spLocks/>
            </p:cNvSpPr>
            <p:nvPr/>
          </p:nvSpPr>
          <p:spPr bwMode="auto">
            <a:xfrm>
              <a:off x="1701" y="2448"/>
              <a:ext cx="60" cy="41"/>
            </a:xfrm>
            <a:custGeom>
              <a:avLst/>
              <a:gdLst>
                <a:gd name="T0" fmla="*/ 0 w 90"/>
                <a:gd name="T1" fmla="*/ 55 h 61"/>
                <a:gd name="T2" fmla="*/ 6 w 90"/>
                <a:gd name="T3" fmla="*/ 0 h 61"/>
                <a:gd name="T4" fmla="*/ 50 w 90"/>
                <a:gd name="T5" fmla="*/ 7 h 61"/>
                <a:gd name="T6" fmla="*/ 62 w 90"/>
                <a:gd name="T7" fmla="*/ 18 h 61"/>
                <a:gd name="T8" fmla="*/ 63 w 90"/>
                <a:gd name="T9" fmla="*/ 24 h 61"/>
                <a:gd name="T10" fmla="*/ 90 w 90"/>
                <a:gd name="T11" fmla="*/ 39 h 61"/>
                <a:gd name="T12" fmla="*/ 80 w 90"/>
                <a:gd name="T13" fmla="*/ 49 h 61"/>
                <a:gd name="T14" fmla="*/ 51 w 90"/>
                <a:gd name="T15" fmla="*/ 45 h 61"/>
                <a:gd name="T16" fmla="*/ 35 w 90"/>
                <a:gd name="T17" fmla="*/ 51 h 61"/>
                <a:gd name="T18" fmla="*/ 12 w 90"/>
                <a:gd name="T19" fmla="*/ 52 h 61"/>
                <a:gd name="T20" fmla="*/ 3 w 90"/>
                <a:gd name="T21" fmla="*/ 60 h 61"/>
                <a:gd name="T22" fmla="*/ 0 w 90"/>
                <a:gd name="T23"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61">
                  <a:moveTo>
                    <a:pt x="0" y="55"/>
                  </a:moveTo>
                  <a:lnTo>
                    <a:pt x="6" y="0"/>
                  </a:lnTo>
                  <a:cubicBezTo>
                    <a:pt x="21" y="1"/>
                    <a:pt x="35" y="5"/>
                    <a:pt x="50" y="7"/>
                  </a:cubicBezTo>
                  <a:cubicBezTo>
                    <a:pt x="55" y="11"/>
                    <a:pt x="59" y="12"/>
                    <a:pt x="62" y="18"/>
                  </a:cubicBezTo>
                  <a:cubicBezTo>
                    <a:pt x="62" y="20"/>
                    <a:pt x="62" y="22"/>
                    <a:pt x="63" y="24"/>
                  </a:cubicBezTo>
                  <a:cubicBezTo>
                    <a:pt x="64" y="25"/>
                    <a:pt x="87" y="37"/>
                    <a:pt x="90" y="39"/>
                  </a:cubicBezTo>
                  <a:cubicBezTo>
                    <a:pt x="89" y="48"/>
                    <a:pt x="86" y="44"/>
                    <a:pt x="80" y="49"/>
                  </a:cubicBezTo>
                  <a:cubicBezTo>
                    <a:pt x="67" y="48"/>
                    <a:pt x="62" y="47"/>
                    <a:pt x="51" y="45"/>
                  </a:cubicBezTo>
                  <a:cubicBezTo>
                    <a:pt x="45" y="46"/>
                    <a:pt x="41" y="49"/>
                    <a:pt x="35" y="51"/>
                  </a:cubicBezTo>
                  <a:cubicBezTo>
                    <a:pt x="28" y="49"/>
                    <a:pt x="12" y="52"/>
                    <a:pt x="12" y="52"/>
                  </a:cubicBezTo>
                  <a:cubicBezTo>
                    <a:pt x="10" y="60"/>
                    <a:pt x="11" y="61"/>
                    <a:pt x="3" y="60"/>
                  </a:cubicBezTo>
                  <a:cubicBezTo>
                    <a:pt x="2" y="54"/>
                    <a:pt x="4" y="55"/>
                    <a:pt x="0" y="55"/>
                  </a:cubicBez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62" name="Freeform 295">
              <a:extLst>
                <a:ext uri="{FF2B5EF4-FFF2-40B4-BE49-F238E27FC236}">
                  <a16:creationId xmlns:a16="http://schemas.microsoft.com/office/drawing/2014/main" id="{3BC45AA0-A9D6-D243-8FDC-E57157E0A726}"/>
                </a:ext>
              </a:extLst>
            </p:cNvPr>
            <p:cNvSpPr>
              <a:spLocks/>
            </p:cNvSpPr>
            <p:nvPr/>
          </p:nvSpPr>
          <p:spPr bwMode="auto">
            <a:xfrm>
              <a:off x="1857" y="2627"/>
              <a:ext cx="14" cy="16"/>
            </a:xfrm>
            <a:custGeom>
              <a:avLst/>
              <a:gdLst>
                <a:gd name="T0" fmla="*/ 9 w 21"/>
                <a:gd name="T1" fmla="*/ 24 h 24"/>
                <a:gd name="T2" fmla="*/ 9 w 21"/>
                <a:gd name="T3" fmla="*/ 7 h 24"/>
                <a:gd name="T4" fmla="*/ 21 w 21"/>
                <a:gd name="T5" fmla="*/ 9 h 24"/>
                <a:gd name="T6" fmla="*/ 13 w 21"/>
                <a:gd name="T7" fmla="*/ 22 h 24"/>
                <a:gd name="T8" fmla="*/ 9 w 21"/>
                <a:gd name="T9" fmla="*/ 24 h 24"/>
              </a:gdLst>
              <a:ahLst/>
              <a:cxnLst>
                <a:cxn ang="0">
                  <a:pos x="T0" y="T1"/>
                </a:cxn>
                <a:cxn ang="0">
                  <a:pos x="T2" y="T3"/>
                </a:cxn>
                <a:cxn ang="0">
                  <a:pos x="T4" y="T5"/>
                </a:cxn>
                <a:cxn ang="0">
                  <a:pos x="T6" y="T7"/>
                </a:cxn>
                <a:cxn ang="0">
                  <a:pos x="T8" y="T9"/>
                </a:cxn>
              </a:cxnLst>
              <a:rect l="0" t="0" r="r" b="b"/>
              <a:pathLst>
                <a:path w="21" h="24">
                  <a:moveTo>
                    <a:pt x="9" y="24"/>
                  </a:moveTo>
                  <a:cubicBezTo>
                    <a:pt x="0" y="20"/>
                    <a:pt x="1" y="12"/>
                    <a:pt x="9" y="7"/>
                  </a:cubicBezTo>
                  <a:cubicBezTo>
                    <a:pt x="14" y="0"/>
                    <a:pt x="17" y="3"/>
                    <a:pt x="21" y="9"/>
                  </a:cubicBezTo>
                  <a:cubicBezTo>
                    <a:pt x="19" y="13"/>
                    <a:pt x="17" y="19"/>
                    <a:pt x="13" y="22"/>
                  </a:cubicBezTo>
                  <a:cubicBezTo>
                    <a:pt x="12" y="23"/>
                    <a:pt x="9" y="24"/>
                    <a:pt x="9" y="2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63" name="Freeform 296">
              <a:extLst>
                <a:ext uri="{FF2B5EF4-FFF2-40B4-BE49-F238E27FC236}">
                  <a16:creationId xmlns:a16="http://schemas.microsoft.com/office/drawing/2014/main" id="{3044BA8F-2C6E-B74A-8D81-7BAC6FAA170B}"/>
                </a:ext>
              </a:extLst>
            </p:cNvPr>
            <p:cNvSpPr>
              <a:spLocks noChangeAspect="1"/>
            </p:cNvSpPr>
            <p:nvPr/>
          </p:nvSpPr>
          <p:spPr bwMode="auto">
            <a:xfrm>
              <a:off x="1537" y="3125"/>
              <a:ext cx="8" cy="15"/>
            </a:xfrm>
            <a:custGeom>
              <a:avLst/>
              <a:gdLst>
                <a:gd name="T0" fmla="*/ 3 w 12"/>
                <a:gd name="T1" fmla="*/ 0 h 22"/>
                <a:gd name="T2" fmla="*/ 0 w 12"/>
                <a:gd name="T3" fmla="*/ 4 h 22"/>
                <a:gd name="T4" fmla="*/ 0 w 12"/>
                <a:gd name="T5" fmla="*/ 14 h 22"/>
                <a:gd name="T6" fmla="*/ 8 w 12"/>
                <a:gd name="T7" fmla="*/ 21 h 22"/>
                <a:gd name="T8" fmla="*/ 11 w 12"/>
                <a:gd name="T9" fmla="*/ 11 h 22"/>
                <a:gd name="T10" fmla="*/ 3 w 12"/>
                <a:gd name="T11" fmla="*/ 0 h 22"/>
                <a:gd name="T12" fmla="*/ 3 w 1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 h="22">
                  <a:moveTo>
                    <a:pt x="3" y="0"/>
                  </a:moveTo>
                  <a:lnTo>
                    <a:pt x="0" y="4"/>
                  </a:lnTo>
                  <a:lnTo>
                    <a:pt x="0" y="14"/>
                  </a:lnTo>
                  <a:lnTo>
                    <a:pt x="8" y="21"/>
                  </a:lnTo>
                  <a:lnTo>
                    <a:pt x="11" y="11"/>
                  </a:lnTo>
                  <a:lnTo>
                    <a:pt x="3" y="0"/>
                  </a:lnTo>
                  <a:lnTo>
                    <a:pt x="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64" name="Freeform 297">
              <a:extLst>
                <a:ext uri="{FF2B5EF4-FFF2-40B4-BE49-F238E27FC236}">
                  <a16:creationId xmlns:a16="http://schemas.microsoft.com/office/drawing/2014/main" id="{7508C3A4-7594-234E-A211-A3C869472539}"/>
                </a:ext>
              </a:extLst>
            </p:cNvPr>
            <p:cNvSpPr>
              <a:spLocks noChangeAspect="1"/>
            </p:cNvSpPr>
            <p:nvPr/>
          </p:nvSpPr>
          <p:spPr bwMode="auto">
            <a:xfrm>
              <a:off x="1493" y="3154"/>
              <a:ext cx="12" cy="12"/>
            </a:xfrm>
            <a:custGeom>
              <a:avLst/>
              <a:gdLst>
                <a:gd name="T0" fmla="*/ 1 w 17"/>
                <a:gd name="T1" fmla="*/ 0 h 17"/>
                <a:gd name="T2" fmla="*/ 0 w 17"/>
                <a:gd name="T3" fmla="*/ 3 h 17"/>
                <a:gd name="T4" fmla="*/ 1 w 17"/>
                <a:gd name="T5" fmla="*/ 11 h 17"/>
                <a:gd name="T6" fmla="*/ 10 w 17"/>
                <a:gd name="T7" fmla="*/ 16 h 17"/>
                <a:gd name="T8" fmla="*/ 16 w 17"/>
                <a:gd name="T9" fmla="*/ 9 h 17"/>
                <a:gd name="T10" fmla="*/ 1 w 17"/>
                <a:gd name="T11" fmla="*/ 0 h 17"/>
                <a:gd name="T12" fmla="*/ 1 w 1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1" y="0"/>
                  </a:moveTo>
                  <a:lnTo>
                    <a:pt x="0" y="3"/>
                  </a:lnTo>
                  <a:lnTo>
                    <a:pt x="1" y="11"/>
                  </a:lnTo>
                  <a:lnTo>
                    <a:pt x="10" y="16"/>
                  </a:lnTo>
                  <a:lnTo>
                    <a:pt x="16" y="9"/>
                  </a:lnTo>
                  <a:lnTo>
                    <a:pt x="1" y="0"/>
                  </a:lnTo>
                  <a:lnTo>
                    <a:pt x="1"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65" name="Freeform 299">
              <a:extLst>
                <a:ext uri="{FF2B5EF4-FFF2-40B4-BE49-F238E27FC236}">
                  <a16:creationId xmlns:a16="http://schemas.microsoft.com/office/drawing/2014/main" id="{19AE4977-EA51-6E4A-BE97-AB56932E3182}"/>
                </a:ext>
              </a:extLst>
            </p:cNvPr>
            <p:cNvSpPr>
              <a:spLocks noChangeAspect="1"/>
            </p:cNvSpPr>
            <p:nvPr/>
          </p:nvSpPr>
          <p:spPr bwMode="auto">
            <a:xfrm>
              <a:off x="1589" y="2526"/>
              <a:ext cx="16" cy="21"/>
            </a:xfrm>
            <a:custGeom>
              <a:avLst/>
              <a:gdLst>
                <a:gd name="T0" fmla="*/ 21 w 22"/>
                <a:gd name="T1" fmla="*/ 4 h 29"/>
                <a:gd name="T2" fmla="*/ 20 w 22"/>
                <a:gd name="T3" fmla="*/ 10 h 29"/>
                <a:gd name="T4" fmla="*/ 21 w 22"/>
                <a:gd name="T5" fmla="*/ 23 h 29"/>
                <a:gd name="T6" fmla="*/ 7 w 22"/>
                <a:gd name="T7" fmla="*/ 28 h 29"/>
                <a:gd name="T8" fmla="*/ 0 w 22"/>
                <a:gd name="T9" fmla="*/ 21 h 29"/>
                <a:gd name="T10" fmla="*/ 0 w 22"/>
                <a:gd name="T11" fmla="*/ 10 h 29"/>
                <a:gd name="T12" fmla="*/ 4 w 22"/>
                <a:gd name="T13" fmla="*/ 0 h 29"/>
                <a:gd name="T14" fmla="*/ 21 w 22"/>
                <a:gd name="T15" fmla="*/ 4 h 29"/>
                <a:gd name="T16" fmla="*/ 21 w 22"/>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9">
                  <a:moveTo>
                    <a:pt x="21" y="4"/>
                  </a:moveTo>
                  <a:lnTo>
                    <a:pt x="20" y="10"/>
                  </a:lnTo>
                  <a:lnTo>
                    <a:pt x="21" y="23"/>
                  </a:lnTo>
                  <a:lnTo>
                    <a:pt x="7" y="28"/>
                  </a:lnTo>
                  <a:lnTo>
                    <a:pt x="0" y="21"/>
                  </a:lnTo>
                  <a:lnTo>
                    <a:pt x="0" y="10"/>
                  </a:lnTo>
                  <a:lnTo>
                    <a:pt x="4" y="0"/>
                  </a:lnTo>
                  <a:lnTo>
                    <a:pt x="21" y="4"/>
                  </a:lnTo>
                  <a:lnTo>
                    <a:pt x="21" y="4"/>
                  </a:lnTo>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66" name="Freeform 300">
              <a:extLst>
                <a:ext uri="{FF2B5EF4-FFF2-40B4-BE49-F238E27FC236}">
                  <a16:creationId xmlns:a16="http://schemas.microsoft.com/office/drawing/2014/main" id="{EAE0122B-80CD-774A-8F2B-622AD4FE7057}"/>
                </a:ext>
              </a:extLst>
            </p:cNvPr>
            <p:cNvSpPr>
              <a:spLocks noChangeAspect="1"/>
            </p:cNvSpPr>
            <p:nvPr/>
          </p:nvSpPr>
          <p:spPr bwMode="auto">
            <a:xfrm>
              <a:off x="1564" y="2539"/>
              <a:ext cx="15" cy="12"/>
            </a:xfrm>
            <a:custGeom>
              <a:avLst/>
              <a:gdLst>
                <a:gd name="T0" fmla="*/ 17 w 20"/>
                <a:gd name="T1" fmla="*/ 0 h 16"/>
                <a:gd name="T2" fmla="*/ 19 w 20"/>
                <a:gd name="T3" fmla="*/ 11 h 16"/>
                <a:gd name="T4" fmla="*/ 4 w 20"/>
                <a:gd name="T5" fmla="*/ 15 h 16"/>
                <a:gd name="T6" fmla="*/ 0 w 20"/>
                <a:gd name="T7" fmla="*/ 4 h 16"/>
                <a:gd name="T8" fmla="*/ 17 w 20"/>
                <a:gd name="T9" fmla="*/ 0 h 16"/>
                <a:gd name="T10" fmla="*/ 17 w 20"/>
                <a:gd name="T11" fmla="*/ 0 h 16"/>
              </a:gdLst>
              <a:ahLst/>
              <a:cxnLst>
                <a:cxn ang="0">
                  <a:pos x="T0" y="T1"/>
                </a:cxn>
                <a:cxn ang="0">
                  <a:pos x="T2" y="T3"/>
                </a:cxn>
                <a:cxn ang="0">
                  <a:pos x="T4" y="T5"/>
                </a:cxn>
                <a:cxn ang="0">
                  <a:pos x="T6" y="T7"/>
                </a:cxn>
                <a:cxn ang="0">
                  <a:pos x="T8" y="T9"/>
                </a:cxn>
                <a:cxn ang="0">
                  <a:pos x="T10" y="T11"/>
                </a:cxn>
              </a:cxnLst>
              <a:rect l="0" t="0" r="r" b="b"/>
              <a:pathLst>
                <a:path w="20" h="16">
                  <a:moveTo>
                    <a:pt x="17" y="0"/>
                  </a:moveTo>
                  <a:lnTo>
                    <a:pt x="19" y="11"/>
                  </a:lnTo>
                  <a:lnTo>
                    <a:pt x="4" y="15"/>
                  </a:lnTo>
                  <a:lnTo>
                    <a:pt x="0" y="4"/>
                  </a:lnTo>
                  <a:lnTo>
                    <a:pt x="17" y="0"/>
                  </a:lnTo>
                  <a:lnTo>
                    <a:pt x="17"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67" name="Freeform 301">
              <a:extLst>
                <a:ext uri="{FF2B5EF4-FFF2-40B4-BE49-F238E27FC236}">
                  <a16:creationId xmlns:a16="http://schemas.microsoft.com/office/drawing/2014/main" id="{6CD22CE8-396D-4347-A4D3-E4A45AB358C5}"/>
                </a:ext>
              </a:extLst>
            </p:cNvPr>
            <p:cNvSpPr>
              <a:spLocks noChangeAspect="1"/>
            </p:cNvSpPr>
            <p:nvPr/>
          </p:nvSpPr>
          <p:spPr bwMode="auto">
            <a:xfrm>
              <a:off x="1569" y="2517"/>
              <a:ext cx="18" cy="14"/>
            </a:xfrm>
            <a:custGeom>
              <a:avLst/>
              <a:gdLst>
                <a:gd name="T0" fmla="*/ 0 w 25"/>
                <a:gd name="T1" fmla="*/ 13 h 20"/>
                <a:gd name="T2" fmla="*/ 17 w 25"/>
                <a:gd name="T3" fmla="*/ 19 h 20"/>
                <a:gd name="T4" fmla="*/ 24 w 25"/>
                <a:gd name="T5" fmla="*/ 4 h 20"/>
                <a:gd name="T6" fmla="*/ 13 w 25"/>
                <a:gd name="T7" fmla="*/ 0 h 20"/>
                <a:gd name="T8" fmla="*/ 7 w 25"/>
                <a:gd name="T9" fmla="*/ 4 h 20"/>
                <a:gd name="T10" fmla="*/ 0 w 25"/>
                <a:gd name="T11" fmla="*/ 8 h 20"/>
                <a:gd name="T12" fmla="*/ 0 w 25"/>
                <a:gd name="T13" fmla="*/ 13 h 20"/>
                <a:gd name="T14" fmla="*/ 0 w 25"/>
                <a:gd name="T15" fmla="*/ 1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0">
                  <a:moveTo>
                    <a:pt x="0" y="13"/>
                  </a:moveTo>
                  <a:lnTo>
                    <a:pt x="17" y="19"/>
                  </a:lnTo>
                  <a:lnTo>
                    <a:pt x="24" y="4"/>
                  </a:lnTo>
                  <a:lnTo>
                    <a:pt x="13" y="0"/>
                  </a:lnTo>
                  <a:lnTo>
                    <a:pt x="7" y="4"/>
                  </a:lnTo>
                  <a:lnTo>
                    <a:pt x="0" y="8"/>
                  </a:lnTo>
                  <a:lnTo>
                    <a:pt x="0" y="13"/>
                  </a:lnTo>
                  <a:lnTo>
                    <a:pt x="0" y="13"/>
                  </a:lnTo>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68" name="Freeform 302">
              <a:extLst>
                <a:ext uri="{FF2B5EF4-FFF2-40B4-BE49-F238E27FC236}">
                  <a16:creationId xmlns:a16="http://schemas.microsoft.com/office/drawing/2014/main" id="{60DA8A84-A66A-DB42-9D0D-0E48F45EC32C}"/>
                </a:ext>
              </a:extLst>
            </p:cNvPr>
            <p:cNvSpPr>
              <a:spLocks noChangeAspect="1"/>
            </p:cNvSpPr>
            <p:nvPr/>
          </p:nvSpPr>
          <p:spPr bwMode="auto">
            <a:xfrm>
              <a:off x="1589" y="2505"/>
              <a:ext cx="13" cy="8"/>
            </a:xfrm>
            <a:custGeom>
              <a:avLst/>
              <a:gdLst>
                <a:gd name="T0" fmla="*/ 0 w 18"/>
                <a:gd name="T1" fmla="*/ 11 h 12"/>
                <a:gd name="T2" fmla="*/ 13 w 18"/>
                <a:gd name="T3" fmla="*/ 0 h 12"/>
                <a:gd name="T4" fmla="*/ 17 w 18"/>
                <a:gd name="T5" fmla="*/ 4 h 12"/>
                <a:gd name="T6" fmla="*/ 0 w 18"/>
                <a:gd name="T7" fmla="*/ 11 h 12"/>
                <a:gd name="T8" fmla="*/ 0 w 18"/>
                <a:gd name="T9" fmla="*/ 11 h 12"/>
              </a:gdLst>
              <a:ahLst/>
              <a:cxnLst>
                <a:cxn ang="0">
                  <a:pos x="T0" y="T1"/>
                </a:cxn>
                <a:cxn ang="0">
                  <a:pos x="T2" y="T3"/>
                </a:cxn>
                <a:cxn ang="0">
                  <a:pos x="T4" y="T5"/>
                </a:cxn>
                <a:cxn ang="0">
                  <a:pos x="T6" y="T7"/>
                </a:cxn>
                <a:cxn ang="0">
                  <a:pos x="T8" y="T9"/>
                </a:cxn>
              </a:cxnLst>
              <a:rect l="0" t="0" r="r" b="b"/>
              <a:pathLst>
                <a:path w="18" h="12">
                  <a:moveTo>
                    <a:pt x="0" y="11"/>
                  </a:moveTo>
                  <a:lnTo>
                    <a:pt x="13" y="0"/>
                  </a:lnTo>
                  <a:lnTo>
                    <a:pt x="17" y="4"/>
                  </a:lnTo>
                  <a:lnTo>
                    <a:pt x="0" y="11"/>
                  </a:lnTo>
                  <a:lnTo>
                    <a:pt x="0" y="1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69" name="Freeform 303">
              <a:extLst>
                <a:ext uri="{FF2B5EF4-FFF2-40B4-BE49-F238E27FC236}">
                  <a16:creationId xmlns:a16="http://schemas.microsoft.com/office/drawing/2014/main" id="{2E77FC1A-A417-8A4A-8568-4771FFDF3E02}"/>
                </a:ext>
              </a:extLst>
            </p:cNvPr>
            <p:cNvSpPr>
              <a:spLocks noChangeAspect="1"/>
            </p:cNvSpPr>
            <p:nvPr/>
          </p:nvSpPr>
          <p:spPr bwMode="auto">
            <a:xfrm>
              <a:off x="1544" y="2544"/>
              <a:ext cx="10" cy="9"/>
            </a:xfrm>
            <a:custGeom>
              <a:avLst/>
              <a:gdLst>
                <a:gd name="T0" fmla="*/ 11 w 14"/>
                <a:gd name="T1" fmla="*/ 0 h 13"/>
                <a:gd name="T2" fmla="*/ 13 w 14"/>
                <a:gd name="T3" fmla="*/ 10 h 13"/>
                <a:gd name="T4" fmla="*/ 0 w 14"/>
                <a:gd name="T5" fmla="*/ 12 h 13"/>
                <a:gd name="T6" fmla="*/ 11 w 14"/>
                <a:gd name="T7" fmla="*/ 0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lnTo>
                    <a:pt x="13" y="10"/>
                  </a:lnTo>
                  <a:lnTo>
                    <a:pt x="0" y="12"/>
                  </a:lnTo>
                  <a:lnTo>
                    <a:pt x="11" y="0"/>
                  </a:lnTo>
                  <a:lnTo>
                    <a:pt x="11" y="0"/>
                  </a:lnTo>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70" name="Freeform 304">
              <a:extLst>
                <a:ext uri="{FF2B5EF4-FFF2-40B4-BE49-F238E27FC236}">
                  <a16:creationId xmlns:a16="http://schemas.microsoft.com/office/drawing/2014/main" id="{921067D9-CA00-2549-88CB-8ACDBAA2B614}"/>
                </a:ext>
              </a:extLst>
            </p:cNvPr>
            <p:cNvSpPr>
              <a:spLocks noChangeAspect="1"/>
            </p:cNvSpPr>
            <p:nvPr/>
          </p:nvSpPr>
          <p:spPr bwMode="auto">
            <a:xfrm>
              <a:off x="1643" y="2481"/>
              <a:ext cx="18" cy="14"/>
            </a:xfrm>
            <a:custGeom>
              <a:avLst/>
              <a:gdLst>
                <a:gd name="T0" fmla="*/ 11 w 25"/>
                <a:gd name="T1" fmla="*/ 0 h 20"/>
                <a:gd name="T2" fmla="*/ 0 w 25"/>
                <a:gd name="T3" fmla="*/ 8 h 20"/>
                <a:gd name="T4" fmla="*/ 15 w 25"/>
                <a:gd name="T5" fmla="*/ 19 h 20"/>
                <a:gd name="T6" fmla="*/ 24 w 25"/>
                <a:gd name="T7" fmla="*/ 8 h 20"/>
                <a:gd name="T8" fmla="*/ 11 w 25"/>
                <a:gd name="T9" fmla="*/ 0 h 20"/>
                <a:gd name="T10" fmla="*/ 11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1" y="0"/>
                  </a:moveTo>
                  <a:lnTo>
                    <a:pt x="0" y="8"/>
                  </a:lnTo>
                  <a:lnTo>
                    <a:pt x="15" y="19"/>
                  </a:lnTo>
                  <a:lnTo>
                    <a:pt x="24" y="8"/>
                  </a:lnTo>
                  <a:lnTo>
                    <a:pt x="11" y="0"/>
                  </a:lnTo>
                  <a:lnTo>
                    <a:pt x="11" y="0"/>
                  </a:lnTo>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71" name="Freeform 305">
              <a:extLst>
                <a:ext uri="{FF2B5EF4-FFF2-40B4-BE49-F238E27FC236}">
                  <a16:creationId xmlns:a16="http://schemas.microsoft.com/office/drawing/2014/main" id="{C06D4AF4-4029-E145-A4B6-0C3BA032DF7C}"/>
                </a:ext>
              </a:extLst>
            </p:cNvPr>
            <p:cNvSpPr>
              <a:spLocks noChangeAspect="1"/>
            </p:cNvSpPr>
            <p:nvPr/>
          </p:nvSpPr>
          <p:spPr bwMode="auto">
            <a:xfrm>
              <a:off x="1659" y="2468"/>
              <a:ext cx="17" cy="15"/>
            </a:xfrm>
            <a:custGeom>
              <a:avLst/>
              <a:gdLst>
                <a:gd name="T0" fmla="*/ 0 w 24"/>
                <a:gd name="T1" fmla="*/ 7 h 21"/>
                <a:gd name="T2" fmla="*/ 10 w 24"/>
                <a:gd name="T3" fmla="*/ 20 h 21"/>
                <a:gd name="T4" fmla="*/ 23 w 24"/>
                <a:gd name="T5" fmla="*/ 11 h 21"/>
                <a:gd name="T6" fmla="*/ 12 w 24"/>
                <a:gd name="T7" fmla="*/ 0 h 21"/>
                <a:gd name="T8" fmla="*/ 0 w 24"/>
                <a:gd name="T9" fmla="*/ 7 h 21"/>
                <a:gd name="T10" fmla="*/ 0 w 24"/>
                <a:gd name="T11" fmla="*/ 7 h 21"/>
              </a:gdLst>
              <a:ahLst/>
              <a:cxnLst>
                <a:cxn ang="0">
                  <a:pos x="T0" y="T1"/>
                </a:cxn>
                <a:cxn ang="0">
                  <a:pos x="T2" y="T3"/>
                </a:cxn>
                <a:cxn ang="0">
                  <a:pos x="T4" y="T5"/>
                </a:cxn>
                <a:cxn ang="0">
                  <a:pos x="T6" y="T7"/>
                </a:cxn>
                <a:cxn ang="0">
                  <a:pos x="T8" y="T9"/>
                </a:cxn>
                <a:cxn ang="0">
                  <a:pos x="T10" y="T11"/>
                </a:cxn>
              </a:cxnLst>
              <a:rect l="0" t="0" r="r" b="b"/>
              <a:pathLst>
                <a:path w="24" h="21">
                  <a:moveTo>
                    <a:pt x="0" y="7"/>
                  </a:moveTo>
                  <a:lnTo>
                    <a:pt x="10" y="20"/>
                  </a:lnTo>
                  <a:lnTo>
                    <a:pt x="23" y="11"/>
                  </a:lnTo>
                  <a:lnTo>
                    <a:pt x="12" y="0"/>
                  </a:lnTo>
                  <a:lnTo>
                    <a:pt x="0" y="7"/>
                  </a:lnTo>
                  <a:lnTo>
                    <a:pt x="0" y="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72" name="Freeform 306">
              <a:extLst>
                <a:ext uri="{FF2B5EF4-FFF2-40B4-BE49-F238E27FC236}">
                  <a16:creationId xmlns:a16="http://schemas.microsoft.com/office/drawing/2014/main" id="{F4D13749-C2C8-F34C-9FDC-4850B8EDAE1D}"/>
                </a:ext>
              </a:extLst>
            </p:cNvPr>
            <p:cNvSpPr>
              <a:spLocks noChangeAspect="1"/>
            </p:cNvSpPr>
            <p:nvPr/>
          </p:nvSpPr>
          <p:spPr bwMode="auto">
            <a:xfrm>
              <a:off x="1702" y="2443"/>
              <a:ext cx="26" cy="18"/>
            </a:xfrm>
            <a:custGeom>
              <a:avLst/>
              <a:gdLst>
                <a:gd name="T0" fmla="*/ 15 w 35"/>
                <a:gd name="T1" fmla="*/ 7 h 25"/>
                <a:gd name="T2" fmla="*/ 22 w 35"/>
                <a:gd name="T3" fmla="*/ 11 h 25"/>
                <a:gd name="T4" fmla="*/ 34 w 35"/>
                <a:gd name="T5" fmla="*/ 0 h 25"/>
                <a:gd name="T6" fmla="*/ 28 w 35"/>
                <a:gd name="T7" fmla="*/ 22 h 25"/>
                <a:gd name="T8" fmla="*/ 15 w 35"/>
                <a:gd name="T9" fmla="*/ 24 h 25"/>
                <a:gd name="T10" fmla="*/ 0 w 35"/>
                <a:gd name="T11" fmla="*/ 9 h 25"/>
                <a:gd name="T12" fmla="*/ 15 w 35"/>
                <a:gd name="T13" fmla="*/ 7 h 25"/>
                <a:gd name="T14" fmla="*/ 15 w 35"/>
                <a:gd name="T15" fmla="*/ 7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5">
                  <a:moveTo>
                    <a:pt x="15" y="7"/>
                  </a:moveTo>
                  <a:lnTo>
                    <a:pt x="22" y="11"/>
                  </a:lnTo>
                  <a:lnTo>
                    <a:pt x="34" y="0"/>
                  </a:lnTo>
                  <a:lnTo>
                    <a:pt x="28" y="22"/>
                  </a:lnTo>
                  <a:lnTo>
                    <a:pt x="15" y="24"/>
                  </a:lnTo>
                  <a:lnTo>
                    <a:pt x="0" y="9"/>
                  </a:lnTo>
                  <a:lnTo>
                    <a:pt x="15" y="7"/>
                  </a:lnTo>
                  <a:lnTo>
                    <a:pt x="15" y="7"/>
                  </a:lnTo>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73" name="Freeform 307">
              <a:extLst>
                <a:ext uri="{FF2B5EF4-FFF2-40B4-BE49-F238E27FC236}">
                  <a16:creationId xmlns:a16="http://schemas.microsoft.com/office/drawing/2014/main" id="{7CCD55B1-F03F-A644-902A-05FD89F96010}"/>
                </a:ext>
              </a:extLst>
            </p:cNvPr>
            <p:cNvSpPr>
              <a:spLocks noChangeAspect="1"/>
            </p:cNvSpPr>
            <p:nvPr/>
          </p:nvSpPr>
          <p:spPr bwMode="auto">
            <a:xfrm>
              <a:off x="1751" y="2428"/>
              <a:ext cx="12" cy="10"/>
            </a:xfrm>
            <a:custGeom>
              <a:avLst/>
              <a:gdLst>
                <a:gd name="T0" fmla="*/ 8 w 18"/>
                <a:gd name="T1" fmla="*/ 0 h 13"/>
                <a:gd name="T2" fmla="*/ 15 w 18"/>
                <a:gd name="T3" fmla="*/ 4 h 13"/>
                <a:gd name="T4" fmla="*/ 17 w 18"/>
                <a:gd name="T5" fmla="*/ 12 h 13"/>
                <a:gd name="T6" fmla="*/ 0 w 18"/>
                <a:gd name="T7" fmla="*/ 12 h 13"/>
                <a:gd name="T8" fmla="*/ 8 w 18"/>
                <a:gd name="T9" fmla="*/ 0 h 13"/>
                <a:gd name="T10" fmla="*/ 8 w 18"/>
                <a:gd name="T11" fmla="*/ 0 h 13"/>
              </a:gdLst>
              <a:ahLst/>
              <a:cxnLst>
                <a:cxn ang="0">
                  <a:pos x="T0" y="T1"/>
                </a:cxn>
                <a:cxn ang="0">
                  <a:pos x="T2" y="T3"/>
                </a:cxn>
                <a:cxn ang="0">
                  <a:pos x="T4" y="T5"/>
                </a:cxn>
                <a:cxn ang="0">
                  <a:pos x="T6" y="T7"/>
                </a:cxn>
                <a:cxn ang="0">
                  <a:pos x="T8" y="T9"/>
                </a:cxn>
                <a:cxn ang="0">
                  <a:pos x="T10" y="T11"/>
                </a:cxn>
              </a:cxnLst>
              <a:rect l="0" t="0" r="r" b="b"/>
              <a:pathLst>
                <a:path w="18" h="13">
                  <a:moveTo>
                    <a:pt x="8" y="0"/>
                  </a:moveTo>
                  <a:lnTo>
                    <a:pt x="15" y="4"/>
                  </a:lnTo>
                  <a:lnTo>
                    <a:pt x="17" y="12"/>
                  </a:lnTo>
                  <a:lnTo>
                    <a:pt x="0" y="12"/>
                  </a:lnTo>
                  <a:lnTo>
                    <a:pt x="8" y="0"/>
                  </a:lnTo>
                  <a:lnTo>
                    <a:pt x="8"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74" name="Freeform 308">
              <a:extLst>
                <a:ext uri="{FF2B5EF4-FFF2-40B4-BE49-F238E27FC236}">
                  <a16:creationId xmlns:a16="http://schemas.microsoft.com/office/drawing/2014/main" id="{4296B508-0000-5D4E-81D7-4F1876A2852D}"/>
                </a:ext>
              </a:extLst>
            </p:cNvPr>
            <p:cNvSpPr>
              <a:spLocks noChangeAspect="1"/>
            </p:cNvSpPr>
            <p:nvPr/>
          </p:nvSpPr>
          <p:spPr bwMode="auto">
            <a:xfrm>
              <a:off x="1433" y="2737"/>
              <a:ext cx="19" cy="10"/>
            </a:xfrm>
            <a:custGeom>
              <a:avLst/>
              <a:gdLst>
                <a:gd name="T0" fmla="*/ 25 w 26"/>
                <a:gd name="T1" fmla="*/ 8 h 16"/>
                <a:gd name="T2" fmla="*/ 6 w 26"/>
                <a:gd name="T3" fmla="*/ 0 h 16"/>
                <a:gd name="T4" fmla="*/ 0 w 26"/>
                <a:gd name="T5" fmla="*/ 6 h 16"/>
                <a:gd name="T6" fmla="*/ 2 w 26"/>
                <a:gd name="T7" fmla="*/ 15 h 16"/>
                <a:gd name="T8" fmla="*/ 25 w 26"/>
                <a:gd name="T9" fmla="*/ 8 h 16"/>
                <a:gd name="T10" fmla="*/ 25 w 26"/>
                <a:gd name="T11" fmla="*/ 8 h 16"/>
              </a:gdLst>
              <a:ahLst/>
              <a:cxnLst>
                <a:cxn ang="0">
                  <a:pos x="T0" y="T1"/>
                </a:cxn>
                <a:cxn ang="0">
                  <a:pos x="T2" y="T3"/>
                </a:cxn>
                <a:cxn ang="0">
                  <a:pos x="T4" y="T5"/>
                </a:cxn>
                <a:cxn ang="0">
                  <a:pos x="T6" y="T7"/>
                </a:cxn>
                <a:cxn ang="0">
                  <a:pos x="T8" y="T9"/>
                </a:cxn>
                <a:cxn ang="0">
                  <a:pos x="T10" y="T11"/>
                </a:cxn>
              </a:cxnLst>
              <a:rect l="0" t="0" r="r" b="b"/>
              <a:pathLst>
                <a:path w="26" h="16">
                  <a:moveTo>
                    <a:pt x="25" y="8"/>
                  </a:moveTo>
                  <a:lnTo>
                    <a:pt x="6" y="0"/>
                  </a:lnTo>
                  <a:lnTo>
                    <a:pt x="0" y="6"/>
                  </a:lnTo>
                  <a:lnTo>
                    <a:pt x="2" y="15"/>
                  </a:lnTo>
                  <a:lnTo>
                    <a:pt x="25" y="8"/>
                  </a:lnTo>
                  <a:lnTo>
                    <a:pt x="25" y="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de-DE" sz="1286"/>
            </a:p>
          </p:txBody>
        </p:sp>
        <p:sp>
          <p:nvSpPr>
            <p:cNvPr id="275" name="Freeform 309">
              <a:extLst>
                <a:ext uri="{FF2B5EF4-FFF2-40B4-BE49-F238E27FC236}">
                  <a16:creationId xmlns:a16="http://schemas.microsoft.com/office/drawing/2014/main" id="{555378A7-3444-4241-8CEF-55447A14273D}"/>
                </a:ext>
              </a:extLst>
            </p:cNvPr>
            <p:cNvSpPr>
              <a:spLocks/>
            </p:cNvSpPr>
            <p:nvPr/>
          </p:nvSpPr>
          <p:spPr bwMode="auto">
            <a:xfrm>
              <a:off x="4109" y="1795"/>
              <a:ext cx="885" cy="646"/>
            </a:xfrm>
            <a:custGeom>
              <a:avLst/>
              <a:gdLst>
                <a:gd name="T0" fmla="*/ 270 w 1334"/>
                <a:gd name="T1" fmla="*/ 164 h 975"/>
                <a:gd name="T2" fmla="*/ 341 w 1334"/>
                <a:gd name="T3" fmla="*/ 200 h 975"/>
                <a:gd name="T4" fmla="*/ 414 w 1334"/>
                <a:gd name="T5" fmla="*/ 248 h 975"/>
                <a:gd name="T6" fmla="*/ 545 w 1334"/>
                <a:gd name="T7" fmla="*/ 314 h 975"/>
                <a:gd name="T8" fmla="*/ 647 w 1334"/>
                <a:gd name="T9" fmla="*/ 329 h 975"/>
                <a:gd name="T10" fmla="*/ 744 w 1334"/>
                <a:gd name="T11" fmla="*/ 330 h 975"/>
                <a:gd name="T12" fmla="*/ 840 w 1334"/>
                <a:gd name="T13" fmla="*/ 300 h 975"/>
                <a:gd name="T14" fmla="*/ 842 w 1334"/>
                <a:gd name="T15" fmla="*/ 255 h 975"/>
                <a:gd name="T16" fmla="*/ 914 w 1334"/>
                <a:gd name="T17" fmla="*/ 236 h 975"/>
                <a:gd name="T18" fmla="*/ 983 w 1334"/>
                <a:gd name="T19" fmla="*/ 200 h 975"/>
                <a:gd name="T20" fmla="*/ 932 w 1334"/>
                <a:gd name="T21" fmla="*/ 168 h 975"/>
                <a:gd name="T22" fmla="*/ 900 w 1334"/>
                <a:gd name="T23" fmla="*/ 111 h 975"/>
                <a:gd name="T24" fmla="*/ 903 w 1334"/>
                <a:gd name="T25" fmla="*/ 23 h 975"/>
                <a:gd name="T26" fmla="*/ 1065 w 1334"/>
                <a:gd name="T27" fmla="*/ 42 h 975"/>
                <a:gd name="T28" fmla="*/ 1208 w 1334"/>
                <a:gd name="T29" fmla="*/ 132 h 975"/>
                <a:gd name="T30" fmla="*/ 1328 w 1334"/>
                <a:gd name="T31" fmla="*/ 164 h 975"/>
                <a:gd name="T32" fmla="*/ 1290 w 1334"/>
                <a:gd name="T33" fmla="*/ 245 h 975"/>
                <a:gd name="T34" fmla="*/ 1305 w 1334"/>
                <a:gd name="T35" fmla="*/ 302 h 975"/>
                <a:gd name="T36" fmla="*/ 1274 w 1334"/>
                <a:gd name="T37" fmla="*/ 330 h 975"/>
                <a:gd name="T38" fmla="*/ 1241 w 1334"/>
                <a:gd name="T39" fmla="*/ 351 h 975"/>
                <a:gd name="T40" fmla="*/ 1191 w 1334"/>
                <a:gd name="T41" fmla="*/ 398 h 975"/>
                <a:gd name="T42" fmla="*/ 1158 w 1334"/>
                <a:gd name="T43" fmla="*/ 413 h 975"/>
                <a:gd name="T44" fmla="*/ 1122 w 1334"/>
                <a:gd name="T45" fmla="*/ 368 h 975"/>
                <a:gd name="T46" fmla="*/ 1064 w 1334"/>
                <a:gd name="T47" fmla="*/ 417 h 975"/>
                <a:gd name="T48" fmla="*/ 1148 w 1334"/>
                <a:gd name="T49" fmla="*/ 468 h 975"/>
                <a:gd name="T50" fmla="*/ 1182 w 1334"/>
                <a:gd name="T51" fmla="*/ 488 h 975"/>
                <a:gd name="T52" fmla="*/ 1187 w 1334"/>
                <a:gd name="T53" fmla="*/ 569 h 975"/>
                <a:gd name="T54" fmla="*/ 1194 w 1334"/>
                <a:gd name="T55" fmla="*/ 626 h 975"/>
                <a:gd name="T56" fmla="*/ 1253 w 1334"/>
                <a:gd name="T57" fmla="*/ 659 h 975"/>
                <a:gd name="T58" fmla="*/ 1260 w 1334"/>
                <a:gd name="T59" fmla="*/ 689 h 975"/>
                <a:gd name="T60" fmla="*/ 1250 w 1334"/>
                <a:gd name="T61" fmla="*/ 761 h 975"/>
                <a:gd name="T62" fmla="*/ 1205 w 1334"/>
                <a:gd name="T63" fmla="*/ 854 h 975"/>
                <a:gd name="T64" fmla="*/ 1125 w 1334"/>
                <a:gd name="T65" fmla="*/ 914 h 975"/>
                <a:gd name="T66" fmla="*/ 1071 w 1334"/>
                <a:gd name="T67" fmla="*/ 933 h 975"/>
                <a:gd name="T68" fmla="*/ 1023 w 1334"/>
                <a:gd name="T69" fmla="*/ 974 h 975"/>
                <a:gd name="T70" fmla="*/ 998 w 1334"/>
                <a:gd name="T71" fmla="*/ 941 h 975"/>
                <a:gd name="T72" fmla="*/ 929 w 1334"/>
                <a:gd name="T73" fmla="*/ 899 h 975"/>
                <a:gd name="T74" fmla="*/ 861 w 1334"/>
                <a:gd name="T75" fmla="*/ 905 h 975"/>
                <a:gd name="T76" fmla="*/ 794 w 1334"/>
                <a:gd name="T77" fmla="*/ 915 h 975"/>
                <a:gd name="T78" fmla="*/ 771 w 1334"/>
                <a:gd name="T79" fmla="*/ 941 h 975"/>
                <a:gd name="T80" fmla="*/ 731 w 1334"/>
                <a:gd name="T81" fmla="*/ 888 h 975"/>
                <a:gd name="T82" fmla="*/ 692 w 1334"/>
                <a:gd name="T83" fmla="*/ 828 h 975"/>
                <a:gd name="T84" fmla="*/ 689 w 1334"/>
                <a:gd name="T85" fmla="*/ 758 h 975"/>
                <a:gd name="T86" fmla="*/ 647 w 1334"/>
                <a:gd name="T87" fmla="*/ 735 h 975"/>
                <a:gd name="T88" fmla="*/ 603 w 1334"/>
                <a:gd name="T89" fmla="*/ 717 h 975"/>
                <a:gd name="T90" fmla="*/ 519 w 1334"/>
                <a:gd name="T91" fmla="*/ 755 h 975"/>
                <a:gd name="T92" fmla="*/ 471 w 1334"/>
                <a:gd name="T93" fmla="*/ 738 h 975"/>
                <a:gd name="T94" fmla="*/ 411 w 1334"/>
                <a:gd name="T95" fmla="*/ 750 h 975"/>
                <a:gd name="T96" fmla="*/ 305 w 1334"/>
                <a:gd name="T97" fmla="*/ 710 h 975"/>
                <a:gd name="T98" fmla="*/ 248 w 1334"/>
                <a:gd name="T99" fmla="*/ 684 h 975"/>
                <a:gd name="T100" fmla="*/ 174 w 1334"/>
                <a:gd name="T101" fmla="*/ 627 h 975"/>
                <a:gd name="T102" fmla="*/ 195 w 1334"/>
                <a:gd name="T103" fmla="*/ 600 h 975"/>
                <a:gd name="T104" fmla="*/ 134 w 1334"/>
                <a:gd name="T105" fmla="*/ 522 h 975"/>
                <a:gd name="T106" fmla="*/ 39 w 1334"/>
                <a:gd name="T107" fmla="*/ 479 h 975"/>
                <a:gd name="T108" fmla="*/ 15 w 1334"/>
                <a:gd name="T109" fmla="*/ 432 h 975"/>
                <a:gd name="T110" fmla="*/ 36 w 1334"/>
                <a:gd name="T111" fmla="*/ 377 h 975"/>
                <a:gd name="T112" fmla="*/ 92 w 1334"/>
                <a:gd name="T113" fmla="*/ 363 h 975"/>
                <a:gd name="T114" fmla="*/ 129 w 1334"/>
                <a:gd name="T115" fmla="*/ 305 h 975"/>
                <a:gd name="T116" fmla="*/ 101 w 1334"/>
                <a:gd name="T117" fmla="*/ 254 h 975"/>
                <a:gd name="T118" fmla="*/ 147 w 1334"/>
                <a:gd name="T119" fmla="*/ 230 h 975"/>
                <a:gd name="T120" fmla="*/ 194 w 1334"/>
                <a:gd name="T121" fmla="*/ 194 h 975"/>
                <a:gd name="T122" fmla="*/ 213 w 1334"/>
                <a:gd name="T123" fmla="*/ 147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4" h="975">
                  <a:moveTo>
                    <a:pt x="219" y="125"/>
                  </a:moveTo>
                  <a:lnTo>
                    <a:pt x="234" y="126"/>
                  </a:lnTo>
                  <a:lnTo>
                    <a:pt x="260" y="149"/>
                  </a:lnTo>
                  <a:lnTo>
                    <a:pt x="270" y="164"/>
                  </a:lnTo>
                  <a:lnTo>
                    <a:pt x="284" y="156"/>
                  </a:lnTo>
                  <a:lnTo>
                    <a:pt x="308" y="165"/>
                  </a:lnTo>
                  <a:lnTo>
                    <a:pt x="324" y="185"/>
                  </a:lnTo>
                  <a:lnTo>
                    <a:pt x="341" y="200"/>
                  </a:lnTo>
                  <a:lnTo>
                    <a:pt x="342" y="222"/>
                  </a:lnTo>
                  <a:lnTo>
                    <a:pt x="345" y="236"/>
                  </a:lnTo>
                  <a:lnTo>
                    <a:pt x="375" y="246"/>
                  </a:lnTo>
                  <a:lnTo>
                    <a:pt x="414" y="248"/>
                  </a:lnTo>
                  <a:lnTo>
                    <a:pt x="447" y="266"/>
                  </a:lnTo>
                  <a:lnTo>
                    <a:pt x="473" y="270"/>
                  </a:lnTo>
                  <a:lnTo>
                    <a:pt x="506" y="312"/>
                  </a:lnTo>
                  <a:lnTo>
                    <a:pt x="545" y="314"/>
                  </a:lnTo>
                  <a:lnTo>
                    <a:pt x="578" y="320"/>
                  </a:lnTo>
                  <a:lnTo>
                    <a:pt x="593" y="318"/>
                  </a:lnTo>
                  <a:lnTo>
                    <a:pt x="635" y="317"/>
                  </a:lnTo>
                  <a:lnTo>
                    <a:pt x="647" y="329"/>
                  </a:lnTo>
                  <a:lnTo>
                    <a:pt x="693" y="342"/>
                  </a:lnTo>
                  <a:lnTo>
                    <a:pt x="710" y="336"/>
                  </a:lnTo>
                  <a:lnTo>
                    <a:pt x="722" y="348"/>
                  </a:lnTo>
                  <a:lnTo>
                    <a:pt x="744" y="330"/>
                  </a:lnTo>
                  <a:lnTo>
                    <a:pt x="782" y="321"/>
                  </a:lnTo>
                  <a:lnTo>
                    <a:pt x="809" y="321"/>
                  </a:lnTo>
                  <a:lnTo>
                    <a:pt x="837" y="318"/>
                  </a:lnTo>
                  <a:lnTo>
                    <a:pt x="840" y="300"/>
                  </a:lnTo>
                  <a:lnTo>
                    <a:pt x="855" y="293"/>
                  </a:lnTo>
                  <a:lnTo>
                    <a:pt x="867" y="282"/>
                  </a:lnTo>
                  <a:lnTo>
                    <a:pt x="848" y="269"/>
                  </a:lnTo>
                  <a:lnTo>
                    <a:pt x="842" y="255"/>
                  </a:lnTo>
                  <a:lnTo>
                    <a:pt x="849" y="242"/>
                  </a:lnTo>
                  <a:lnTo>
                    <a:pt x="887" y="257"/>
                  </a:lnTo>
                  <a:lnTo>
                    <a:pt x="899" y="236"/>
                  </a:lnTo>
                  <a:lnTo>
                    <a:pt x="914" y="236"/>
                  </a:lnTo>
                  <a:lnTo>
                    <a:pt x="933" y="230"/>
                  </a:lnTo>
                  <a:lnTo>
                    <a:pt x="938" y="210"/>
                  </a:lnTo>
                  <a:lnTo>
                    <a:pt x="962" y="198"/>
                  </a:lnTo>
                  <a:lnTo>
                    <a:pt x="983" y="200"/>
                  </a:lnTo>
                  <a:lnTo>
                    <a:pt x="1007" y="198"/>
                  </a:lnTo>
                  <a:lnTo>
                    <a:pt x="1004" y="183"/>
                  </a:lnTo>
                  <a:lnTo>
                    <a:pt x="944" y="156"/>
                  </a:lnTo>
                  <a:lnTo>
                    <a:pt x="932" y="168"/>
                  </a:lnTo>
                  <a:lnTo>
                    <a:pt x="924" y="161"/>
                  </a:lnTo>
                  <a:lnTo>
                    <a:pt x="887" y="164"/>
                  </a:lnTo>
                  <a:lnTo>
                    <a:pt x="879" y="102"/>
                  </a:lnTo>
                  <a:lnTo>
                    <a:pt x="900" y="111"/>
                  </a:lnTo>
                  <a:lnTo>
                    <a:pt x="926" y="104"/>
                  </a:lnTo>
                  <a:lnTo>
                    <a:pt x="924" y="60"/>
                  </a:lnTo>
                  <a:lnTo>
                    <a:pt x="933" y="42"/>
                  </a:lnTo>
                  <a:lnTo>
                    <a:pt x="903" y="23"/>
                  </a:lnTo>
                  <a:lnTo>
                    <a:pt x="906" y="8"/>
                  </a:lnTo>
                  <a:lnTo>
                    <a:pt x="951" y="0"/>
                  </a:lnTo>
                  <a:lnTo>
                    <a:pt x="1007" y="11"/>
                  </a:lnTo>
                  <a:lnTo>
                    <a:pt x="1065" y="42"/>
                  </a:lnTo>
                  <a:lnTo>
                    <a:pt x="1115" y="96"/>
                  </a:lnTo>
                  <a:lnTo>
                    <a:pt x="1128" y="113"/>
                  </a:lnTo>
                  <a:lnTo>
                    <a:pt x="1154" y="111"/>
                  </a:lnTo>
                  <a:lnTo>
                    <a:pt x="1208" y="132"/>
                  </a:lnTo>
                  <a:lnTo>
                    <a:pt x="1236" y="165"/>
                  </a:lnTo>
                  <a:lnTo>
                    <a:pt x="1269" y="165"/>
                  </a:lnTo>
                  <a:lnTo>
                    <a:pt x="1307" y="143"/>
                  </a:lnTo>
                  <a:lnTo>
                    <a:pt x="1328" y="164"/>
                  </a:lnTo>
                  <a:lnTo>
                    <a:pt x="1329" y="194"/>
                  </a:lnTo>
                  <a:lnTo>
                    <a:pt x="1334" y="245"/>
                  </a:lnTo>
                  <a:lnTo>
                    <a:pt x="1305" y="233"/>
                  </a:lnTo>
                  <a:lnTo>
                    <a:pt x="1290" y="245"/>
                  </a:lnTo>
                  <a:lnTo>
                    <a:pt x="1322" y="282"/>
                  </a:lnTo>
                  <a:lnTo>
                    <a:pt x="1325" y="294"/>
                  </a:lnTo>
                  <a:lnTo>
                    <a:pt x="1319" y="312"/>
                  </a:lnTo>
                  <a:lnTo>
                    <a:pt x="1305" y="302"/>
                  </a:lnTo>
                  <a:lnTo>
                    <a:pt x="1304" y="321"/>
                  </a:lnTo>
                  <a:lnTo>
                    <a:pt x="1292" y="320"/>
                  </a:lnTo>
                  <a:lnTo>
                    <a:pt x="1290" y="330"/>
                  </a:lnTo>
                  <a:lnTo>
                    <a:pt x="1274" y="330"/>
                  </a:lnTo>
                  <a:lnTo>
                    <a:pt x="1280" y="353"/>
                  </a:lnTo>
                  <a:lnTo>
                    <a:pt x="1263" y="350"/>
                  </a:lnTo>
                  <a:lnTo>
                    <a:pt x="1248" y="335"/>
                  </a:lnTo>
                  <a:lnTo>
                    <a:pt x="1241" y="351"/>
                  </a:lnTo>
                  <a:lnTo>
                    <a:pt x="1236" y="363"/>
                  </a:lnTo>
                  <a:lnTo>
                    <a:pt x="1214" y="384"/>
                  </a:lnTo>
                  <a:lnTo>
                    <a:pt x="1208" y="398"/>
                  </a:lnTo>
                  <a:lnTo>
                    <a:pt x="1191" y="398"/>
                  </a:lnTo>
                  <a:cubicBezTo>
                    <a:pt x="1176" y="405"/>
                    <a:pt x="1175" y="408"/>
                    <a:pt x="1164" y="417"/>
                  </a:cubicBezTo>
                  <a:cubicBezTo>
                    <a:pt x="1162" y="425"/>
                    <a:pt x="1160" y="428"/>
                    <a:pt x="1152" y="431"/>
                  </a:cubicBezTo>
                  <a:cubicBezTo>
                    <a:pt x="1151" y="429"/>
                    <a:pt x="1149" y="428"/>
                    <a:pt x="1149" y="426"/>
                  </a:cubicBezTo>
                  <a:cubicBezTo>
                    <a:pt x="1148" y="421"/>
                    <a:pt x="1158" y="413"/>
                    <a:pt x="1158" y="413"/>
                  </a:cubicBezTo>
                  <a:cubicBezTo>
                    <a:pt x="1152" y="410"/>
                    <a:pt x="1150" y="411"/>
                    <a:pt x="1146" y="405"/>
                  </a:cubicBezTo>
                  <a:cubicBezTo>
                    <a:pt x="1148" y="398"/>
                    <a:pt x="1150" y="394"/>
                    <a:pt x="1154" y="389"/>
                  </a:cubicBezTo>
                  <a:cubicBezTo>
                    <a:pt x="1156" y="377"/>
                    <a:pt x="1159" y="373"/>
                    <a:pt x="1145" y="371"/>
                  </a:cubicBezTo>
                  <a:cubicBezTo>
                    <a:pt x="1133" y="366"/>
                    <a:pt x="1139" y="366"/>
                    <a:pt x="1122" y="368"/>
                  </a:cubicBezTo>
                  <a:cubicBezTo>
                    <a:pt x="1121" y="374"/>
                    <a:pt x="1118" y="377"/>
                    <a:pt x="1116" y="383"/>
                  </a:cubicBezTo>
                  <a:cubicBezTo>
                    <a:pt x="1115" y="392"/>
                    <a:pt x="1112" y="392"/>
                    <a:pt x="1103" y="393"/>
                  </a:cubicBezTo>
                  <a:cubicBezTo>
                    <a:pt x="1094" y="398"/>
                    <a:pt x="1091" y="405"/>
                    <a:pt x="1098" y="414"/>
                  </a:cubicBezTo>
                  <a:cubicBezTo>
                    <a:pt x="1089" y="421"/>
                    <a:pt x="1075" y="416"/>
                    <a:pt x="1064" y="417"/>
                  </a:cubicBezTo>
                  <a:cubicBezTo>
                    <a:pt x="1066" y="434"/>
                    <a:pt x="1074" y="445"/>
                    <a:pt x="1089" y="452"/>
                  </a:cubicBezTo>
                  <a:cubicBezTo>
                    <a:pt x="1101" y="449"/>
                    <a:pt x="1110" y="449"/>
                    <a:pt x="1115" y="461"/>
                  </a:cubicBezTo>
                  <a:cubicBezTo>
                    <a:pt x="1116" y="474"/>
                    <a:pt x="1115" y="475"/>
                    <a:pt x="1127" y="477"/>
                  </a:cubicBezTo>
                  <a:cubicBezTo>
                    <a:pt x="1139" y="476"/>
                    <a:pt x="1143" y="478"/>
                    <a:pt x="1148" y="468"/>
                  </a:cubicBezTo>
                  <a:cubicBezTo>
                    <a:pt x="1149" y="461"/>
                    <a:pt x="1149" y="459"/>
                    <a:pt x="1155" y="456"/>
                  </a:cubicBezTo>
                  <a:cubicBezTo>
                    <a:pt x="1172" y="458"/>
                    <a:pt x="1184" y="467"/>
                    <a:pt x="1202" y="471"/>
                  </a:cubicBezTo>
                  <a:cubicBezTo>
                    <a:pt x="1207" y="474"/>
                    <a:pt x="1209" y="475"/>
                    <a:pt x="1205" y="483"/>
                  </a:cubicBezTo>
                  <a:cubicBezTo>
                    <a:pt x="1201" y="490"/>
                    <a:pt x="1182" y="488"/>
                    <a:pt x="1182" y="488"/>
                  </a:cubicBezTo>
                  <a:cubicBezTo>
                    <a:pt x="1176" y="492"/>
                    <a:pt x="1172" y="497"/>
                    <a:pt x="1166" y="501"/>
                  </a:cubicBezTo>
                  <a:cubicBezTo>
                    <a:pt x="1161" y="510"/>
                    <a:pt x="1155" y="520"/>
                    <a:pt x="1149" y="528"/>
                  </a:cubicBezTo>
                  <a:cubicBezTo>
                    <a:pt x="1150" y="534"/>
                    <a:pt x="1149" y="540"/>
                    <a:pt x="1151" y="546"/>
                  </a:cubicBezTo>
                  <a:cubicBezTo>
                    <a:pt x="1151" y="547"/>
                    <a:pt x="1184" y="568"/>
                    <a:pt x="1187" y="569"/>
                  </a:cubicBezTo>
                  <a:cubicBezTo>
                    <a:pt x="1190" y="573"/>
                    <a:pt x="1193" y="578"/>
                    <a:pt x="1196" y="582"/>
                  </a:cubicBezTo>
                  <a:cubicBezTo>
                    <a:pt x="1201" y="609"/>
                    <a:pt x="1232" y="617"/>
                    <a:pt x="1250" y="635"/>
                  </a:cubicBezTo>
                  <a:cubicBezTo>
                    <a:pt x="1245" y="650"/>
                    <a:pt x="1234" y="634"/>
                    <a:pt x="1224" y="632"/>
                  </a:cubicBezTo>
                  <a:cubicBezTo>
                    <a:pt x="1214" y="624"/>
                    <a:pt x="1209" y="627"/>
                    <a:pt x="1194" y="626"/>
                  </a:cubicBezTo>
                  <a:cubicBezTo>
                    <a:pt x="1194" y="626"/>
                    <a:pt x="1185" y="622"/>
                    <a:pt x="1187" y="620"/>
                  </a:cubicBezTo>
                  <a:cubicBezTo>
                    <a:pt x="1189" y="618"/>
                    <a:pt x="1193" y="623"/>
                    <a:pt x="1196" y="624"/>
                  </a:cubicBezTo>
                  <a:cubicBezTo>
                    <a:pt x="1202" y="631"/>
                    <a:pt x="1217" y="638"/>
                    <a:pt x="1226" y="641"/>
                  </a:cubicBezTo>
                  <a:cubicBezTo>
                    <a:pt x="1234" y="647"/>
                    <a:pt x="1244" y="654"/>
                    <a:pt x="1253" y="659"/>
                  </a:cubicBezTo>
                  <a:cubicBezTo>
                    <a:pt x="1250" y="665"/>
                    <a:pt x="1248" y="665"/>
                    <a:pt x="1242" y="666"/>
                  </a:cubicBezTo>
                  <a:cubicBezTo>
                    <a:pt x="1237" y="669"/>
                    <a:pt x="1233" y="672"/>
                    <a:pt x="1227" y="674"/>
                  </a:cubicBezTo>
                  <a:cubicBezTo>
                    <a:pt x="1218" y="681"/>
                    <a:pt x="1220" y="682"/>
                    <a:pt x="1229" y="687"/>
                  </a:cubicBezTo>
                  <a:cubicBezTo>
                    <a:pt x="1239" y="686"/>
                    <a:pt x="1250" y="684"/>
                    <a:pt x="1260" y="689"/>
                  </a:cubicBezTo>
                  <a:cubicBezTo>
                    <a:pt x="1263" y="693"/>
                    <a:pt x="1266" y="697"/>
                    <a:pt x="1268" y="702"/>
                  </a:cubicBezTo>
                  <a:cubicBezTo>
                    <a:pt x="1269" y="712"/>
                    <a:pt x="1270" y="722"/>
                    <a:pt x="1266" y="732"/>
                  </a:cubicBezTo>
                  <a:cubicBezTo>
                    <a:pt x="1264" y="737"/>
                    <a:pt x="1254" y="744"/>
                    <a:pt x="1254" y="744"/>
                  </a:cubicBezTo>
                  <a:cubicBezTo>
                    <a:pt x="1249" y="752"/>
                    <a:pt x="1248" y="751"/>
                    <a:pt x="1250" y="761"/>
                  </a:cubicBezTo>
                  <a:cubicBezTo>
                    <a:pt x="1245" y="777"/>
                    <a:pt x="1231" y="789"/>
                    <a:pt x="1229" y="806"/>
                  </a:cubicBezTo>
                  <a:cubicBezTo>
                    <a:pt x="1228" y="817"/>
                    <a:pt x="1230" y="827"/>
                    <a:pt x="1221" y="833"/>
                  </a:cubicBezTo>
                  <a:cubicBezTo>
                    <a:pt x="1213" y="844"/>
                    <a:pt x="1217" y="840"/>
                    <a:pt x="1209" y="845"/>
                  </a:cubicBezTo>
                  <a:cubicBezTo>
                    <a:pt x="1206" y="853"/>
                    <a:pt x="1207" y="850"/>
                    <a:pt x="1205" y="854"/>
                  </a:cubicBezTo>
                  <a:lnTo>
                    <a:pt x="1199" y="867"/>
                  </a:lnTo>
                  <a:lnTo>
                    <a:pt x="1191" y="873"/>
                  </a:lnTo>
                  <a:lnTo>
                    <a:pt x="1175" y="894"/>
                  </a:lnTo>
                  <a:lnTo>
                    <a:pt x="1125" y="914"/>
                  </a:lnTo>
                  <a:lnTo>
                    <a:pt x="1106" y="887"/>
                  </a:lnTo>
                  <a:lnTo>
                    <a:pt x="1097" y="894"/>
                  </a:lnTo>
                  <a:lnTo>
                    <a:pt x="1103" y="921"/>
                  </a:lnTo>
                  <a:lnTo>
                    <a:pt x="1071" y="933"/>
                  </a:lnTo>
                  <a:lnTo>
                    <a:pt x="1034" y="944"/>
                  </a:lnTo>
                  <a:lnTo>
                    <a:pt x="1026" y="959"/>
                  </a:lnTo>
                  <a:lnTo>
                    <a:pt x="1035" y="975"/>
                  </a:lnTo>
                  <a:lnTo>
                    <a:pt x="1023" y="974"/>
                  </a:lnTo>
                  <a:lnTo>
                    <a:pt x="1016" y="957"/>
                  </a:lnTo>
                  <a:lnTo>
                    <a:pt x="1016" y="942"/>
                  </a:lnTo>
                  <a:lnTo>
                    <a:pt x="1008" y="936"/>
                  </a:lnTo>
                  <a:lnTo>
                    <a:pt x="998" y="941"/>
                  </a:lnTo>
                  <a:lnTo>
                    <a:pt x="983" y="933"/>
                  </a:lnTo>
                  <a:lnTo>
                    <a:pt x="965" y="942"/>
                  </a:lnTo>
                  <a:lnTo>
                    <a:pt x="929" y="918"/>
                  </a:lnTo>
                  <a:lnTo>
                    <a:pt x="929" y="899"/>
                  </a:lnTo>
                  <a:lnTo>
                    <a:pt x="909" y="899"/>
                  </a:lnTo>
                  <a:lnTo>
                    <a:pt x="890" y="885"/>
                  </a:lnTo>
                  <a:lnTo>
                    <a:pt x="879" y="899"/>
                  </a:lnTo>
                  <a:lnTo>
                    <a:pt x="861" y="905"/>
                  </a:lnTo>
                  <a:lnTo>
                    <a:pt x="840" y="908"/>
                  </a:lnTo>
                  <a:lnTo>
                    <a:pt x="827" y="900"/>
                  </a:lnTo>
                  <a:lnTo>
                    <a:pt x="809" y="911"/>
                  </a:lnTo>
                  <a:lnTo>
                    <a:pt x="794" y="915"/>
                  </a:lnTo>
                  <a:lnTo>
                    <a:pt x="806" y="945"/>
                  </a:lnTo>
                  <a:lnTo>
                    <a:pt x="797" y="945"/>
                  </a:lnTo>
                  <a:lnTo>
                    <a:pt x="786" y="930"/>
                  </a:lnTo>
                  <a:lnTo>
                    <a:pt x="771" y="941"/>
                  </a:lnTo>
                  <a:lnTo>
                    <a:pt x="759" y="923"/>
                  </a:lnTo>
                  <a:lnTo>
                    <a:pt x="740" y="923"/>
                  </a:lnTo>
                  <a:lnTo>
                    <a:pt x="744" y="894"/>
                  </a:lnTo>
                  <a:lnTo>
                    <a:pt x="731" y="888"/>
                  </a:lnTo>
                  <a:lnTo>
                    <a:pt x="717" y="864"/>
                  </a:lnTo>
                  <a:lnTo>
                    <a:pt x="692" y="866"/>
                  </a:lnTo>
                  <a:lnTo>
                    <a:pt x="686" y="848"/>
                  </a:lnTo>
                  <a:lnTo>
                    <a:pt x="692" y="828"/>
                  </a:lnTo>
                  <a:lnTo>
                    <a:pt x="710" y="812"/>
                  </a:lnTo>
                  <a:lnTo>
                    <a:pt x="707" y="774"/>
                  </a:lnTo>
                  <a:lnTo>
                    <a:pt x="699" y="758"/>
                  </a:lnTo>
                  <a:lnTo>
                    <a:pt x="689" y="758"/>
                  </a:lnTo>
                  <a:lnTo>
                    <a:pt x="680" y="737"/>
                  </a:lnTo>
                  <a:lnTo>
                    <a:pt x="666" y="729"/>
                  </a:lnTo>
                  <a:lnTo>
                    <a:pt x="660" y="740"/>
                  </a:lnTo>
                  <a:lnTo>
                    <a:pt x="647" y="735"/>
                  </a:lnTo>
                  <a:lnTo>
                    <a:pt x="635" y="735"/>
                  </a:lnTo>
                  <a:lnTo>
                    <a:pt x="636" y="722"/>
                  </a:lnTo>
                  <a:lnTo>
                    <a:pt x="621" y="702"/>
                  </a:lnTo>
                  <a:lnTo>
                    <a:pt x="603" y="717"/>
                  </a:lnTo>
                  <a:lnTo>
                    <a:pt x="585" y="708"/>
                  </a:lnTo>
                  <a:lnTo>
                    <a:pt x="563" y="729"/>
                  </a:lnTo>
                  <a:lnTo>
                    <a:pt x="542" y="752"/>
                  </a:lnTo>
                  <a:lnTo>
                    <a:pt x="519" y="755"/>
                  </a:lnTo>
                  <a:lnTo>
                    <a:pt x="515" y="741"/>
                  </a:lnTo>
                  <a:lnTo>
                    <a:pt x="497" y="746"/>
                  </a:lnTo>
                  <a:lnTo>
                    <a:pt x="483" y="738"/>
                  </a:lnTo>
                  <a:lnTo>
                    <a:pt x="471" y="738"/>
                  </a:lnTo>
                  <a:lnTo>
                    <a:pt x="458" y="762"/>
                  </a:lnTo>
                  <a:lnTo>
                    <a:pt x="452" y="744"/>
                  </a:lnTo>
                  <a:lnTo>
                    <a:pt x="432" y="750"/>
                  </a:lnTo>
                  <a:lnTo>
                    <a:pt x="411" y="750"/>
                  </a:lnTo>
                  <a:lnTo>
                    <a:pt x="377" y="744"/>
                  </a:lnTo>
                  <a:lnTo>
                    <a:pt x="336" y="726"/>
                  </a:lnTo>
                  <a:lnTo>
                    <a:pt x="323" y="708"/>
                  </a:lnTo>
                  <a:lnTo>
                    <a:pt x="305" y="710"/>
                  </a:lnTo>
                  <a:lnTo>
                    <a:pt x="297" y="698"/>
                  </a:lnTo>
                  <a:lnTo>
                    <a:pt x="273" y="687"/>
                  </a:lnTo>
                  <a:lnTo>
                    <a:pt x="252" y="672"/>
                  </a:lnTo>
                  <a:lnTo>
                    <a:pt x="248" y="684"/>
                  </a:lnTo>
                  <a:lnTo>
                    <a:pt x="228" y="671"/>
                  </a:lnTo>
                  <a:lnTo>
                    <a:pt x="194" y="650"/>
                  </a:lnTo>
                  <a:lnTo>
                    <a:pt x="180" y="650"/>
                  </a:lnTo>
                  <a:lnTo>
                    <a:pt x="174" y="627"/>
                  </a:lnTo>
                  <a:lnTo>
                    <a:pt x="159" y="618"/>
                  </a:lnTo>
                  <a:lnTo>
                    <a:pt x="170" y="608"/>
                  </a:lnTo>
                  <a:lnTo>
                    <a:pt x="185" y="614"/>
                  </a:lnTo>
                  <a:lnTo>
                    <a:pt x="195" y="600"/>
                  </a:lnTo>
                  <a:lnTo>
                    <a:pt x="170" y="588"/>
                  </a:lnTo>
                  <a:lnTo>
                    <a:pt x="165" y="566"/>
                  </a:lnTo>
                  <a:lnTo>
                    <a:pt x="147" y="543"/>
                  </a:lnTo>
                  <a:lnTo>
                    <a:pt x="134" y="522"/>
                  </a:lnTo>
                  <a:lnTo>
                    <a:pt x="107" y="522"/>
                  </a:lnTo>
                  <a:lnTo>
                    <a:pt x="78" y="510"/>
                  </a:lnTo>
                  <a:lnTo>
                    <a:pt x="75" y="489"/>
                  </a:lnTo>
                  <a:lnTo>
                    <a:pt x="39" y="479"/>
                  </a:lnTo>
                  <a:lnTo>
                    <a:pt x="50" y="471"/>
                  </a:lnTo>
                  <a:lnTo>
                    <a:pt x="41" y="459"/>
                  </a:lnTo>
                  <a:lnTo>
                    <a:pt x="42" y="440"/>
                  </a:lnTo>
                  <a:lnTo>
                    <a:pt x="15" y="432"/>
                  </a:lnTo>
                  <a:lnTo>
                    <a:pt x="0" y="417"/>
                  </a:lnTo>
                  <a:lnTo>
                    <a:pt x="2" y="396"/>
                  </a:lnTo>
                  <a:lnTo>
                    <a:pt x="17" y="383"/>
                  </a:lnTo>
                  <a:lnTo>
                    <a:pt x="36" y="377"/>
                  </a:lnTo>
                  <a:lnTo>
                    <a:pt x="45" y="384"/>
                  </a:lnTo>
                  <a:lnTo>
                    <a:pt x="60" y="381"/>
                  </a:lnTo>
                  <a:lnTo>
                    <a:pt x="68" y="363"/>
                  </a:lnTo>
                  <a:lnTo>
                    <a:pt x="92" y="363"/>
                  </a:lnTo>
                  <a:lnTo>
                    <a:pt x="98" y="350"/>
                  </a:lnTo>
                  <a:lnTo>
                    <a:pt x="135" y="332"/>
                  </a:lnTo>
                  <a:lnTo>
                    <a:pt x="131" y="320"/>
                  </a:lnTo>
                  <a:lnTo>
                    <a:pt x="129" y="305"/>
                  </a:lnTo>
                  <a:lnTo>
                    <a:pt x="138" y="297"/>
                  </a:lnTo>
                  <a:lnTo>
                    <a:pt x="120" y="275"/>
                  </a:lnTo>
                  <a:lnTo>
                    <a:pt x="116" y="254"/>
                  </a:lnTo>
                  <a:lnTo>
                    <a:pt x="101" y="254"/>
                  </a:lnTo>
                  <a:lnTo>
                    <a:pt x="135" y="236"/>
                  </a:lnTo>
                  <a:lnTo>
                    <a:pt x="156" y="245"/>
                  </a:lnTo>
                  <a:lnTo>
                    <a:pt x="156" y="234"/>
                  </a:lnTo>
                  <a:lnTo>
                    <a:pt x="147" y="230"/>
                  </a:lnTo>
                  <a:lnTo>
                    <a:pt x="146" y="180"/>
                  </a:lnTo>
                  <a:lnTo>
                    <a:pt x="164" y="188"/>
                  </a:lnTo>
                  <a:lnTo>
                    <a:pt x="183" y="183"/>
                  </a:lnTo>
                  <a:lnTo>
                    <a:pt x="194" y="194"/>
                  </a:lnTo>
                  <a:lnTo>
                    <a:pt x="209" y="180"/>
                  </a:lnTo>
                  <a:lnTo>
                    <a:pt x="198" y="161"/>
                  </a:lnTo>
                  <a:lnTo>
                    <a:pt x="195" y="147"/>
                  </a:lnTo>
                  <a:lnTo>
                    <a:pt x="213" y="147"/>
                  </a:lnTo>
                  <a:lnTo>
                    <a:pt x="218" y="138"/>
                  </a:lnTo>
                  <a:lnTo>
                    <a:pt x="209" y="129"/>
                  </a:lnTo>
                  <a:lnTo>
                    <a:pt x="219" y="125"/>
                  </a:lnTo>
                  <a:close/>
                </a:path>
              </a:pathLst>
            </a:custGeom>
            <a:solidFill>
              <a:srgbClr val="E5E6E7"/>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dirty="0"/>
            </a:p>
          </p:txBody>
        </p:sp>
        <p:sp>
          <p:nvSpPr>
            <p:cNvPr id="276" name="Freeform 310">
              <a:extLst>
                <a:ext uri="{FF2B5EF4-FFF2-40B4-BE49-F238E27FC236}">
                  <a16:creationId xmlns:a16="http://schemas.microsoft.com/office/drawing/2014/main" id="{E42B77D4-91BF-D34F-B722-FDC5EC2F5788}"/>
                </a:ext>
              </a:extLst>
            </p:cNvPr>
            <p:cNvSpPr>
              <a:spLocks/>
            </p:cNvSpPr>
            <p:nvPr/>
          </p:nvSpPr>
          <p:spPr bwMode="auto">
            <a:xfrm>
              <a:off x="4073" y="2140"/>
              <a:ext cx="479" cy="541"/>
            </a:xfrm>
            <a:custGeom>
              <a:avLst/>
              <a:gdLst>
                <a:gd name="T0" fmla="*/ 57 w 723"/>
                <a:gd name="T1" fmla="*/ 339 h 816"/>
                <a:gd name="T2" fmla="*/ 22 w 723"/>
                <a:gd name="T3" fmla="*/ 258 h 816"/>
                <a:gd name="T4" fmla="*/ 52 w 723"/>
                <a:gd name="T5" fmla="*/ 237 h 816"/>
                <a:gd name="T6" fmla="*/ 100 w 723"/>
                <a:gd name="T7" fmla="*/ 198 h 816"/>
                <a:gd name="T8" fmla="*/ 147 w 723"/>
                <a:gd name="T9" fmla="*/ 103 h 816"/>
                <a:gd name="T10" fmla="*/ 96 w 723"/>
                <a:gd name="T11" fmla="*/ 25 h 816"/>
                <a:gd name="T12" fmla="*/ 186 w 723"/>
                <a:gd name="T13" fmla="*/ 0 h 816"/>
                <a:gd name="T14" fmla="*/ 222 w 723"/>
                <a:gd name="T15" fmla="*/ 67 h 816"/>
                <a:gd name="T16" fmla="*/ 223 w 723"/>
                <a:gd name="T17" fmla="*/ 87 h 816"/>
                <a:gd name="T18" fmla="*/ 237 w 723"/>
                <a:gd name="T19" fmla="*/ 130 h 816"/>
                <a:gd name="T20" fmla="*/ 286 w 723"/>
                <a:gd name="T21" fmla="*/ 175 h 816"/>
                <a:gd name="T22" fmla="*/ 369 w 723"/>
                <a:gd name="T23" fmla="*/ 241 h 816"/>
                <a:gd name="T24" fmla="*/ 433 w 723"/>
                <a:gd name="T25" fmla="*/ 261 h 816"/>
                <a:gd name="T26" fmla="*/ 496 w 723"/>
                <a:gd name="T27" fmla="*/ 256 h 816"/>
                <a:gd name="T28" fmla="*/ 507 w 723"/>
                <a:gd name="T29" fmla="*/ 223 h 816"/>
                <a:gd name="T30" fmla="*/ 520 w 723"/>
                <a:gd name="T31" fmla="*/ 262 h 816"/>
                <a:gd name="T32" fmla="*/ 592 w 723"/>
                <a:gd name="T33" fmla="*/ 256 h 816"/>
                <a:gd name="T34" fmla="*/ 574 w 723"/>
                <a:gd name="T35" fmla="*/ 232 h 816"/>
                <a:gd name="T36" fmla="*/ 658 w 723"/>
                <a:gd name="T37" fmla="*/ 195 h 816"/>
                <a:gd name="T38" fmla="*/ 690 w 723"/>
                <a:gd name="T39" fmla="*/ 214 h 816"/>
                <a:gd name="T40" fmla="*/ 723 w 723"/>
                <a:gd name="T41" fmla="*/ 228 h 816"/>
                <a:gd name="T42" fmla="*/ 696 w 723"/>
                <a:gd name="T43" fmla="*/ 246 h 816"/>
                <a:gd name="T44" fmla="*/ 673 w 723"/>
                <a:gd name="T45" fmla="*/ 288 h 816"/>
                <a:gd name="T46" fmla="*/ 655 w 723"/>
                <a:gd name="T47" fmla="*/ 348 h 816"/>
                <a:gd name="T48" fmla="*/ 639 w 723"/>
                <a:gd name="T49" fmla="*/ 381 h 816"/>
                <a:gd name="T50" fmla="*/ 621 w 723"/>
                <a:gd name="T51" fmla="*/ 384 h 816"/>
                <a:gd name="T52" fmla="*/ 603 w 723"/>
                <a:gd name="T53" fmla="*/ 355 h 816"/>
                <a:gd name="T54" fmla="*/ 588 w 723"/>
                <a:gd name="T55" fmla="*/ 343 h 816"/>
                <a:gd name="T56" fmla="*/ 607 w 723"/>
                <a:gd name="T57" fmla="*/ 310 h 816"/>
                <a:gd name="T58" fmla="*/ 543 w 723"/>
                <a:gd name="T59" fmla="*/ 306 h 816"/>
                <a:gd name="T60" fmla="*/ 508 w 723"/>
                <a:gd name="T61" fmla="*/ 271 h 816"/>
                <a:gd name="T62" fmla="*/ 519 w 723"/>
                <a:gd name="T63" fmla="*/ 301 h 816"/>
                <a:gd name="T64" fmla="*/ 508 w 723"/>
                <a:gd name="T65" fmla="*/ 333 h 816"/>
                <a:gd name="T66" fmla="*/ 532 w 723"/>
                <a:gd name="T67" fmla="*/ 382 h 816"/>
                <a:gd name="T68" fmla="*/ 513 w 723"/>
                <a:gd name="T69" fmla="*/ 412 h 816"/>
                <a:gd name="T70" fmla="*/ 492 w 723"/>
                <a:gd name="T71" fmla="*/ 420 h 816"/>
                <a:gd name="T72" fmla="*/ 451 w 723"/>
                <a:gd name="T73" fmla="*/ 477 h 816"/>
                <a:gd name="T74" fmla="*/ 384 w 723"/>
                <a:gd name="T75" fmla="*/ 547 h 816"/>
                <a:gd name="T76" fmla="*/ 349 w 723"/>
                <a:gd name="T77" fmla="*/ 588 h 816"/>
                <a:gd name="T78" fmla="*/ 334 w 723"/>
                <a:gd name="T79" fmla="*/ 660 h 816"/>
                <a:gd name="T80" fmla="*/ 331 w 723"/>
                <a:gd name="T81" fmla="*/ 747 h 816"/>
                <a:gd name="T82" fmla="*/ 291 w 723"/>
                <a:gd name="T83" fmla="*/ 789 h 816"/>
                <a:gd name="T84" fmla="*/ 256 w 723"/>
                <a:gd name="T85" fmla="*/ 805 h 816"/>
                <a:gd name="T86" fmla="*/ 220 w 723"/>
                <a:gd name="T87" fmla="*/ 708 h 816"/>
                <a:gd name="T88" fmla="*/ 171 w 723"/>
                <a:gd name="T89" fmla="*/ 603 h 816"/>
                <a:gd name="T90" fmla="*/ 138 w 723"/>
                <a:gd name="T91" fmla="*/ 514 h 816"/>
                <a:gd name="T92" fmla="*/ 129 w 723"/>
                <a:gd name="T93" fmla="*/ 436 h 816"/>
                <a:gd name="T94" fmla="*/ 118 w 723"/>
                <a:gd name="T95" fmla="*/ 412 h 816"/>
                <a:gd name="T96" fmla="*/ 109 w 723"/>
                <a:gd name="T97" fmla="*/ 420 h 816"/>
                <a:gd name="T98" fmla="*/ 33 w 723"/>
                <a:gd name="T99" fmla="*/ 406 h 816"/>
                <a:gd name="T100" fmla="*/ 55 w 723"/>
                <a:gd name="T101" fmla="*/ 382 h 816"/>
                <a:gd name="T102" fmla="*/ 21 w 723"/>
                <a:gd name="T103" fmla="*/ 37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816">
                  <a:moveTo>
                    <a:pt x="0" y="360"/>
                  </a:moveTo>
                  <a:lnTo>
                    <a:pt x="15" y="340"/>
                  </a:lnTo>
                  <a:lnTo>
                    <a:pt x="57" y="339"/>
                  </a:lnTo>
                  <a:lnTo>
                    <a:pt x="72" y="331"/>
                  </a:lnTo>
                  <a:lnTo>
                    <a:pt x="39" y="271"/>
                  </a:lnTo>
                  <a:lnTo>
                    <a:pt x="22" y="258"/>
                  </a:lnTo>
                  <a:lnTo>
                    <a:pt x="30" y="235"/>
                  </a:lnTo>
                  <a:lnTo>
                    <a:pt x="45" y="222"/>
                  </a:lnTo>
                  <a:lnTo>
                    <a:pt x="52" y="237"/>
                  </a:lnTo>
                  <a:lnTo>
                    <a:pt x="73" y="232"/>
                  </a:lnTo>
                  <a:lnTo>
                    <a:pt x="84" y="211"/>
                  </a:lnTo>
                  <a:lnTo>
                    <a:pt x="100" y="198"/>
                  </a:lnTo>
                  <a:lnTo>
                    <a:pt x="126" y="148"/>
                  </a:lnTo>
                  <a:lnTo>
                    <a:pt x="126" y="112"/>
                  </a:lnTo>
                  <a:lnTo>
                    <a:pt x="147" y="103"/>
                  </a:lnTo>
                  <a:lnTo>
                    <a:pt x="111" y="82"/>
                  </a:lnTo>
                  <a:lnTo>
                    <a:pt x="91" y="43"/>
                  </a:lnTo>
                  <a:lnTo>
                    <a:pt x="96" y="25"/>
                  </a:lnTo>
                  <a:lnTo>
                    <a:pt x="136" y="34"/>
                  </a:lnTo>
                  <a:lnTo>
                    <a:pt x="162" y="25"/>
                  </a:lnTo>
                  <a:lnTo>
                    <a:pt x="186" y="0"/>
                  </a:lnTo>
                  <a:lnTo>
                    <a:pt x="207" y="28"/>
                  </a:lnTo>
                  <a:lnTo>
                    <a:pt x="222" y="45"/>
                  </a:lnTo>
                  <a:lnTo>
                    <a:pt x="222" y="67"/>
                  </a:lnTo>
                  <a:lnTo>
                    <a:pt x="250" y="78"/>
                  </a:lnTo>
                  <a:lnTo>
                    <a:pt x="238" y="94"/>
                  </a:lnTo>
                  <a:lnTo>
                    <a:pt x="223" y="87"/>
                  </a:lnTo>
                  <a:lnTo>
                    <a:pt x="213" y="97"/>
                  </a:lnTo>
                  <a:lnTo>
                    <a:pt x="228" y="106"/>
                  </a:lnTo>
                  <a:lnTo>
                    <a:pt x="237" y="130"/>
                  </a:lnTo>
                  <a:lnTo>
                    <a:pt x="250" y="127"/>
                  </a:lnTo>
                  <a:lnTo>
                    <a:pt x="295" y="157"/>
                  </a:lnTo>
                  <a:lnTo>
                    <a:pt x="286" y="175"/>
                  </a:lnTo>
                  <a:lnTo>
                    <a:pt x="283" y="201"/>
                  </a:lnTo>
                  <a:lnTo>
                    <a:pt x="325" y="225"/>
                  </a:lnTo>
                  <a:lnTo>
                    <a:pt x="369" y="241"/>
                  </a:lnTo>
                  <a:lnTo>
                    <a:pt x="390" y="241"/>
                  </a:lnTo>
                  <a:lnTo>
                    <a:pt x="414" y="250"/>
                  </a:lnTo>
                  <a:lnTo>
                    <a:pt x="433" y="261"/>
                  </a:lnTo>
                  <a:lnTo>
                    <a:pt x="442" y="271"/>
                  </a:lnTo>
                  <a:lnTo>
                    <a:pt x="496" y="273"/>
                  </a:lnTo>
                  <a:lnTo>
                    <a:pt x="496" y="256"/>
                  </a:lnTo>
                  <a:lnTo>
                    <a:pt x="487" y="252"/>
                  </a:lnTo>
                  <a:lnTo>
                    <a:pt x="489" y="228"/>
                  </a:lnTo>
                  <a:lnTo>
                    <a:pt x="507" y="223"/>
                  </a:lnTo>
                  <a:lnTo>
                    <a:pt x="513" y="238"/>
                  </a:lnTo>
                  <a:lnTo>
                    <a:pt x="507" y="253"/>
                  </a:lnTo>
                  <a:lnTo>
                    <a:pt x="520" y="262"/>
                  </a:lnTo>
                  <a:lnTo>
                    <a:pt x="550" y="265"/>
                  </a:lnTo>
                  <a:lnTo>
                    <a:pt x="576" y="265"/>
                  </a:lnTo>
                  <a:lnTo>
                    <a:pt x="592" y="256"/>
                  </a:lnTo>
                  <a:lnTo>
                    <a:pt x="589" y="244"/>
                  </a:lnTo>
                  <a:lnTo>
                    <a:pt x="579" y="241"/>
                  </a:lnTo>
                  <a:lnTo>
                    <a:pt x="574" y="232"/>
                  </a:lnTo>
                  <a:lnTo>
                    <a:pt x="595" y="232"/>
                  </a:lnTo>
                  <a:lnTo>
                    <a:pt x="639" y="187"/>
                  </a:lnTo>
                  <a:lnTo>
                    <a:pt x="658" y="195"/>
                  </a:lnTo>
                  <a:lnTo>
                    <a:pt x="676" y="181"/>
                  </a:lnTo>
                  <a:lnTo>
                    <a:pt x="691" y="199"/>
                  </a:lnTo>
                  <a:lnTo>
                    <a:pt x="690" y="214"/>
                  </a:lnTo>
                  <a:lnTo>
                    <a:pt x="702" y="214"/>
                  </a:lnTo>
                  <a:lnTo>
                    <a:pt x="714" y="219"/>
                  </a:lnTo>
                  <a:lnTo>
                    <a:pt x="723" y="228"/>
                  </a:lnTo>
                  <a:lnTo>
                    <a:pt x="712" y="237"/>
                  </a:lnTo>
                  <a:lnTo>
                    <a:pt x="718" y="252"/>
                  </a:lnTo>
                  <a:lnTo>
                    <a:pt x="696" y="246"/>
                  </a:lnTo>
                  <a:lnTo>
                    <a:pt x="681" y="261"/>
                  </a:lnTo>
                  <a:lnTo>
                    <a:pt x="670" y="271"/>
                  </a:lnTo>
                  <a:lnTo>
                    <a:pt x="673" y="288"/>
                  </a:lnTo>
                  <a:lnTo>
                    <a:pt x="667" y="303"/>
                  </a:lnTo>
                  <a:lnTo>
                    <a:pt x="666" y="324"/>
                  </a:lnTo>
                  <a:lnTo>
                    <a:pt x="655" y="348"/>
                  </a:lnTo>
                  <a:lnTo>
                    <a:pt x="642" y="343"/>
                  </a:lnTo>
                  <a:lnTo>
                    <a:pt x="643" y="358"/>
                  </a:lnTo>
                  <a:lnTo>
                    <a:pt x="639" y="381"/>
                  </a:lnTo>
                  <a:lnTo>
                    <a:pt x="640" y="403"/>
                  </a:lnTo>
                  <a:lnTo>
                    <a:pt x="625" y="403"/>
                  </a:lnTo>
                  <a:lnTo>
                    <a:pt x="621" y="384"/>
                  </a:lnTo>
                  <a:lnTo>
                    <a:pt x="621" y="372"/>
                  </a:lnTo>
                  <a:lnTo>
                    <a:pt x="613" y="354"/>
                  </a:lnTo>
                  <a:lnTo>
                    <a:pt x="603" y="355"/>
                  </a:lnTo>
                  <a:lnTo>
                    <a:pt x="601" y="375"/>
                  </a:lnTo>
                  <a:lnTo>
                    <a:pt x="588" y="361"/>
                  </a:lnTo>
                  <a:lnTo>
                    <a:pt x="588" y="343"/>
                  </a:lnTo>
                  <a:lnTo>
                    <a:pt x="604" y="331"/>
                  </a:lnTo>
                  <a:lnTo>
                    <a:pt x="612" y="321"/>
                  </a:lnTo>
                  <a:lnTo>
                    <a:pt x="607" y="310"/>
                  </a:lnTo>
                  <a:lnTo>
                    <a:pt x="583" y="312"/>
                  </a:lnTo>
                  <a:lnTo>
                    <a:pt x="553" y="309"/>
                  </a:lnTo>
                  <a:lnTo>
                    <a:pt x="543" y="306"/>
                  </a:lnTo>
                  <a:lnTo>
                    <a:pt x="543" y="282"/>
                  </a:lnTo>
                  <a:lnTo>
                    <a:pt x="528" y="285"/>
                  </a:lnTo>
                  <a:lnTo>
                    <a:pt x="508" y="271"/>
                  </a:lnTo>
                  <a:lnTo>
                    <a:pt x="496" y="282"/>
                  </a:lnTo>
                  <a:lnTo>
                    <a:pt x="499" y="294"/>
                  </a:lnTo>
                  <a:lnTo>
                    <a:pt x="519" y="301"/>
                  </a:lnTo>
                  <a:lnTo>
                    <a:pt x="525" y="312"/>
                  </a:lnTo>
                  <a:lnTo>
                    <a:pt x="507" y="316"/>
                  </a:lnTo>
                  <a:lnTo>
                    <a:pt x="508" y="333"/>
                  </a:lnTo>
                  <a:lnTo>
                    <a:pt x="520" y="336"/>
                  </a:lnTo>
                  <a:lnTo>
                    <a:pt x="520" y="354"/>
                  </a:lnTo>
                  <a:lnTo>
                    <a:pt x="532" y="382"/>
                  </a:lnTo>
                  <a:lnTo>
                    <a:pt x="540" y="409"/>
                  </a:lnTo>
                  <a:lnTo>
                    <a:pt x="523" y="418"/>
                  </a:lnTo>
                  <a:lnTo>
                    <a:pt x="513" y="412"/>
                  </a:lnTo>
                  <a:lnTo>
                    <a:pt x="511" y="396"/>
                  </a:lnTo>
                  <a:lnTo>
                    <a:pt x="504" y="414"/>
                  </a:lnTo>
                  <a:lnTo>
                    <a:pt x="492" y="420"/>
                  </a:lnTo>
                  <a:lnTo>
                    <a:pt x="484" y="435"/>
                  </a:lnTo>
                  <a:lnTo>
                    <a:pt x="480" y="462"/>
                  </a:lnTo>
                  <a:lnTo>
                    <a:pt x="451" y="477"/>
                  </a:lnTo>
                  <a:lnTo>
                    <a:pt x="424" y="511"/>
                  </a:lnTo>
                  <a:lnTo>
                    <a:pt x="400" y="538"/>
                  </a:lnTo>
                  <a:lnTo>
                    <a:pt x="384" y="547"/>
                  </a:lnTo>
                  <a:lnTo>
                    <a:pt x="381" y="564"/>
                  </a:lnTo>
                  <a:lnTo>
                    <a:pt x="358" y="571"/>
                  </a:lnTo>
                  <a:lnTo>
                    <a:pt x="349" y="588"/>
                  </a:lnTo>
                  <a:lnTo>
                    <a:pt x="336" y="583"/>
                  </a:lnTo>
                  <a:lnTo>
                    <a:pt x="327" y="606"/>
                  </a:lnTo>
                  <a:lnTo>
                    <a:pt x="334" y="660"/>
                  </a:lnTo>
                  <a:lnTo>
                    <a:pt x="336" y="694"/>
                  </a:lnTo>
                  <a:lnTo>
                    <a:pt x="327" y="715"/>
                  </a:lnTo>
                  <a:lnTo>
                    <a:pt x="331" y="747"/>
                  </a:lnTo>
                  <a:lnTo>
                    <a:pt x="319" y="753"/>
                  </a:lnTo>
                  <a:lnTo>
                    <a:pt x="310" y="778"/>
                  </a:lnTo>
                  <a:lnTo>
                    <a:pt x="291" y="789"/>
                  </a:lnTo>
                  <a:lnTo>
                    <a:pt x="291" y="807"/>
                  </a:lnTo>
                  <a:lnTo>
                    <a:pt x="273" y="816"/>
                  </a:lnTo>
                  <a:lnTo>
                    <a:pt x="256" y="805"/>
                  </a:lnTo>
                  <a:lnTo>
                    <a:pt x="246" y="783"/>
                  </a:lnTo>
                  <a:lnTo>
                    <a:pt x="235" y="747"/>
                  </a:lnTo>
                  <a:lnTo>
                    <a:pt x="220" y="708"/>
                  </a:lnTo>
                  <a:lnTo>
                    <a:pt x="198" y="682"/>
                  </a:lnTo>
                  <a:lnTo>
                    <a:pt x="192" y="639"/>
                  </a:lnTo>
                  <a:lnTo>
                    <a:pt x="171" y="603"/>
                  </a:lnTo>
                  <a:lnTo>
                    <a:pt x="151" y="571"/>
                  </a:lnTo>
                  <a:lnTo>
                    <a:pt x="147" y="541"/>
                  </a:lnTo>
                  <a:lnTo>
                    <a:pt x="138" y="514"/>
                  </a:lnTo>
                  <a:lnTo>
                    <a:pt x="132" y="481"/>
                  </a:lnTo>
                  <a:lnTo>
                    <a:pt x="124" y="468"/>
                  </a:lnTo>
                  <a:lnTo>
                    <a:pt x="129" y="436"/>
                  </a:lnTo>
                  <a:lnTo>
                    <a:pt x="120" y="420"/>
                  </a:lnTo>
                  <a:lnTo>
                    <a:pt x="132" y="409"/>
                  </a:lnTo>
                  <a:lnTo>
                    <a:pt x="118" y="412"/>
                  </a:lnTo>
                  <a:lnTo>
                    <a:pt x="118" y="394"/>
                  </a:lnTo>
                  <a:lnTo>
                    <a:pt x="100" y="408"/>
                  </a:lnTo>
                  <a:lnTo>
                    <a:pt x="109" y="420"/>
                  </a:lnTo>
                  <a:lnTo>
                    <a:pt x="79" y="441"/>
                  </a:lnTo>
                  <a:lnTo>
                    <a:pt x="54" y="427"/>
                  </a:lnTo>
                  <a:lnTo>
                    <a:pt x="33" y="406"/>
                  </a:lnTo>
                  <a:lnTo>
                    <a:pt x="22" y="391"/>
                  </a:lnTo>
                  <a:lnTo>
                    <a:pt x="39" y="391"/>
                  </a:lnTo>
                  <a:lnTo>
                    <a:pt x="55" y="382"/>
                  </a:lnTo>
                  <a:lnTo>
                    <a:pt x="64" y="370"/>
                  </a:lnTo>
                  <a:lnTo>
                    <a:pt x="37" y="381"/>
                  </a:lnTo>
                  <a:lnTo>
                    <a:pt x="21" y="376"/>
                  </a:lnTo>
                  <a:lnTo>
                    <a:pt x="0" y="360"/>
                  </a:lnTo>
                  <a:close/>
                </a:path>
              </a:pathLst>
            </a:custGeom>
            <a:solidFill>
              <a:srgbClr val="5B9BD5"/>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sp>
          <p:nvSpPr>
            <p:cNvPr id="277" name="Freeform 311">
              <a:extLst>
                <a:ext uri="{FF2B5EF4-FFF2-40B4-BE49-F238E27FC236}">
                  <a16:creationId xmlns:a16="http://schemas.microsoft.com/office/drawing/2014/main" id="{6B132395-32FA-C14A-ACB0-436D3A598A95}"/>
                </a:ext>
              </a:extLst>
            </p:cNvPr>
            <p:cNvSpPr>
              <a:spLocks/>
            </p:cNvSpPr>
            <p:nvPr/>
          </p:nvSpPr>
          <p:spPr bwMode="auto">
            <a:xfrm>
              <a:off x="3204" y="3273"/>
              <a:ext cx="269" cy="247"/>
            </a:xfrm>
            <a:custGeom>
              <a:avLst/>
              <a:gdLst>
                <a:gd name="T0" fmla="*/ 328 w 406"/>
                <a:gd name="T1" fmla="*/ 0 h 373"/>
                <a:gd name="T2" fmla="*/ 359 w 406"/>
                <a:gd name="T3" fmla="*/ 0 h 373"/>
                <a:gd name="T4" fmla="*/ 375 w 406"/>
                <a:gd name="T5" fmla="*/ 16 h 373"/>
                <a:gd name="T6" fmla="*/ 390 w 406"/>
                <a:gd name="T7" fmla="*/ 109 h 373"/>
                <a:gd name="T8" fmla="*/ 375 w 406"/>
                <a:gd name="T9" fmla="*/ 109 h 373"/>
                <a:gd name="T10" fmla="*/ 360 w 406"/>
                <a:gd name="T11" fmla="*/ 121 h 373"/>
                <a:gd name="T12" fmla="*/ 359 w 406"/>
                <a:gd name="T13" fmla="*/ 140 h 373"/>
                <a:gd name="T14" fmla="*/ 382 w 406"/>
                <a:gd name="T15" fmla="*/ 151 h 373"/>
                <a:gd name="T16" fmla="*/ 390 w 406"/>
                <a:gd name="T17" fmla="*/ 124 h 373"/>
                <a:gd name="T18" fmla="*/ 406 w 406"/>
                <a:gd name="T19" fmla="*/ 124 h 373"/>
                <a:gd name="T20" fmla="*/ 406 w 406"/>
                <a:gd name="T21" fmla="*/ 140 h 373"/>
                <a:gd name="T22" fmla="*/ 390 w 406"/>
                <a:gd name="T23" fmla="*/ 187 h 373"/>
                <a:gd name="T24" fmla="*/ 375 w 406"/>
                <a:gd name="T25" fmla="*/ 202 h 373"/>
                <a:gd name="T26" fmla="*/ 344 w 406"/>
                <a:gd name="T27" fmla="*/ 249 h 373"/>
                <a:gd name="T28" fmla="*/ 298 w 406"/>
                <a:gd name="T29" fmla="*/ 302 h 373"/>
                <a:gd name="T30" fmla="*/ 250 w 406"/>
                <a:gd name="T31" fmla="*/ 342 h 373"/>
                <a:gd name="T32" fmla="*/ 220 w 406"/>
                <a:gd name="T33" fmla="*/ 343 h 373"/>
                <a:gd name="T34" fmla="*/ 201 w 406"/>
                <a:gd name="T35" fmla="*/ 353 h 373"/>
                <a:gd name="T36" fmla="*/ 141 w 406"/>
                <a:gd name="T37" fmla="*/ 342 h 373"/>
                <a:gd name="T38" fmla="*/ 78 w 406"/>
                <a:gd name="T39" fmla="*/ 373 h 373"/>
                <a:gd name="T40" fmla="*/ 62 w 406"/>
                <a:gd name="T41" fmla="*/ 373 h 373"/>
                <a:gd name="T42" fmla="*/ 47 w 406"/>
                <a:gd name="T43" fmla="*/ 342 h 373"/>
                <a:gd name="T44" fmla="*/ 47 w 406"/>
                <a:gd name="T45" fmla="*/ 357 h 373"/>
                <a:gd name="T46" fmla="*/ 31 w 406"/>
                <a:gd name="T47" fmla="*/ 311 h 373"/>
                <a:gd name="T48" fmla="*/ 47 w 406"/>
                <a:gd name="T49" fmla="*/ 311 h 373"/>
                <a:gd name="T50" fmla="*/ 31 w 406"/>
                <a:gd name="T51" fmla="*/ 280 h 373"/>
                <a:gd name="T52" fmla="*/ 0 w 406"/>
                <a:gd name="T53" fmla="*/ 202 h 373"/>
                <a:gd name="T54" fmla="*/ 0 w 406"/>
                <a:gd name="T55" fmla="*/ 187 h 373"/>
                <a:gd name="T56" fmla="*/ 0 w 406"/>
                <a:gd name="T57" fmla="*/ 171 h 373"/>
                <a:gd name="T58" fmla="*/ 16 w 406"/>
                <a:gd name="T59" fmla="*/ 187 h 373"/>
                <a:gd name="T60" fmla="*/ 31 w 406"/>
                <a:gd name="T61" fmla="*/ 202 h 373"/>
                <a:gd name="T62" fmla="*/ 62 w 406"/>
                <a:gd name="T63" fmla="*/ 202 h 373"/>
                <a:gd name="T64" fmla="*/ 78 w 406"/>
                <a:gd name="T65" fmla="*/ 187 h 373"/>
                <a:gd name="T66" fmla="*/ 78 w 406"/>
                <a:gd name="T67" fmla="*/ 78 h 373"/>
                <a:gd name="T68" fmla="*/ 109 w 406"/>
                <a:gd name="T69" fmla="*/ 93 h 373"/>
                <a:gd name="T70" fmla="*/ 94 w 406"/>
                <a:gd name="T71" fmla="*/ 124 h 373"/>
                <a:gd name="T72" fmla="*/ 109 w 406"/>
                <a:gd name="T73" fmla="*/ 140 h 373"/>
                <a:gd name="T74" fmla="*/ 141 w 406"/>
                <a:gd name="T75" fmla="*/ 124 h 373"/>
                <a:gd name="T76" fmla="*/ 172 w 406"/>
                <a:gd name="T77" fmla="*/ 93 h 373"/>
                <a:gd name="T78" fmla="*/ 207 w 406"/>
                <a:gd name="T79" fmla="*/ 109 h 373"/>
                <a:gd name="T80" fmla="*/ 231 w 406"/>
                <a:gd name="T81" fmla="*/ 98 h 373"/>
                <a:gd name="T82" fmla="*/ 237 w 406"/>
                <a:gd name="T83" fmla="*/ 74 h 373"/>
                <a:gd name="T84" fmla="*/ 281 w 406"/>
                <a:gd name="T85" fmla="*/ 31 h 373"/>
                <a:gd name="T86" fmla="*/ 328 w 406"/>
                <a:gd name="T8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6" h="373">
                  <a:moveTo>
                    <a:pt x="328" y="0"/>
                  </a:moveTo>
                  <a:lnTo>
                    <a:pt x="359" y="0"/>
                  </a:lnTo>
                  <a:lnTo>
                    <a:pt x="375" y="16"/>
                  </a:lnTo>
                  <a:lnTo>
                    <a:pt x="390" y="109"/>
                  </a:lnTo>
                  <a:lnTo>
                    <a:pt x="375" y="109"/>
                  </a:lnTo>
                  <a:lnTo>
                    <a:pt x="360" y="121"/>
                  </a:lnTo>
                  <a:lnTo>
                    <a:pt x="359" y="140"/>
                  </a:lnTo>
                  <a:lnTo>
                    <a:pt x="382" y="151"/>
                  </a:lnTo>
                  <a:lnTo>
                    <a:pt x="390" y="124"/>
                  </a:lnTo>
                  <a:lnTo>
                    <a:pt x="406" y="124"/>
                  </a:lnTo>
                  <a:lnTo>
                    <a:pt x="406" y="140"/>
                  </a:lnTo>
                  <a:lnTo>
                    <a:pt x="390" y="187"/>
                  </a:lnTo>
                  <a:lnTo>
                    <a:pt x="375" y="202"/>
                  </a:lnTo>
                  <a:lnTo>
                    <a:pt x="344" y="249"/>
                  </a:lnTo>
                  <a:lnTo>
                    <a:pt x="298" y="302"/>
                  </a:lnTo>
                  <a:lnTo>
                    <a:pt x="250" y="342"/>
                  </a:lnTo>
                  <a:lnTo>
                    <a:pt x="220" y="343"/>
                  </a:lnTo>
                  <a:lnTo>
                    <a:pt x="201" y="353"/>
                  </a:lnTo>
                  <a:lnTo>
                    <a:pt x="141" y="342"/>
                  </a:lnTo>
                  <a:lnTo>
                    <a:pt x="78" y="373"/>
                  </a:lnTo>
                  <a:lnTo>
                    <a:pt x="62" y="373"/>
                  </a:lnTo>
                  <a:lnTo>
                    <a:pt x="47" y="342"/>
                  </a:lnTo>
                  <a:lnTo>
                    <a:pt x="47" y="357"/>
                  </a:lnTo>
                  <a:lnTo>
                    <a:pt x="31" y="311"/>
                  </a:lnTo>
                  <a:lnTo>
                    <a:pt x="47" y="311"/>
                  </a:lnTo>
                  <a:lnTo>
                    <a:pt x="31" y="280"/>
                  </a:lnTo>
                  <a:lnTo>
                    <a:pt x="0" y="202"/>
                  </a:lnTo>
                  <a:lnTo>
                    <a:pt x="0" y="187"/>
                  </a:lnTo>
                  <a:lnTo>
                    <a:pt x="0" y="171"/>
                  </a:lnTo>
                  <a:lnTo>
                    <a:pt x="16" y="187"/>
                  </a:lnTo>
                  <a:lnTo>
                    <a:pt x="31" y="202"/>
                  </a:lnTo>
                  <a:lnTo>
                    <a:pt x="62" y="202"/>
                  </a:lnTo>
                  <a:lnTo>
                    <a:pt x="78" y="187"/>
                  </a:lnTo>
                  <a:lnTo>
                    <a:pt x="78" y="78"/>
                  </a:lnTo>
                  <a:lnTo>
                    <a:pt x="109" y="93"/>
                  </a:lnTo>
                  <a:lnTo>
                    <a:pt x="94" y="124"/>
                  </a:lnTo>
                  <a:lnTo>
                    <a:pt x="109" y="140"/>
                  </a:lnTo>
                  <a:lnTo>
                    <a:pt x="141" y="124"/>
                  </a:lnTo>
                  <a:lnTo>
                    <a:pt x="172" y="93"/>
                  </a:lnTo>
                  <a:lnTo>
                    <a:pt x="207" y="109"/>
                  </a:lnTo>
                  <a:lnTo>
                    <a:pt x="231" y="98"/>
                  </a:lnTo>
                  <a:lnTo>
                    <a:pt x="237" y="74"/>
                  </a:lnTo>
                  <a:lnTo>
                    <a:pt x="281" y="31"/>
                  </a:lnTo>
                  <a:lnTo>
                    <a:pt x="328" y="0"/>
                  </a:lnTo>
                  <a:close/>
                </a:path>
              </a:pathLst>
            </a:custGeom>
            <a:solidFill>
              <a:srgbClr val="5B9BD5"/>
            </a:solidFill>
            <a:ln w="3175" cmpd="sng">
              <a:solidFill>
                <a:schemeClr val="bg1"/>
              </a:solidFill>
              <a:prstDash val="solid"/>
              <a:round/>
              <a:headEnd/>
              <a:tailEnd/>
            </a:ln>
          </p:spPr>
          <p:txBody>
            <a:bodyPr/>
            <a:lstStyle/>
            <a:p>
              <a:endParaRPr lang="de-DE" sz="1286" dirty="0"/>
            </a:p>
          </p:txBody>
        </p:sp>
        <p:sp>
          <p:nvSpPr>
            <p:cNvPr id="278" name="Freeform 312">
              <a:extLst>
                <a:ext uri="{FF2B5EF4-FFF2-40B4-BE49-F238E27FC236}">
                  <a16:creationId xmlns:a16="http://schemas.microsoft.com/office/drawing/2014/main" id="{A4203566-726D-2A45-A454-5A958EA4D51C}"/>
                </a:ext>
              </a:extLst>
            </p:cNvPr>
            <p:cNvSpPr>
              <a:spLocks/>
            </p:cNvSpPr>
            <p:nvPr/>
          </p:nvSpPr>
          <p:spPr bwMode="auto">
            <a:xfrm>
              <a:off x="3380" y="3396"/>
              <a:ext cx="31" cy="41"/>
            </a:xfrm>
            <a:custGeom>
              <a:avLst/>
              <a:gdLst>
                <a:gd name="T0" fmla="*/ 24 w 24"/>
                <a:gd name="T1" fmla="*/ 8 h 32"/>
                <a:gd name="T2" fmla="*/ 24 w 24"/>
                <a:gd name="T3" fmla="*/ 16 h 32"/>
                <a:gd name="T4" fmla="*/ 8 w 24"/>
                <a:gd name="T5" fmla="*/ 32 h 32"/>
                <a:gd name="T6" fmla="*/ 0 w 24"/>
                <a:gd name="T7" fmla="*/ 16 h 32"/>
                <a:gd name="T8" fmla="*/ 16 w 24"/>
                <a:gd name="T9" fmla="*/ 0 h 32"/>
                <a:gd name="T10" fmla="*/ 24 w 24"/>
                <a:gd name="T11" fmla="*/ 0 h 32"/>
                <a:gd name="T12" fmla="*/ 24 w 24"/>
                <a:gd name="T13" fmla="*/ 8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24" y="8"/>
                  </a:moveTo>
                  <a:lnTo>
                    <a:pt x="24" y="16"/>
                  </a:lnTo>
                  <a:lnTo>
                    <a:pt x="8" y="32"/>
                  </a:lnTo>
                  <a:lnTo>
                    <a:pt x="0" y="16"/>
                  </a:lnTo>
                  <a:lnTo>
                    <a:pt x="16" y="0"/>
                  </a:lnTo>
                  <a:lnTo>
                    <a:pt x="24" y="0"/>
                  </a:lnTo>
                  <a:lnTo>
                    <a:pt x="24" y="8"/>
                  </a:lnTo>
                  <a:close/>
                </a:path>
              </a:pathLst>
            </a:custGeom>
            <a:solidFill>
              <a:srgbClr val="5B9BD5"/>
            </a:solidFill>
            <a:ln w="3175" cmpd="sng">
              <a:solidFill>
                <a:schemeClr val="bg1"/>
              </a:solidFill>
              <a:prstDash val="solid"/>
              <a:round/>
              <a:headEnd/>
              <a:tailEnd/>
            </a:ln>
          </p:spPr>
          <p:txBody>
            <a:bodyPr/>
            <a:lstStyle/>
            <a:p>
              <a:endParaRPr lang="de-DE" sz="1286"/>
            </a:p>
          </p:txBody>
        </p:sp>
        <p:sp>
          <p:nvSpPr>
            <p:cNvPr id="279" name="Freeform 313">
              <a:extLst>
                <a:ext uri="{FF2B5EF4-FFF2-40B4-BE49-F238E27FC236}">
                  <a16:creationId xmlns:a16="http://schemas.microsoft.com/office/drawing/2014/main" id="{4BC3582F-835B-9D4F-9782-AE5D21C68F81}"/>
                </a:ext>
              </a:extLst>
            </p:cNvPr>
            <p:cNvSpPr>
              <a:spLocks/>
            </p:cNvSpPr>
            <p:nvPr/>
          </p:nvSpPr>
          <p:spPr bwMode="auto">
            <a:xfrm>
              <a:off x="3224" y="1985"/>
              <a:ext cx="24" cy="29"/>
            </a:xfrm>
            <a:custGeom>
              <a:avLst/>
              <a:gdLst>
                <a:gd name="T0" fmla="*/ 24 w 24"/>
                <a:gd name="T1" fmla="*/ 21 h 29"/>
                <a:gd name="T2" fmla="*/ 11 w 24"/>
                <a:gd name="T3" fmla="*/ 29 h 29"/>
                <a:gd name="T4" fmla="*/ 0 w 24"/>
                <a:gd name="T5" fmla="*/ 20 h 29"/>
                <a:gd name="T6" fmla="*/ 2 w 24"/>
                <a:gd name="T7" fmla="*/ 7 h 29"/>
                <a:gd name="T8" fmla="*/ 16 w 24"/>
                <a:gd name="T9" fmla="*/ 0 h 29"/>
                <a:gd name="T10" fmla="*/ 24 w 24"/>
                <a:gd name="T11" fmla="*/ 21 h 29"/>
              </a:gdLst>
              <a:ahLst/>
              <a:cxnLst>
                <a:cxn ang="0">
                  <a:pos x="T0" y="T1"/>
                </a:cxn>
                <a:cxn ang="0">
                  <a:pos x="T2" y="T3"/>
                </a:cxn>
                <a:cxn ang="0">
                  <a:pos x="T4" y="T5"/>
                </a:cxn>
                <a:cxn ang="0">
                  <a:pos x="T6" y="T7"/>
                </a:cxn>
                <a:cxn ang="0">
                  <a:pos x="T8" y="T9"/>
                </a:cxn>
                <a:cxn ang="0">
                  <a:pos x="T10" y="T11"/>
                </a:cxn>
              </a:cxnLst>
              <a:rect l="0" t="0" r="r" b="b"/>
              <a:pathLst>
                <a:path w="24" h="29">
                  <a:moveTo>
                    <a:pt x="24" y="21"/>
                  </a:moveTo>
                  <a:lnTo>
                    <a:pt x="11" y="29"/>
                  </a:lnTo>
                  <a:lnTo>
                    <a:pt x="0" y="20"/>
                  </a:lnTo>
                  <a:lnTo>
                    <a:pt x="2" y="7"/>
                  </a:lnTo>
                  <a:lnTo>
                    <a:pt x="16" y="0"/>
                  </a:lnTo>
                  <a:lnTo>
                    <a:pt x="24" y="2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286"/>
            </a:p>
          </p:txBody>
        </p:sp>
      </p:grpSp>
      <p:sp>
        <p:nvSpPr>
          <p:cNvPr id="331" name="Text Placeholder 1"/>
          <p:cNvSpPr>
            <a:spLocks noGrp="1"/>
          </p:cNvSpPr>
          <p:nvPr>
            <p:ph type="body" sz="quarter" idx="13"/>
          </p:nvPr>
        </p:nvSpPr>
        <p:spPr>
          <a:xfrm>
            <a:off x="7591796" y="3322454"/>
            <a:ext cx="1951630" cy="466586"/>
          </a:xfrm>
        </p:spPr>
        <p:txBody>
          <a:bodyPr/>
          <a:lstStyle/>
          <a:p>
            <a:pPr marL="0" indent="0" algn="just">
              <a:buNone/>
            </a:pPr>
            <a:r>
              <a:rPr lang="en-GB" sz="700" dirty="0">
                <a:solidFill>
                  <a:schemeClr val="accent5"/>
                </a:solidFill>
              </a:rPr>
              <a:t>Connect4Impact target countries</a:t>
            </a:r>
          </a:p>
          <a:p>
            <a:pPr marL="0" indent="0" algn="just">
              <a:buNone/>
            </a:pPr>
            <a:r>
              <a:rPr lang="en-GB" sz="700" dirty="0">
                <a:solidFill>
                  <a:schemeClr val="accent5"/>
                </a:solidFill>
              </a:rPr>
              <a:t>Focus: Ukraine</a:t>
            </a:r>
          </a:p>
          <a:p>
            <a:pPr marL="0" indent="0" algn="just">
              <a:buNone/>
            </a:pPr>
            <a:r>
              <a:rPr lang="en-GB" sz="700" dirty="0">
                <a:solidFill>
                  <a:schemeClr val="accent5"/>
                </a:solidFill>
              </a:rPr>
              <a:t>Non-target countries</a:t>
            </a:r>
          </a:p>
        </p:txBody>
      </p:sp>
      <p:sp>
        <p:nvSpPr>
          <p:cNvPr id="13" name="Flussdiagramm: Verbinder 12"/>
          <p:cNvSpPr/>
          <p:nvPr/>
        </p:nvSpPr>
        <p:spPr>
          <a:xfrm>
            <a:off x="7473280" y="3339642"/>
            <a:ext cx="72000" cy="72000"/>
          </a:xfrm>
          <a:prstGeom prst="flowChartConnector">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lIns="99692" tIns="74769" rIns="99692" bIns="74769" rtlCol="0" anchor="ctr"/>
          <a:lstStyle/>
          <a:p>
            <a:pPr algn="l">
              <a:buSzPct val="110000"/>
            </a:pPr>
            <a:endParaRPr lang="de-DE" sz="969" dirty="0" err="1"/>
          </a:p>
        </p:txBody>
      </p:sp>
      <p:sp>
        <p:nvSpPr>
          <p:cNvPr id="332" name="Flussdiagramm: Verbinder 331"/>
          <p:cNvSpPr/>
          <p:nvPr/>
        </p:nvSpPr>
        <p:spPr>
          <a:xfrm>
            <a:off x="7473280" y="3452556"/>
            <a:ext cx="72000" cy="720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9692" tIns="74769" rIns="99692" bIns="74769" rtlCol="0" anchor="ctr"/>
          <a:lstStyle/>
          <a:p>
            <a:pPr algn="l">
              <a:buSzPct val="110000"/>
            </a:pPr>
            <a:endParaRPr lang="de-DE" sz="969" dirty="0" err="1"/>
          </a:p>
        </p:txBody>
      </p:sp>
      <p:sp>
        <p:nvSpPr>
          <p:cNvPr id="334" name="Flussdiagramm: Verbinder 333"/>
          <p:cNvSpPr/>
          <p:nvPr/>
        </p:nvSpPr>
        <p:spPr>
          <a:xfrm>
            <a:off x="7473280" y="3564893"/>
            <a:ext cx="72000" cy="72000"/>
          </a:xfrm>
          <a:prstGeom prst="flowChartConnector">
            <a:avLst/>
          </a:prstGeom>
          <a:solidFill>
            <a:srgbClr val="E5E6E7"/>
          </a:solidFill>
          <a:ln>
            <a:noFill/>
          </a:ln>
        </p:spPr>
        <p:style>
          <a:lnRef idx="2">
            <a:schemeClr val="accent1">
              <a:shade val="50000"/>
            </a:schemeClr>
          </a:lnRef>
          <a:fillRef idx="1">
            <a:schemeClr val="accent1"/>
          </a:fillRef>
          <a:effectRef idx="0">
            <a:schemeClr val="accent1"/>
          </a:effectRef>
          <a:fontRef idx="minor">
            <a:schemeClr val="lt1"/>
          </a:fontRef>
        </p:style>
        <p:txBody>
          <a:bodyPr lIns="99692" tIns="74769" rIns="99692" bIns="74769" rtlCol="0" anchor="ctr"/>
          <a:lstStyle/>
          <a:p>
            <a:pPr algn="l">
              <a:buSzPct val="110000"/>
            </a:pPr>
            <a:endParaRPr lang="de-DE" sz="969" dirty="0" err="1"/>
          </a:p>
        </p:txBody>
      </p:sp>
      <p:grpSp>
        <p:nvGrpSpPr>
          <p:cNvPr id="333" name="Gruppieren 332"/>
          <p:cNvGrpSpPr/>
          <p:nvPr/>
        </p:nvGrpSpPr>
        <p:grpSpPr>
          <a:xfrm>
            <a:off x="746579" y="4035716"/>
            <a:ext cx="3870831" cy="1841555"/>
            <a:chOff x="722129" y="4007717"/>
            <a:chExt cx="3870831" cy="1841555"/>
          </a:xfrm>
        </p:grpSpPr>
        <p:sp>
          <p:nvSpPr>
            <p:cNvPr id="335" name="TextBox 384"/>
            <p:cNvSpPr txBox="1"/>
            <p:nvPr/>
          </p:nvSpPr>
          <p:spPr>
            <a:xfrm>
              <a:off x="722129" y="4465386"/>
              <a:ext cx="3870831" cy="1202994"/>
            </a:xfrm>
            <a:prstGeom prst="rect">
              <a:avLst/>
            </a:prstGeom>
            <a:noFill/>
          </p:spPr>
          <p:txBody>
            <a:bodyPr wrap="square" lIns="144000" tIns="108000" rIns="144000" bIns="108000" rtlCol="0">
              <a:spAutoFit/>
            </a:bodyPr>
            <a:lstStyle/>
            <a:p>
              <a:pPr>
                <a:buSzPct val="110000"/>
              </a:pPr>
              <a:r>
                <a:rPr lang="en-US" sz="1600" b="1" dirty="0">
                  <a:solidFill>
                    <a:schemeClr val="accent1"/>
                  </a:solidFill>
                </a:rPr>
                <a:t>Lean financing for European companies in Africa and BMZ Partner countries (e.g. </a:t>
              </a:r>
              <a:r>
                <a:rPr lang="en-US" sz="1600" b="1" dirty="0">
                  <a:solidFill>
                    <a:schemeClr val="accent2"/>
                  </a:solidFill>
                </a:rPr>
                <a:t>Ukraine</a:t>
              </a:r>
              <a:r>
                <a:rPr lang="en-US" sz="1600" b="1" dirty="0">
                  <a:solidFill>
                    <a:schemeClr val="accent1"/>
                  </a:solidFill>
                </a:rPr>
                <a:t>) at attractive terms</a:t>
              </a:r>
              <a:endParaRPr lang="en-GB" sz="1600" b="1" dirty="0">
                <a:solidFill>
                  <a:schemeClr val="accent1"/>
                </a:solidFill>
              </a:endParaRPr>
            </a:p>
          </p:txBody>
        </p:sp>
        <p:pic>
          <p:nvPicPr>
            <p:cNvPr id="336" name="Picture 385"/>
            <p:cNvPicPr>
              <a:picLocks noChangeAspect="1"/>
            </p:cNvPicPr>
            <p:nvPr/>
          </p:nvPicPr>
          <p:blipFill>
            <a:blip r:embed="rId6"/>
            <a:stretch>
              <a:fillRect/>
            </a:stretch>
          </p:blipFill>
          <p:spPr>
            <a:xfrm>
              <a:off x="722129" y="4007717"/>
              <a:ext cx="714375" cy="466725"/>
            </a:xfrm>
            <a:prstGeom prst="rect">
              <a:avLst/>
            </a:prstGeom>
          </p:spPr>
        </p:pic>
        <p:pic>
          <p:nvPicPr>
            <p:cNvPr id="337" name="Picture 385"/>
            <p:cNvPicPr>
              <a:picLocks noChangeAspect="1"/>
            </p:cNvPicPr>
            <p:nvPr/>
          </p:nvPicPr>
          <p:blipFill>
            <a:blip r:embed="rId6"/>
            <a:stretch>
              <a:fillRect/>
            </a:stretch>
          </p:blipFill>
          <p:spPr>
            <a:xfrm rot="10800000">
              <a:off x="3638111" y="5382547"/>
              <a:ext cx="714375" cy="466725"/>
            </a:xfrm>
            <a:prstGeom prst="rect">
              <a:avLst/>
            </a:prstGeom>
          </p:spPr>
        </p:pic>
      </p:grpSp>
      <p:sp>
        <p:nvSpPr>
          <p:cNvPr id="6" name="Foliennummernplatzhalter 5"/>
          <p:cNvSpPr>
            <a:spLocks noGrp="1"/>
          </p:cNvSpPr>
          <p:nvPr>
            <p:ph type="sldNum" sz="quarter" idx="17"/>
          </p:nvPr>
        </p:nvSpPr>
        <p:spPr/>
        <p:txBody>
          <a:bodyPr/>
          <a:lstStyle/>
          <a:p>
            <a:fld id="{5678FFC5-4430-43BC-9807-D0C6EB405569}" type="slidenum">
              <a:rPr lang="de-DE" smtClean="0"/>
              <a:pPr/>
              <a:t>6</a:t>
            </a:fld>
            <a:endParaRPr lang="de-DE" dirty="0"/>
          </a:p>
        </p:txBody>
      </p:sp>
    </p:spTree>
    <p:extLst>
      <p:ext uri="{BB962C8B-B14F-4D97-AF65-F5344CB8AC3E}">
        <p14:creationId xmlns:p14="http://schemas.microsoft.com/office/powerpoint/2010/main" val="162875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418716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6" imgH="286" progId="TCLayout.ActiveDocument.1">
                  <p:embed/>
                </p:oleObj>
              </mc:Choice>
              <mc:Fallback>
                <p:oleObj name="think-cell Folie" r:id="rId4" imgW="286" imgH="286" progId="TCLayout.ActiveDocument.1">
                  <p:embed/>
                  <p:pic>
                    <p:nvPicPr>
                      <p:cNvPr id="11" name="Objek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dirty="0">
                <a:solidFill>
                  <a:schemeClr val="bg2"/>
                </a:solidFill>
              </a:rPr>
              <a:t>Connect4Impact target country: Ukraine </a:t>
            </a:r>
            <a:endParaRPr lang="en-US" dirty="0"/>
          </a:p>
        </p:txBody>
      </p:sp>
      <p:sp>
        <p:nvSpPr>
          <p:cNvPr id="3" name="Textplatzhalter 2"/>
          <p:cNvSpPr>
            <a:spLocks noGrp="1"/>
          </p:cNvSpPr>
          <p:nvPr>
            <p:ph type="body" sz="quarter" idx="14"/>
          </p:nvPr>
        </p:nvSpPr>
        <p:spPr/>
        <p:txBody>
          <a:bodyPr/>
          <a:lstStyle/>
          <a:p>
            <a:r>
              <a:rPr lang="en-US" dirty="0"/>
              <a:t>Investments in Ukraine are particularly worthy of support</a:t>
            </a:r>
          </a:p>
        </p:txBody>
      </p:sp>
      <p:grpSp>
        <p:nvGrpSpPr>
          <p:cNvPr id="15" name="Group 5"/>
          <p:cNvGrpSpPr>
            <a:grpSpLocks noChangeAspect="1"/>
          </p:cNvGrpSpPr>
          <p:nvPr/>
        </p:nvGrpSpPr>
        <p:grpSpPr>
          <a:xfrm>
            <a:off x="5470503" y="586403"/>
            <a:ext cx="5271600" cy="4867530"/>
            <a:chOff x="4945894" y="2270167"/>
            <a:chExt cx="1071066" cy="988966"/>
          </a:xfrm>
          <a:solidFill>
            <a:schemeClr val="bg1">
              <a:lumMod val="85000"/>
            </a:schemeClr>
          </a:solidFill>
        </p:grpSpPr>
        <p:sp>
          <p:nvSpPr>
            <p:cNvPr id="16" name="Freeform 7"/>
            <p:cNvSpPr>
              <a:spLocks/>
            </p:cNvSpPr>
            <p:nvPr/>
          </p:nvSpPr>
          <p:spPr bwMode="auto">
            <a:xfrm>
              <a:off x="5422147" y="2270167"/>
              <a:ext cx="594813" cy="830216"/>
            </a:xfrm>
            <a:custGeom>
              <a:avLst/>
              <a:gdLst>
                <a:gd name="T0" fmla="*/ 48 w 3173"/>
                <a:gd name="T1" fmla="*/ 339 h 970"/>
                <a:gd name="T2" fmla="*/ 0 w 3173"/>
                <a:gd name="T3" fmla="*/ 212 h 970"/>
                <a:gd name="T4" fmla="*/ 240 w 3173"/>
                <a:gd name="T5" fmla="*/ 231 h 970"/>
                <a:gd name="T6" fmla="*/ 132 w 3173"/>
                <a:gd name="T7" fmla="*/ 310 h 970"/>
                <a:gd name="T8" fmla="*/ 254 w 3173"/>
                <a:gd name="T9" fmla="*/ 325 h 970"/>
                <a:gd name="T10" fmla="*/ 302 w 3173"/>
                <a:gd name="T11" fmla="*/ 258 h 970"/>
                <a:gd name="T12" fmla="*/ 389 w 3173"/>
                <a:gd name="T13" fmla="*/ 246 h 970"/>
                <a:gd name="T14" fmla="*/ 564 w 3173"/>
                <a:gd name="T15" fmla="*/ 174 h 970"/>
                <a:gd name="T16" fmla="*/ 751 w 3173"/>
                <a:gd name="T17" fmla="*/ 198 h 970"/>
                <a:gd name="T18" fmla="*/ 775 w 3173"/>
                <a:gd name="T19" fmla="*/ 111 h 970"/>
                <a:gd name="T20" fmla="*/ 842 w 3173"/>
                <a:gd name="T21" fmla="*/ 274 h 970"/>
                <a:gd name="T22" fmla="*/ 943 w 3173"/>
                <a:gd name="T23" fmla="*/ 229 h 970"/>
                <a:gd name="T24" fmla="*/ 828 w 3173"/>
                <a:gd name="T25" fmla="*/ 114 h 970"/>
                <a:gd name="T26" fmla="*/ 984 w 3173"/>
                <a:gd name="T27" fmla="*/ 133 h 970"/>
                <a:gd name="T28" fmla="*/ 1092 w 3173"/>
                <a:gd name="T29" fmla="*/ 42 h 970"/>
                <a:gd name="T30" fmla="*/ 1262 w 3173"/>
                <a:gd name="T31" fmla="*/ 10 h 970"/>
                <a:gd name="T32" fmla="*/ 1382 w 3173"/>
                <a:gd name="T33" fmla="*/ 102 h 970"/>
                <a:gd name="T34" fmla="*/ 1769 w 3173"/>
                <a:gd name="T35" fmla="*/ 104 h 970"/>
                <a:gd name="T36" fmla="*/ 1932 w 3173"/>
                <a:gd name="T37" fmla="*/ 145 h 970"/>
                <a:gd name="T38" fmla="*/ 2210 w 3173"/>
                <a:gd name="T39" fmla="*/ 133 h 970"/>
                <a:gd name="T40" fmla="*/ 2645 w 3173"/>
                <a:gd name="T41" fmla="*/ 198 h 970"/>
                <a:gd name="T42" fmla="*/ 2839 w 3173"/>
                <a:gd name="T43" fmla="*/ 193 h 970"/>
                <a:gd name="T44" fmla="*/ 3042 w 3173"/>
                <a:gd name="T45" fmla="*/ 250 h 970"/>
                <a:gd name="T46" fmla="*/ 3091 w 3173"/>
                <a:gd name="T47" fmla="*/ 299 h 970"/>
                <a:gd name="T48" fmla="*/ 2946 w 3173"/>
                <a:gd name="T49" fmla="*/ 298 h 970"/>
                <a:gd name="T50" fmla="*/ 2998 w 3173"/>
                <a:gd name="T51" fmla="*/ 391 h 970"/>
                <a:gd name="T52" fmla="*/ 2872 w 3173"/>
                <a:gd name="T53" fmla="*/ 439 h 970"/>
                <a:gd name="T54" fmla="*/ 2905 w 3173"/>
                <a:gd name="T55" fmla="*/ 506 h 970"/>
                <a:gd name="T56" fmla="*/ 2935 w 3173"/>
                <a:gd name="T57" fmla="*/ 604 h 970"/>
                <a:gd name="T58" fmla="*/ 2782 w 3173"/>
                <a:gd name="T59" fmla="*/ 530 h 970"/>
                <a:gd name="T60" fmla="*/ 2808 w 3173"/>
                <a:gd name="T61" fmla="*/ 413 h 970"/>
                <a:gd name="T62" fmla="*/ 2729 w 3173"/>
                <a:gd name="T63" fmla="*/ 409 h 970"/>
                <a:gd name="T64" fmla="*/ 2609 w 3173"/>
                <a:gd name="T65" fmla="*/ 466 h 970"/>
                <a:gd name="T66" fmla="*/ 2443 w 3173"/>
                <a:gd name="T67" fmla="*/ 598 h 970"/>
                <a:gd name="T68" fmla="*/ 2573 w 3173"/>
                <a:gd name="T69" fmla="*/ 658 h 970"/>
                <a:gd name="T70" fmla="*/ 2729 w 3173"/>
                <a:gd name="T71" fmla="*/ 762 h 970"/>
                <a:gd name="T72" fmla="*/ 2714 w 3173"/>
                <a:gd name="T73" fmla="*/ 841 h 970"/>
                <a:gd name="T74" fmla="*/ 2582 w 3173"/>
                <a:gd name="T75" fmla="*/ 666 h 970"/>
                <a:gd name="T76" fmla="*/ 2496 w 3173"/>
                <a:gd name="T77" fmla="*/ 930 h 970"/>
                <a:gd name="T78" fmla="*/ 2510 w 3173"/>
                <a:gd name="T79" fmla="*/ 807 h 970"/>
                <a:gd name="T80" fmla="*/ 2309 w 3173"/>
                <a:gd name="T81" fmla="*/ 726 h 970"/>
                <a:gd name="T82" fmla="*/ 2105 w 3173"/>
                <a:gd name="T83" fmla="*/ 673 h 970"/>
                <a:gd name="T84" fmla="*/ 1973 w 3173"/>
                <a:gd name="T85" fmla="*/ 730 h 970"/>
                <a:gd name="T86" fmla="*/ 1704 w 3173"/>
                <a:gd name="T87" fmla="*/ 670 h 970"/>
                <a:gd name="T88" fmla="*/ 1495 w 3173"/>
                <a:gd name="T89" fmla="*/ 694 h 970"/>
                <a:gd name="T90" fmla="*/ 1260 w 3173"/>
                <a:gd name="T91" fmla="*/ 694 h 970"/>
                <a:gd name="T92" fmla="*/ 1044 w 3173"/>
                <a:gd name="T93" fmla="*/ 618 h 970"/>
                <a:gd name="T94" fmla="*/ 835 w 3173"/>
                <a:gd name="T95" fmla="*/ 594 h 970"/>
                <a:gd name="T96" fmla="*/ 792 w 3173"/>
                <a:gd name="T97" fmla="*/ 697 h 970"/>
                <a:gd name="T98" fmla="*/ 552 w 3173"/>
                <a:gd name="T99" fmla="*/ 666 h 970"/>
                <a:gd name="T100" fmla="*/ 509 w 3173"/>
                <a:gd name="T101" fmla="*/ 783 h 970"/>
                <a:gd name="T102" fmla="*/ 561 w 3173"/>
                <a:gd name="T103" fmla="*/ 954 h 970"/>
                <a:gd name="T104" fmla="*/ 269 w 3173"/>
                <a:gd name="T105" fmla="*/ 855 h 970"/>
                <a:gd name="T106" fmla="*/ 319 w 3173"/>
                <a:gd name="T107" fmla="*/ 787 h 970"/>
                <a:gd name="T108" fmla="*/ 217 w 3173"/>
                <a:gd name="T109" fmla="*/ 688 h 970"/>
                <a:gd name="T110" fmla="*/ 120 w 3173"/>
                <a:gd name="T111" fmla="*/ 625 h 970"/>
                <a:gd name="T112" fmla="*/ 72 w 3173"/>
                <a:gd name="T113" fmla="*/ 556 h 970"/>
                <a:gd name="T114" fmla="*/ 21 w 3173"/>
                <a:gd name="T115" fmla="*/ 452 h 970"/>
                <a:gd name="connsiteX0" fmla="*/ 5074 w 9997"/>
                <a:gd name="connsiteY0" fmla="*/ 6980 h 9990"/>
                <a:gd name="connsiteX1" fmla="*/ 5165 w 9997"/>
                <a:gd name="connsiteY1" fmla="*/ 7268 h 9990"/>
                <a:gd name="connsiteX2" fmla="*/ 5112 w 9997"/>
                <a:gd name="connsiteY2" fmla="*/ 7423 h 9990"/>
                <a:gd name="connsiteX3" fmla="*/ 4976 w 9997"/>
                <a:gd name="connsiteY3" fmla="*/ 7371 h 9990"/>
                <a:gd name="connsiteX4" fmla="*/ 4863 w 9997"/>
                <a:gd name="connsiteY4" fmla="*/ 7176 h 9990"/>
                <a:gd name="connsiteX5" fmla="*/ 4712 w 9997"/>
                <a:gd name="connsiteY5" fmla="*/ 7145 h 9990"/>
                <a:gd name="connsiteX6" fmla="*/ 4463 w 9997"/>
                <a:gd name="connsiteY6" fmla="*/ 7639 h 9990"/>
                <a:gd name="connsiteX7" fmla="*/ 4409 w 9997"/>
                <a:gd name="connsiteY7" fmla="*/ 7598 h 9990"/>
                <a:gd name="connsiteX8" fmla="*/ 4333 w 9997"/>
                <a:gd name="connsiteY8" fmla="*/ 7423 h 9990"/>
                <a:gd name="connsiteX9" fmla="*/ 4274 w 9997"/>
                <a:gd name="connsiteY9" fmla="*/ 7495 h 9990"/>
                <a:gd name="connsiteX10" fmla="*/ 4129 w 9997"/>
                <a:gd name="connsiteY10" fmla="*/ 7248 h 9990"/>
                <a:gd name="connsiteX11" fmla="*/ 4075 w 9997"/>
                <a:gd name="connsiteY11" fmla="*/ 7052 h 9990"/>
                <a:gd name="connsiteX12" fmla="*/ 3971 w 9997"/>
                <a:gd name="connsiteY12" fmla="*/ 7145 h 9990"/>
                <a:gd name="connsiteX13" fmla="*/ 3886 w 9997"/>
                <a:gd name="connsiteY13" fmla="*/ 6949 h 9990"/>
                <a:gd name="connsiteX14" fmla="*/ 3842 w 9997"/>
                <a:gd name="connsiteY14" fmla="*/ 7176 h 9990"/>
                <a:gd name="connsiteX15" fmla="*/ 3697 w 9997"/>
                <a:gd name="connsiteY15" fmla="*/ 6629 h 9990"/>
                <a:gd name="connsiteX16" fmla="*/ 3583 w 9997"/>
                <a:gd name="connsiteY16" fmla="*/ 6382 h 9990"/>
                <a:gd name="connsiteX17" fmla="*/ 3470 w 9997"/>
                <a:gd name="connsiteY17" fmla="*/ 6206 h 9990"/>
                <a:gd name="connsiteX18" fmla="*/ 3495 w 9997"/>
                <a:gd name="connsiteY18" fmla="*/ 5959 h 9990"/>
                <a:gd name="connsiteX19" fmla="*/ 3290 w 9997"/>
                <a:gd name="connsiteY19" fmla="*/ 6361 h 9990"/>
                <a:gd name="connsiteX20" fmla="*/ 3243 w 9997"/>
                <a:gd name="connsiteY20" fmla="*/ 6155 h 9990"/>
                <a:gd name="connsiteX21" fmla="*/ 3092 w 9997"/>
                <a:gd name="connsiteY21" fmla="*/ 6155 h 9990"/>
                <a:gd name="connsiteX22" fmla="*/ 3079 w 9997"/>
                <a:gd name="connsiteY22" fmla="*/ 5938 h 9990"/>
                <a:gd name="connsiteX23" fmla="*/ 2994 w 9997"/>
                <a:gd name="connsiteY23" fmla="*/ 5815 h 9990"/>
                <a:gd name="connsiteX24" fmla="*/ 2896 w 9997"/>
                <a:gd name="connsiteY24" fmla="*/ 5784 h 9990"/>
                <a:gd name="connsiteX25" fmla="*/ 2827 w 9997"/>
                <a:gd name="connsiteY25" fmla="*/ 5990 h 9990"/>
                <a:gd name="connsiteX26" fmla="*/ 2632 w 9997"/>
                <a:gd name="connsiteY26" fmla="*/ 6114 h 9990"/>
                <a:gd name="connsiteX27" fmla="*/ 2411 w 9997"/>
                <a:gd name="connsiteY27" fmla="*/ 6206 h 9990"/>
                <a:gd name="connsiteX28" fmla="*/ 2442 w 9997"/>
                <a:gd name="connsiteY28" fmla="*/ 6402 h 9990"/>
                <a:gd name="connsiteX29" fmla="*/ 2524 w 9997"/>
                <a:gd name="connsiteY29" fmla="*/ 6505 h 9990"/>
                <a:gd name="connsiteX30" fmla="*/ 2427 w 9997"/>
                <a:gd name="connsiteY30" fmla="*/ 6505 h 9990"/>
                <a:gd name="connsiteX31" fmla="*/ 2405 w 9997"/>
                <a:gd name="connsiteY31" fmla="*/ 6825 h 9990"/>
                <a:gd name="connsiteX32" fmla="*/ 2534 w 9997"/>
                <a:gd name="connsiteY32" fmla="*/ 6980 h 9990"/>
                <a:gd name="connsiteX33" fmla="*/ 2496 w 9997"/>
                <a:gd name="connsiteY33" fmla="*/ 7176 h 9990"/>
                <a:gd name="connsiteX34" fmla="*/ 2383 w 9997"/>
                <a:gd name="connsiteY34" fmla="*/ 7176 h 9990"/>
                <a:gd name="connsiteX35" fmla="*/ 2307 w 9997"/>
                <a:gd name="connsiteY35" fmla="*/ 7021 h 9990"/>
                <a:gd name="connsiteX36" fmla="*/ 2146 w 9997"/>
                <a:gd name="connsiteY36" fmla="*/ 7124 h 9990"/>
                <a:gd name="connsiteX37" fmla="*/ 2108 w 9997"/>
                <a:gd name="connsiteY37" fmla="*/ 7196 h 9990"/>
                <a:gd name="connsiteX38" fmla="*/ 1982 w 9997"/>
                <a:gd name="connsiteY38" fmla="*/ 7021 h 9990"/>
                <a:gd name="connsiteX39" fmla="*/ 1853 w 9997"/>
                <a:gd name="connsiteY39" fmla="*/ 6877 h 9990"/>
                <a:gd name="connsiteX40" fmla="*/ 1740 w 9997"/>
                <a:gd name="connsiteY40" fmla="*/ 6856 h 9990"/>
                <a:gd name="connsiteX41" fmla="*/ 1610 w 9997"/>
                <a:gd name="connsiteY41" fmla="*/ 7176 h 9990"/>
                <a:gd name="connsiteX42" fmla="*/ 1655 w 9997"/>
                <a:gd name="connsiteY42" fmla="*/ 7423 h 9990"/>
                <a:gd name="connsiteX43" fmla="*/ 1604 w 9997"/>
                <a:gd name="connsiteY43" fmla="*/ 7423 h 9990"/>
                <a:gd name="connsiteX44" fmla="*/ 1551 w 9997"/>
                <a:gd name="connsiteY44" fmla="*/ 7248 h 9990"/>
                <a:gd name="connsiteX45" fmla="*/ 1513 w 9997"/>
                <a:gd name="connsiteY45" fmla="*/ 7423 h 9990"/>
                <a:gd name="connsiteX46" fmla="*/ 1519 w 9997"/>
                <a:gd name="connsiteY46" fmla="*/ 7846 h 9990"/>
                <a:gd name="connsiteX47" fmla="*/ 1604 w 9997"/>
                <a:gd name="connsiteY47" fmla="*/ 8062 h 9990"/>
                <a:gd name="connsiteX48" fmla="*/ 1648 w 9997"/>
                <a:gd name="connsiteY48" fmla="*/ 8011 h 9990"/>
                <a:gd name="connsiteX49" fmla="*/ 1740 w 9997"/>
                <a:gd name="connsiteY49" fmla="*/ 8485 h 9990"/>
                <a:gd name="connsiteX50" fmla="*/ 1610 w 9997"/>
                <a:gd name="connsiteY50" fmla="*/ 8660 h 9990"/>
                <a:gd name="connsiteX51" fmla="*/ 1595 w 9997"/>
                <a:gd name="connsiteY51" fmla="*/ 9000 h 9990"/>
                <a:gd name="connsiteX52" fmla="*/ 1664 w 9997"/>
                <a:gd name="connsiteY52" fmla="*/ 9227 h 9990"/>
                <a:gd name="connsiteX53" fmla="*/ 1664 w 9997"/>
                <a:gd name="connsiteY53" fmla="*/ 9475 h 9990"/>
                <a:gd name="connsiteX54" fmla="*/ 1768 w 9997"/>
                <a:gd name="connsiteY54" fmla="*/ 9825 h 9990"/>
                <a:gd name="connsiteX55" fmla="*/ 1702 w 9997"/>
                <a:gd name="connsiteY55" fmla="*/ 9990 h 9990"/>
                <a:gd name="connsiteX56" fmla="*/ 1604 w 9997"/>
                <a:gd name="connsiteY56" fmla="*/ 9743 h 9990"/>
                <a:gd name="connsiteX57" fmla="*/ 1465 w 9997"/>
                <a:gd name="connsiteY57" fmla="*/ 9495 h 9990"/>
                <a:gd name="connsiteX58" fmla="*/ 1406 w 9997"/>
                <a:gd name="connsiteY58" fmla="*/ 9578 h 9990"/>
                <a:gd name="connsiteX59" fmla="*/ 1308 w 9997"/>
                <a:gd name="connsiteY59" fmla="*/ 9371 h 9990"/>
                <a:gd name="connsiteX60" fmla="*/ 1097 w 9997"/>
                <a:gd name="connsiteY60" fmla="*/ 9330 h 9990"/>
                <a:gd name="connsiteX61" fmla="*/ 848 w 9997"/>
                <a:gd name="connsiteY61" fmla="*/ 8804 h 9990"/>
                <a:gd name="connsiteX62" fmla="*/ 914 w 9997"/>
                <a:gd name="connsiteY62" fmla="*/ 8712 h 9990"/>
                <a:gd name="connsiteX63" fmla="*/ 961 w 9997"/>
                <a:gd name="connsiteY63" fmla="*/ 8485 h 9990"/>
                <a:gd name="connsiteX64" fmla="*/ 908 w 9997"/>
                <a:gd name="connsiteY64" fmla="*/ 8382 h 9990"/>
                <a:gd name="connsiteX65" fmla="*/ 1021 w 9997"/>
                <a:gd name="connsiteY65" fmla="*/ 8237 h 9990"/>
                <a:gd name="connsiteX66" fmla="*/ 945 w 9997"/>
                <a:gd name="connsiteY66" fmla="*/ 8186 h 9990"/>
                <a:gd name="connsiteX67" fmla="*/ 958 w 9997"/>
                <a:gd name="connsiteY67" fmla="*/ 8083 h 9990"/>
                <a:gd name="connsiteX68" fmla="*/ 1005 w 9997"/>
                <a:gd name="connsiteY68" fmla="*/ 8103 h 9990"/>
                <a:gd name="connsiteX69" fmla="*/ 1059 w 9997"/>
                <a:gd name="connsiteY69" fmla="*/ 8011 h 9990"/>
                <a:gd name="connsiteX70" fmla="*/ 1034 w 9997"/>
                <a:gd name="connsiteY70" fmla="*/ 7856 h 9990"/>
                <a:gd name="connsiteX71" fmla="*/ 1043 w 9997"/>
                <a:gd name="connsiteY71" fmla="*/ 7495 h 9990"/>
                <a:gd name="connsiteX72" fmla="*/ 930 w 9997"/>
                <a:gd name="connsiteY72" fmla="*/ 7433 h 9990"/>
                <a:gd name="connsiteX73" fmla="*/ 832 w 9997"/>
                <a:gd name="connsiteY73" fmla="*/ 7279 h 9990"/>
                <a:gd name="connsiteX74" fmla="*/ 700 w 9997"/>
                <a:gd name="connsiteY74" fmla="*/ 7268 h 9990"/>
                <a:gd name="connsiteX75" fmla="*/ 684 w 9997"/>
                <a:gd name="connsiteY75" fmla="*/ 7083 h 9990"/>
                <a:gd name="connsiteX76" fmla="*/ 596 w 9997"/>
                <a:gd name="connsiteY76" fmla="*/ 6938 h 9990"/>
                <a:gd name="connsiteX77" fmla="*/ 615 w 9997"/>
                <a:gd name="connsiteY77" fmla="*/ 6815 h 9990"/>
                <a:gd name="connsiteX78" fmla="*/ 561 w 9997"/>
                <a:gd name="connsiteY78" fmla="*/ 6691 h 9990"/>
                <a:gd name="connsiteX79" fmla="*/ 457 w 9997"/>
                <a:gd name="connsiteY79" fmla="*/ 6691 h 9990"/>
                <a:gd name="connsiteX80" fmla="*/ 425 w 9997"/>
                <a:gd name="connsiteY80" fmla="*/ 6784 h 9990"/>
                <a:gd name="connsiteX81" fmla="*/ 400 w 9997"/>
                <a:gd name="connsiteY81" fmla="*/ 6743 h 9990"/>
                <a:gd name="connsiteX82" fmla="*/ 378 w 9997"/>
                <a:gd name="connsiteY82" fmla="*/ 6433 h 9990"/>
                <a:gd name="connsiteX83" fmla="*/ 419 w 9997"/>
                <a:gd name="connsiteY83" fmla="*/ 6464 h 9990"/>
                <a:gd name="connsiteX84" fmla="*/ 466 w 9997"/>
                <a:gd name="connsiteY84" fmla="*/ 6341 h 9990"/>
                <a:gd name="connsiteX85" fmla="*/ 400 w 9997"/>
                <a:gd name="connsiteY85" fmla="*/ 6227 h 9990"/>
                <a:gd name="connsiteX86" fmla="*/ 315 w 9997"/>
                <a:gd name="connsiteY86" fmla="*/ 6011 h 9990"/>
                <a:gd name="connsiteX87" fmla="*/ 334 w 9997"/>
                <a:gd name="connsiteY87" fmla="*/ 5815 h 9990"/>
                <a:gd name="connsiteX88" fmla="*/ 274 w 9997"/>
                <a:gd name="connsiteY88" fmla="*/ 5691 h 9990"/>
                <a:gd name="connsiteX89" fmla="*/ 227 w 9997"/>
                <a:gd name="connsiteY89" fmla="*/ 5722 h 9990"/>
                <a:gd name="connsiteX90" fmla="*/ 202 w 9997"/>
                <a:gd name="connsiteY90" fmla="*/ 5598 h 9990"/>
                <a:gd name="connsiteX91" fmla="*/ 164 w 9997"/>
                <a:gd name="connsiteY91" fmla="*/ 5639 h 9990"/>
                <a:gd name="connsiteX92" fmla="*/ 117 w 9997"/>
                <a:gd name="connsiteY92" fmla="*/ 5598 h 9990"/>
                <a:gd name="connsiteX93" fmla="*/ 69 w 9997"/>
                <a:gd name="connsiteY93" fmla="*/ 5176 h 9990"/>
                <a:gd name="connsiteX94" fmla="*/ 85 w 9997"/>
                <a:gd name="connsiteY94" fmla="*/ 5052 h 9990"/>
                <a:gd name="connsiteX95" fmla="*/ 41 w 9997"/>
                <a:gd name="connsiteY95" fmla="*/ 4887 h 9990"/>
                <a:gd name="connsiteX96" fmla="*/ 66 w 9997"/>
                <a:gd name="connsiteY96" fmla="*/ 4650 h 9990"/>
                <a:gd name="connsiteX97" fmla="*/ 211 w 9997"/>
                <a:gd name="connsiteY97" fmla="*/ 4505 h 9990"/>
                <a:gd name="connsiteX98" fmla="*/ 129 w 9997"/>
                <a:gd name="connsiteY98" fmla="*/ 4402 h 9990"/>
                <a:gd name="connsiteX99" fmla="*/ 82 w 9997"/>
                <a:gd name="connsiteY99" fmla="*/ 4279 h 9990"/>
                <a:gd name="connsiteX100" fmla="*/ 205 w 9997"/>
                <a:gd name="connsiteY100" fmla="*/ 3908 h 9990"/>
                <a:gd name="connsiteX101" fmla="*/ 249 w 9997"/>
                <a:gd name="connsiteY101" fmla="*/ 3660 h 9990"/>
                <a:gd name="connsiteX102" fmla="*/ 151 w 9997"/>
                <a:gd name="connsiteY102" fmla="*/ 3485 h 9990"/>
                <a:gd name="connsiteX103" fmla="*/ 189 w 9997"/>
                <a:gd name="connsiteY103" fmla="*/ 3341 h 9990"/>
                <a:gd name="connsiteX104" fmla="*/ 113 w 9997"/>
                <a:gd name="connsiteY104" fmla="*/ 3145 h 9990"/>
                <a:gd name="connsiteX105" fmla="*/ 113 w 9997"/>
                <a:gd name="connsiteY105" fmla="*/ 2969 h 9990"/>
                <a:gd name="connsiteX106" fmla="*/ 60 w 9997"/>
                <a:gd name="connsiteY106" fmla="*/ 2619 h 9990"/>
                <a:gd name="connsiteX107" fmla="*/ 98 w 9997"/>
                <a:gd name="connsiteY107" fmla="*/ 2402 h 9990"/>
                <a:gd name="connsiteX108" fmla="*/ 38 w 9997"/>
                <a:gd name="connsiteY108" fmla="*/ 2299 h 9990"/>
                <a:gd name="connsiteX109" fmla="*/ 0 w 9997"/>
                <a:gd name="connsiteY109" fmla="*/ 2176 h 9990"/>
                <a:gd name="connsiteX110" fmla="*/ 54 w 9997"/>
                <a:gd name="connsiteY110" fmla="*/ 1949 h 9990"/>
                <a:gd name="connsiteX111" fmla="*/ 120 w 9997"/>
                <a:gd name="connsiteY111" fmla="*/ 1908 h 9990"/>
                <a:gd name="connsiteX112" fmla="*/ 195 w 9997"/>
                <a:gd name="connsiteY112" fmla="*/ 1856 h 9990"/>
                <a:gd name="connsiteX113" fmla="*/ 309 w 9997"/>
                <a:gd name="connsiteY113" fmla="*/ 1949 h 9990"/>
                <a:gd name="connsiteX114" fmla="*/ 482 w 9997"/>
                <a:gd name="connsiteY114" fmla="*/ 2052 h 9990"/>
                <a:gd name="connsiteX115" fmla="*/ 633 w 9997"/>
                <a:gd name="connsiteY115" fmla="*/ 2227 h 9990"/>
                <a:gd name="connsiteX116" fmla="*/ 756 w 9997"/>
                <a:gd name="connsiteY116" fmla="*/ 2371 h 9990"/>
                <a:gd name="connsiteX117" fmla="*/ 725 w 9997"/>
                <a:gd name="connsiteY117" fmla="*/ 2774 h 9990"/>
                <a:gd name="connsiteX118" fmla="*/ 362 w 9997"/>
                <a:gd name="connsiteY118" fmla="*/ 2670 h 9990"/>
                <a:gd name="connsiteX119" fmla="*/ 243 w 9997"/>
                <a:gd name="connsiteY119" fmla="*/ 2547 h 9990"/>
                <a:gd name="connsiteX120" fmla="*/ 287 w 9997"/>
                <a:gd name="connsiteY120" fmla="*/ 2619 h 9990"/>
                <a:gd name="connsiteX121" fmla="*/ 331 w 9997"/>
                <a:gd name="connsiteY121" fmla="*/ 2794 h 9990"/>
                <a:gd name="connsiteX122" fmla="*/ 400 w 9997"/>
                <a:gd name="connsiteY122" fmla="*/ 2918 h 9990"/>
                <a:gd name="connsiteX123" fmla="*/ 416 w 9997"/>
                <a:gd name="connsiteY123" fmla="*/ 3186 h 9990"/>
                <a:gd name="connsiteX124" fmla="*/ 507 w 9997"/>
                <a:gd name="connsiteY124" fmla="*/ 3310 h 9990"/>
                <a:gd name="connsiteX125" fmla="*/ 583 w 9997"/>
                <a:gd name="connsiteY125" fmla="*/ 3433 h 9990"/>
                <a:gd name="connsiteX126" fmla="*/ 605 w 9997"/>
                <a:gd name="connsiteY126" fmla="*/ 3464 h 9990"/>
                <a:gd name="connsiteX127" fmla="*/ 649 w 9997"/>
                <a:gd name="connsiteY127" fmla="*/ 3433 h 9990"/>
                <a:gd name="connsiteX128" fmla="*/ 633 w 9997"/>
                <a:gd name="connsiteY128" fmla="*/ 3361 h 9990"/>
                <a:gd name="connsiteX129" fmla="*/ 545 w 9997"/>
                <a:gd name="connsiteY129" fmla="*/ 3186 h 9990"/>
                <a:gd name="connsiteX130" fmla="*/ 801 w 9997"/>
                <a:gd name="connsiteY130" fmla="*/ 3341 h 9990"/>
                <a:gd name="connsiteX131" fmla="*/ 810 w 9997"/>
                <a:gd name="connsiteY131" fmla="*/ 3268 h 9990"/>
                <a:gd name="connsiteX132" fmla="*/ 785 w 9997"/>
                <a:gd name="connsiteY132" fmla="*/ 3217 h 9990"/>
                <a:gd name="connsiteX133" fmla="*/ 741 w 9997"/>
                <a:gd name="connsiteY133" fmla="*/ 2990 h 9990"/>
                <a:gd name="connsiteX134" fmla="*/ 870 w 9997"/>
                <a:gd name="connsiteY134" fmla="*/ 2774 h 9990"/>
                <a:gd name="connsiteX135" fmla="*/ 968 w 9997"/>
                <a:gd name="connsiteY135" fmla="*/ 2918 h 9990"/>
                <a:gd name="connsiteX136" fmla="*/ 999 w 9997"/>
                <a:gd name="connsiteY136" fmla="*/ 2722 h 9990"/>
                <a:gd name="connsiteX137" fmla="*/ 952 w 9997"/>
                <a:gd name="connsiteY137" fmla="*/ 2650 h 9990"/>
                <a:gd name="connsiteX138" fmla="*/ 936 w 9997"/>
                <a:gd name="connsiteY138" fmla="*/ 2279 h 9990"/>
                <a:gd name="connsiteX139" fmla="*/ 914 w 9997"/>
                <a:gd name="connsiteY139" fmla="*/ 2227 h 9990"/>
                <a:gd name="connsiteX140" fmla="*/ 1037 w 9997"/>
                <a:gd name="connsiteY140" fmla="*/ 2248 h 9990"/>
                <a:gd name="connsiteX141" fmla="*/ 1087 w 9997"/>
                <a:gd name="connsiteY141" fmla="*/ 2402 h 9990"/>
                <a:gd name="connsiteX142" fmla="*/ 1021 w 9997"/>
                <a:gd name="connsiteY142" fmla="*/ 2526 h 9990"/>
                <a:gd name="connsiteX143" fmla="*/ 1135 w 9997"/>
                <a:gd name="connsiteY143" fmla="*/ 2691 h 9990"/>
                <a:gd name="connsiteX144" fmla="*/ 1226 w 9997"/>
                <a:gd name="connsiteY144" fmla="*/ 2526 h 9990"/>
                <a:gd name="connsiteX145" fmla="*/ 1339 w 9997"/>
                <a:gd name="connsiteY145" fmla="*/ 2299 h 9990"/>
                <a:gd name="connsiteX146" fmla="*/ 1459 w 9997"/>
                <a:gd name="connsiteY146" fmla="*/ 2155 h 9990"/>
                <a:gd name="connsiteX147" fmla="*/ 1497 w 9997"/>
                <a:gd name="connsiteY147" fmla="*/ 2248 h 9990"/>
                <a:gd name="connsiteX148" fmla="*/ 1806 w 9997"/>
                <a:gd name="connsiteY148" fmla="*/ 2052 h 9990"/>
                <a:gd name="connsiteX149" fmla="*/ 1869 w 9997"/>
                <a:gd name="connsiteY149" fmla="*/ 2248 h 9990"/>
                <a:gd name="connsiteX150" fmla="*/ 1859 w 9997"/>
                <a:gd name="connsiteY150" fmla="*/ 2000 h 9990"/>
                <a:gd name="connsiteX151" fmla="*/ 1777 w 9997"/>
                <a:gd name="connsiteY151" fmla="*/ 1784 h 9990"/>
                <a:gd name="connsiteX152" fmla="*/ 1762 w 9997"/>
                <a:gd name="connsiteY152" fmla="*/ 1701 h 9990"/>
                <a:gd name="connsiteX153" fmla="*/ 1822 w 9997"/>
                <a:gd name="connsiteY153" fmla="*/ 1784 h 9990"/>
                <a:gd name="connsiteX154" fmla="*/ 2033 w 9997"/>
                <a:gd name="connsiteY154" fmla="*/ 1949 h 9990"/>
                <a:gd name="connsiteX155" fmla="*/ 2269 w 9997"/>
                <a:gd name="connsiteY155" fmla="*/ 2124 h 9990"/>
                <a:gd name="connsiteX156" fmla="*/ 2383 w 9997"/>
                <a:gd name="connsiteY156" fmla="*/ 2248 h 9990"/>
                <a:gd name="connsiteX157" fmla="*/ 2420 w 9997"/>
                <a:gd name="connsiteY157" fmla="*/ 2072 h 9990"/>
                <a:gd name="connsiteX158" fmla="*/ 2367 w 9997"/>
                <a:gd name="connsiteY158" fmla="*/ 2031 h 9990"/>
                <a:gd name="connsiteX159" fmla="*/ 2298 w 9997"/>
                <a:gd name="connsiteY159" fmla="*/ 1928 h 9990"/>
                <a:gd name="connsiteX160" fmla="*/ 2253 w 9997"/>
                <a:gd name="connsiteY160" fmla="*/ 1732 h 9990"/>
                <a:gd name="connsiteX161" fmla="*/ 2184 w 9997"/>
                <a:gd name="connsiteY161" fmla="*/ 1485 h 9990"/>
                <a:gd name="connsiteX162" fmla="*/ 2209 w 9997"/>
                <a:gd name="connsiteY162" fmla="*/ 1433 h 9990"/>
                <a:gd name="connsiteX163" fmla="*/ 2231 w 9997"/>
                <a:gd name="connsiteY163" fmla="*/ 1454 h 9990"/>
                <a:gd name="connsiteX164" fmla="*/ 2291 w 9997"/>
                <a:gd name="connsiteY164" fmla="*/ 1114 h 9990"/>
                <a:gd name="connsiteX165" fmla="*/ 2442 w 9997"/>
                <a:gd name="connsiteY165" fmla="*/ 1134 h 9990"/>
                <a:gd name="connsiteX166" fmla="*/ 2487 w 9997"/>
                <a:gd name="connsiteY166" fmla="*/ 1310 h 9990"/>
                <a:gd name="connsiteX167" fmla="*/ 2518 w 9997"/>
                <a:gd name="connsiteY167" fmla="*/ 1536 h 9990"/>
                <a:gd name="connsiteX168" fmla="*/ 2572 w 9997"/>
                <a:gd name="connsiteY168" fmla="*/ 1732 h 9990"/>
                <a:gd name="connsiteX169" fmla="*/ 2669 w 9997"/>
                <a:gd name="connsiteY169" fmla="*/ 2155 h 9990"/>
                <a:gd name="connsiteX170" fmla="*/ 2480 w 9997"/>
                <a:gd name="connsiteY170" fmla="*/ 2670 h 9990"/>
                <a:gd name="connsiteX171" fmla="*/ 2556 w 9997"/>
                <a:gd name="connsiteY171" fmla="*/ 2743 h 9990"/>
                <a:gd name="connsiteX172" fmla="*/ 2654 w 9997"/>
                <a:gd name="connsiteY172" fmla="*/ 2815 h 9990"/>
                <a:gd name="connsiteX173" fmla="*/ 2783 w 9997"/>
                <a:gd name="connsiteY173" fmla="*/ 2619 h 9990"/>
                <a:gd name="connsiteX174" fmla="*/ 2789 w 9997"/>
                <a:gd name="connsiteY174" fmla="*/ 2402 h 9990"/>
                <a:gd name="connsiteX175" fmla="*/ 2745 w 9997"/>
                <a:gd name="connsiteY175" fmla="*/ 2299 h 9990"/>
                <a:gd name="connsiteX176" fmla="*/ 2918 w 9997"/>
                <a:gd name="connsiteY176" fmla="*/ 2248 h 9990"/>
                <a:gd name="connsiteX177" fmla="*/ 2988 w 9997"/>
                <a:gd name="connsiteY177" fmla="*/ 2495 h 9990"/>
                <a:gd name="connsiteX178" fmla="*/ 2988 w 9997"/>
                <a:gd name="connsiteY178" fmla="*/ 2423 h 9990"/>
                <a:gd name="connsiteX179" fmla="*/ 2972 w 9997"/>
                <a:gd name="connsiteY179" fmla="*/ 2351 h 9990"/>
                <a:gd name="connsiteX180" fmla="*/ 2966 w 9997"/>
                <a:gd name="connsiteY180" fmla="*/ 2176 h 9990"/>
                <a:gd name="connsiteX181" fmla="*/ 2799 w 9997"/>
                <a:gd name="connsiteY181" fmla="*/ 1928 h 9990"/>
                <a:gd name="connsiteX182" fmla="*/ 2669 w 9997"/>
                <a:gd name="connsiteY182" fmla="*/ 2000 h 9990"/>
                <a:gd name="connsiteX183" fmla="*/ 2616 w 9997"/>
                <a:gd name="connsiteY183" fmla="*/ 1681 h 9990"/>
                <a:gd name="connsiteX184" fmla="*/ 2562 w 9997"/>
                <a:gd name="connsiteY184" fmla="*/ 1505 h 9990"/>
                <a:gd name="connsiteX185" fmla="*/ 2616 w 9997"/>
                <a:gd name="connsiteY185" fmla="*/ 1330 h 9990"/>
                <a:gd name="connsiteX186" fmla="*/ 2610 w 9997"/>
                <a:gd name="connsiteY186" fmla="*/ 1165 h 9990"/>
                <a:gd name="connsiteX187" fmla="*/ 2587 w 9997"/>
                <a:gd name="connsiteY187" fmla="*/ 1114 h 9990"/>
                <a:gd name="connsiteX188" fmla="*/ 2625 w 9997"/>
                <a:gd name="connsiteY188" fmla="*/ 1114 h 9990"/>
                <a:gd name="connsiteX189" fmla="*/ 2669 w 9997"/>
                <a:gd name="connsiteY189" fmla="*/ 1454 h 9990"/>
                <a:gd name="connsiteX190" fmla="*/ 2890 w 9997"/>
                <a:gd name="connsiteY190" fmla="*/ 1660 h 9990"/>
                <a:gd name="connsiteX191" fmla="*/ 2723 w 9997"/>
                <a:gd name="connsiteY191" fmla="*/ 1382 h 9990"/>
                <a:gd name="connsiteX192" fmla="*/ 3048 w 9997"/>
                <a:gd name="connsiteY192" fmla="*/ 1382 h 9990"/>
                <a:gd name="connsiteX193" fmla="*/ 3101 w 9997"/>
                <a:gd name="connsiteY193" fmla="*/ 1361 h 9990"/>
                <a:gd name="connsiteX194" fmla="*/ 2896 w 9997"/>
                <a:gd name="connsiteY194" fmla="*/ 1114 h 9990"/>
                <a:gd name="connsiteX195" fmla="*/ 2950 w 9997"/>
                <a:gd name="connsiteY195" fmla="*/ 887 h 9990"/>
                <a:gd name="connsiteX196" fmla="*/ 3177 w 9997"/>
                <a:gd name="connsiteY196" fmla="*/ 887 h 9990"/>
                <a:gd name="connsiteX197" fmla="*/ 3155 w 9997"/>
                <a:gd name="connsiteY197" fmla="*/ 712 h 9990"/>
                <a:gd name="connsiteX198" fmla="*/ 3230 w 9997"/>
                <a:gd name="connsiteY198" fmla="*/ 588 h 9990"/>
                <a:gd name="connsiteX199" fmla="*/ 3275 w 9997"/>
                <a:gd name="connsiteY199" fmla="*/ 547 h 9990"/>
                <a:gd name="connsiteX200" fmla="*/ 3442 w 9997"/>
                <a:gd name="connsiteY200" fmla="*/ 423 h 9990"/>
                <a:gd name="connsiteX201" fmla="*/ 3486 w 9997"/>
                <a:gd name="connsiteY201" fmla="*/ 371 h 9990"/>
                <a:gd name="connsiteX202" fmla="*/ 3479 w 9997"/>
                <a:gd name="connsiteY202" fmla="*/ 444 h 9990"/>
                <a:gd name="connsiteX203" fmla="*/ 3659 w 9997"/>
                <a:gd name="connsiteY203" fmla="*/ 371 h 9990"/>
                <a:gd name="connsiteX204" fmla="*/ 3804 w 9997"/>
                <a:gd name="connsiteY204" fmla="*/ 248 h 9990"/>
                <a:gd name="connsiteX205" fmla="*/ 3826 w 9997"/>
                <a:gd name="connsiteY205" fmla="*/ 0 h 9990"/>
                <a:gd name="connsiteX206" fmla="*/ 3987 w 9997"/>
                <a:gd name="connsiteY206" fmla="*/ 21 h 9990"/>
                <a:gd name="connsiteX207" fmla="*/ 3977 w 9997"/>
                <a:gd name="connsiteY207" fmla="*/ 93 h 9990"/>
                <a:gd name="connsiteX208" fmla="*/ 3987 w 9997"/>
                <a:gd name="connsiteY208" fmla="*/ 176 h 9990"/>
                <a:gd name="connsiteX209" fmla="*/ 4084 w 9997"/>
                <a:gd name="connsiteY209" fmla="*/ 248 h 9990"/>
                <a:gd name="connsiteX210" fmla="*/ 4378 w 9997"/>
                <a:gd name="connsiteY210" fmla="*/ 268 h 9990"/>
                <a:gd name="connsiteX211" fmla="*/ 4538 w 9997"/>
                <a:gd name="connsiteY211" fmla="*/ 392 h 9990"/>
                <a:gd name="connsiteX212" fmla="*/ 4485 w 9997"/>
                <a:gd name="connsiteY212" fmla="*/ 794 h 9990"/>
                <a:gd name="connsiteX213" fmla="*/ 4425 w 9997"/>
                <a:gd name="connsiteY213" fmla="*/ 918 h 9990"/>
                <a:gd name="connsiteX214" fmla="*/ 4355 w 9997"/>
                <a:gd name="connsiteY214" fmla="*/ 1042 h 9990"/>
                <a:gd name="connsiteX215" fmla="*/ 4371 w 9997"/>
                <a:gd name="connsiteY215" fmla="*/ 1114 h 9990"/>
                <a:gd name="connsiteX216" fmla="*/ 4582 w 9997"/>
                <a:gd name="connsiteY216" fmla="*/ 918 h 9990"/>
                <a:gd name="connsiteX217" fmla="*/ 5058 w 9997"/>
                <a:gd name="connsiteY217" fmla="*/ 990 h 9990"/>
                <a:gd name="connsiteX218" fmla="*/ 5106 w 9997"/>
                <a:gd name="connsiteY218" fmla="*/ 1062 h 9990"/>
                <a:gd name="connsiteX219" fmla="*/ 5210 w 9997"/>
                <a:gd name="connsiteY219" fmla="*/ 1186 h 9990"/>
                <a:gd name="connsiteX220" fmla="*/ 5355 w 9997"/>
                <a:gd name="connsiteY220" fmla="*/ 918 h 9990"/>
                <a:gd name="connsiteX221" fmla="*/ 5575 w 9997"/>
                <a:gd name="connsiteY221" fmla="*/ 1062 h 9990"/>
                <a:gd name="connsiteX222" fmla="*/ 5641 w 9997"/>
                <a:gd name="connsiteY222" fmla="*/ 1114 h 9990"/>
                <a:gd name="connsiteX223" fmla="*/ 5695 w 9997"/>
                <a:gd name="connsiteY223" fmla="*/ 1165 h 9990"/>
                <a:gd name="connsiteX224" fmla="*/ 5906 w 9997"/>
                <a:gd name="connsiteY224" fmla="*/ 1629 h 9990"/>
                <a:gd name="connsiteX225" fmla="*/ 5982 w 9997"/>
                <a:gd name="connsiteY225" fmla="*/ 1609 h 9990"/>
                <a:gd name="connsiteX226" fmla="*/ 5975 w 9997"/>
                <a:gd name="connsiteY226" fmla="*/ 1505 h 9990"/>
                <a:gd name="connsiteX227" fmla="*/ 5982 w 9997"/>
                <a:gd name="connsiteY227" fmla="*/ 1382 h 9990"/>
                <a:gd name="connsiteX228" fmla="*/ 6089 w 9997"/>
                <a:gd name="connsiteY228" fmla="*/ 1485 h 9990"/>
                <a:gd name="connsiteX229" fmla="*/ 6262 w 9997"/>
                <a:gd name="connsiteY229" fmla="*/ 1505 h 9990"/>
                <a:gd name="connsiteX230" fmla="*/ 6407 w 9997"/>
                <a:gd name="connsiteY230" fmla="*/ 1454 h 9990"/>
                <a:gd name="connsiteX231" fmla="*/ 6338 w 9997"/>
                <a:gd name="connsiteY231" fmla="*/ 1361 h 9990"/>
                <a:gd name="connsiteX232" fmla="*/ 6429 w 9997"/>
                <a:gd name="connsiteY232" fmla="*/ 1083 h 9990"/>
                <a:gd name="connsiteX233" fmla="*/ 6685 w 9997"/>
                <a:gd name="connsiteY233" fmla="*/ 1206 h 9990"/>
                <a:gd name="connsiteX234" fmla="*/ 6943 w 9997"/>
                <a:gd name="connsiteY234" fmla="*/ 1330 h 9990"/>
                <a:gd name="connsiteX235" fmla="*/ 6965 w 9997"/>
                <a:gd name="connsiteY235" fmla="*/ 1361 h 9990"/>
                <a:gd name="connsiteX236" fmla="*/ 7192 w 9997"/>
                <a:gd name="connsiteY236" fmla="*/ 1609 h 9990"/>
                <a:gd name="connsiteX237" fmla="*/ 7365 w 9997"/>
                <a:gd name="connsiteY237" fmla="*/ 1505 h 9990"/>
                <a:gd name="connsiteX238" fmla="*/ 7580 w 9997"/>
                <a:gd name="connsiteY238" fmla="*/ 1536 h 9990"/>
                <a:gd name="connsiteX239" fmla="*/ 7655 w 9997"/>
                <a:gd name="connsiteY239" fmla="*/ 1609 h 9990"/>
                <a:gd name="connsiteX240" fmla="*/ 7926 w 9997"/>
                <a:gd name="connsiteY240" fmla="*/ 1928 h 9990"/>
                <a:gd name="connsiteX241" fmla="*/ 8229 w 9997"/>
                <a:gd name="connsiteY241" fmla="*/ 1877 h 9990"/>
                <a:gd name="connsiteX242" fmla="*/ 8336 w 9997"/>
                <a:gd name="connsiteY242" fmla="*/ 2031 h 9990"/>
                <a:gd name="connsiteX243" fmla="*/ 8487 w 9997"/>
                <a:gd name="connsiteY243" fmla="*/ 2155 h 9990"/>
                <a:gd name="connsiteX244" fmla="*/ 8516 w 9997"/>
                <a:gd name="connsiteY244" fmla="*/ 2103 h 9990"/>
                <a:gd name="connsiteX245" fmla="*/ 8494 w 9997"/>
                <a:gd name="connsiteY245" fmla="*/ 2072 h 9990"/>
                <a:gd name="connsiteX246" fmla="*/ 8380 w 9997"/>
                <a:gd name="connsiteY246" fmla="*/ 1928 h 9990"/>
                <a:gd name="connsiteX247" fmla="*/ 8462 w 9997"/>
                <a:gd name="connsiteY247" fmla="*/ 1753 h 9990"/>
                <a:gd name="connsiteX248" fmla="*/ 8661 w 9997"/>
                <a:gd name="connsiteY248" fmla="*/ 1908 h 9990"/>
                <a:gd name="connsiteX249" fmla="*/ 8947 w 9997"/>
                <a:gd name="connsiteY249" fmla="*/ 1980 h 9990"/>
                <a:gd name="connsiteX250" fmla="*/ 9203 w 9997"/>
                <a:gd name="connsiteY250" fmla="*/ 2258 h 9990"/>
                <a:gd name="connsiteX251" fmla="*/ 9341 w 9997"/>
                <a:gd name="connsiteY251" fmla="*/ 2330 h 9990"/>
                <a:gd name="connsiteX252" fmla="*/ 9448 w 9997"/>
                <a:gd name="connsiteY252" fmla="*/ 2444 h 9990"/>
                <a:gd name="connsiteX253" fmla="*/ 9571 w 9997"/>
                <a:gd name="connsiteY253" fmla="*/ 2629 h 9990"/>
                <a:gd name="connsiteX254" fmla="*/ 9628 w 9997"/>
                <a:gd name="connsiteY254" fmla="*/ 2753 h 9990"/>
                <a:gd name="connsiteX255" fmla="*/ 9723 w 9997"/>
                <a:gd name="connsiteY255" fmla="*/ 2784 h 9990"/>
                <a:gd name="connsiteX256" fmla="*/ 9587 w 9997"/>
                <a:gd name="connsiteY256" fmla="*/ 2567 h 9990"/>
                <a:gd name="connsiteX257" fmla="*/ 9912 w 9997"/>
                <a:gd name="connsiteY257" fmla="*/ 2753 h 9990"/>
                <a:gd name="connsiteX258" fmla="*/ 9997 w 9997"/>
                <a:gd name="connsiteY258" fmla="*/ 3011 h 9990"/>
                <a:gd name="connsiteX259" fmla="*/ 9931 w 9997"/>
                <a:gd name="connsiteY259" fmla="*/ 2938 h 9990"/>
                <a:gd name="connsiteX260" fmla="*/ 9871 w 9997"/>
                <a:gd name="connsiteY260" fmla="*/ 2949 h 9990"/>
                <a:gd name="connsiteX261" fmla="*/ 9997 w 9997"/>
                <a:gd name="connsiteY261" fmla="*/ 3289 h 9990"/>
                <a:gd name="connsiteX262" fmla="*/ 9842 w 9997"/>
                <a:gd name="connsiteY262" fmla="*/ 3217 h 9990"/>
                <a:gd name="connsiteX263" fmla="*/ 9742 w 9997"/>
                <a:gd name="connsiteY263" fmla="*/ 3072 h 9990"/>
                <a:gd name="connsiteX264" fmla="*/ 9638 w 9997"/>
                <a:gd name="connsiteY264" fmla="*/ 2969 h 9990"/>
                <a:gd name="connsiteX265" fmla="*/ 9552 w 9997"/>
                <a:gd name="connsiteY265" fmla="*/ 3000 h 9990"/>
                <a:gd name="connsiteX266" fmla="*/ 9467 w 9997"/>
                <a:gd name="connsiteY266" fmla="*/ 2784 h 9990"/>
                <a:gd name="connsiteX267" fmla="*/ 9363 w 9997"/>
                <a:gd name="connsiteY267" fmla="*/ 2722 h 9990"/>
                <a:gd name="connsiteX268" fmla="*/ 9458 w 9997"/>
                <a:gd name="connsiteY268" fmla="*/ 2969 h 9990"/>
                <a:gd name="connsiteX269" fmla="*/ 9467 w 9997"/>
                <a:gd name="connsiteY269" fmla="*/ 3227 h 9990"/>
                <a:gd name="connsiteX270" fmla="*/ 9285 w 9997"/>
                <a:gd name="connsiteY270" fmla="*/ 3062 h 9990"/>
                <a:gd name="connsiteX271" fmla="*/ 9259 w 9997"/>
                <a:gd name="connsiteY271" fmla="*/ 3227 h 9990"/>
                <a:gd name="connsiteX272" fmla="*/ 9360 w 9997"/>
                <a:gd name="connsiteY272" fmla="*/ 3227 h 9990"/>
                <a:gd name="connsiteX273" fmla="*/ 9448 w 9997"/>
                <a:gd name="connsiteY273" fmla="*/ 3351 h 9990"/>
                <a:gd name="connsiteX274" fmla="*/ 9656 w 9997"/>
                <a:gd name="connsiteY274" fmla="*/ 3681 h 9990"/>
                <a:gd name="connsiteX275" fmla="*/ 9732 w 9997"/>
                <a:gd name="connsiteY275" fmla="*/ 3835 h 9990"/>
                <a:gd name="connsiteX276" fmla="*/ 9549 w 9997"/>
                <a:gd name="connsiteY276" fmla="*/ 3753 h 9990"/>
                <a:gd name="connsiteX277" fmla="*/ 9448 w 9997"/>
                <a:gd name="connsiteY277" fmla="*/ 4021 h 9990"/>
                <a:gd name="connsiteX278" fmla="*/ 9382 w 9997"/>
                <a:gd name="connsiteY278" fmla="*/ 4279 h 9990"/>
                <a:gd name="connsiteX279" fmla="*/ 9373 w 9997"/>
                <a:gd name="connsiteY279" fmla="*/ 4495 h 9990"/>
                <a:gd name="connsiteX280" fmla="*/ 9332 w 9997"/>
                <a:gd name="connsiteY280" fmla="*/ 4299 h 9990"/>
                <a:gd name="connsiteX281" fmla="*/ 9146 w 9997"/>
                <a:gd name="connsiteY281" fmla="*/ 4310 h 9990"/>
                <a:gd name="connsiteX282" fmla="*/ 9152 w 9997"/>
                <a:gd name="connsiteY282" fmla="*/ 4526 h 9990"/>
                <a:gd name="connsiteX283" fmla="*/ 9058 w 9997"/>
                <a:gd name="connsiteY283" fmla="*/ 4361 h 9990"/>
                <a:gd name="connsiteX284" fmla="*/ 9051 w 9997"/>
                <a:gd name="connsiteY284" fmla="*/ 4516 h 9990"/>
                <a:gd name="connsiteX285" fmla="*/ 8995 w 9997"/>
                <a:gd name="connsiteY285" fmla="*/ 4454 h 9990"/>
                <a:gd name="connsiteX286" fmla="*/ 8963 w 9997"/>
                <a:gd name="connsiteY286" fmla="*/ 4557 h 9990"/>
                <a:gd name="connsiteX287" fmla="*/ 9004 w 9997"/>
                <a:gd name="connsiteY287" fmla="*/ 4681 h 9990"/>
                <a:gd name="connsiteX288" fmla="*/ 9001 w 9997"/>
                <a:gd name="connsiteY288" fmla="*/ 4990 h 9990"/>
                <a:gd name="connsiteX289" fmla="*/ 9070 w 9997"/>
                <a:gd name="connsiteY289" fmla="*/ 5206 h 9990"/>
                <a:gd name="connsiteX290" fmla="*/ 9127 w 9997"/>
                <a:gd name="connsiteY290" fmla="*/ 5145 h 9990"/>
                <a:gd name="connsiteX291" fmla="*/ 9155 w 9997"/>
                <a:gd name="connsiteY291" fmla="*/ 5206 h 9990"/>
                <a:gd name="connsiteX292" fmla="*/ 9228 w 9997"/>
                <a:gd name="connsiteY292" fmla="*/ 5423 h 9990"/>
                <a:gd name="connsiteX293" fmla="*/ 9212 w 9997"/>
                <a:gd name="connsiteY293" fmla="*/ 5598 h 9990"/>
                <a:gd name="connsiteX294" fmla="*/ 9218 w 9997"/>
                <a:gd name="connsiteY294" fmla="*/ 5763 h 9990"/>
                <a:gd name="connsiteX295" fmla="*/ 9266 w 9997"/>
                <a:gd name="connsiteY295" fmla="*/ 5877 h 9990"/>
                <a:gd name="connsiteX296" fmla="*/ 9341 w 9997"/>
                <a:gd name="connsiteY296" fmla="*/ 6062 h 9990"/>
                <a:gd name="connsiteX297" fmla="*/ 9266 w 9997"/>
                <a:gd name="connsiteY297" fmla="*/ 6062 h 9990"/>
                <a:gd name="connsiteX298" fmla="*/ 9250 w 9997"/>
                <a:gd name="connsiteY298" fmla="*/ 6217 h 9990"/>
                <a:gd name="connsiteX299" fmla="*/ 9316 w 9997"/>
                <a:gd name="connsiteY299" fmla="*/ 6402 h 9990"/>
                <a:gd name="connsiteX300" fmla="*/ 9247 w 9997"/>
                <a:gd name="connsiteY300" fmla="*/ 6495 h 9990"/>
                <a:gd name="connsiteX301" fmla="*/ 9294 w 9997"/>
                <a:gd name="connsiteY301" fmla="*/ 6722 h 9990"/>
                <a:gd name="connsiteX302" fmla="*/ 9278 w 9997"/>
                <a:gd name="connsiteY302" fmla="*/ 7062 h 9990"/>
                <a:gd name="connsiteX303" fmla="*/ 9058 w 9997"/>
                <a:gd name="connsiteY303" fmla="*/ 6402 h 9990"/>
                <a:gd name="connsiteX304" fmla="*/ 8821 w 9997"/>
                <a:gd name="connsiteY304" fmla="*/ 5753 h 9990"/>
                <a:gd name="connsiteX305" fmla="*/ 8768 w 9997"/>
                <a:gd name="connsiteY305" fmla="*/ 5454 h 9990"/>
                <a:gd name="connsiteX306" fmla="*/ 8765 w 9997"/>
                <a:gd name="connsiteY306" fmla="*/ 5206 h 9990"/>
                <a:gd name="connsiteX307" fmla="*/ 8689 w 9997"/>
                <a:gd name="connsiteY307" fmla="*/ 5042 h 9990"/>
                <a:gd name="connsiteX308" fmla="*/ 8768 w 9997"/>
                <a:gd name="connsiteY308" fmla="*/ 5083 h 9990"/>
                <a:gd name="connsiteX309" fmla="*/ 8806 w 9997"/>
                <a:gd name="connsiteY309" fmla="*/ 5103 h 9990"/>
                <a:gd name="connsiteX310" fmla="*/ 8806 w 9997"/>
                <a:gd name="connsiteY310" fmla="*/ 4835 h 9990"/>
                <a:gd name="connsiteX311" fmla="*/ 8824 w 9997"/>
                <a:gd name="connsiteY311" fmla="*/ 4433 h 9990"/>
                <a:gd name="connsiteX312" fmla="*/ 8850 w 9997"/>
                <a:gd name="connsiteY312" fmla="*/ 4248 h 9990"/>
                <a:gd name="connsiteX313" fmla="*/ 8906 w 9997"/>
                <a:gd name="connsiteY313" fmla="*/ 4217 h 9990"/>
                <a:gd name="connsiteX314" fmla="*/ 8783 w 9997"/>
                <a:gd name="connsiteY314" fmla="*/ 3897 h 9990"/>
                <a:gd name="connsiteX315" fmla="*/ 8850 w 9997"/>
                <a:gd name="connsiteY315" fmla="*/ 3835 h 9990"/>
                <a:gd name="connsiteX316" fmla="*/ 8736 w 9997"/>
                <a:gd name="connsiteY316" fmla="*/ 3784 h 9990"/>
                <a:gd name="connsiteX317" fmla="*/ 8752 w 9997"/>
                <a:gd name="connsiteY317" fmla="*/ 3980 h 9990"/>
                <a:gd name="connsiteX318" fmla="*/ 8689 w 9997"/>
                <a:gd name="connsiteY318" fmla="*/ 4299 h 9990"/>
                <a:gd name="connsiteX319" fmla="*/ 8601 w 9997"/>
                <a:gd name="connsiteY319" fmla="*/ 4206 h 9990"/>
                <a:gd name="connsiteX320" fmla="*/ 8547 w 9997"/>
                <a:gd name="connsiteY320" fmla="*/ 4052 h 9990"/>
                <a:gd name="connsiteX321" fmla="*/ 8478 w 9997"/>
                <a:gd name="connsiteY321" fmla="*/ 4134 h 9990"/>
                <a:gd name="connsiteX322" fmla="*/ 8386 w 9997"/>
                <a:gd name="connsiteY322" fmla="*/ 4103 h 9990"/>
                <a:gd name="connsiteX323" fmla="*/ 8349 w 9997"/>
                <a:gd name="connsiteY323" fmla="*/ 4402 h 9990"/>
                <a:gd name="connsiteX324" fmla="*/ 8478 w 9997"/>
                <a:gd name="connsiteY324" fmla="*/ 4650 h 9990"/>
                <a:gd name="connsiteX325" fmla="*/ 8402 w 9997"/>
                <a:gd name="connsiteY325" fmla="*/ 4825 h 9990"/>
                <a:gd name="connsiteX326" fmla="*/ 8223 w 9997"/>
                <a:gd name="connsiteY326" fmla="*/ 4794 h 9990"/>
                <a:gd name="connsiteX327" fmla="*/ 8207 w 9997"/>
                <a:gd name="connsiteY327" fmla="*/ 4650 h 9990"/>
                <a:gd name="connsiteX328" fmla="*/ 8100 w 9997"/>
                <a:gd name="connsiteY328" fmla="*/ 4629 h 9990"/>
                <a:gd name="connsiteX329" fmla="*/ 7639 w 9997"/>
                <a:gd name="connsiteY329" fmla="*/ 4774 h 9990"/>
                <a:gd name="connsiteX330" fmla="*/ 7608 w 9997"/>
                <a:gd name="connsiteY330" fmla="*/ 5000 h 9990"/>
                <a:gd name="connsiteX331" fmla="*/ 7548 w 9997"/>
                <a:gd name="connsiteY331" fmla="*/ 5660 h 9990"/>
                <a:gd name="connsiteX332" fmla="*/ 7494 w 9997"/>
                <a:gd name="connsiteY332" fmla="*/ 5959 h 9990"/>
                <a:gd name="connsiteX333" fmla="*/ 7699 w 9997"/>
                <a:gd name="connsiteY333" fmla="*/ 6155 h 9990"/>
                <a:gd name="connsiteX334" fmla="*/ 7743 w 9997"/>
                <a:gd name="connsiteY334" fmla="*/ 6237 h 9990"/>
                <a:gd name="connsiteX335" fmla="*/ 7769 w 9997"/>
                <a:gd name="connsiteY335" fmla="*/ 6279 h 9990"/>
                <a:gd name="connsiteX336" fmla="*/ 7791 w 9997"/>
                <a:gd name="connsiteY336" fmla="*/ 6062 h 9990"/>
                <a:gd name="connsiteX337" fmla="*/ 7910 w 9997"/>
                <a:gd name="connsiteY337" fmla="*/ 6083 h 9990"/>
                <a:gd name="connsiteX338" fmla="*/ 8002 w 9997"/>
                <a:gd name="connsiteY338" fmla="*/ 6361 h 9990"/>
                <a:gd name="connsiteX339" fmla="*/ 8062 w 9997"/>
                <a:gd name="connsiteY339" fmla="*/ 6609 h 9990"/>
                <a:gd name="connsiteX340" fmla="*/ 8109 w 9997"/>
                <a:gd name="connsiteY340" fmla="*/ 6774 h 9990"/>
                <a:gd name="connsiteX341" fmla="*/ 8046 w 9997"/>
                <a:gd name="connsiteY341" fmla="*/ 6485 h 9990"/>
                <a:gd name="connsiteX342" fmla="*/ 8122 w 9997"/>
                <a:gd name="connsiteY342" fmla="*/ 6330 h 9990"/>
                <a:gd name="connsiteX343" fmla="*/ 8175 w 9997"/>
                <a:gd name="connsiteY343" fmla="*/ 6505 h 9990"/>
                <a:gd name="connsiteX344" fmla="*/ 8298 w 9997"/>
                <a:gd name="connsiteY344" fmla="*/ 6980 h 9990"/>
                <a:gd name="connsiteX345" fmla="*/ 8358 w 9997"/>
                <a:gd name="connsiteY345" fmla="*/ 7145 h 9990"/>
                <a:gd name="connsiteX346" fmla="*/ 8487 w 9997"/>
                <a:gd name="connsiteY346" fmla="*/ 7475 h 9990"/>
                <a:gd name="connsiteX347" fmla="*/ 8601 w 9997"/>
                <a:gd name="connsiteY347" fmla="*/ 7846 h 9990"/>
                <a:gd name="connsiteX348" fmla="*/ 8471 w 9997"/>
                <a:gd name="connsiteY348" fmla="*/ 7639 h 9990"/>
                <a:gd name="connsiteX349" fmla="*/ 8440 w 9997"/>
                <a:gd name="connsiteY349" fmla="*/ 7670 h 9990"/>
                <a:gd name="connsiteX350" fmla="*/ 8509 w 9997"/>
                <a:gd name="connsiteY350" fmla="*/ 8042 h 9990"/>
                <a:gd name="connsiteX351" fmla="*/ 8585 w 9997"/>
                <a:gd name="connsiteY351" fmla="*/ 8258 h 9990"/>
                <a:gd name="connsiteX352" fmla="*/ 8639 w 9997"/>
                <a:gd name="connsiteY352" fmla="*/ 8464 h 9990"/>
                <a:gd name="connsiteX353" fmla="*/ 8563 w 9997"/>
                <a:gd name="connsiteY353" fmla="*/ 8413 h 9990"/>
                <a:gd name="connsiteX354" fmla="*/ 8553 w 9997"/>
                <a:gd name="connsiteY354" fmla="*/ 8660 h 9990"/>
                <a:gd name="connsiteX355" fmla="*/ 8494 w 9997"/>
                <a:gd name="connsiteY355" fmla="*/ 8485 h 9990"/>
                <a:gd name="connsiteX356" fmla="*/ 8478 w 9997"/>
                <a:gd name="connsiteY356" fmla="*/ 8413 h 9990"/>
                <a:gd name="connsiteX357" fmla="*/ 8358 w 9997"/>
                <a:gd name="connsiteY357" fmla="*/ 7743 h 9990"/>
                <a:gd name="connsiteX358" fmla="*/ 8320 w 9997"/>
                <a:gd name="connsiteY358" fmla="*/ 7516 h 9990"/>
                <a:gd name="connsiteX359" fmla="*/ 8289 w 9997"/>
                <a:gd name="connsiteY359" fmla="*/ 7371 h 9990"/>
                <a:gd name="connsiteX360" fmla="*/ 8273 w 9997"/>
                <a:gd name="connsiteY360" fmla="*/ 7299 h 9990"/>
                <a:gd name="connsiteX361" fmla="*/ 8137 w 9997"/>
                <a:gd name="connsiteY361" fmla="*/ 6856 h 9990"/>
                <a:gd name="connsiteX362" fmla="*/ 8197 w 9997"/>
                <a:gd name="connsiteY362" fmla="*/ 7444 h 9990"/>
                <a:gd name="connsiteX363" fmla="*/ 8245 w 9997"/>
                <a:gd name="connsiteY363" fmla="*/ 7990 h 9990"/>
                <a:gd name="connsiteX364" fmla="*/ 8175 w 9997"/>
                <a:gd name="connsiteY364" fmla="*/ 9124 h 9990"/>
                <a:gd name="connsiteX365" fmla="*/ 8122 w 9997"/>
                <a:gd name="connsiteY365" fmla="*/ 9475 h 9990"/>
                <a:gd name="connsiteX366" fmla="*/ 7970 w 9997"/>
                <a:gd name="connsiteY366" fmla="*/ 9423 h 9990"/>
                <a:gd name="connsiteX367" fmla="*/ 7895 w 9997"/>
                <a:gd name="connsiteY367" fmla="*/ 9650 h 9990"/>
                <a:gd name="connsiteX368" fmla="*/ 7866 w 9997"/>
                <a:gd name="connsiteY368" fmla="*/ 9578 h 9990"/>
                <a:gd name="connsiteX369" fmla="*/ 7882 w 9997"/>
                <a:gd name="connsiteY369" fmla="*/ 9526 h 9990"/>
                <a:gd name="connsiteX370" fmla="*/ 7895 w 9997"/>
                <a:gd name="connsiteY370" fmla="*/ 9371 h 9990"/>
                <a:gd name="connsiteX371" fmla="*/ 7882 w 9997"/>
                <a:gd name="connsiteY371" fmla="*/ 9227 h 9990"/>
                <a:gd name="connsiteX372" fmla="*/ 7791 w 9997"/>
                <a:gd name="connsiteY372" fmla="*/ 8856 h 9990"/>
                <a:gd name="connsiteX373" fmla="*/ 7829 w 9997"/>
                <a:gd name="connsiteY373" fmla="*/ 8732 h 9990"/>
                <a:gd name="connsiteX374" fmla="*/ 7926 w 9997"/>
                <a:gd name="connsiteY374" fmla="*/ 8835 h 9990"/>
                <a:gd name="connsiteX375" fmla="*/ 7910 w 9997"/>
                <a:gd name="connsiteY375" fmla="*/ 8310 h 9990"/>
                <a:gd name="connsiteX376" fmla="*/ 7904 w 9997"/>
                <a:gd name="connsiteY376" fmla="*/ 8011 h 9990"/>
                <a:gd name="connsiteX377" fmla="*/ 7844 w 9997"/>
                <a:gd name="connsiteY377" fmla="*/ 7794 h 9990"/>
                <a:gd name="connsiteX378" fmla="*/ 7721 w 9997"/>
                <a:gd name="connsiteY378" fmla="*/ 8042 h 9990"/>
                <a:gd name="connsiteX379" fmla="*/ 7617 w 9997"/>
                <a:gd name="connsiteY379" fmla="*/ 8011 h 9990"/>
                <a:gd name="connsiteX380" fmla="*/ 7526 w 9997"/>
                <a:gd name="connsiteY380" fmla="*/ 7691 h 9990"/>
                <a:gd name="connsiteX381" fmla="*/ 7353 w 9997"/>
                <a:gd name="connsiteY381" fmla="*/ 7475 h 9990"/>
                <a:gd name="connsiteX382" fmla="*/ 7277 w 9997"/>
                <a:gd name="connsiteY382" fmla="*/ 7475 h 9990"/>
                <a:gd name="connsiteX383" fmla="*/ 7078 w 9997"/>
                <a:gd name="connsiteY383" fmla="*/ 6774 h 9990"/>
                <a:gd name="connsiteX384" fmla="*/ 6899 w 9997"/>
                <a:gd name="connsiteY384" fmla="*/ 6454 h 9990"/>
                <a:gd name="connsiteX385" fmla="*/ 6722 w 9997"/>
                <a:gd name="connsiteY385" fmla="*/ 6330 h 9990"/>
                <a:gd name="connsiteX386" fmla="*/ 6581 w 9997"/>
                <a:gd name="connsiteY386" fmla="*/ 6402 h 9990"/>
                <a:gd name="connsiteX387" fmla="*/ 6565 w 9997"/>
                <a:gd name="connsiteY387" fmla="*/ 6578 h 9990"/>
                <a:gd name="connsiteX388" fmla="*/ 6662 w 9997"/>
                <a:gd name="connsiteY388" fmla="*/ 6753 h 9990"/>
                <a:gd name="connsiteX389" fmla="*/ 6634 w 9997"/>
                <a:gd name="connsiteY389" fmla="*/ 6928 h 9990"/>
                <a:gd name="connsiteX390" fmla="*/ 6634 w 9997"/>
                <a:gd name="connsiteY390" fmla="*/ 7392 h 9990"/>
                <a:gd name="connsiteX391" fmla="*/ 6558 w 9997"/>
                <a:gd name="connsiteY391" fmla="*/ 7475 h 9990"/>
                <a:gd name="connsiteX392" fmla="*/ 6483 w 9997"/>
                <a:gd name="connsiteY392" fmla="*/ 7371 h 9990"/>
                <a:gd name="connsiteX393" fmla="*/ 6398 w 9997"/>
                <a:gd name="connsiteY393" fmla="*/ 7392 h 9990"/>
                <a:gd name="connsiteX394" fmla="*/ 6332 w 9997"/>
                <a:gd name="connsiteY394" fmla="*/ 7268 h 9990"/>
                <a:gd name="connsiteX395" fmla="*/ 6256 w 9997"/>
                <a:gd name="connsiteY395" fmla="*/ 7351 h 9990"/>
                <a:gd name="connsiteX396" fmla="*/ 6218 w 9997"/>
                <a:gd name="connsiteY396" fmla="*/ 7516 h 9990"/>
                <a:gd name="connsiteX397" fmla="*/ 6079 w 9997"/>
                <a:gd name="connsiteY397" fmla="*/ 7598 h 9990"/>
                <a:gd name="connsiteX398" fmla="*/ 5890 w 9997"/>
                <a:gd name="connsiteY398" fmla="*/ 7567 h 9990"/>
                <a:gd name="connsiteX399" fmla="*/ 5853 w 9997"/>
                <a:gd name="connsiteY399" fmla="*/ 7320 h 9990"/>
                <a:gd name="connsiteX400" fmla="*/ 5641 w 9997"/>
                <a:gd name="connsiteY400" fmla="*/ 7248 h 9990"/>
                <a:gd name="connsiteX401" fmla="*/ 5537 w 9997"/>
                <a:gd name="connsiteY401" fmla="*/ 7351 h 9990"/>
                <a:gd name="connsiteX402" fmla="*/ 5414 w 9997"/>
                <a:gd name="connsiteY402" fmla="*/ 7196 h 9990"/>
                <a:gd name="connsiteX403" fmla="*/ 5370 w 9997"/>
                <a:gd name="connsiteY403" fmla="*/ 6897 h 9990"/>
                <a:gd name="connsiteX404" fmla="*/ 5106 w 9997"/>
                <a:gd name="connsiteY404" fmla="*/ 6701 h 9990"/>
                <a:gd name="connsiteX405" fmla="*/ 5150 w 9997"/>
                <a:gd name="connsiteY405" fmla="*/ 7229 h 9990"/>
                <a:gd name="connsiteX0" fmla="*/ 5076 w 10000"/>
                <a:gd name="connsiteY0" fmla="*/ 6987 h 10000"/>
                <a:gd name="connsiteX1" fmla="*/ 5167 w 10000"/>
                <a:gd name="connsiteY1" fmla="*/ 7275 h 10000"/>
                <a:gd name="connsiteX2" fmla="*/ 5114 w 10000"/>
                <a:gd name="connsiteY2" fmla="*/ 7430 h 10000"/>
                <a:gd name="connsiteX3" fmla="*/ 4977 w 10000"/>
                <a:gd name="connsiteY3" fmla="*/ 7378 h 10000"/>
                <a:gd name="connsiteX4" fmla="*/ 4864 w 10000"/>
                <a:gd name="connsiteY4" fmla="*/ 7183 h 10000"/>
                <a:gd name="connsiteX5" fmla="*/ 4713 w 10000"/>
                <a:gd name="connsiteY5" fmla="*/ 7152 h 10000"/>
                <a:gd name="connsiteX6" fmla="*/ 4464 w 10000"/>
                <a:gd name="connsiteY6" fmla="*/ 7647 h 10000"/>
                <a:gd name="connsiteX7" fmla="*/ 4410 w 10000"/>
                <a:gd name="connsiteY7" fmla="*/ 7606 h 10000"/>
                <a:gd name="connsiteX8" fmla="*/ 4334 w 10000"/>
                <a:gd name="connsiteY8" fmla="*/ 7430 h 10000"/>
                <a:gd name="connsiteX9" fmla="*/ 4275 w 10000"/>
                <a:gd name="connsiteY9" fmla="*/ 7503 h 10000"/>
                <a:gd name="connsiteX10" fmla="*/ 4130 w 10000"/>
                <a:gd name="connsiteY10" fmla="*/ 7255 h 10000"/>
                <a:gd name="connsiteX11" fmla="*/ 4076 w 10000"/>
                <a:gd name="connsiteY11" fmla="*/ 7059 h 10000"/>
                <a:gd name="connsiteX12" fmla="*/ 3972 w 10000"/>
                <a:gd name="connsiteY12" fmla="*/ 7152 h 10000"/>
                <a:gd name="connsiteX13" fmla="*/ 3887 w 10000"/>
                <a:gd name="connsiteY13" fmla="*/ 6956 h 10000"/>
                <a:gd name="connsiteX14" fmla="*/ 3843 w 10000"/>
                <a:gd name="connsiteY14" fmla="*/ 7183 h 10000"/>
                <a:gd name="connsiteX15" fmla="*/ 3698 w 10000"/>
                <a:gd name="connsiteY15" fmla="*/ 6636 h 10000"/>
                <a:gd name="connsiteX16" fmla="*/ 3584 w 10000"/>
                <a:gd name="connsiteY16" fmla="*/ 6388 h 10000"/>
                <a:gd name="connsiteX17" fmla="*/ 3471 w 10000"/>
                <a:gd name="connsiteY17" fmla="*/ 6212 h 10000"/>
                <a:gd name="connsiteX18" fmla="*/ 3496 w 10000"/>
                <a:gd name="connsiteY18" fmla="*/ 5965 h 10000"/>
                <a:gd name="connsiteX19" fmla="*/ 3291 w 10000"/>
                <a:gd name="connsiteY19" fmla="*/ 6367 h 10000"/>
                <a:gd name="connsiteX20" fmla="*/ 3244 w 10000"/>
                <a:gd name="connsiteY20" fmla="*/ 6161 h 10000"/>
                <a:gd name="connsiteX21" fmla="*/ 3093 w 10000"/>
                <a:gd name="connsiteY21" fmla="*/ 6161 h 10000"/>
                <a:gd name="connsiteX22" fmla="*/ 3080 w 10000"/>
                <a:gd name="connsiteY22" fmla="*/ 5944 h 10000"/>
                <a:gd name="connsiteX23" fmla="*/ 2995 w 10000"/>
                <a:gd name="connsiteY23" fmla="*/ 5821 h 10000"/>
                <a:gd name="connsiteX24" fmla="*/ 2897 w 10000"/>
                <a:gd name="connsiteY24" fmla="*/ 5790 h 10000"/>
                <a:gd name="connsiteX25" fmla="*/ 2828 w 10000"/>
                <a:gd name="connsiteY25" fmla="*/ 5996 h 10000"/>
                <a:gd name="connsiteX26" fmla="*/ 2633 w 10000"/>
                <a:gd name="connsiteY26" fmla="*/ 6120 h 10000"/>
                <a:gd name="connsiteX27" fmla="*/ 2412 w 10000"/>
                <a:gd name="connsiteY27" fmla="*/ 6212 h 10000"/>
                <a:gd name="connsiteX28" fmla="*/ 2443 w 10000"/>
                <a:gd name="connsiteY28" fmla="*/ 6408 h 10000"/>
                <a:gd name="connsiteX29" fmla="*/ 2525 w 10000"/>
                <a:gd name="connsiteY29" fmla="*/ 6512 h 10000"/>
                <a:gd name="connsiteX30" fmla="*/ 2428 w 10000"/>
                <a:gd name="connsiteY30" fmla="*/ 6512 h 10000"/>
                <a:gd name="connsiteX31" fmla="*/ 2406 w 10000"/>
                <a:gd name="connsiteY31" fmla="*/ 6832 h 10000"/>
                <a:gd name="connsiteX32" fmla="*/ 2535 w 10000"/>
                <a:gd name="connsiteY32" fmla="*/ 6987 h 10000"/>
                <a:gd name="connsiteX33" fmla="*/ 2497 w 10000"/>
                <a:gd name="connsiteY33" fmla="*/ 7183 h 10000"/>
                <a:gd name="connsiteX34" fmla="*/ 2384 w 10000"/>
                <a:gd name="connsiteY34" fmla="*/ 7183 h 10000"/>
                <a:gd name="connsiteX35" fmla="*/ 2308 w 10000"/>
                <a:gd name="connsiteY35" fmla="*/ 7028 h 10000"/>
                <a:gd name="connsiteX36" fmla="*/ 2147 w 10000"/>
                <a:gd name="connsiteY36" fmla="*/ 7131 h 10000"/>
                <a:gd name="connsiteX37" fmla="*/ 2109 w 10000"/>
                <a:gd name="connsiteY37" fmla="*/ 7203 h 10000"/>
                <a:gd name="connsiteX38" fmla="*/ 1983 w 10000"/>
                <a:gd name="connsiteY38" fmla="*/ 7028 h 10000"/>
                <a:gd name="connsiteX39" fmla="*/ 1854 w 10000"/>
                <a:gd name="connsiteY39" fmla="*/ 6884 h 10000"/>
                <a:gd name="connsiteX40" fmla="*/ 1741 w 10000"/>
                <a:gd name="connsiteY40" fmla="*/ 6863 h 10000"/>
                <a:gd name="connsiteX41" fmla="*/ 1610 w 10000"/>
                <a:gd name="connsiteY41" fmla="*/ 7183 h 10000"/>
                <a:gd name="connsiteX42" fmla="*/ 1655 w 10000"/>
                <a:gd name="connsiteY42" fmla="*/ 7430 h 10000"/>
                <a:gd name="connsiteX43" fmla="*/ 1604 w 10000"/>
                <a:gd name="connsiteY43" fmla="*/ 7430 h 10000"/>
                <a:gd name="connsiteX44" fmla="*/ 1551 w 10000"/>
                <a:gd name="connsiteY44" fmla="*/ 7255 h 10000"/>
                <a:gd name="connsiteX45" fmla="*/ 1513 w 10000"/>
                <a:gd name="connsiteY45" fmla="*/ 7430 h 10000"/>
                <a:gd name="connsiteX46" fmla="*/ 1519 w 10000"/>
                <a:gd name="connsiteY46" fmla="*/ 7854 h 10000"/>
                <a:gd name="connsiteX47" fmla="*/ 1604 w 10000"/>
                <a:gd name="connsiteY47" fmla="*/ 8070 h 10000"/>
                <a:gd name="connsiteX48" fmla="*/ 1648 w 10000"/>
                <a:gd name="connsiteY48" fmla="*/ 8019 h 10000"/>
                <a:gd name="connsiteX49" fmla="*/ 1741 w 10000"/>
                <a:gd name="connsiteY49" fmla="*/ 8493 h 10000"/>
                <a:gd name="connsiteX50" fmla="*/ 1610 w 10000"/>
                <a:gd name="connsiteY50" fmla="*/ 8669 h 10000"/>
                <a:gd name="connsiteX51" fmla="*/ 1595 w 10000"/>
                <a:gd name="connsiteY51" fmla="*/ 9009 h 10000"/>
                <a:gd name="connsiteX52" fmla="*/ 1664 w 10000"/>
                <a:gd name="connsiteY52" fmla="*/ 9236 h 10000"/>
                <a:gd name="connsiteX53" fmla="*/ 1664 w 10000"/>
                <a:gd name="connsiteY53" fmla="*/ 9484 h 10000"/>
                <a:gd name="connsiteX54" fmla="*/ 1769 w 10000"/>
                <a:gd name="connsiteY54" fmla="*/ 9835 h 10000"/>
                <a:gd name="connsiteX55" fmla="*/ 1703 w 10000"/>
                <a:gd name="connsiteY55" fmla="*/ 10000 h 10000"/>
                <a:gd name="connsiteX56" fmla="*/ 1604 w 10000"/>
                <a:gd name="connsiteY56" fmla="*/ 9753 h 10000"/>
                <a:gd name="connsiteX57" fmla="*/ 1465 w 10000"/>
                <a:gd name="connsiteY57" fmla="*/ 9505 h 10000"/>
                <a:gd name="connsiteX58" fmla="*/ 1406 w 10000"/>
                <a:gd name="connsiteY58" fmla="*/ 9588 h 10000"/>
                <a:gd name="connsiteX59" fmla="*/ 1308 w 10000"/>
                <a:gd name="connsiteY59" fmla="*/ 9380 h 10000"/>
                <a:gd name="connsiteX60" fmla="*/ 1097 w 10000"/>
                <a:gd name="connsiteY60" fmla="*/ 9339 h 10000"/>
                <a:gd name="connsiteX61" fmla="*/ 848 w 10000"/>
                <a:gd name="connsiteY61" fmla="*/ 8813 h 10000"/>
                <a:gd name="connsiteX62" fmla="*/ 914 w 10000"/>
                <a:gd name="connsiteY62" fmla="*/ 8721 h 10000"/>
                <a:gd name="connsiteX63" fmla="*/ 961 w 10000"/>
                <a:gd name="connsiteY63" fmla="*/ 8493 h 10000"/>
                <a:gd name="connsiteX64" fmla="*/ 908 w 10000"/>
                <a:gd name="connsiteY64" fmla="*/ 8390 h 10000"/>
                <a:gd name="connsiteX65" fmla="*/ 1021 w 10000"/>
                <a:gd name="connsiteY65" fmla="*/ 8245 h 10000"/>
                <a:gd name="connsiteX66" fmla="*/ 945 w 10000"/>
                <a:gd name="connsiteY66" fmla="*/ 8194 h 10000"/>
                <a:gd name="connsiteX67" fmla="*/ 958 w 10000"/>
                <a:gd name="connsiteY67" fmla="*/ 8091 h 10000"/>
                <a:gd name="connsiteX68" fmla="*/ 1005 w 10000"/>
                <a:gd name="connsiteY68" fmla="*/ 8111 h 10000"/>
                <a:gd name="connsiteX69" fmla="*/ 1059 w 10000"/>
                <a:gd name="connsiteY69" fmla="*/ 8019 h 10000"/>
                <a:gd name="connsiteX70" fmla="*/ 1034 w 10000"/>
                <a:gd name="connsiteY70" fmla="*/ 7864 h 10000"/>
                <a:gd name="connsiteX71" fmla="*/ 1043 w 10000"/>
                <a:gd name="connsiteY71" fmla="*/ 7503 h 10000"/>
                <a:gd name="connsiteX72" fmla="*/ 930 w 10000"/>
                <a:gd name="connsiteY72" fmla="*/ 7440 h 10000"/>
                <a:gd name="connsiteX73" fmla="*/ 832 w 10000"/>
                <a:gd name="connsiteY73" fmla="*/ 7286 h 10000"/>
                <a:gd name="connsiteX74" fmla="*/ 700 w 10000"/>
                <a:gd name="connsiteY74" fmla="*/ 7275 h 10000"/>
                <a:gd name="connsiteX75" fmla="*/ 684 w 10000"/>
                <a:gd name="connsiteY75" fmla="*/ 7090 h 10000"/>
                <a:gd name="connsiteX76" fmla="*/ 596 w 10000"/>
                <a:gd name="connsiteY76" fmla="*/ 6945 h 10000"/>
                <a:gd name="connsiteX77" fmla="*/ 615 w 10000"/>
                <a:gd name="connsiteY77" fmla="*/ 6822 h 10000"/>
                <a:gd name="connsiteX78" fmla="*/ 561 w 10000"/>
                <a:gd name="connsiteY78" fmla="*/ 6698 h 10000"/>
                <a:gd name="connsiteX79" fmla="*/ 457 w 10000"/>
                <a:gd name="connsiteY79" fmla="*/ 6698 h 10000"/>
                <a:gd name="connsiteX80" fmla="*/ 425 w 10000"/>
                <a:gd name="connsiteY80" fmla="*/ 6791 h 10000"/>
                <a:gd name="connsiteX81" fmla="*/ 400 w 10000"/>
                <a:gd name="connsiteY81" fmla="*/ 6750 h 10000"/>
                <a:gd name="connsiteX82" fmla="*/ 378 w 10000"/>
                <a:gd name="connsiteY82" fmla="*/ 6439 h 10000"/>
                <a:gd name="connsiteX83" fmla="*/ 419 w 10000"/>
                <a:gd name="connsiteY83" fmla="*/ 6470 h 10000"/>
                <a:gd name="connsiteX84" fmla="*/ 466 w 10000"/>
                <a:gd name="connsiteY84" fmla="*/ 6347 h 10000"/>
                <a:gd name="connsiteX85" fmla="*/ 400 w 10000"/>
                <a:gd name="connsiteY85" fmla="*/ 6233 h 10000"/>
                <a:gd name="connsiteX86" fmla="*/ 315 w 10000"/>
                <a:gd name="connsiteY86" fmla="*/ 6017 h 10000"/>
                <a:gd name="connsiteX87" fmla="*/ 334 w 10000"/>
                <a:gd name="connsiteY87" fmla="*/ 5821 h 10000"/>
                <a:gd name="connsiteX88" fmla="*/ 274 w 10000"/>
                <a:gd name="connsiteY88" fmla="*/ 5697 h 10000"/>
                <a:gd name="connsiteX89" fmla="*/ 227 w 10000"/>
                <a:gd name="connsiteY89" fmla="*/ 5728 h 10000"/>
                <a:gd name="connsiteX90" fmla="*/ 202 w 10000"/>
                <a:gd name="connsiteY90" fmla="*/ 5604 h 10000"/>
                <a:gd name="connsiteX91" fmla="*/ 164 w 10000"/>
                <a:gd name="connsiteY91" fmla="*/ 5645 h 10000"/>
                <a:gd name="connsiteX92" fmla="*/ 117 w 10000"/>
                <a:gd name="connsiteY92" fmla="*/ 5604 h 10000"/>
                <a:gd name="connsiteX93" fmla="*/ 69 w 10000"/>
                <a:gd name="connsiteY93" fmla="*/ 5181 h 10000"/>
                <a:gd name="connsiteX94" fmla="*/ 85 w 10000"/>
                <a:gd name="connsiteY94" fmla="*/ 5057 h 10000"/>
                <a:gd name="connsiteX95" fmla="*/ 41 w 10000"/>
                <a:gd name="connsiteY95" fmla="*/ 4892 h 10000"/>
                <a:gd name="connsiteX96" fmla="*/ 66 w 10000"/>
                <a:gd name="connsiteY96" fmla="*/ 4655 h 10000"/>
                <a:gd name="connsiteX97" fmla="*/ 211 w 10000"/>
                <a:gd name="connsiteY97" fmla="*/ 4510 h 10000"/>
                <a:gd name="connsiteX98" fmla="*/ 129 w 10000"/>
                <a:gd name="connsiteY98" fmla="*/ 4406 h 10000"/>
                <a:gd name="connsiteX99" fmla="*/ 82 w 10000"/>
                <a:gd name="connsiteY99" fmla="*/ 4283 h 10000"/>
                <a:gd name="connsiteX100" fmla="*/ 205 w 10000"/>
                <a:gd name="connsiteY100" fmla="*/ 3912 h 10000"/>
                <a:gd name="connsiteX101" fmla="*/ 249 w 10000"/>
                <a:gd name="connsiteY101" fmla="*/ 3664 h 10000"/>
                <a:gd name="connsiteX102" fmla="*/ 151 w 10000"/>
                <a:gd name="connsiteY102" fmla="*/ 3488 h 10000"/>
                <a:gd name="connsiteX103" fmla="*/ 189 w 10000"/>
                <a:gd name="connsiteY103" fmla="*/ 3344 h 10000"/>
                <a:gd name="connsiteX104" fmla="*/ 113 w 10000"/>
                <a:gd name="connsiteY104" fmla="*/ 3148 h 10000"/>
                <a:gd name="connsiteX105" fmla="*/ 113 w 10000"/>
                <a:gd name="connsiteY105" fmla="*/ 2972 h 10000"/>
                <a:gd name="connsiteX106" fmla="*/ 60 w 10000"/>
                <a:gd name="connsiteY106" fmla="*/ 2622 h 10000"/>
                <a:gd name="connsiteX107" fmla="*/ 98 w 10000"/>
                <a:gd name="connsiteY107" fmla="*/ 2404 h 10000"/>
                <a:gd name="connsiteX108" fmla="*/ 38 w 10000"/>
                <a:gd name="connsiteY108" fmla="*/ 2301 h 10000"/>
                <a:gd name="connsiteX109" fmla="*/ 0 w 10000"/>
                <a:gd name="connsiteY109" fmla="*/ 2178 h 10000"/>
                <a:gd name="connsiteX110" fmla="*/ 54 w 10000"/>
                <a:gd name="connsiteY110" fmla="*/ 1951 h 10000"/>
                <a:gd name="connsiteX111" fmla="*/ 120 w 10000"/>
                <a:gd name="connsiteY111" fmla="*/ 1910 h 10000"/>
                <a:gd name="connsiteX112" fmla="*/ 195 w 10000"/>
                <a:gd name="connsiteY112" fmla="*/ 1858 h 10000"/>
                <a:gd name="connsiteX113" fmla="*/ 309 w 10000"/>
                <a:gd name="connsiteY113" fmla="*/ 1951 h 10000"/>
                <a:gd name="connsiteX114" fmla="*/ 482 w 10000"/>
                <a:gd name="connsiteY114" fmla="*/ 2054 h 10000"/>
                <a:gd name="connsiteX115" fmla="*/ 633 w 10000"/>
                <a:gd name="connsiteY115" fmla="*/ 2229 h 10000"/>
                <a:gd name="connsiteX116" fmla="*/ 756 w 10000"/>
                <a:gd name="connsiteY116" fmla="*/ 2373 h 10000"/>
                <a:gd name="connsiteX117" fmla="*/ 725 w 10000"/>
                <a:gd name="connsiteY117" fmla="*/ 2777 h 10000"/>
                <a:gd name="connsiteX118" fmla="*/ 362 w 10000"/>
                <a:gd name="connsiteY118" fmla="*/ 2673 h 10000"/>
                <a:gd name="connsiteX119" fmla="*/ 243 w 10000"/>
                <a:gd name="connsiteY119" fmla="*/ 2550 h 10000"/>
                <a:gd name="connsiteX120" fmla="*/ 287 w 10000"/>
                <a:gd name="connsiteY120" fmla="*/ 2622 h 10000"/>
                <a:gd name="connsiteX121" fmla="*/ 331 w 10000"/>
                <a:gd name="connsiteY121" fmla="*/ 2797 h 10000"/>
                <a:gd name="connsiteX122" fmla="*/ 400 w 10000"/>
                <a:gd name="connsiteY122" fmla="*/ 2921 h 10000"/>
                <a:gd name="connsiteX123" fmla="*/ 416 w 10000"/>
                <a:gd name="connsiteY123" fmla="*/ 3189 h 10000"/>
                <a:gd name="connsiteX124" fmla="*/ 507 w 10000"/>
                <a:gd name="connsiteY124" fmla="*/ 3313 h 10000"/>
                <a:gd name="connsiteX125" fmla="*/ 583 w 10000"/>
                <a:gd name="connsiteY125" fmla="*/ 3436 h 10000"/>
                <a:gd name="connsiteX126" fmla="*/ 605 w 10000"/>
                <a:gd name="connsiteY126" fmla="*/ 3467 h 10000"/>
                <a:gd name="connsiteX127" fmla="*/ 649 w 10000"/>
                <a:gd name="connsiteY127" fmla="*/ 3436 h 10000"/>
                <a:gd name="connsiteX128" fmla="*/ 633 w 10000"/>
                <a:gd name="connsiteY128" fmla="*/ 3364 h 10000"/>
                <a:gd name="connsiteX129" fmla="*/ 545 w 10000"/>
                <a:gd name="connsiteY129" fmla="*/ 3189 h 10000"/>
                <a:gd name="connsiteX130" fmla="*/ 801 w 10000"/>
                <a:gd name="connsiteY130" fmla="*/ 3344 h 10000"/>
                <a:gd name="connsiteX131" fmla="*/ 810 w 10000"/>
                <a:gd name="connsiteY131" fmla="*/ 3271 h 10000"/>
                <a:gd name="connsiteX132" fmla="*/ 785 w 10000"/>
                <a:gd name="connsiteY132" fmla="*/ 3220 h 10000"/>
                <a:gd name="connsiteX133" fmla="*/ 741 w 10000"/>
                <a:gd name="connsiteY133" fmla="*/ 2993 h 10000"/>
                <a:gd name="connsiteX134" fmla="*/ 870 w 10000"/>
                <a:gd name="connsiteY134" fmla="*/ 2777 h 10000"/>
                <a:gd name="connsiteX135" fmla="*/ 968 w 10000"/>
                <a:gd name="connsiteY135" fmla="*/ 2921 h 10000"/>
                <a:gd name="connsiteX136" fmla="*/ 999 w 10000"/>
                <a:gd name="connsiteY136" fmla="*/ 2725 h 10000"/>
                <a:gd name="connsiteX137" fmla="*/ 952 w 10000"/>
                <a:gd name="connsiteY137" fmla="*/ 2653 h 10000"/>
                <a:gd name="connsiteX138" fmla="*/ 936 w 10000"/>
                <a:gd name="connsiteY138" fmla="*/ 2281 h 10000"/>
                <a:gd name="connsiteX139" fmla="*/ 914 w 10000"/>
                <a:gd name="connsiteY139" fmla="*/ 2229 h 10000"/>
                <a:gd name="connsiteX140" fmla="*/ 1037 w 10000"/>
                <a:gd name="connsiteY140" fmla="*/ 2250 h 10000"/>
                <a:gd name="connsiteX141" fmla="*/ 1087 w 10000"/>
                <a:gd name="connsiteY141" fmla="*/ 2404 h 10000"/>
                <a:gd name="connsiteX142" fmla="*/ 1021 w 10000"/>
                <a:gd name="connsiteY142" fmla="*/ 2529 h 10000"/>
                <a:gd name="connsiteX143" fmla="*/ 1135 w 10000"/>
                <a:gd name="connsiteY143" fmla="*/ 2694 h 10000"/>
                <a:gd name="connsiteX144" fmla="*/ 1226 w 10000"/>
                <a:gd name="connsiteY144" fmla="*/ 2529 h 10000"/>
                <a:gd name="connsiteX145" fmla="*/ 1339 w 10000"/>
                <a:gd name="connsiteY145" fmla="*/ 2301 h 10000"/>
                <a:gd name="connsiteX146" fmla="*/ 1459 w 10000"/>
                <a:gd name="connsiteY146" fmla="*/ 2157 h 10000"/>
                <a:gd name="connsiteX147" fmla="*/ 1497 w 10000"/>
                <a:gd name="connsiteY147" fmla="*/ 2250 h 10000"/>
                <a:gd name="connsiteX148" fmla="*/ 1807 w 10000"/>
                <a:gd name="connsiteY148" fmla="*/ 2054 h 10000"/>
                <a:gd name="connsiteX149" fmla="*/ 1870 w 10000"/>
                <a:gd name="connsiteY149" fmla="*/ 2250 h 10000"/>
                <a:gd name="connsiteX150" fmla="*/ 1860 w 10000"/>
                <a:gd name="connsiteY150" fmla="*/ 2002 h 10000"/>
                <a:gd name="connsiteX151" fmla="*/ 1778 w 10000"/>
                <a:gd name="connsiteY151" fmla="*/ 1786 h 10000"/>
                <a:gd name="connsiteX152" fmla="*/ 1763 w 10000"/>
                <a:gd name="connsiteY152" fmla="*/ 1703 h 10000"/>
                <a:gd name="connsiteX153" fmla="*/ 1823 w 10000"/>
                <a:gd name="connsiteY153" fmla="*/ 1786 h 10000"/>
                <a:gd name="connsiteX154" fmla="*/ 2034 w 10000"/>
                <a:gd name="connsiteY154" fmla="*/ 1951 h 10000"/>
                <a:gd name="connsiteX155" fmla="*/ 2270 w 10000"/>
                <a:gd name="connsiteY155" fmla="*/ 2126 h 10000"/>
                <a:gd name="connsiteX156" fmla="*/ 2384 w 10000"/>
                <a:gd name="connsiteY156" fmla="*/ 2250 h 10000"/>
                <a:gd name="connsiteX157" fmla="*/ 2421 w 10000"/>
                <a:gd name="connsiteY157" fmla="*/ 2074 h 10000"/>
                <a:gd name="connsiteX158" fmla="*/ 2368 w 10000"/>
                <a:gd name="connsiteY158" fmla="*/ 2033 h 10000"/>
                <a:gd name="connsiteX159" fmla="*/ 2299 w 10000"/>
                <a:gd name="connsiteY159" fmla="*/ 1930 h 10000"/>
                <a:gd name="connsiteX160" fmla="*/ 2254 w 10000"/>
                <a:gd name="connsiteY160" fmla="*/ 1734 h 10000"/>
                <a:gd name="connsiteX161" fmla="*/ 2185 w 10000"/>
                <a:gd name="connsiteY161" fmla="*/ 1486 h 10000"/>
                <a:gd name="connsiteX162" fmla="*/ 2210 w 10000"/>
                <a:gd name="connsiteY162" fmla="*/ 1434 h 10000"/>
                <a:gd name="connsiteX163" fmla="*/ 2232 w 10000"/>
                <a:gd name="connsiteY163" fmla="*/ 1455 h 10000"/>
                <a:gd name="connsiteX164" fmla="*/ 2292 w 10000"/>
                <a:gd name="connsiteY164" fmla="*/ 1115 h 10000"/>
                <a:gd name="connsiteX165" fmla="*/ 2443 w 10000"/>
                <a:gd name="connsiteY165" fmla="*/ 1135 h 10000"/>
                <a:gd name="connsiteX166" fmla="*/ 2488 w 10000"/>
                <a:gd name="connsiteY166" fmla="*/ 1311 h 10000"/>
                <a:gd name="connsiteX167" fmla="*/ 2519 w 10000"/>
                <a:gd name="connsiteY167" fmla="*/ 1538 h 10000"/>
                <a:gd name="connsiteX168" fmla="*/ 2573 w 10000"/>
                <a:gd name="connsiteY168" fmla="*/ 1734 h 10000"/>
                <a:gd name="connsiteX169" fmla="*/ 2670 w 10000"/>
                <a:gd name="connsiteY169" fmla="*/ 2157 h 10000"/>
                <a:gd name="connsiteX170" fmla="*/ 2481 w 10000"/>
                <a:gd name="connsiteY170" fmla="*/ 2673 h 10000"/>
                <a:gd name="connsiteX171" fmla="*/ 2557 w 10000"/>
                <a:gd name="connsiteY171" fmla="*/ 2746 h 10000"/>
                <a:gd name="connsiteX172" fmla="*/ 2655 w 10000"/>
                <a:gd name="connsiteY172" fmla="*/ 2818 h 10000"/>
                <a:gd name="connsiteX173" fmla="*/ 2784 w 10000"/>
                <a:gd name="connsiteY173" fmla="*/ 2622 h 10000"/>
                <a:gd name="connsiteX174" fmla="*/ 2790 w 10000"/>
                <a:gd name="connsiteY174" fmla="*/ 2404 h 10000"/>
                <a:gd name="connsiteX175" fmla="*/ 2746 w 10000"/>
                <a:gd name="connsiteY175" fmla="*/ 2301 h 10000"/>
                <a:gd name="connsiteX176" fmla="*/ 2919 w 10000"/>
                <a:gd name="connsiteY176" fmla="*/ 2250 h 10000"/>
                <a:gd name="connsiteX177" fmla="*/ 2989 w 10000"/>
                <a:gd name="connsiteY177" fmla="*/ 2497 h 10000"/>
                <a:gd name="connsiteX178" fmla="*/ 2989 w 10000"/>
                <a:gd name="connsiteY178" fmla="*/ 2425 h 10000"/>
                <a:gd name="connsiteX179" fmla="*/ 2973 w 10000"/>
                <a:gd name="connsiteY179" fmla="*/ 2353 h 10000"/>
                <a:gd name="connsiteX180" fmla="*/ 2967 w 10000"/>
                <a:gd name="connsiteY180" fmla="*/ 2178 h 10000"/>
                <a:gd name="connsiteX181" fmla="*/ 2800 w 10000"/>
                <a:gd name="connsiteY181" fmla="*/ 1930 h 10000"/>
                <a:gd name="connsiteX182" fmla="*/ 2670 w 10000"/>
                <a:gd name="connsiteY182" fmla="*/ 2002 h 10000"/>
                <a:gd name="connsiteX183" fmla="*/ 2617 w 10000"/>
                <a:gd name="connsiteY183" fmla="*/ 1683 h 10000"/>
                <a:gd name="connsiteX184" fmla="*/ 2563 w 10000"/>
                <a:gd name="connsiteY184" fmla="*/ 1507 h 10000"/>
                <a:gd name="connsiteX185" fmla="*/ 2617 w 10000"/>
                <a:gd name="connsiteY185" fmla="*/ 1331 h 10000"/>
                <a:gd name="connsiteX186" fmla="*/ 2611 w 10000"/>
                <a:gd name="connsiteY186" fmla="*/ 1166 h 10000"/>
                <a:gd name="connsiteX187" fmla="*/ 2588 w 10000"/>
                <a:gd name="connsiteY187" fmla="*/ 1115 h 10000"/>
                <a:gd name="connsiteX188" fmla="*/ 2626 w 10000"/>
                <a:gd name="connsiteY188" fmla="*/ 1115 h 10000"/>
                <a:gd name="connsiteX189" fmla="*/ 2670 w 10000"/>
                <a:gd name="connsiteY189" fmla="*/ 1455 h 10000"/>
                <a:gd name="connsiteX190" fmla="*/ 2891 w 10000"/>
                <a:gd name="connsiteY190" fmla="*/ 1662 h 10000"/>
                <a:gd name="connsiteX191" fmla="*/ 2724 w 10000"/>
                <a:gd name="connsiteY191" fmla="*/ 1383 h 10000"/>
                <a:gd name="connsiteX192" fmla="*/ 3049 w 10000"/>
                <a:gd name="connsiteY192" fmla="*/ 1383 h 10000"/>
                <a:gd name="connsiteX193" fmla="*/ 3102 w 10000"/>
                <a:gd name="connsiteY193" fmla="*/ 1362 h 10000"/>
                <a:gd name="connsiteX194" fmla="*/ 2897 w 10000"/>
                <a:gd name="connsiteY194" fmla="*/ 1115 h 10000"/>
                <a:gd name="connsiteX195" fmla="*/ 2951 w 10000"/>
                <a:gd name="connsiteY195" fmla="*/ 888 h 10000"/>
                <a:gd name="connsiteX196" fmla="*/ 3178 w 10000"/>
                <a:gd name="connsiteY196" fmla="*/ 888 h 10000"/>
                <a:gd name="connsiteX197" fmla="*/ 3156 w 10000"/>
                <a:gd name="connsiteY197" fmla="*/ 713 h 10000"/>
                <a:gd name="connsiteX198" fmla="*/ 3231 w 10000"/>
                <a:gd name="connsiteY198" fmla="*/ 589 h 10000"/>
                <a:gd name="connsiteX199" fmla="*/ 3276 w 10000"/>
                <a:gd name="connsiteY199" fmla="*/ 548 h 10000"/>
                <a:gd name="connsiteX200" fmla="*/ 3443 w 10000"/>
                <a:gd name="connsiteY200" fmla="*/ 423 h 10000"/>
                <a:gd name="connsiteX201" fmla="*/ 3487 w 10000"/>
                <a:gd name="connsiteY201" fmla="*/ 371 h 10000"/>
                <a:gd name="connsiteX202" fmla="*/ 3480 w 10000"/>
                <a:gd name="connsiteY202" fmla="*/ 444 h 10000"/>
                <a:gd name="connsiteX203" fmla="*/ 3660 w 10000"/>
                <a:gd name="connsiteY203" fmla="*/ 371 h 10000"/>
                <a:gd name="connsiteX204" fmla="*/ 3805 w 10000"/>
                <a:gd name="connsiteY204" fmla="*/ 248 h 10000"/>
                <a:gd name="connsiteX205" fmla="*/ 3827 w 10000"/>
                <a:gd name="connsiteY205" fmla="*/ 0 h 10000"/>
                <a:gd name="connsiteX206" fmla="*/ 3988 w 10000"/>
                <a:gd name="connsiteY206" fmla="*/ 21 h 10000"/>
                <a:gd name="connsiteX207" fmla="*/ 3978 w 10000"/>
                <a:gd name="connsiteY207" fmla="*/ 93 h 10000"/>
                <a:gd name="connsiteX208" fmla="*/ 3988 w 10000"/>
                <a:gd name="connsiteY208" fmla="*/ 176 h 10000"/>
                <a:gd name="connsiteX209" fmla="*/ 4085 w 10000"/>
                <a:gd name="connsiteY209" fmla="*/ 248 h 10000"/>
                <a:gd name="connsiteX210" fmla="*/ 4379 w 10000"/>
                <a:gd name="connsiteY210" fmla="*/ 268 h 10000"/>
                <a:gd name="connsiteX211" fmla="*/ 4539 w 10000"/>
                <a:gd name="connsiteY211" fmla="*/ 392 h 10000"/>
                <a:gd name="connsiteX212" fmla="*/ 4486 w 10000"/>
                <a:gd name="connsiteY212" fmla="*/ 795 h 10000"/>
                <a:gd name="connsiteX213" fmla="*/ 4426 w 10000"/>
                <a:gd name="connsiteY213" fmla="*/ 919 h 10000"/>
                <a:gd name="connsiteX214" fmla="*/ 4356 w 10000"/>
                <a:gd name="connsiteY214" fmla="*/ 1043 h 10000"/>
                <a:gd name="connsiteX215" fmla="*/ 4372 w 10000"/>
                <a:gd name="connsiteY215" fmla="*/ 1115 h 10000"/>
                <a:gd name="connsiteX216" fmla="*/ 4583 w 10000"/>
                <a:gd name="connsiteY216" fmla="*/ 919 h 10000"/>
                <a:gd name="connsiteX217" fmla="*/ 5060 w 10000"/>
                <a:gd name="connsiteY217" fmla="*/ 991 h 10000"/>
                <a:gd name="connsiteX218" fmla="*/ 5108 w 10000"/>
                <a:gd name="connsiteY218" fmla="*/ 1063 h 10000"/>
                <a:gd name="connsiteX219" fmla="*/ 5212 w 10000"/>
                <a:gd name="connsiteY219" fmla="*/ 1187 h 10000"/>
                <a:gd name="connsiteX220" fmla="*/ 5357 w 10000"/>
                <a:gd name="connsiteY220" fmla="*/ 919 h 10000"/>
                <a:gd name="connsiteX221" fmla="*/ 5577 w 10000"/>
                <a:gd name="connsiteY221" fmla="*/ 1063 h 10000"/>
                <a:gd name="connsiteX222" fmla="*/ 5643 w 10000"/>
                <a:gd name="connsiteY222" fmla="*/ 1115 h 10000"/>
                <a:gd name="connsiteX223" fmla="*/ 5697 w 10000"/>
                <a:gd name="connsiteY223" fmla="*/ 1166 h 10000"/>
                <a:gd name="connsiteX224" fmla="*/ 5908 w 10000"/>
                <a:gd name="connsiteY224" fmla="*/ 1631 h 10000"/>
                <a:gd name="connsiteX225" fmla="*/ 5984 w 10000"/>
                <a:gd name="connsiteY225" fmla="*/ 1611 h 10000"/>
                <a:gd name="connsiteX226" fmla="*/ 5977 w 10000"/>
                <a:gd name="connsiteY226" fmla="*/ 1507 h 10000"/>
                <a:gd name="connsiteX227" fmla="*/ 5984 w 10000"/>
                <a:gd name="connsiteY227" fmla="*/ 1383 h 10000"/>
                <a:gd name="connsiteX228" fmla="*/ 6091 w 10000"/>
                <a:gd name="connsiteY228" fmla="*/ 1486 h 10000"/>
                <a:gd name="connsiteX229" fmla="*/ 6264 w 10000"/>
                <a:gd name="connsiteY229" fmla="*/ 1507 h 10000"/>
                <a:gd name="connsiteX230" fmla="*/ 6409 w 10000"/>
                <a:gd name="connsiteY230" fmla="*/ 1455 h 10000"/>
                <a:gd name="connsiteX231" fmla="*/ 6340 w 10000"/>
                <a:gd name="connsiteY231" fmla="*/ 1362 h 10000"/>
                <a:gd name="connsiteX232" fmla="*/ 6431 w 10000"/>
                <a:gd name="connsiteY232" fmla="*/ 1084 h 10000"/>
                <a:gd name="connsiteX233" fmla="*/ 6687 w 10000"/>
                <a:gd name="connsiteY233" fmla="*/ 1207 h 10000"/>
                <a:gd name="connsiteX234" fmla="*/ 6945 w 10000"/>
                <a:gd name="connsiteY234" fmla="*/ 1331 h 10000"/>
                <a:gd name="connsiteX235" fmla="*/ 6967 w 10000"/>
                <a:gd name="connsiteY235" fmla="*/ 1362 h 10000"/>
                <a:gd name="connsiteX236" fmla="*/ 7194 w 10000"/>
                <a:gd name="connsiteY236" fmla="*/ 1611 h 10000"/>
                <a:gd name="connsiteX237" fmla="*/ 7367 w 10000"/>
                <a:gd name="connsiteY237" fmla="*/ 1507 h 10000"/>
                <a:gd name="connsiteX238" fmla="*/ 7582 w 10000"/>
                <a:gd name="connsiteY238" fmla="*/ 1538 h 10000"/>
                <a:gd name="connsiteX239" fmla="*/ 7657 w 10000"/>
                <a:gd name="connsiteY239" fmla="*/ 1611 h 10000"/>
                <a:gd name="connsiteX240" fmla="*/ 7928 w 10000"/>
                <a:gd name="connsiteY240" fmla="*/ 1930 h 10000"/>
                <a:gd name="connsiteX241" fmla="*/ 8231 w 10000"/>
                <a:gd name="connsiteY241" fmla="*/ 1879 h 10000"/>
                <a:gd name="connsiteX242" fmla="*/ 8339 w 10000"/>
                <a:gd name="connsiteY242" fmla="*/ 2033 h 10000"/>
                <a:gd name="connsiteX243" fmla="*/ 8490 w 10000"/>
                <a:gd name="connsiteY243" fmla="*/ 2157 h 10000"/>
                <a:gd name="connsiteX244" fmla="*/ 8519 w 10000"/>
                <a:gd name="connsiteY244" fmla="*/ 2105 h 10000"/>
                <a:gd name="connsiteX245" fmla="*/ 8497 w 10000"/>
                <a:gd name="connsiteY245" fmla="*/ 2074 h 10000"/>
                <a:gd name="connsiteX246" fmla="*/ 8383 w 10000"/>
                <a:gd name="connsiteY246" fmla="*/ 1930 h 10000"/>
                <a:gd name="connsiteX247" fmla="*/ 8465 w 10000"/>
                <a:gd name="connsiteY247" fmla="*/ 1755 h 10000"/>
                <a:gd name="connsiteX248" fmla="*/ 8664 w 10000"/>
                <a:gd name="connsiteY248" fmla="*/ 1910 h 10000"/>
                <a:gd name="connsiteX249" fmla="*/ 8950 w 10000"/>
                <a:gd name="connsiteY249" fmla="*/ 1982 h 10000"/>
                <a:gd name="connsiteX250" fmla="*/ 9206 w 10000"/>
                <a:gd name="connsiteY250" fmla="*/ 2260 h 10000"/>
                <a:gd name="connsiteX251" fmla="*/ 9344 w 10000"/>
                <a:gd name="connsiteY251" fmla="*/ 2332 h 10000"/>
                <a:gd name="connsiteX252" fmla="*/ 9451 w 10000"/>
                <a:gd name="connsiteY252" fmla="*/ 2446 h 10000"/>
                <a:gd name="connsiteX253" fmla="*/ 9574 w 10000"/>
                <a:gd name="connsiteY253" fmla="*/ 2632 h 10000"/>
                <a:gd name="connsiteX254" fmla="*/ 9631 w 10000"/>
                <a:gd name="connsiteY254" fmla="*/ 2756 h 10000"/>
                <a:gd name="connsiteX255" fmla="*/ 9726 w 10000"/>
                <a:gd name="connsiteY255" fmla="*/ 2787 h 10000"/>
                <a:gd name="connsiteX256" fmla="*/ 9590 w 10000"/>
                <a:gd name="connsiteY256" fmla="*/ 2570 h 10000"/>
                <a:gd name="connsiteX257" fmla="*/ 9915 w 10000"/>
                <a:gd name="connsiteY257" fmla="*/ 2756 h 10000"/>
                <a:gd name="connsiteX258" fmla="*/ 10000 w 10000"/>
                <a:gd name="connsiteY258" fmla="*/ 3014 h 10000"/>
                <a:gd name="connsiteX259" fmla="*/ 9934 w 10000"/>
                <a:gd name="connsiteY259" fmla="*/ 2941 h 10000"/>
                <a:gd name="connsiteX260" fmla="*/ 9874 w 10000"/>
                <a:gd name="connsiteY260" fmla="*/ 2952 h 10000"/>
                <a:gd name="connsiteX261" fmla="*/ 10000 w 10000"/>
                <a:gd name="connsiteY261" fmla="*/ 3292 h 10000"/>
                <a:gd name="connsiteX262" fmla="*/ 9845 w 10000"/>
                <a:gd name="connsiteY262" fmla="*/ 3220 h 10000"/>
                <a:gd name="connsiteX263" fmla="*/ 9745 w 10000"/>
                <a:gd name="connsiteY263" fmla="*/ 3075 h 10000"/>
                <a:gd name="connsiteX264" fmla="*/ 9641 w 10000"/>
                <a:gd name="connsiteY264" fmla="*/ 2972 h 10000"/>
                <a:gd name="connsiteX265" fmla="*/ 9555 w 10000"/>
                <a:gd name="connsiteY265" fmla="*/ 3003 h 10000"/>
                <a:gd name="connsiteX266" fmla="*/ 9470 w 10000"/>
                <a:gd name="connsiteY266" fmla="*/ 2787 h 10000"/>
                <a:gd name="connsiteX267" fmla="*/ 9366 w 10000"/>
                <a:gd name="connsiteY267" fmla="*/ 2725 h 10000"/>
                <a:gd name="connsiteX268" fmla="*/ 9461 w 10000"/>
                <a:gd name="connsiteY268" fmla="*/ 2972 h 10000"/>
                <a:gd name="connsiteX269" fmla="*/ 9470 w 10000"/>
                <a:gd name="connsiteY269" fmla="*/ 3230 h 10000"/>
                <a:gd name="connsiteX270" fmla="*/ 9288 w 10000"/>
                <a:gd name="connsiteY270" fmla="*/ 3065 h 10000"/>
                <a:gd name="connsiteX271" fmla="*/ 9262 w 10000"/>
                <a:gd name="connsiteY271" fmla="*/ 3230 h 10000"/>
                <a:gd name="connsiteX272" fmla="*/ 9363 w 10000"/>
                <a:gd name="connsiteY272" fmla="*/ 3230 h 10000"/>
                <a:gd name="connsiteX273" fmla="*/ 9451 w 10000"/>
                <a:gd name="connsiteY273" fmla="*/ 3354 h 10000"/>
                <a:gd name="connsiteX274" fmla="*/ 9659 w 10000"/>
                <a:gd name="connsiteY274" fmla="*/ 3685 h 10000"/>
                <a:gd name="connsiteX275" fmla="*/ 9735 w 10000"/>
                <a:gd name="connsiteY275" fmla="*/ 3839 h 10000"/>
                <a:gd name="connsiteX276" fmla="*/ 9552 w 10000"/>
                <a:gd name="connsiteY276" fmla="*/ 3757 h 10000"/>
                <a:gd name="connsiteX277" fmla="*/ 9451 w 10000"/>
                <a:gd name="connsiteY277" fmla="*/ 4025 h 10000"/>
                <a:gd name="connsiteX278" fmla="*/ 9385 w 10000"/>
                <a:gd name="connsiteY278" fmla="*/ 4283 h 10000"/>
                <a:gd name="connsiteX279" fmla="*/ 9376 w 10000"/>
                <a:gd name="connsiteY279" fmla="*/ 4499 h 10000"/>
                <a:gd name="connsiteX280" fmla="*/ 9335 w 10000"/>
                <a:gd name="connsiteY280" fmla="*/ 4303 h 10000"/>
                <a:gd name="connsiteX281" fmla="*/ 9149 w 10000"/>
                <a:gd name="connsiteY281" fmla="*/ 4314 h 10000"/>
                <a:gd name="connsiteX282" fmla="*/ 9155 w 10000"/>
                <a:gd name="connsiteY282" fmla="*/ 4531 h 10000"/>
                <a:gd name="connsiteX283" fmla="*/ 9061 w 10000"/>
                <a:gd name="connsiteY283" fmla="*/ 4365 h 10000"/>
                <a:gd name="connsiteX284" fmla="*/ 9054 w 10000"/>
                <a:gd name="connsiteY284" fmla="*/ 4521 h 10000"/>
                <a:gd name="connsiteX285" fmla="*/ 8998 w 10000"/>
                <a:gd name="connsiteY285" fmla="*/ 4458 h 10000"/>
                <a:gd name="connsiteX286" fmla="*/ 8966 w 10000"/>
                <a:gd name="connsiteY286" fmla="*/ 4562 h 10000"/>
                <a:gd name="connsiteX287" fmla="*/ 9007 w 10000"/>
                <a:gd name="connsiteY287" fmla="*/ 4686 h 10000"/>
                <a:gd name="connsiteX288" fmla="*/ 9004 w 10000"/>
                <a:gd name="connsiteY288" fmla="*/ 4995 h 10000"/>
                <a:gd name="connsiteX289" fmla="*/ 9073 w 10000"/>
                <a:gd name="connsiteY289" fmla="*/ 5211 h 10000"/>
                <a:gd name="connsiteX290" fmla="*/ 9130 w 10000"/>
                <a:gd name="connsiteY290" fmla="*/ 5150 h 10000"/>
                <a:gd name="connsiteX291" fmla="*/ 9158 w 10000"/>
                <a:gd name="connsiteY291" fmla="*/ 5211 h 10000"/>
                <a:gd name="connsiteX292" fmla="*/ 9231 w 10000"/>
                <a:gd name="connsiteY292" fmla="*/ 5428 h 10000"/>
                <a:gd name="connsiteX293" fmla="*/ 9215 w 10000"/>
                <a:gd name="connsiteY293" fmla="*/ 5604 h 10000"/>
                <a:gd name="connsiteX294" fmla="*/ 9221 w 10000"/>
                <a:gd name="connsiteY294" fmla="*/ 5769 h 10000"/>
                <a:gd name="connsiteX295" fmla="*/ 9269 w 10000"/>
                <a:gd name="connsiteY295" fmla="*/ 5883 h 10000"/>
                <a:gd name="connsiteX296" fmla="*/ 9344 w 10000"/>
                <a:gd name="connsiteY296" fmla="*/ 6068 h 10000"/>
                <a:gd name="connsiteX297" fmla="*/ 9269 w 10000"/>
                <a:gd name="connsiteY297" fmla="*/ 6068 h 10000"/>
                <a:gd name="connsiteX298" fmla="*/ 9253 w 10000"/>
                <a:gd name="connsiteY298" fmla="*/ 6223 h 10000"/>
                <a:gd name="connsiteX299" fmla="*/ 9319 w 10000"/>
                <a:gd name="connsiteY299" fmla="*/ 6408 h 10000"/>
                <a:gd name="connsiteX300" fmla="*/ 9250 w 10000"/>
                <a:gd name="connsiteY300" fmla="*/ 6502 h 10000"/>
                <a:gd name="connsiteX301" fmla="*/ 9297 w 10000"/>
                <a:gd name="connsiteY301" fmla="*/ 6729 h 10000"/>
                <a:gd name="connsiteX302" fmla="*/ 9281 w 10000"/>
                <a:gd name="connsiteY302" fmla="*/ 7069 h 10000"/>
                <a:gd name="connsiteX303" fmla="*/ 9061 w 10000"/>
                <a:gd name="connsiteY303" fmla="*/ 6408 h 10000"/>
                <a:gd name="connsiteX304" fmla="*/ 8824 w 10000"/>
                <a:gd name="connsiteY304" fmla="*/ 5759 h 10000"/>
                <a:gd name="connsiteX305" fmla="*/ 8771 w 10000"/>
                <a:gd name="connsiteY305" fmla="*/ 5459 h 10000"/>
                <a:gd name="connsiteX306" fmla="*/ 8768 w 10000"/>
                <a:gd name="connsiteY306" fmla="*/ 5211 h 10000"/>
                <a:gd name="connsiteX307" fmla="*/ 8692 w 10000"/>
                <a:gd name="connsiteY307" fmla="*/ 5047 h 10000"/>
                <a:gd name="connsiteX308" fmla="*/ 8771 w 10000"/>
                <a:gd name="connsiteY308" fmla="*/ 5088 h 10000"/>
                <a:gd name="connsiteX309" fmla="*/ 8809 w 10000"/>
                <a:gd name="connsiteY309" fmla="*/ 5108 h 10000"/>
                <a:gd name="connsiteX310" fmla="*/ 8809 w 10000"/>
                <a:gd name="connsiteY310" fmla="*/ 4840 h 10000"/>
                <a:gd name="connsiteX311" fmla="*/ 8827 w 10000"/>
                <a:gd name="connsiteY311" fmla="*/ 4437 h 10000"/>
                <a:gd name="connsiteX312" fmla="*/ 8853 w 10000"/>
                <a:gd name="connsiteY312" fmla="*/ 4252 h 10000"/>
                <a:gd name="connsiteX313" fmla="*/ 8909 w 10000"/>
                <a:gd name="connsiteY313" fmla="*/ 4221 h 10000"/>
                <a:gd name="connsiteX314" fmla="*/ 8786 w 10000"/>
                <a:gd name="connsiteY314" fmla="*/ 3901 h 10000"/>
                <a:gd name="connsiteX315" fmla="*/ 8853 w 10000"/>
                <a:gd name="connsiteY315" fmla="*/ 3839 h 10000"/>
                <a:gd name="connsiteX316" fmla="*/ 8739 w 10000"/>
                <a:gd name="connsiteY316" fmla="*/ 3788 h 10000"/>
                <a:gd name="connsiteX317" fmla="*/ 8755 w 10000"/>
                <a:gd name="connsiteY317" fmla="*/ 3984 h 10000"/>
                <a:gd name="connsiteX318" fmla="*/ 8692 w 10000"/>
                <a:gd name="connsiteY318" fmla="*/ 4303 h 10000"/>
                <a:gd name="connsiteX319" fmla="*/ 8604 w 10000"/>
                <a:gd name="connsiteY319" fmla="*/ 4210 h 10000"/>
                <a:gd name="connsiteX320" fmla="*/ 8550 w 10000"/>
                <a:gd name="connsiteY320" fmla="*/ 4056 h 10000"/>
                <a:gd name="connsiteX321" fmla="*/ 8481 w 10000"/>
                <a:gd name="connsiteY321" fmla="*/ 4138 h 10000"/>
                <a:gd name="connsiteX322" fmla="*/ 8389 w 10000"/>
                <a:gd name="connsiteY322" fmla="*/ 4107 h 10000"/>
                <a:gd name="connsiteX323" fmla="*/ 8352 w 10000"/>
                <a:gd name="connsiteY323" fmla="*/ 4406 h 10000"/>
                <a:gd name="connsiteX324" fmla="*/ 8481 w 10000"/>
                <a:gd name="connsiteY324" fmla="*/ 4655 h 10000"/>
                <a:gd name="connsiteX325" fmla="*/ 8405 w 10000"/>
                <a:gd name="connsiteY325" fmla="*/ 4830 h 10000"/>
                <a:gd name="connsiteX326" fmla="*/ 8225 w 10000"/>
                <a:gd name="connsiteY326" fmla="*/ 4799 h 10000"/>
                <a:gd name="connsiteX327" fmla="*/ 8209 w 10000"/>
                <a:gd name="connsiteY327" fmla="*/ 4655 h 10000"/>
                <a:gd name="connsiteX328" fmla="*/ 8102 w 10000"/>
                <a:gd name="connsiteY328" fmla="*/ 4634 h 10000"/>
                <a:gd name="connsiteX329" fmla="*/ 7641 w 10000"/>
                <a:gd name="connsiteY329" fmla="*/ 4779 h 10000"/>
                <a:gd name="connsiteX330" fmla="*/ 7610 w 10000"/>
                <a:gd name="connsiteY330" fmla="*/ 5005 h 10000"/>
                <a:gd name="connsiteX331" fmla="*/ 7550 w 10000"/>
                <a:gd name="connsiteY331" fmla="*/ 5666 h 10000"/>
                <a:gd name="connsiteX332" fmla="*/ 7496 w 10000"/>
                <a:gd name="connsiteY332" fmla="*/ 5965 h 10000"/>
                <a:gd name="connsiteX333" fmla="*/ 7701 w 10000"/>
                <a:gd name="connsiteY333" fmla="*/ 6161 h 10000"/>
                <a:gd name="connsiteX334" fmla="*/ 7745 w 10000"/>
                <a:gd name="connsiteY334" fmla="*/ 6243 h 10000"/>
                <a:gd name="connsiteX335" fmla="*/ 7771 w 10000"/>
                <a:gd name="connsiteY335" fmla="*/ 6285 h 10000"/>
                <a:gd name="connsiteX336" fmla="*/ 7793 w 10000"/>
                <a:gd name="connsiteY336" fmla="*/ 6068 h 10000"/>
                <a:gd name="connsiteX337" fmla="*/ 7912 w 10000"/>
                <a:gd name="connsiteY337" fmla="*/ 6089 h 10000"/>
                <a:gd name="connsiteX338" fmla="*/ 8004 w 10000"/>
                <a:gd name="connsiteY338" fmla="*/ 6367 h 10000"/>
                <a:gd name="connsiteX339" fmla="*/ 8064 w 10000"/>
                <a:gd name="connsiteY339" fmla="*/ 6616 h 10000"/>
                <a:gd name="connsiteX340" fmla="*/ 8111 w 10000"/>
                <a:gd name="connsiteY340" fmla="*/ 6781 h 10000"/>
                <a:gd name="connsiteX341" fmla="*/ 8048 w 10000"/>
                <a:gd name="connsiteY341" fmla="*/ 6491 h 10000"/>
                <a:gd name="connsiteX342" fmla="*/ 8124 w 10000"/>
                <a:gd name="connsiteY342" fmla="*/ 6336 h 10000"/>
                <a:gd name="connsiteX343" fmla="*/ 8177 w 10000"/>
                <a:gd name="connsiteY343" fmla="*/ 6512 h 10000"/>
                <a:gd name="connsiteX344" fmla="*/ 8300 w 10000"/>
                <a:gd name="connsiteY344" fmla="*/ 6987 h 10000"/>
                <a:gd name="connsiteX345" fmla="*/ 8361 w 10000"/>
                <a:gd name="connsiteY345" fmla="*/ 7152 h 10000"/>
                <a:gd name="connsiteX346" fmla="*/ 8490 w 10000"/>
                <a:gd name="connsiteY346" fmla="*/ 7482 h 10000"/>
                <a:gd name="connsiteX347" fmla="*/ 8604 w 10000"/>
                <a:gd name="connsiteY347" fmla="*/ 7854 h 10000"/>
                <a:gd name="connsiteX348" fmla="*/ 8474 w 10000"/>
                <a:gd name="connsiteY348" fmla="*/ 7647 h 10000"/>
                <a:gd name="connsiteX349" fmla="*/ 8443 w 10000"/>
                <a:gd name="connsiteY349" fmla="*/ 7678 h 10000"/>
                <a:gd name="connsiteX350" fmla="*/ 8512 w 10000"/>
                <a:gd name="connsiteY350" fmla="*/ 8050 h 10000"/>
                <a:gd name="connsiteX351" fmla="*/ 8588 w 10000"/>
                <a:gd name="connsiteY351" fmla="*/ 8266 h 10000"/>
                <a:gd name="connsiteX352" fmla="*/ 8642 w 10000"/>
                <a:gd name="connsiteY352" fmla="*/ 8472 h 10000"/>
                <a:gd name="connsiteX353" fmla="*/ 8566 w 10000"/>
                <a:gd name="connsiteY353" fmla="*/ 8421 h 10000"/>
                <a:gd name="connsiteX354" fmla="*/ 8556 w 10000"/>
                <a:gd name="connsiteY354" fmla="*/ 8669 h 10000"/>
                <a:gd name="connsiteX355" fmla="*/ 8497 w 10000"/>
                <a:gd name="connsiteY355" fmla="*/ 8493 h 10000"/>
                <a:gd name="connsiteX356" fmla="*/ 8481 w 10000"/>
                <a:gd name="connsiteY356" fmla="*/ 8421 h 10000"/>
                <a:gd name="connsiteX357" fmla="*/ 8361 w 10000"/>
                <a:gd name="connsiteY357" fmla="*/ 7751 h 10000"/>
                <a:gd name="connsiteX358" fmla="*/ 8322 w 10000"/>
                <a:gd name="connsiteY358" fmla="*/ 7524 h 10000"/>
                <a:gd name="connsiteX359" fmla="*/ 8291 w 10000"/>
                <a:gd name="connsiteY359" fmla="*/ 7378 h 10000"/>
                <a:gd name="connsiteX360" fmla="*/ 8275 w 10000"/>
                <a:gd name="connsiteY360" fmla="*/ 7306 h 10000"/>
                <a:gd name="connsiteX361" fmla="*/ 8139 w 10000"/>
                <a:gd name="connsiteY361" fmla="*/ 6863 h 10000"/>
                <a:gd name="connsiteX362" fmla="*/ 8199 w 10000"/>
                <a:gd name="connsiteY362" fmla="*/ 7451 h 10000"/>
                <a:gd name="connsiteX363" fmla="*/ 8247 w 10000"/>
                <a:gd name="connsiteY363" fmla="*/ 7998 h 10000"/>
                <a:gd name="connsiteX364" fmla="*/ 8177 w 10000"/>
                <a:gd name="connsiteY364" fmla="*/ 9133 h 10000"/>
                <a:gd name="connsiteX365" fmla="*/ 8124 w 10000"/>
                <a:gd name="connsiteY365" fmla="*/ 9484 h 10000"/>
                <a:gd name="connsiteX366" fmla="*/ 7972 w 10000"/>
                <a:gd name="connsiteY366" fmla="*/ 9432 h 10000"/>
                <a:gd name="connsiteX367" fmla="*/ 7897 w 10000"/>
                <a:gd name="connsiteY367" fmla="*/ 9660 h 10000"/>
                <a:gd name="connsiteX368" fmla="*/ 7868 w 10000"/>
                <a:gd name="connsiteY368" fmla="*/ 9588 h 10000"/>
                <a:gd name="connsiteX369" fmla="*/ 7884 w 10000"/>
                <a:gd name="connsiteY369" fmla="*/ 9536 h 10000"/>
                <a:gd name="connsiteX370" fmla="*/ 7897 w 10000"/>
                <a:gd name="connsiteY370" fmla="*/ 9380 h 10000"/>
                <a:gd name="connsiteX371" fmla="*/ 7884 w 10000"/>
                <a:gd name="connsiteY371" fmla="*/ 9236 h 10000"/>
                <a:gd name="connsiteX372" fmla="*/ 7793 w 10000"/>
                <a:gd name="connsiteY372" fmla="*/ 8865 h 10000"/>
                <a:gd name="connsiteX373" fmla="*/ 7831 w 10000"/>
                <a:gd name="connsiteY373" fmla="*/ 8741 h 10000"/>
                <a:gd name="connsiteX374" fmla="*/ 7928 w 10000"/>
                <a:gd name="connsiteY374" fmla="*/ 8844 h 10000"/>
                <a:gd name="connsiteX375" fmla="*/ 7912 w 10000"/>
                <a:gd name="connsiteY375" fmla="*/ 8318 h 10000"/>
                <a:gd name="connsiteX376" fmla="*/ 7906 w 10000"/>
                <a:gd name="connsiteY376" fmla="*/ 8019 h 10000"/>
                <a:gd name="connsiteX377" fmla="*/ 7846 w 10000"/>
                <a:gd name="connsiteY377" fmla="*/ 7802 h 10000"/>
                <a:gd name="connsiteX378" fmla="*/ 7723 w 10000"/>
                <a:gd name="connsiteY378" fmla="*/ 8050 h 10000"/>
                <a:gd name="connsiteX379" fmla="*/ 7619 w 10000"/>
                <a:gd name="connsiteY379" fmla="*/ 8019 h 10000"/>
                <a:gd name="connsiteX380" fmla="*/ 7528 w 10000"/>
                <a:gd name="connsiteY380" fmla="*/ 7699 h 10000"/>
                <a:gd name="connsiteX381" fmla="*/ 7355 w 10000"/>
                <a:gd name="connsiteY381" fmla="*/ 7482 h 10000"/>
                <a:gd name="connsiteX382" fmla="*/ 7279 w 10000"/>
                <a:gd name="connsiteY382" fmla="*/ 7482 h 10000"/>
                <a:gd name="connsiteX383" fmla="*/ 7080 w 10000"/>
                <a:gd name="connsiteY383" fmla="*/ 6781 h 10000"/>
                <a:gd name="connsiteX384" fmla="*/ 6901 w 10000"/>
                <a:gd name="connsiteY384" fmla="*/ 6460 h 10000"/>
                <a:gd name="connsiteX385" fmla="*/ 6724 w 10000"/>
                <a:gd name="connsiteY385" fmla="*/ 6336 h 10000"/>
                <a:gd name="connsiteX386" fmla="*/ 6583 w 10000"/>
                <a:gd name="connsiteY386" fmla="*/ 6408 h 10000"/>
                <a:gd name="connsiteX387" fmla="*/ 6567 w 10000"/>
                <a:gd name="connsiteY387" fmla="*/ 6585 h 10000"/>
                <a:gd name="connsiteX388" fmla="*/ 6664 w 10000"/>
                <a:gd name="connsiteY388" fmla="*/ 6760 h 10000"/>
                <a:gd name="connsiteX389" fmla="*/ 6636 w 10000"/>
                <a:gd name="connsiteY389" fmla="*/ 6935 h 10000"/>
                <a:gd name="connsiteX390" fmla="*/ 6636 w 10000"/>
                <a:gd name="connsiteY390" fmla="*/ 7399 h 10000"/>
                <a:gd name="connsiteX391" fmla="*/ 6560 w 10000"/>
                <a:gd name="connsiteY391" fmla="*/ 7482 h 10000"/>
                <a:gd name="connsiteX392" fmla="*/ 6485 w 10000"/>
                <a:gd name="connsiteY392" fmla="*/ 7378 h 10000"/>
                <a:gd name="connsiteX393" fmla="*/ 6400 w 10000"/>
                <a:gd name="connsiteY393" fmla="*/ 7399 h 10000"/>
                <a:gd name="connsiteX394" fmla="*/ 6334 w 10000"/>
                <a:gd name="connsiteY394" fmla="*/ 7275 h 10000"/>
                <a:gd name="connsiteX395" fmla="*/ 6258 w 10000"/>
                <a:gd name="connsiteY395" fmla="*/ 7358 h 10000"/>
                <a:gd name="connsiteX396" fmla="*/ 6220 w 10000"/>
                <a:gd name="connsiteY396" fmla="*/ 7524 h 10000"/>
                <a:gd name="connsiteX397" fmla="*/ 6081 w 10000"/>
                <a:gd name="connsiteY397" fmla="*/ 7606 h 10000"/>
                <a:gd name="connsiteX398" fmla="*/ 5892 w 10000"/>
                <a:gd name="connsiteY398" fmla="*/ 7575 h 10000"/>
                <a:gd name="connsiteX399" fmla="*/ 5855 w 10000"/>
                <a:gd name="connsiteY399" fmla="*/ 7327 h 10000"/>
                <a:gd name="connsiteX400" fmla="*/ 5643 w 10000"/>
                <a:gd name="connsiteY400" fmla="*/ 7255 h 10000"/>
                <a:gd name="connsiteX401" fmla="*/ 5539 w 10000"/>
                <a:gd name="connsiteY401" fmla="*/ 7358 h 10000"/>
                <a:gd name="connsiteX402" fmla="*/ 5416 w 10000"/>
                <a:gd name="connsiteY402" fmla="*/ 7203 h 10000"/>
                <a:gd name="connsiteX403" fmla="*/ 5372 w 10000"/>
                <a:gd name="connsiteY403" fmla="*/ 6904 h 10000"/>
                <a:gd name="connsiteX404" fmla="*/ 5108 w 10000"/>
                <a:gd name="connsiteY404" fmla="*/ 6708 h 10000"/>
                <a:gd name="connsiteX0" fmla="*/ 5076 w 10000"/>
                <a:gd name="connsiteY0" fmla="*/ 6987 h 10000"/>
                <a:gd name="connsiteX1" fmla="*/ 5167 w 10000"/>
                <a:gd name="connsiteY1" fmla="*/ 7275 h 10000"/>
                <a:gd name="connsiteX2" fmla="*/ 4977 w 10000"/>
                <a:gd name="connsiteY2" fmla="*/ 7378 h 10000"/>
                <a:gd name="connsiteX3" fmla="*/ 4864 w 10000"/>
                <a:gd name="connsiteY3" fmla="*/ 7183 h 10000"/>
                <a:gd name="connsiteX4" fmla="*/ 4713 w 10000"/>
                <a:gd name="connsiteY4" fmla="*/ 7152 h 10000"/>
                <a:gd name="connsiteX5" fmla="*/ 4464 w 10000"/>
                <a:gd name="connsiteY5" fmla="*/ 7647 h 10000"/>
                <a:gd name="connsiteX6" fmla="*/ 4410 w 10000"/>
                <a:gd name="connsiteY6" fmla="*/ 7606 h 10000"/>
                <a:gd name="connsiteX7" fmla="*/ 4334 w 10000"/>
                <a:gd name="connsiteY7" fmla="*/ 7430 h 10000"/>
                <a:gd name="connsiteX8" fmla="*/ 4275 w 10000"/>
                <a:gd name="connsiteY8" fmla="*/ 7503 h 10000"/>
                <a:gd name="connsiteX9" fmla="*/ 4130 w 10000"/>
                <a:gd name="connsiteY9" fmla="*/ 7255 h 10000"/>
                <a:gd name="connsiteX10" fmla="*/ 4076 w 10000"/>
                <a:gd name="connsiteY10" fmla="*/ 7059 h 10000"/>
                <a:gd name="connsiteX11" fmla="*/ 3972 w 10000"/>
                <a:gd name="connsiteY11" fmla="*/ 7152 h 10000"/>
                <a:gd name="connsiteX12" fmla="*/ 3887 w 10000"/>
                <a:gd name="connsiteY12" fmla="*/ 6956 h 10000"/>
                <a:gd name="connsiteX13" fmla="*/ 3843 w 10000"/>
                <a:gd name="connsiteY13" fmla="*/ 7183 h 10000"/>
                <a:gd name="connsiteX14" fmla="*/ 3698 w 10000"/>
                <a:gd name="connsiteY14" fmla="*/ 6636 h 10000"/>
                <a:gd name="connsiteX15" fmla="*/ 3584 w 10000"/>
                <a:gd name="connsiteY15" fmla="*/ 6388 h 10000"/>
                <a:gd name="connsiteX16" fmla="*/ 3471 w 10000"/>
                <a:gd name="connsiteY16" fmla="*/ 6212 h 10000"/>
                <a:gd name="connsiteX17" fmla="*/ 3496 w 10000"/>
                <a:gd name="connsiteY17" fmla="*/ 5965 h 10000"/>
                <a:gd name="connsiteX18" fmla="*/ 3291 w 10000"/>
                <a:gd name="connsiteY18" fmla="*/ 6367 h 10000"/>
                <a:gd name="connsiteX19" fmla="*/ 3244 w 10000"/>
                <a:gd name="connsiteY19" fmla="*/ 6161 h 10000"/>
                <a:gd name="connsiteX20" fmla="*/ 3093 w 10000"/>
                <a:gd name="connsiteY20" fmla="*/ 6161 h 10000"/>
                <a:gd name="connsiteX21" fmla="*/ 3080 w 10000"/>
                <a:gd name="connsiteY21" fmla="*/ 5944 h 10000"/>
                <a:gd name="connsiteX22" fmla="*/ 2995 w 10000"/>
                <a:gd name="connsiteY22" fmla="*/ 5821 h 10000"/>
                <a:gd name="connsiteX23" fmla="*/ 2897 w 10000"/>
                <a:gd name="connsiteY23" fmla="*/ 5790 h 10000"/>
                <a:gd name="connsiteX24" fmla="*/ 2828 w 10000"/>
                <a:gd name="connsiteY24" fmla="*/ 5996 h 10000"/>
                <a:gd name="connsiteX25" fmla="*/ 2633 w 10000"/>
                <a:gd name="connsiteY25" fmla="*/ 6120 h 10000"/>
                <a:gd name="connsiteX26" fmla="*/ 2412 w 10000"/>
                <a:gd name="connsiteY26" fmla="*/ 6212 h 10000"/>
                <a:gd name="connsiteX27" fmla="*/ 2443 w 10000"/>
                <a:gd name="connsiteY27" fmla="*/ 6408 h 10000"/>
                <a:gd name="connsiteX28" fmla="*/ 2525 w 10000"/>
                <a:gd name="connsiteY28" fmla="*/ 6512 h 10000"/>
                <a:gd name="connsiteX29" fmla="*/ 2428 w 10000"/>
                <a:gd name="connsiteY29" fmla="*/ 6512 h 10000"/>
                <a:gd name="connsiteX30" fmla="*/ 2406 w 10000"/>
                <a:gd name="connsiteY30" fmla="*/ 6832 h 10000"/>
                <a:gd name="connsiteX31" fmla="*/ 2535 w 10000"/>
                <a:gd name="connsiteY31" fmla="*/ 6987 h 10000"/>
                <a:gd name="connsiteX32" fmla="*/ 2497 w 10000"/>
                <a:gd name="connsiteY32" fmla="*/ 7183 h 10000"/>
                <a:gd name="connsiteX33" fmla="*/ 2384 w 10000"/>
                <a:gd name="connsiteY33" fmla="*/ 7183 h 10000"/>
                <a:gd name="connsiteX34" fmla="*/ 2308 w 10000"/>
                <a:gd name="connsiteY34" fmla="*/ 7028 h 10000"/>
                <a:gd name="connsiteX35" fmla="*/ 2147 w 10000"/>
                <a:gd name="connsiteY35" fmla="*/ 7131 h 10000"/>
                <a:gd name="connsiteX36" fmla="*/ 2109 w 10000"/>
                <a:gd name="connsiteY36" fmla="*/ 7203 h 10000"/>
                <a:gd name="connsiteX37" fmla="*/ 1983 w 10000"/>
                <a:gd name="connsiteY37" fmla="*/ 7028 h 10000"/>
                <a:gd name="connsiteX38" fmla="*/ 1854 w 10000"/>
                <a:gd name="connsiteY38" fmla="*/ 6884 h 10000"/>
                <a:gd name="connsiteX39" fmla="*/ 1741 w 10000"/>
                <a:gd name="connsiteY39" fmla="*/ 6863 h 10000"/>
                <a:gd name="connsiteX40" fmla="*/ 1610 w 10000"/>
                <a:gd name="connsiteY40" fmla="*/ 7183 h 10000"/>
                <a:gd name="connsiteX41" fmla="*/ 1655 w 10000"/>
                <a:gd name="connsiteY41" fmla="*/ 7430 h 10000"/>
                <a:gd name="connsiteX42" fmla="*/ 1604 w 10000"/>
                <a:gd name="connsiteY42" fmla="*/ 7430 h 10000"/>
                <a:gd name="connsiteX43" fmla="*/ 1551 w 10000"/>
                <a:gd name="connsiteY43" fmla="*/ 7255 h 10000"/>
                <a:gd name="connsiteX44" fmla="*/ 1513 w 10000"/>
                <a:gd name="connsiteY44" fmla="*/ 7430 h 10000"/>
                <a:gd name="connsiteX45" fmla="*/ 1519 w 10000"/>
                <a:gd name="connsiteY45" fmla="*/ 7854 h 10000"/>
                <a:gd name="connsiteX46" fmla="*/ 1604 w 10000"/>
                <a:gd name="connsiteY46" fmla="*/ 8070 h 10000"/>
                <a:gd name="connsiteX47" fmla="*/ 1648 w 10000"/>
                <a:gd name="connsiteY47" fmla="*/ 8019 h 10000"/>
                <a:gd name="connsiteX48" fmla="*/ 1741 w 10000"/>
                <a:gd name="connsiteY48" fmla="*/ 8493 h 10000"/>
                <a:gd name="connsiteX49" fmla="*/ 1610 w 10000"/>
                <a:gd name="connsiteY49" fmla="*/ 8669 h 10000"/>
                <a:gd name="connsiteX50" fmla="*/ 1595 w 10000"/>
                <a:gd name="connsiteY50" fmla="*/ 9009 h 10000"/>
                <a:gd name="connsiteX51" fmla="*/ 1664 w 10000"/>
                <a:gd name="connsiteY51" fmla="*/ 9236 h 10000"/>
                <a:gd name="connsiteX52" fmla="*/ 1664 w 10000"/>
                <a:gd name="connsiteY52" fmla="*/ 9484 h 10000"/>
                <a:gd name="connsiteX53" fmla="*/ 1769 w 10000"/>
                <a:gd name="connsiteY53" fmla="*/ 9835 h 10000"/>
                <a:gd name="connsiteX54" fmla="*/ 1703 w 10000"/>
                <a:gd name="connsiteY54" fmla="*/ 10000 h 10000"/>
                <a:gd name="connsiteX55" fmla="*/ 1604 w 10000"/>
                <a:gd name="connsiteY55" fmla="*/ 9753 h 10000"/>
                <a:gd name="connsiteX56" fmla="*/ 1465 w 10000"/>
                <a:gd name="connsiteY56" fmla="*/ 9505 h 10000"/>
                <a:gd name="connsiteX57" fmla="*/ 1406 w 10000"/>
                <a:gd name="connsiteY57" fmla="*/ 9588 h 10000"/>
                <a:gd name="connsiteX58" fmla="*/ 1308 w 10000"/>
                <a:gd name="connsiteY58" fmla="*/ 9380 h 10000"/>
                <a:gd name="connsiteX59" fmla="*/ 1097 w 10000"/>
                <a:gd name="connsiteY59" fmla="*/ 9339 h 10000"/>
                <a:gd name="connsiteX60" fmla="*/ 848 w 10000"/>
                <a:gd name="connsiteY60" fmla="*/ 8813 h 10000"/>
                <a:gd name="connsiteX61" fmla="*/ 914 w 10000"/>
                <a:gd name="connsiteY61" fmla="*/ 8721 h 10000"/>
                <a:gd name="connsiteX62" fmla="*/ 961 w 10000"/>
                <a:gd name="connsiteY62" fmla="*/ 8493 h 10000"/>
                <a:gd name="connsiteX63" fmla="*/ 908 w 10000"/>
                <a:gd name="connsiteY63" fmla="*/ 8390 h 10000"/>
                <a:gd name="connsiteX64" fmla="*/ 1021 w 10000"/>
                <a:gd name="connsiteY64" fmla="*/ 8245 h 10000"/>
                <a:gd name="connsiteX65" fmla="*/ 945 w 10000"/>
                <a:gd name="connsiteY65" fmla="*/ 8194 h 10000"/>
                <a:gd name="connsiteX66" fmla="*/ 958 w 10000"/>
                <a:gd name="connsiteY66" fmla="*/ 8091 h 10000"/>
                <a:gd name="connsiteX67" fmla="*/ 1005 w 10000"/>
                <a:gd name="connsiteY67" fmla="*/ 8111 h 10000"/>
                <a:gd name="connsiteX68" fmla="*/ 1059 w 10000"/>
                <a:gd name="connsiteY68" fmla="*/ 8019 h 10000"/>
                <a:gd name="connsiteX69" fmla="*/ 1034 w 10000"/>
                <a:gd name="connsiteY69" fmla="*/ 7864 h 10000"/>
                <a:gd name="connsiteX70" fmla="*/ 1043 w 10000"/>
                <a:gd name="connsiteY70" fmla="*/ 7503 h 10000"/>
                <a:gd name="connsiteX71" fmla="*/ 930 w 10000"/>
                <a:gd name="connsiteY71" fmla="*/ 7440 h 10000"/>
                <a:gd name="connsiteX72" fmla="*/ 832 w 10000"/>
                <a:gd name="connsiteY72" fmla="*/ 7286 h 10000"/>
                <a:gd name="connsiteX73" fmla="*/ 700 w 10000"/>
                <a:gd name="connsiteY73" fmla="*/ 7275 h 10000"/>
                <a:gd name="connsiteX74" fmla="*/ 684 w 10000"/>
                <a:gd name="connsiteY74" fmla="*/ 7090 h 10000"/>
                <a:gd name="connsiteX75" fmla="*/ 596 w 10000"/>
                <a:gd name="connsiteY75" fmla="*/ 6945 h 10000"/>
                <a:gd name="connsiteX76" fmla="*/ 615 w 10000"/>
                <a:gd name="connsiteY76" fmla="*/ 6822 h 10000"/>
                <a:gd name="connsiteX77" fmla="*/ 561 w 10000"/>
                <a:gd name="connsiteY77" fmla="*/ 6698 h 10000"/>
                <a:gd name="connsiteX78" fmla="*/ 457 w 10000"/>
                <a:gd name="connsiteY78" fmla="*/ 6698 h 10000"/>
                <a:gd name="connsiteX79" fmla="*/ 425 w 10000"/>
                <a:gd name="connsiteY79" fmla="*/ 6791 h 10000"/>
                <a:gd name="connsiteX80" fmla="*/ 400 w 10000"/>
                <a:gd name="connsiteY80" fmla="*/ 6750 h 10000"/>
                <a:gd name="connsiteX81" fmla="*/ 378 w 10000"/>
                <a:gd name="connsiteY81" fmla="*/ 6439 h 10000"/>
                <a:gd name="connsiteX82" fmla="*/ 419 w 10000"/>
                <a:gd name="connsiteY82" fmla="*/ 6470 h 10000"/>
                <a:gd name="connsiteX83" fmla="*/ 466 w 10000"/>
                <a:gd name="connsiteY83" fmla="*/ 6347 h 10000"/>
                <a:gd name="connsiteX84" fmla="*/ 400 w 10000"/>
                <a:gd name="connsiteY84" fmla="*/ 6233 h 10000"/>
                <a:gd name="connsiteX85" fmla="*/ 315 w 10000"/>
                <a:gd name="connsiteY85" fmla="*/ 6017 h 10000"/>
                <a:gd name="connsiteX86" fmla="*/ 334 w 10000"/>
                <a:gd name="connsiteY86" fmla="*/ 5821 h 10000"/>
                <a:gd name="connsiteX87" fmla="*/ 274 w 10000"/>
                <a:gd name="connsiteY87" fmla="*/ 5697 h 10000"/>
                <a:gd name="connsiteX88" fmla="*/ 227 w 10000"/>
                <a:gd name="connsiteY88" fmla="*/ 5728 h 10000"/>
                <a:gd name="connsiteX89" fmla="*/ 202 w 10000"/>
                <a:gd name="connsiteY89" fmla="*/ 5604 h 10000"/>
                <a:gd name="connsiteX90" fmla="*/ 164 w 10000"/>
                <a:gd name="connsiteY90" fmla="*/ 5645 h 10000"/>
                <a:gd name="connsiteX91" fmla="*/ 117 w 10000"/>
                <a:gd name="connsiteY91" fmla="*/ 5604 h 10000"/>
                <a:gd name="connsiteX92" fmla="*/ 69 w 10000"/>
                <a:gd name="connsiteY92" fmla="*/ 5181 h 10000"/>
                <a:gd name="connsiteX93" fmla="*/ 85 w 10000"/>
                <a:gd name="connsiteY93" fmla="*/ 5057 h 10000"/>
                <a:gd name="connsiteX94" fmla="*/ 41 w 10000"/>
                <a:gd name="connsiteY94" fmla="*/ 4892 h 10000"/>
                <a:gd name="connsiteX95" fmla="*/ 66 w 10000"/>
                <a:gd name="connsiteY95" fmla="*/ 4655 h 10000"/>
                <a:gd name="connsiteX96" fmla="*/ 211 w 10000"/>
                <a:gd name="connsiteY96" fmla="*/ 4510 h 10000"/>
                <a:gd name="connsiteX97" fmla="*/ 129 w 10000"/>
                <a:gd name="connsiteY97" fmla="*/ 4406 h 10000"/>
                <a:gd name="connsiteX98" fmla="*/ 82 w 10000"/>
                <a:gd name="connsiteY98" fmla="*/ 4283 h 10000"/>
                <a:gd name="connsiteX99" fmla="*/ 205 w 10000"/>
                <a:gd name="connsiteY99" fmla="*/ 3912 h 10000"/>
                <a:gd name="connsiteX100" fmla="*/ 249 w 10000"/>
                <a:gd name="connsiteY100" fmla="*/ 3664 h 10000"/>
                <a:gd name="connsiteX101" fmla="*/ 151 w 10000"/>
                <a:gd name="connsiteY101" fmla="*/ 3488 h 10000"/>
                <a:gd name="connsiteX102" fmla="*/ 189 w 10000"/>
                <a:gd name="connsiteY102" fmla="*/ 3344 h 10000"/>
                <a:gd name="connsiteX103" fmla="*/ 113 w 10000"/>
                <a:gd name="connsiteY103" fmla="*/ 3148 h 10000"/>
                <a:gd name="connsiteX104" fmla="*/ 113 w 10000"/>
                <a:gd name="connsiteY104" fmla="*/ 2972 h 10000"/>
                <a:gd name="connsiteX105" fmla="*/ 60 w 10000"/>
                <a:gd name="connsiteY105" fmla="*/ 2622 h 10000"/>
                <a:gd name="connsiteX106" fmla="*/ 98 w 10000"/>
                <a:gd name="connsiteY106" fmla="*/ 2404 h 10000"/>
                <a:gd name="connsiteX107" fmla="*/ 38 w 10000"/>
                <a:gd name="connsiteY107" fmla="*/ 2301 h 10000"/>
                <a:gd name="connsiteX108" fmla="*/ 0 w 10000"/>
                <a:gd name="connsiteY108" fmla="*/ 2178 h 10000"/>
                <a:gd name="connsiteX109" fmla="*/ 54 w 10000"/>
                <a:gd name="connsiteY109" fmla="*/ 1951 h 10000"/>
                <a:gd name="connsiteX110" fmla="*/ 120 w 10000"/>
                <a:gd name="connsiteY110" fmla="*/ 1910 h 10000"/>
                <a:gd name="connsiteX111" fmla="*/ 195 w 10000"/>
                <a:gd name="connsiteY111" fmla="*/ 1858 h 10000"/>
                <a:gd name="connsiteX112" fmla="*/ 309 w 10000"/>
                <a:gd name="connsiteY112" fmla="*/ 1951 h 10000"/>
                <a:gd name="connsiteX113" fmla="*/ 482 w 10000"/>
                <a:gd name="connsiteY113" fmla="*/ 2054 h 10000"/>
                <a:gd name="connsiteX114" fmla="*/ 633 w 10000"/>
                <a:gd name="connsiteY114" fmla="*/ 2229 h 10000"/>
                <a:gd name="connsiteX115" fmla="*/ 756 w 10000"/>
                <a:gd name="connsiteY115" fmla="*/ 2373 h 10000"/>
                <a:gd name="connsiteX116" fmla="*/ 725 w 10000"/>
                <a:gd name="connsiteY116" fmla="*/ 2777 h 10000"/>
                <a:gd name="connsiteX117" fmla="*/ 362 w 10000"/>
                <a:gd name="connsiteY117" fmla="*/ 2673 h 10000"/>
                <a:gd name="connsiteX118" fmla="*/ 243 w 10000"/>
                <a:gd name="connsiteY118" fmla="*/ 2550 h 10000"/>
                <a:gd name="connsiteX119" fmla="*/ 287 w 10000"/>
                <a:gd name="connsiteY119" fmla="*/ 2622 h 10000"/>
                <a:gd name="connsiteX120" fmla="*/ 331 w 10000"/>
                <a:gd name="connsiteY120" fmla="*/ 2797 h 10000"/>
                <a:gd name="connsiteX121" fmla="*/ 400 w 10000"/>
                <a:gd name="connsiteY121" fmla="*/ 2921 h 10000"/>
                <a:gd name="connsiteX122" fmla="*/ 416 w 10000"/>
                <a:gd name="connsiteY122" fmla="*/ 3189 h 10000"/>
                <a:gd name="connsiteX123" fmla="*/ 507 w 10000"/>
                <a:gd name="connsiteY123" fmla="*/ 3313 h 10000"/>
                <a:gd name="connsiteX124" fmla="*/ 583 w 10000"/>
                <a:gd name="connsiteY124" fmla="*/ 3436 h 10000"/>
                <a:gd name="connsiteX125" fmla="*/ 605 w 10000"/>
                <a:gd name="connsiteY125" fmla="*/ 3467 h 10000"/>
                <a:gd name="connsiteX126" fmla="*/ 649 w 10000"/>
                <a:gd name="connsiteY126" fmla="*/ 3436 h 10000"/>
                <a:gd name="connsiteX127" fmla="*/ 633 w 10000"/>
                <a:gd name="connsiteY127" fmla="*/ 3364 h 10000"/>
                <a:gd name="connsiteX128" fmla="*/ 545 w 10000"/>
                <a:gd name="connsiteY128" fmla="*/ 3189 h 10000"/>
                <a:gd name="connsiteX129" fmla="*/ 801 w 10000"/>
                <a:gd name="connsiteY129" fmla="*/ 3344 h 10000"/>
                <a:gd name="connsiteX130" fmla="*/ 810 w 10000"/>
                <a:gd name="connsiteY130" fmla="*/ 3271 h 10000"/>
                <a:gd name="connsiteX131" fmla="*/ 785 w 10000"/>
                <a:gd name="connsiteY131" fmla="*/ 3220 h 10000"/>
                <a:gd name="connsiteX132" fmla="*/ 741 w 10000"/>
                <a:gd name="connsiteY132" fmla="*/ 2993 h 10000"/>
                <a:gd name="connsiteX133" fmla="*/ 870 w 10000"/>
                <a:gd name="connsiteY133" fmla="*/ 2777 h 10000"/>
                <a:gd name="connsiteX134" fmla="*/ 968 w 10000"/>
                <a:gd name="connsiteY134" fmla="*/ 2921 h 10000"/>
                <a:gd name="connsiteX135" fmla="*/ 999 w 10000"/>
                <a:gd name="connsiteY135" fmla="*/ 2725 h 10000"/>
                <a:gd name="connsiteX136" fmla="*/ 952 w 10000"/>
                <a:gd name="connsiteY136" fmla="*/ 2653 h 10000"/>
                <a:gd name="connsiteX137" fmla="*/ 936 w 10000"/>
                <a:gd name="connsiteY137" fmla="*/ 2281 h 10000"/>
                <a:gd name="connsiteX138" fmla="*/ 914 w 10000"/>
                <a:gd name="connsiteY138" fmla="*/ 2229 h 10000"/>
                <a:gd name="connsiteX139" fmla="*/ 1037 w 10000"/>
                <a:gd name="connsiteY139" fmla="*/ 2250 h 10000"/>
                <a:gd name="connsiteX140" fmla="*/ 1087 w 10000"/>
                <a:gd name="connsiteY140" fmla="*/ 2404 h 10000"/>
                <a:gd name="connsiteX141" fmla="*/ 1021 w 10000"/>
                <a:gd name="connsiteY141" fmla="*/ 2529 h 10000"/>
                <a:gd name="connsiteX142" fmla="*/ 1135 w 10000"/>
                <a:gd name="connsiteY142" fmla="*/ 2694 h 10000"/>
                <a:gd name="connsiteX143" fmla="*/ 1226 w 10000"/>
                <a:gd name="connsiteY143" fmla="*/ 2529 h 10000"/>
                <a:gd name="connsiteX144" fmla="*/ 1339 w 10000"/>
                <a:gd name="connsiteY144" fmla="*/ 2301 h 10000"/>
                <a:gd name="connsiteX145" fmla="*/ 1459 w 10000"/>
                <a:gd name="connsiteY145" fmla="*/ 2157 h 10000"/>
                <a:gd name="connsiteX146" fmla="*/ 1497 w 10000"/>
                <a:gd name="connsiteY146" fmla="*/ 2250 h 10000"/>
                <a:gd name="connsiteX147" fmla="*/ 1807 w 10000"/>
                <a:gd name="connsiteY147" fmla="*/ 2054 h 10000"/>
                <a:gd name="connsiteX148" fmla="*/ 1870 w 10000"/>
                <a:gd name="connsiteY148" fmla="*/ 2250 h 10000"/>
                <a:gd name="connsiteX149" fmla="*/ 1860 w 10000"/>
                <a:gd name="connsiteY149" fmla="*/ 2002 h 10000"/>
                <a:gd name="connsiteX150" fmla="*/ 1778 w 10000"/>
                <a:gd name="connsiteY150" fmla="*/ 1786 h 10000"/>
                <a:gd name="connsiteX151" fmla="*/ 1763 w 10000"/>
                <a:gd name="connsiteY151" fmla="*/ 1703 h 10000"/>
                <a:gd name="connsiteX152" fmla="*/ 1823 w 10000"/>
                <a:gd name="connsiteY152" fmla="*/ 1786 h 10000"/>
                <a:gd name="connsiteX153" fmla="*/ 2034 w 10000"/>
                <a:gd name="connsiteY153" fmla="*/ 1951 h 10000"/>
                <a:gd name="connsiteX154" fmla="*/ 2270 w 10000"/>
                <a:gd name="connsiteY154" fmla="*/ 2126 h 10000"/>
                <a:gd name="connsiteX155" fmla="*/ 2384 w 10000"/>
                <a:gd name="connsiteY155" fmla="*/ 2250 h 10000"/>
                <a:gd name="connsiteX156" fmla="*/ 2421 w 10000"/>
                <a:gd name="connsiteY156" fmla="*/ 2074 h 10000"/>
                <a:gd name="connsiteX157" fmla="*/ 2368 w 10000"/>
                <a:gd name="connsiteY157" fmla="*/ 2033 h 10000"/>
                <a:gd name="connsiteX158" fmla="*/ 2299 w 10000"/>
                <a:gd name="connsiteY158" fmla="*/ 1930 h 10000"/>
                <a:gd name="connsiteX159" fmla="*/ 2254 w 10000"/>
                <a:gd name="connsiteY159" fmla="*/ 1734 h 10000"/>
                <a:gd name="connsiteX160" fmla="*/ 2185 w 10000"/>
                <a:gd name="connsiteY160" fmla="*/ 1486 h 10000"/>
                <a:gd name="connsiteX161" fmla="*/ 2210 w 10000"/>
                <a:gd name="connsiteY161" fmla="*/ 1434 h 10000"/>
                <a:gd name="connsiteX162" fmla="*/ 2232 w 10000"/>
                <a:gd name="connsiteY162" fmla="*/ 1455 h 10000"/>
                <a:gd name="connsiteX163" fmla="*/ 2292 w 10000"/>
                <a:gd name="connsiteY163" fmla="*/ 1115 h 10000"/>
                <a:gd name="connsiteX164" fmla="*/ 2443 w 10000"/>
                <a:gd name="connsiteY164" fmla="*/ 1135 h 10000"/>
                <a:gd name="connsiteX165" fmla="*/ 2488 w 10000"/>
                <a:gd name="connsiteY165" fmla="*/ 1311 h 10000"/>
                <a:gd name="connsiteX166" fmla="*/ 2519 w 10000"/>
                <a:gd name="connsiteY166" fmla="*/ 1538 h 10000"/>
                <a:gd name="connsiteX167" fmla="*/ 2573 w 10000"/>
                <a:gd name="connsiteY167" fmla="*/ 1734 h 10000"/>
                <a:gd name="connsiteX168" fmla="*/ 2670 w 10000"/>
                <a:gd name="connsiteY168" fmla="*/ 2157 h 10000"/>
                <a:gd name="connsiteX169" fmla="*/ 2481 w 10000"/>
                <a:gd name="connsiteY169" fmla="*/ 2673 h 10000"/>
                <a:gd name="connsiteX170" fmla="*/ 2557 w 10000"/>
                <a:gd name="connsiteY170" fmla="*/ 2746 h 10000"/>
                <a:gd name="connsiteX171" fmla="*/ 2655 w 10000"/>
                <a:gd name="connsiteY171" fmla="*/ 2818 h 10000"/>
                <a:gd name="connsiteX172" fmla="*/ 2784 w 10000"/>
                <a:gd name="connsiteY172" fmla="*/ 2622 h 10000"/>
                <a:gd name="connsiteX173" fmla="*/ 2790 w 10000"/>
                <a:gd name="connsiteY173" fmla="*/ 2404 h 10000"/>
                <a:gd name="connsiteX174" fmla="*/ 2746 w 10000"/>
                <a:gd name="connsiteY174" fmla="*/ 2301 h 10000"/>
                <a:gd name="connsiteX175" fmla="*/ 2919 w 10000"/>
                <a:gd name="connsiteY175" fmla="*/ 2250 h 10000"/>
                <a:gd name="connsiteX176" fmla="*/ 2989 w 10000"/>
                <a:gd name="connsiteY176" fmla="*/ 2497 h 10000"/>
                <a:gd name="connsiteX177" fmla="*/ 2989 w 10000"/>
                <a:gd name="connsiteY177" fmla="*/ 2425 h 10000"/>
                <a:gd name="connsiteX178" fmla="*/ 2973 w 10000"/>
                <a:gd name="connsiteY178" fmla="*/ 2353 h 10000"/>
                <a:gd name="connsiteX179" fmla="*/ 2967 w 10000"/>
                <a:gd name="connsiteY179" fmla="*/ 2178 h 10000"/>
                <a:gd name="connsiteX180" fmla="*/ 2800 w 10000"/>
                <a:gd name="connsiteY180" fmla="*/ 1930 h 10000"/>
                <a:gd name="connsiteX181" fmla="*/ 2670 w 10000"/>
                <a:gd name="connsiteY181" fmla="*/ 2002 h 10000"/>
                <a:gd name="connsiteX182" fmla="*/ 2617 w 10000"/>
                <a:gd name="connsiteY182" fmla="*/ 1683 h 10000"/>
                <a:gd name="connsiteX183" fmla="*/ 2563 w 10000"/>
                <a:gd name="connsiteY183" fmla="*/ 1507 h 10000"/>
                <a:gd name="connsiteX184" fmla="*/ 2617 w 10000"/>
                <a:gd name="connsiteY184" fmla="*/ 1331 h 10000"/>
                <a:gd name="connsiteX185" fmla="*/ 2611 w 10000"/>
                <a:gd name="connsiteY185" fmla="*/ 1166 h 10000"/>
                <a:gd name="connsiteX186" fmla="*/ 2588 w 10000"/>
                <a:gd name="connsiteY186" fmla="*/ 1115 h 10000"/>
                <a:gd name="connsiteX187" fmla="*/ 2626 w 10000"/>
                <a:gd name="connsiteY187" fmla="*/ 1115 h 10000"/>
                <a:gd name="connsiteX188" fmla="*/ 2670 w 10000"/>
                <a:gd name="connsiteY188" fmla="*/ 1455 h 10000"/>
                <a:gd name="connsiteX189" fmla="*/ 2891 w 10000"/>
                <a:gd name="connsiteY189" fmla="*/ 1662 h 10000"/>
                <a:gd name="connsiteX190" fmla="*/ 2724 w 10000"/>
                <a:gd name="connsiteY190" fmla="*/ 1383 h 10000"/>
                <a:gd name="connsiteX191" fmla="*/ 3049 w 10000"/>
                <a:gd name="connsiteY191" fmla="*/ 1383 h 10000"/>
                <a:gd name="connsiteX192" fmla="*/ 3102 w 10000"/>
                <a:gd name="connsiteY192" fmla="*/ 1362 h 10000"/>
                <a:gd name="connsiteX193" fmla="*/ 2897 w 10000"/>
                <a:gd name="connsiteY193" fmla="*/ 1115 h 10000"/>
                <a:gd name="connsiteX194" fmla="*/ 2951 w 10000"/>
                <a:gd name="connsiteY194" fmla="*/ 888 h 10000"/>
                <a:gd name="connsiteX195" fmla="*/ 3178 w 10000"/>
                <a:gd name="connsiteY195" fmla="*/ 888 h 10000"/>
                <a:gd name="connsiteX196" fmla="*/ 3156 w 10000"/>
                <a:gd name="connsiteY196" fmla="*/ 713 h 10000"/>
                <a:gd name="connsiteX197" fmla="*/ 3231 w 10000"/>
                <a:gd name="connsiteY197" fmla="*/ 589 h 10000"/>
                <a:gd name="connsiteX198" fmla="*/ 3276 w 10000"/>
                <a:gd name="connsiteY198" fmla="*/ 548 h 10000"/>
                <a:gd name="connsiteX199" fmla="*/ 3443 w 10000"/>
                <a:gd name="connsiteY199" fmla="*/ 423 h 10000"/>
                <a:gd name="connsiteX200" fmla="*/ 3487 w 10000"/>
                <a:gd name="connsiteY200" fmla="*/ 371 h 10000"/>
                <a:gd name="connsiteX201" fmla="*/ 3480 w 10000"/>
                <a:gd name="connsiteY201" fmla="*/ 444 h 10000"/>
                <a:gd name="connsiteX202" fmla="*/ 3660 w 10000"/>
                <a:gd name="connsiteY202" fmla="*/ 371 h 10000"/>
                <a:gd name="connsiteX203" fmla="*/ 3805 w 10000"/>
                <a:gd name="connsiteY203" fmla="*/ 248 h 10000"/>
                <a:gd name="connsiteX204" fmla="*/ 3827 w 10000"/>
                <a:gd name="connsiteY204" fmla="*/ 0 h 10000"/>
                <a:gd name="connsiteX205" fmla="*/ 3988 w 10000"/>
                <a:gd name="connsiteY205" fmla="*/ 21 h 10000"/>
                <a:gd name="connsiteX206" fmla="*/ 3978 w 10000"/>
                <a:gd name="connsiteY206" fmla="*/ 93 h 10000"/>
                <a:gd name="connsiteX207" fmla="*/ 3988 w 10000"/>
                <a:gd name="connsiteY207" fmla="*/ 176 h 10000"/>
                <a:gd name="connsiteX208" fmla="*/ 4085 w 10000"/>
                <a:gd name="connsiteY208" fmla="*/ 248 h 10000"/>
                <a:gd name="connsiteX209" fmla="*/ 4379 w 10000"/>
                <a:gd name="connsiteY209" fmla="*/ 268 h 10000"/>
                <a:gd name="connsiteX210" fmla="*/ 4539 w 10000"/>
                <a:gd name="connsiteY210" fmla="*/ 392 h 10000"/>
                <a:gd name="connsiteX211" fmla="*/ 4486 w 10000"/>
                <a:gd name="connsiteY211" fmla="*/ 795 h 10000"/>
                <a:gd name="connsiteX212" fmla="*/ 4426 w 10000"/>
                <a:gd name="connsiteY212" fmla="*/ 919 h 10000"/>
                <a:gd name="connsiteX213" fmla="*/ 4356 w 10000"/>
                <a:gd name="connsiteY213" fmla="*/ 1043 h 10000"/>
                <a:gd name="connsiteX214" fmla="*/ 4372 w 10000"/>
                <a:gd name="connsiteY214" fmla="*/ 1115 h 10000"/>
                <a:gd name="connsiteX215" fmla="*/ 4583 w 10000"/>
                <a:gd name="connsiteY215" fmla="*/ 919 h 10000"/>
                <a:gd name="connsiteX216" fmla="*/ 5060 w 10000"/>
                <a:gd name="connsiteY216" fmla="*/ 991 h 10000"/>
                <a:gd name="connsiteX217" fmla="*/ 5108 w 10000"/>
                <a:gd name="connsiteY217" fmla="*/ 1063 h 10000"/>
                <a:gd name="connsiteX218" fmla="*/ 5212 w 10000"/>
                <a:gd name="connsiteY218" fmla="*/ 1187 h 10000"/>
                <a:gd name="connsiteX219" fmla="*/ 5357 w 10000"/>
                <a:gd name="connsiteY219" fmla="*/ 919 h 10000"/>
                <a:gd name="connsiteX220" fmla="*/ 5577 w 10000"/>
                <a:gd name="connsiteY220" fmla="*/ 1063 h 10000"/>
                <a:gd name="connsiteX221" fmla="*/ 5643 w 10000"/>
                <a:gd name="connsiteY221" fmla="*/ 1115 h 10000"/>
                <a:gd name="connsiteX222" fmla="*/ 5697 w 10000"/>
                <a:gd name="connsiteY222" fmla="*/ 1166 h 10000"/>
                <a:gd name="connsiteX223" fmla="*/ 5908 w 10000"/>
                <a:gd name="connsiteY223" fmla="*/ 1631 h 10000"/>
                <a:gd name="connsiteX224" fmla="*/ 5984 w 10000"/>
                <a:gd name="connsiteY224" fmla="*/ 1611 h 10000"/>
                <a:gd name="connsiteX225" fmla="*/ 5977 w 10000"/>
                <a:gd name="connsiteY225" fmla="*/ 1507 h 10000"/>
                <a:gd name="connsiteX226" fmla="*/ 5984 w 10000"/>
                <a:gd name="connsiteY226" fmla="*/ 1383 h 10000"/>
                <a:gd name="connsiteX227" fmla="*/ 6091 w 10000"/>
                <a:gd name="connsiteY227" fmla="*/ 1486 h 10000"/>
                <a:gd name="connsiteX228" fmla="*/ 6264 w 10000"/>
                <a:gd name="connsiteY228" fmla="*/ 1507 h 10000"/>
                <a:gd name="connsiteX229" fmla="*/ 6409 w 10000"/>
                <a:gd name="connsiteY229" fmla="*/ 1455 h 10000"/>
                <a:gd name="connsiteX230" fmla="*/ 6340 w 10000"/>
                <a:gd name="connsiteY230" fmla="*/ 1362 h 10000"/>
                <a:gd name="connsiteX231" fmla="*/ 6431 w 10000"/>
                <a:gd name="connsiteY231" fmla="*/ 1084 h 10000"/>
                <a:gd name="connsiteX232" fmla="*/ 6687 w 10000"/>
                <a:gd name="connsiteY232" fmla="*/ 1207 h 10000"/>
                <a:gd name="connsiteX233" fmla="*/ 6945 w 10000"/>
                <a:gd name="connsiteY233" fmla="*/ 1331 h 10000"/>
                <a:gd name="connsiteX234" fmla="*/ 6967 w 10000"/>
                <a:gd name="connsiteY234" fmla="*/ 1362 h 10000"/>
                <a:gd name="connsiteX235" fmla="*/ 7194 w 10000"/>
                <a:gd name="connsiteY235" fmla="*/ 1611 h 10000"/>
                <a:gd name="connsiteX236" fmla="*/ 7367 w 10000"/>
                <a:gd name="connsiteY236" fmla="*/ 1507 h 10000"/>
                <a:gd name="connsiteX237" fmla="*/ 7582 w 10000"/>
                <a:gd name="connsiteY237" fmla="*/ 1538 h 10000"/>
                <a:gd name="connsiteX238" fmla="*/ 7657 w 10000"/>
                <a:gd name="connsiteY238" fmla="*/ 1611 h 10000"/>
                <a:gd name="connsiteX239" fmla="*/ 7928 w 10000"/>
                <a:gd name="connsiteY239" fmla="*/ 1930 h 10000"/>
                <a:gd name="connsiteX240" fmla="*/ 8231 w 10000"/>
                <a:gd name="connsiteY240" fmla="*/ 1879 h 10000"/>
                <a:gd name="connsiteX241" fmla="*/ 8339 w 10000"/>
                <a:gd name="connsiteY241" fmla="*/ 2033 h 10000"/>
                <a:gd name="connsiteX242" fmla="*/ 8490 w 10000"/>
                <a:gd name="connsiteY242" fmla="*/ 2157 h 10000"/>
                <a:gd name="connsiteX243" fmla="*/ 8519 w 10000"/>
                <a:gd name="connsiteY243" fmla="*/ 2105 h 10000"/>
                <a:gd name="connsiteX244" fmla="*/ 8497 w 10000"/>
                <a:gd name="connsiteY244" fmla="*/ 2074 h 10000"/>
                <a:gd name="connsiteX245" fmla="*/ 8383 w 10000"/>
                <a:gd name="connsiteY245" fmla="*/ 1930 h 10000"/>
                <a:gd name="connsiteX246" fmla="*/ 8465 w 10000"/>
                <a:gd name="connsiteY246" fmla="*/ 1755 h 10000"/>
                <a:gd name="connsiteX247" fmla="*/ 8664 w 10000"/>
                <a:gd name="connsiteY247" fmla="*/ 1910 h 10000"/>
                <a:gd name="connsiteX248" fmla="*/ 8950 w 10000"/>
                <a:gd name="connsiteY248" fmla="*/ 1982 h 10000"/>
                <a:gd name="connsiteX249" fmla="*/ 9206 w 10000"/>
                <a:gd name="connsiteY249" fmla="*/ 2260 h 10000"/>
                <a:gd name="connsiteX250" fmla="*/ 9344 w 10000"/>
                <a:gd name="connsiteY250" fmla="*/ 2332 h 10000"/>
                <a:gd name="connsiteX251" fmla="*/ 9451 w 10000"/>
                <a:gd name="connsiteY251" fmla="*/ 2446 h 10000"/>
                <a:gd name="connsiteX252" fmla="*/ 9574 w 10000"/>
                <a:gd name="connsiteY252" fmla="*/ 2632 h 10000"/>
                <a:gd name="connsiteX253" fmla="*/ 9631 w 10000"/>
                <a:gd name="connsiteY253" fmla="*/ 2756 h 10000"/>
                <a:gd name="connsiteX254" fmla="*/ 9726 w 10000"/>
                <a:gd name="connsiteY254" fmla="*/ 2787 h 10000"/>
                <a:gd name="connsiteX255" fmla="*/ 9590 w 10000"/>
                <a:gd name="connsiteY255" fmla="*/ 2570 h 10000"/>
                <a:gd name="connsiteX256" fmla="*/ 9915 w 10000"/>
                <a:gd name="connsiteY256" fmla="*/ 2756 h 10000"/>
                <a:gd name="connsiteX257" fmla="*/ 10000 w 10000"/>
                <a:gd name="connsiteY257" fmla="*/ 3014 h 10000"/>
                <a:gd name="connsiteX258" fmla="*/ 9934 w 10000"/>
                <a:gd name="connsiteY258" fmla="*/ 2941 h 10000"/>
                <a:gd name="connsiteX259" fmla="*/ 9874 w 10000"/>
                <a:gd name="connsiteY259" fmla="*/ 2952 h 10000"/>
                <a:gd name="connsiteX260" fmla="*/ 10000 w 10000"/>
                <a:gd name="connsiteY260" fmla="*/ 3292 h 10000"/>
                <a:gd name="connsiteX261" fmla="*/ 9845 w 10000"/>
                <a:gd name="connsiteY261" fmla="*/ 3220 h 10000"/>
                <a:gd name="connsiteX262" fmla="*/ 9745 w 10000"/>
                <a:gd name="connsiteY262" fmla="*/ 3075 h 10000"/>
                <a:gd name="connsiteX263" fmla="*/ 9641 w 10000"/>
                <a:gd name="connsiteY263" fmla="*/ 2972 h 10000"/>
                <a:gd name="connsiteX264" fmla="*/ 9555 w 10000"/>
                <a:gd name="connsiteY264" fmla="*/ 3003 h 10000"/>
                <a:gd name="connsiteX265" fmla="*/ 9470 w 10000"/>
                <a:gd name="connsiteY265" fmla="*/ 2787 h 10000"/>
                <a:gd name="connsiteX266" fmla="*/ 9366 w 10000"/>
                <a:gd name="connsiteY266" fmla="*/ 2725 h 10000"/>
                <a:gd name="connsiteX267" fmla="*/ 9461 w 10000"/>
                <a:gd name="connsiteY267" fmla="*/ 2972 h 10000"/>
                <a:gd name="connsiteX268" fmla="*/ 9470 w 10000"/>
                <a:gd name="connsiteY268" fmla="*/ 3230 h 10000"/>
                <a:gd name="connsiteX269" fmla="*/ 9288 w 10000"/>
                <a:gd name="connsiteY269" fmla="*/ 3065 h 10000"/>
                <a:gd name="connsiteX270" fmla="*/ 9262 w 10000"/>
                <a:gd name="connsiteY270" fmla="*/ 3230 h 10000"/>
                <a:gd name="connsiteX271" fmla="*/ 9363 w 10000"/>
                <a:gd name="connsiteY271" fmla="*/ 3230 h 10000"/>
                <a:gd name="connsiteX272" fmla="*/ 9451 w 10000"/>
                <a:gd name="connsiteY272" fmla="*/ 3354 h 10000"/>
                <a:gd name="connsiteX273" fmla="*/ 9659 w 10000"/>
                <a:gd name="connsiteY273" fmla="*/ 3685 h 10000"/>
                <a:gd name="connsiteX274" fmla="*/ 9735 w 10000"/>
                <a:gd name="connsiteY274" fmla="*/ 3839 h 10000"/>
                <a:gd name="connsiteX275" fmla="*/ 9552 w 10000"/>
                <a:gd name="connsiteY275" fmla="*/ 3757 h 10000"/>
                <a:gd name="connsiteX276" fmla="*/ 9451 w 10000"/>
                <a:gd name="connsiteY276" fmla="*/ 4025 h 10000"/>
                <a:gd name="connsiteX277" fmla="*/ 9385 w 10000"/>
                <a:gd name="connsiteY277" fmla="*/ 4283 h 10000"/>
                <a:gd name="connsiteX278" fmla="*/ 9376 w 10000"/>
                <a:gd name="connsiteY278" fmla="*/ 4499 h 10000"/>
                <a:gd name="connsiteX279" fmla="*/ 9335 w 10000"/>
                <a:gd name="connsiteY279" fmla="*/ 4303 h 10000"/>
                <a:gd name="connsiteX280" fmla="*/ 9149 w 10000"/>
                <a:gd name="connsiteY280" fmla="*/ 4314 h 10000"/>
                <a:gd name="connsiteX281" fmla="*/ 9155 w 10000"/>
                <a:gd name="connsiteY281" fmla="*/ 4531 h 10000"/>
                <a:gd name="connsiteX282" fmla="*/ 9061 w 10000"/>
                <a:gd name="connsiteY282" fmla="*/ 4365 h 10000"/>
                <a:gd name="connsiteX283" fmla="*/ 9054 w 10000"/>
                <a:gd name="connsiteY283" fmla="*/ 4521 h 10000"/>
                <a:gd name="connsiteX284" fmla="*/ 8998 w 10000"/>
                <a:gd name="connsiteY284" fmla="*/ 4458 h 10000"/>
                <a:gd name="connsiteX285" fmla="*/ 8966 w 10000"/>
                <a:gd name="connsiteY285" fmla="*/ 4562 h 10000"/>
                <a:gd name="connsiteX286" fmla="*/ 9007 w 10000"/>
                <a:gd name="connsiteY286" fmla="*/ 4686 h 10000"/>
                <a:gd name="connsiteX287" fmla="*/ 9004 w 10000"/>
                <a:gd name="connsiteY287" fmla="*/ 4995 h 10000"/>
                <a:gd name="connsiteX288" fmla="*/ 9073 w 10000"/>
                <a:gd name="connsiteY288" fmla="*/ 5211 h 10000"/>
                <a:gd name="connsiteX289" fmla="*/ 9130 w 10000"/>
                <a:gd name="connsiteY289" fmla="*/ 5150 h 10000"/>
                <a:gd name="connsiteX290" fmla="*/ 9158 w 10000"/>
                <a:gd name="connsiteY290" fmla="*/ 5211 h 10000"/>
                <a:gd name="connsiteX291" fmla="*/ 9231 w 10000"/>
                <a:gd name="connsiteY291" fmla="*/ 5428 h 10000"/>
                <a:gd name="connsiteX292" fmla="*/ 9215 w 10000"/>
                <a:gd name="connsiteY292" fmla="*/ 5604 h 10000"/>
                <a:gd name="connsiteX293" fmla="*/ 9221 w 10000"/>
                <a:gd name="connsiteY293" fmla="*/ 5769 h 10000"/>
                <a:gd name="connsiteX294" fmla="*/ 9269 w 10000"/>
                <a:gd name="connsiteY294" fmla="*/ 5883 h 10000"/>
                <a:gd name="connsiteX295" fmla="*/ 9344 w 10000"/>
                <a:gd name="connsiteY295" fmla="*/ 6068 h 10000"/>
                <a:gd name="connsiteX296" fmla="*/ 9269 w 10000"/>
                <a:gd name="connsiteY296" fmla="*/ 6068 h 10000"/>
                <a:gd name="connsiteX297" fmla="*/ 9253 w 10000"/>
                <a:gd name="connsiteY297" fmla="*/ 6223 h 10000"/>
                <a:gd name="connsiteX298" fmla="*/ 9319 w 10000"/>
                <a:gd name="connsiteY298" fmla="*/ 6408 h 10000"/>
                <a:gd name="connsiteX299" fmla="*/ 9250 w 10000"/>
                <a:gd name="connsiteY299" fmla="*/ 6502 h 10000"/>
                <a:gd name="connsiteX300" fmla="*/ 9297 w 10000"/>
                <a:gd name="connsiteY300" fmla="*/ 6729 h 10000"/>
                <a:gd name="connsiteX301" fmla="*/ 9281 w 10000"/>
                <a:gd name="connsiteY301" fmla="*/ 7069 h 10000"/>
                <a:gd name="connsiteX302" fmla="*/ 9061 w 10000"/>
                <a:gd name="connsiteY302" fmla="*/ 6408 h 10000"/>
                <a:gd name="connsiteX303" fmla="*/ 8824 w 10000"/>
                <a:gd name="connsiteY303" fmla="*/ 5759 h 10000"/>
                <a:gd name="connsiteX304" fmla="*/ 8771 w 10000"/>
                <a:gd name="connsiteY304" fmla="*/ 5459 h 10000"/>
                <a:gd name="connsiteX305" fmla="*/ 8768 w 10000"/>
                <a:gd name="connsiteY305" fmla="*/ 5211 h 10000"/>
                <a:gd name="connsiteX306" fmla="*/ 8692 w 10000"/>
                <a:gd name="connsiteY306" fmla="*/ 5047 h 10000"/>
                <a:gd name="connsiteX307" fmla="*/ 8771 w 10000"/>
                <a:gd name="connsiteY307" fmla="*/ 5088 h 10000"/>
                <a:gd name="connsiteX308" fmla="*/ 8809 w 10000"/>
                <a:gd name="connsiteY308" fmla="*/ 5108 h 10000"/>
                <a:gd name="connsiteX309" fmla="*/ 8809 w 10000"/>
                <a:gd name="connsiteY309" fmla="*/ 4840 h 10000"/>
                <a:gd name="connsiteX310" fmla="*/ 8827 w 10000"/>
                <a:gd name="connsiteY310" fmla="*/ 4437 h 10000"/>
                <a:gd name="connsiteX311" fmla="*/ 8853 w 10000"/>
                <a:gd name="connsiteY311" fmla="*/ 4252 h 10000"/>
                <a:gd name="connsiteX312" fmla="*/ 8909 w 10000"/>
                <a:gd name="connsiteY312" fmla="*/ 4221 h 10000"/>
                <a:gd name="connsiteX313" fmla="*/ 8786 w 10000"/>
                <a:gd name="connsiteY313" fmla="*/ 3901 h 10000"/>
                <a:gd name="connsiteX314" fmla="*/ 8853 w 10000"/>
                <a:gd name="connsiteY314" fmla="*/ 3839 h 10000"/>
                <a:gd name="connsiteX315" fmla="*/ 8739 w 10000"/>
                <a:gd name="connsiteY315" fmla="*/ 3788 h 10000"/>
                <a:gd name="connsiteX316" fmla="*/ 8755 w 10000"/>
                <a:gd name="connsiteY316" fmla="*/ 3984 h 10000"/>
                <a:gd name="connsiteX317" fmla="*/ 8692 w 10000"/>
                <a:gd name="connsiteY317" fmla="*/ 4303 h 10000"/>
                <a:gd name="connsiteX318" fmla="*/ 8604 w 10000"/>
                <a:gd name="connsiteY318" fmla="*/ 4210 h 10000"/>
                <a:gd name="connsiteX319" fmla="*/ 8550 w 10000"/>
                <a:gd name="connsiteY319" fmla="*/ 4056 h 10000"/>
                <a:gd name="connsiteX320" fmla="*/ 8481 w 10000"/>
                <a:gd name="connsiteY320" fmla="*/ 4138 h 10000"/>
                <a:gd name="connsiteX321" fmla="*/ 8389 w 10000"/>
                <a:gd name="connsiteY321" fmla="*/ 4107 h 10000"/>
                <a:gd name="connsiteX322" fmla="*/ 8352 w 10000"/>
                <a:gd name="connsiteY322" fmla="*/ 4406 h 10000"/>
                <a:gd name="connsiteX323" fmla="*/ 8481 w 10000"/>
                <a:gd name="connsiteY323" fmla="*/ 4655 h 10000"/>
                <a:gd name="connsiteX324" fmla="*/ 8405 w 10000"/>
                <a:gd name="connsiteY324" fmla="*/ 4830 h 10000"/>
                <a:gd name="connsiteX325" fmla="*/ 8225 w 10000"/>
                <a:gd name="connsiteY325" fmla="*/ 4799 h 10000"/>
                <a:gd name="connsiteX326" fmla="*/ 8209 w 10000"/>
                <a:gd name="connsiteY326" fmla="*/ 4655 h 10000"/>
                <a:gd name="connsiteX327" fmla="*/ 8102 w 10000"/>
                <a:gd name="connsiteY327" fmla="*/ 4634 h 10000"/>
                <a:gd name="connsiteX328" fmla="*/ 7641 w 10000"/>
                <a:gd name="connsiteY328" fmla="*/ 4779 h 10000"/>
                <a:gd name="connsiteX329" fmla="*/ 7610 w 10000"/>
                <a:gd name="connsiteY329" fmla="*/ 5005 h 10000"/>
                <a:gd name="connsiteX330" fmla="*/ 7550 w 10000"/>
                <a:gd name="connsiteY330" fmla="*/ 5666 h 10000"/>
                <a:gd name="connsiteX331" fmla="*/ 7496 w 10000"/>
                <a:gd name="connsiteY331" fmla="*/ 5965 h 10000"/>
                <a:gd name="connsiteX332" fmla="*/ 7701 w 10000"/>
                <a:gd name="connsiteY332" fmla="*/ 6161 h 10000"/>
                <a:gd name="connsiteX333" fmla="*/ 7745 w 10000"/>
                <a:gd name="connsiteY333" fmla="*/ 6243 h 10000"/>
                <a:gd name="connsiteX334" fmla="*/ 7771 w 10000"/>
                <a:gd name="connsiteY334" fmla="*/ 6285 h 10000"/>
                <a:gd name="connsiteX335" fmla="*/ 7793 w 10000"/>
                <a:gd name="connsiteY335" fmla="*/ 6068 h 10000"/>
                <a:gd name="connsiteX336" fmla="*/ 7912 w 10000"/>
                <a:gd name="connsiteY336" fmla="*/ 6089 h 10000"/>
                <a:gd name="connsiteX337" fmla="*/ 8004 w 10000"/>
                <a:gd name="connsiteY337" fmla="*/ 6367 h 10000"/>
                <a:gd name="connsiteX338" fmla="*/ 8064 w 10000"/>
                <a:gd name="connsiteY338" fmla="*/ 6616 h 10000"/>
                <a:gd name="connsiteX339" fmla="*/ 8111 w 10000"/>
                <a:gd name="connsiteY339" fmla="*/ 6781 h 10000"/>
                <a:gd name="connsiteX340" fmla="*/ 8048 w 10000"/>
                <a:gd name="connsiteY340" fmla="*/ 6491 h 10000"/>
                <a:gd name="connsiteX341" fmla="*/ 8124 w 10000"/>
                <a:gd name="connsiteY341" fmla="*/ 6336 h 10000"/>
                <a:gd name="connsiteX342" fmla="*/ 8177 w 10000"/>
                <a:gd name="connsiteY342" fmla="*/ 6512 h 10000"/>
                <a:gd name="connsiteX343" fmla="*/ 8300 w 10000"/>
                <a:gd name="connsiteY343" fmla="*/ 6987 h 10000"/>
                <a:gd name="connsiteX344" fmla="*/ 8361 w 10000"/>
                <a:gd name="connsiteY344" fmla="*/ 7152 h 10000"/>
                <a:gd name="connsiteX345" fmla="*/ 8490 w 10000"/>
                <a:gd name="connsiteY345" fmla="*/ 7482 h 10000"/>
                <a:gd name="connsiteX346" fmla="*/ 8604 w 10000"/>
                <a:gd name="connsiteY346" fmla="*/ 7854 h 10000"/>
                <a:gd name="connsiteX347" fmla="*/ 8474 w 10000"/>
                <a:gd name="connsiteY347" fmla="*/ 7647 h 10000"/>
                <a:gd name="connsiteX348" fmla="*/ 8443 w 10000"/>
                <a:gd name="connsiteY348" fmla="*/ 7678 h 10000"/>
                <a:gd name="connsiteX349" fmla="*/ 8512 w 10000"/>
                <a:gd name="connsiteY349" fmla="*/ 8050 h 10000"/>
                <a:gd name="connsiteX350" fmla="*/ 8588 w 10000"/>
                <a:gd name="connsiteY350" fmla="*/ 8266 h 10000"/>
                <a:gd name="connsiteX351" fmla="*/ 8642 w 10000"/>
                <a:gd name="connsiteY351" fmla="*/ 8472 h 10000"/>
                <a:gd name="connsiteX352" fmla="*/ 8566 w 10000"/>
                <a:gd name="connsiteY352" fmla="*/ 8421 h 10000"/>
                <a:gd name="connsiteX353" fmla="*/ 8556 w 10000"/>
                <a:gd name="connsiteY353" fmla="*/ 8669 h 10000"/>
                <a:gd name="connsiteX354" fmla="*/ 8497 w 10000"/>
                <a:gd name="connsiteY354" fmla="*/ 8493 h 10000"/>
                <a:gd name="connsiteX355" fmla="*/ 8481 w 10000"/>
                <a:gd name="connsiteY355" fmla="*/ 8421 h 10000"/>
                <a:gd name="connsiteX356" fmla="*/ 8361 w 10000"/>
                <a:gd name="connsiteY356" fmla="*/ 7751 h 10000"/>
                <a:gd name="connsiteX357" fmla="*/ 8322 w 10000"/>
                <a:gd name="connsiteY357" fmla="*/ 7524 h 10000"/>
                <a:gd name="connsiteX358" fmla="*/ 8291 w 10000"/>
                <a:gd name="connsiteY358" fmla="*/ 7378 h 10000"/>
                <a:gd name="connsiteX359" fmla="*/ 8275 w 10000"/>
                <a:gd name="connsiteY359" fmla="*/ 7306 h 10000"/>
                <a:gd name="connsiteX360" fmla="*/ 8139 w 10000"/>
                <a:gd name="connsiteY360" fmla="*/ 6863 h 10000"/>
                <a:gd name="connsiteX361" fmla="*/ 8199 w 10000"/>
                <a:gd name="connsiteY361" fmla="*/ 7451 h 10000"/>
                <a:gd name="connsiteX362" fmla="*/ 8247 w 10000"/>
                <a:gd name="connsiteY362" fmla="*/ 7998 h 10000"/>
                <a:gd name="connsiteX363" fmla="*/ 8177 w 10000"/>
                <a:gd name="connsiteY363" fmla="*/ 9133 h 10000"/>
                <a:gd name="connsiteX364" fmla="*/ 8124 w 10000"/>
                <a:gd name="connsiteY364" fmla="*/ 9484 h 10000"/>
                <a:gd name="connsiteX365" fmla="*/ 7972 w 10000"/>
                <a:gd name="connsiteY365" fmla="*/ 9432 h 10000"/>
                <a:gd name="connsiteX366" fmla="*/ 7897 w 10000"/>
                <a:gd name="connsiteY366" fmla="*/ 9660 h 10000"/>
                <a:gd name="connsiteX367" fmla="*/ 7868 w 10000"/>
                <a:gd name="connsiteY367" fmla="*/ 9588 h 10000"/>
                <a:gd name="connsiteX368" fmla="*/ 7884 w 10000"/>
                <a:gd name="connsiteY368" fmla="*/ 9536 h 10000"/>
                <a:gd name="connsiteX369" fmla="*/ 7897 w 10000"/>
                <a:gd name="connsiteY369" fmla="*/ 9380 h 10000"/>
                <a:gd name="connsiteX370" fmla="*/ 7884 w 10000"/>
                <a:gd name="connsiteY370" fmla="*/ 9236 h 10000"/>
                <a:gd name="connsiteX371" fmla="*/ 7793 w 10000"/>
                <a:gd name="connsiteY371" fmla="*/ 8865 h 10000"/>
                <a:gd name="connsiteX372" fmla="*/ 7831 w 10000"/>
                <a:gd name="connsiteY372" fmla="*/ 8741 h 10000"/>
                <a:gd name="connsiteX373" fmla="*/ 7928 w 10000"/>
                <a:gd name="connsiteY373" fmla="*/ 8844 h 10000"/>
                <a:gd name="connsiteX374" fmla="*/ 7912 w 10000"/>
                <a:gd name="connsiteY374" fmla="*/ 8318 h 10000"/>
                <a:gd name="connsiteX375" fmla="*/ 7906 w 10000"/>
                <a:gd name="connsiteY375" fmla="*/ 8019 h 10000"/>
                <a:gd name="connsiteX376" fmla="*/ 7846 w 10000"/>
                <a:gd name="connsiteY376" fmla="*/ 7802 h 10000"/>
                <a:gd name="connsiteX377" fmla="*/ 7723 w 10000"/>
                <a:gd name="connsiteY377" fmla="*/ 8050 h 10000"/>
                <a:gd name="connsiteX378" fmla="*/ 7619 w 10000"/>
                <a:gd name="connsiteY378" fmla="*/ 8019 h 10000"/>
                <a:gd name="connsiteX379" fmla="*/ 7528 w 10000"/>
                <a:gd name="connsiteY379" fmla="*/ 7699 h 10000"/>
                <a:gd name="connsiteX380" fmla="*/ 7355 w 10000"/>
                <a:gd name="connsiteY380" fmla="*/ 7482 h 10000"/>
                <a:gd name="connsiteX381" fmla="*/ 7279 w 10000"/>
                <a:gd name="connsiteY381" fmla="*/ 7482 h 10000"/>
                <a:gd name="connsiteX382" fmla="*/ 7080 w 10000"/>
                <a:gd name="connsiteY382" fmla="*/ 6781 h 10000"/>
                <a:gd name="connsiteX383" fmla="*/ 6901 w 10000"/>
                <a:gd name="connsiteY383" fmla="*/ 6460 h 10000"/>
                <a:gd name="connsiteX384" fmla="*/ 6724 w 10000"/>
                <a:gd name="connsiteY384" fmla="*/ 6336 h 10000"/>
                <a:gd name="connsiteX385" fmla="*/ 6583 w 10000"/>
                <a:gd name="connsiteY385" fmla="*/ 6408 h 10000"/>
                <a:gd name="connsiteX386" fmla="*/ 6567 w 10000"/>
                <a:gd name="connsiteY386" fmla="*/ 6585 h 10000"/>
                <a:gd name="connsiteX387" fmla="*/ 6664 w 10000"/>
                <a:gd name="connsiteY387" fmla="*/ 6760 h 10000"/>
                <a:gd name="connsiteX388" fmla="*/ 6636 w 10000"/>
                <a:gd name="connsiteY388" fmla="*/ 6935 h 10000"/>
                <a:gd name="connsiteX389" fmla="*/ 6636 w 10000"/>
                <a:gd name="connsiteY389" fmla="*/ 7399 h 10000"/>
                <a:gd name="connsiteX390" fmla="*/ 6560 w 10000"/>
                <a:gd name="connsiteY390" fmla="*/ 7482 h 10000"/>
                <a:gd name="connsiteX391" fmla="*/ 6485 w 10000"/>
                <a:gd name="connsiteY391" fmla="*/ 7378 h 10000"/>
                <a:gd name="connsiteX392" fmla="*/ 6400 w 10000"/>
                <a:gd name="connsiteY392" fmla="*/ 7399 h 10000"/>
                <a:gd name="connsiteX393" fmla="*/ 6334 w 10000"/>
                <a:gd name="connsiteY393" fmla="*/ 7275 h 10000"/>
                <a:gd name="connsiteX394" fmla="*/ 6258 w 10000"/>
                <a:gd name="connsiteY394" fmla="*/ 7358 h 10000"/>
                <a:gd name="connsiteX395" fmla="*/ 6220 w 10000"/>
                <a:gd name="connsiteY395" fmla="*/ 7524 h 10000"/>
                <a:gd name="connsiteX396" fmla="*/ 6081 w 10000"/>
                <a:gd name="connsiteY396" fmla="*/ 7606 h 10000"/>
                <a:gd name="connsiteX397" fmla="*/ 5892 w 10000"/>
                <a:gd name="connsiteY397" fmla="*/ 7575 h 10000"/>
                <a:gd name="connsiteX398" fmla="*/ 5855 w 10000"/>
                <a:gd name="connsiteY398" fmla="*/ 7327 h 10000"/>
                <a:gd name="connsiteX399" fmla="*/ 5643 w 10000"/>
                <a:gd name="connsiteY399" fmla="*/ 7255 h 10000"/>
                <a:gd name="connsiteX400" fmla="*/ 5539 w 10000"/>
                <a:gd name="connsiteY400" fmla="*/ 7358 h 10000"/>
                <a:gd name="connsiteX401" fmla="*/ 5416 w 10000"/>
                <a:gd name="connsiteY401" fmla="*/ 7203 h 10000"/>
                <a:gd name="connsiteX402" fmla="*/ 5372 w 10000"/>
                <a:gd name="connsiteY402" fmla="*/ 6904 h 10000"/>
                <a:gd name="connsiteX403" fmla="*/ 5108 w 10000"/>
                <a:gd name="connsiteY403" fmla="*/ 6708 h 10000"/>
                <a:gd name="connsiteX0" fmla="*/ 5076 w 10000"/>
                <a:gd name="connsiteY0" fmla="*/ 6987 h 10000"/>
                <a:gd name="connsiteX1" fmla="*/ 4977 w 10000"/>
                <a:gd name="connsiteY1" fmla="*/ 7378 h 10000"/>
                <a:gd name="connsiteX2" fmla="*/ 4864 w 10000"/>
                <a:gd name="connsiteY2" fmla="*/ 7183 h 10000"/>
                <a:gd name="connsiteX3" fmla="*/ 4713 w 10000"/>
                <a:gd name="connsiteY3" fmla="*/ 7152 h 10000"/>
                <a:gd name="connsiteX4" fmla="*/ 4464 w 10000"/>
                <a:gd name="connsiteY4" fmla="*/ 7647 h 10000"/>
                <a:gd name="connsiteX5" fmla="*/ 4410 w 10000"/>
                <a:gd name="connsiteY5" fmla="*/ 7606 h 10000"/>
                <a:gd name="connsiteX6" fmla="*/ 4334 w 10000"/>
                <a:gd name="connsiteY6" fmla="*/ 7430 h 10000"/>
                <a:gd name="connsiteX7" fmla="*/ 4275 w 10000"/>
                <a:gd name="connsiteY7" fmla="*/ 7503 h 10000"/>
                <a:gd name="connsiteX8" fmla="*/ 4130 w 10000"/>
                <a:gd name="connsiteY8" fmla="*/ 7255 h 10000"/>
                <a:gd name="connsiteX9" fmla="*/ 4076 w 10000"/>
                <a:gd name="connsiteY9" fmla="*/ 7059 h 10000"/>
                <a:gd name="connsiteX10" fmla="*/ 3972 w 10000"/>
                <a:gd name="connsiteY10" fmla="*/ 7152 h 10000"/>
                <a:gd name="connsiteX11" fmla="*/ 3887 w 10000"/>
                <a:gd name="connsiteY11" fmla="*/ 6956 h 10000"/>
                <a:gd name="connsiteX12" fmla="*/ 3843 w 10000"/>
                <a:gd name="connsiteY12" fmla="*/ 7183 h 10000"/>
                <a:gd name="connsiteX13" fmla="*/ 3698 w 10000"/>
                <a:gd name="connsiteY13" fmla="*/ 6636 h 10000"/>
                <a:gd name="connsiteX14" fmla="*/ 3584 w 10000"/>
                <a:gd name="connsiteY14" fmla="*/ 6388 h 10000"/>
                <a:gd name="connsiteX15" fmla="*/ 3471 w 10000"/>
                <a:gd name="connsiteY15" fmla="*/ 6212 h 10000"/>
                <a:gd name="connsiteX16" fmla="*/ 3496 w 10000"/>
                <a:gd name="connsiteY16" fmla="*/ 5965 h 10000"/>
                <a:gd name="connsiteX17" fmla="*/ 3291 w 10000"/>
                <a:gd name="connsiteY17" fmla="*/ 6367 h 10000"/>
                <a:gd name="connsiteX18" fmla="*/ 3244 w 10000"/>
                <a:gd name="connsiteY18" fmla="*/ 6161 h 10000"/>
                <a:gd name="connsiteX19" fmla="*/ 3093 w 10000"/>
                <a:gd name="connsiteY19" fmla="*/ 6161 h 10000"/>
                <a:gd name="connsiteX20" fmla="*/ 3080 w 10000"/>
                <a:gd name="connsiteY20" fmla="*/ 5944 h 10000"/>
                <a:gd name="connsiteX21" fmla="*/ 2995 w 10000"/>
                <a:gd name="connsiteY21" fmla="*/ 5821 h 10000"/>
                <a:gd name="connsiteX22" fmla="*/ 2897 w 10000"/>
                <a:gd name="connsiteY22" fmla="*/ 5790 h 10000"/>
                <a:gd name="connsiteX23" fmla="*/ 2828 w 10000"/>
                <a:gd name="connsiteY23" fmla="*/ 5996 h 10000"/>
                <a:gd name="connsiteX24" fmla="*/ 2633 w 10000"/>
                <a:gd name="connsiteY24" fmla="*/ 6120 h 10000"/>
                <a:gd name="connsiteX25" fmla="*/ 2412 w 10000"/>
                <a:gd name="connsiteY25" fmla="*/ 6212 h 10000"/>
                <a:gd name="connsiteX26" fmla="*/ 2443 w 10000"/>
                <a:gd name="connsiteY26" fmla="*/ 6408 h 10000"/>
                <a:gd name="connsiteX27" fmla="*/ 2525 w 10000"/>
                <a:gd name="connsiteY27" fmla="*/ 6512 h 10000"/>
                <a:gd name="connsiteX28" fmla="*/ 2428 w 10000"/>
                <a:gd name="connsiteY28" fmla="*/ 6512 h 10000"/>
                <a:gd name="connsiteX29" fmla="*/ 2406 w 10000"/>
                <a:gd name="connsiteY29" fmla="*/ 6832 h 10000"/>
                <a:gd name="connsiteX30" fmla="*/ 2535 w 10000"/>
                <a:gd name="connsiteY30" fmla="*/ 6987 h 10000"/>
                <a:gd name="connsiteX31" fmla="*/ 2497 w 10000"/>
                <a:gd name="connsiteY31" fmla="*/ 7183 h 10000"/>
                <a:gd name="connsiteX32" fmla="*/ 2384 w 10000"/>
                <a:gd name="connsiteY32" fmla="*/ 7183 h 10000"/>
                <a:gd name="connsiteX33" fmla="*/ 2308 w 10000"/>
                <a:gd name="connsiteY33" fmla="*/ 7028 h 10000"/>
                <a:gd name="connsiteX34" fmla="*/ 2147 w 10000"/>
                <a:gd name="connsiteY34" fmla="*/ 7131 h 10000"/>
                <a:gd name="connsiteX35" fmla="*/ 2109 w 10000"/>
                <a:gd name="connsiteY35" fmla="*/ 7203 h 10000"/>
                <a:gd name="connsiteX36" fmla="*/ 1983 w 10000"/>
                <a:gd name="connsiteY36" fmla="*/ 7028 h 10000"/>
                <a:gd name="connsiteX37" fmla="*/ 1854 w 10000"/>
                <a:gd name="connsiteY37" fmla="*/ 6884 h 10000"/>
                <a:gd name="connsiteX38" fmla="*/ 1741 w 10000"/>
                <a:gd name="connsiteY38" fmla="*/ 6863 h 10000"/>
                <a:gd name="connsiteX39" fmla="*/ 1610 w 10000"/>
                <a:gd name="connsiteY39" fmla="*/ 7183 h 10000"/>
                <a:gd name="connsiteX40" fmla="*/ 1655 w 10000"/>
                <a:gd name="connsiteY40" fmla="*/ 7430 h 10000"/>
                <a:gd name="connsiteX41" fmla="*/ 1604 w 10000"/>
                <a:gd name="connsiteY41" fmla="*/ 7430 h 10000"/>
                <a:gd name="connsiteX42" fmla="*/ 1551 w 10000"/>
                <a:gd name="connsiteY42" fmla="*/ 7255 h 10000"/>
                <a:gd name="connsiteX43" fmla="*/ 1513 w 10000"/>
                <a:gd name="connsiteY43" fmla="*/ 7430 h 10000"/>
                <a:gd name="connsiteX44" fmla="*/ 1519 w 10000"/>
                <a:gd name="connsiteY44" fmla="*/ 7854 h 10000"/>
                <a:gd name="connsiteX45" fmla="*/ 1604 w 10000"/>
                <a:gd name="connsiteY45" fmla="*/ 8070 h 10000"/>
                <a:gd name="connsiteX46" fmla="*/ 1648 w 10000"/>
                <a:gd name="connsiteY46" fmla="*/ 8019 h 10000"/>
                <a:gd name="connsiteX47" fmla="*/ 1741 w 10000"/>
                <a:gd name="connsiteY47" fmla="*/ 8493 h 10000"/>
                <a:gd name="connsiteX48" fmla="*/ 1610 w 10000"/>
                <a:gd name="connsiteY48" fmla="*/ 8669 h 10000"/>
                <a:gd name="connsiteX49" fmla="*/ 1595 w 10000"/>
                <a:gd name="connsiteY49" fmla="*/ 9009 h 10000"/>
                <a:gd name="connsiteX50" fmla="*/ 1664 w 10000"/>
                <a:gd name="connsiteY50" fmla="*/ 9236 h 10000"/>
                <a:gd name="connsiteX51" fmla="*/ 1664 w 10000"/>
                <a:gd name="connsiteY51" fmla="*/ 9484 h 10000"/>
                <a:gd name="connsiteX52" fmla="*/ 1769 w 10000"/>
                <a:gd name="connsiteY52" fmla="*/ 9835 h 10000"/>
                <a:gd name="connsiteX53" fmla="*/ 1703 w 10000"/>
                <a:gd name="connsiteY53" fmla="*/ 10000 h 10000"/>
                <a:gd name="connsiteX54" fmla="*/ 1604 w 10000"/>
                <a:gd name="connsiteY54" fmla="*/ 9753 h 10000"/>
                <a:gd name="connsiteX55" fmla="*/ 1465 w 10000"/>
                <a:gd name="connsiteY55" fmla="*/ 9505 h 10000"/>
                <a:gd name="connsiteX56" fmla="*/ 1406 w 10000"/>
                <a:gd name="connsiteY56" fmla="*/ 9588 h 10000"/>
                <a:gd name="connsiteX57" fmla="*/ 1308 w 10000"/>
                <a:gd name="connsiteY57" fmla="*/ 9380 h 10000"/>
                <a:gd name="connsiteX58" fmla="*/ 1097 w 10000"/>
                <a:gd name="connsiteY58" fmla="*/ 9339 h 10000"/>
                <a:gd name="connsiteX59" fmla="*/ 848 w 10000"/>
                <a:gd name="connsiteY59" fmla="*/ 8813 h 10000"/>
                <a:gd name="connsiteX60" fmla="*/ 914 w 10000"/>
                <a:gd name="connsiteY60" fmla="*/ 8721 h 10000"/>
                <a:gd name="connsiteX61" fmla="*/ 961 w 10000"/>
                <a:gd name="connsiteY61" fmla="*/ 8493 h 10000"/>
                <a:gd name="connsiteX62" fmla="*/ 908 w 10000"/>
                <a:gd name="connsiteY62" fmla="*/ 8390 h 10000"/>
                <a:gd name="connsiteX63" fmla="*/ 1021 w 10000"/>
                <a:gd name="connsiteY63" fmla="*/ 8245 h 10000"/>
                <a:gd name="connsiteX64" fmla="*/ 945 w 10000"/>
                <a:gd name="connsiteY64" fmla="*/ 8194 h 10000"/>
                <a:gd name="connsiteX65" fmla="*/ 958 w 10000"/>
                <a:gd name="connsiteY65" fmla="*/ 8091 h 10000"/>
                <a:gd name="connsiteX66" fmla="*/ 1005 w 10000"/>
                <a:gd name="connsiteY66" fmla="*/ 8111 h 10000"/>
                <a:gd name="connsiteX67" fmla="*/ 1059 w 10000"/>
                <a:gd name="connsiteY67" fmla="*/ 8019 h 10000"/>
                <a:gd name="connsiteX68" fmla="*/ 1034 w 10000"/>
                <a:gd name="connsiteY68" fmla="*/ 7864 h 10000"/>
                <a:gd name="connsiteX69" fmla="*/ 1043 w 10000"/>
                <a:gd name="connsiteY69" fmla="*/ 7503 h 10000"/>
                <a:gd name="connsiteX70" fmla="*/ 930 w 10000"/>
                <a:gd name="connsiteY70" fmla="*/ 7440 h 10000"/>
                <a:gd name="connsiteX71" fmla="*/ 832 w 10000"/>
                <a:gd name="connsiteY71" fmla="*/ 7286 h 10000"/>
                <a:gd name="connsiteX72" fmla="*/ 700 w 10000"/>
                <a:gd name="connsiteY72" fmla="*/ 7275 h 10000"/>
                <a:gd name="connsiteX73" fmla="*/ 684 w 10000"/>
                <a:gd name="connsiteY73" fmla="*/ 7090 h 10000"/>
                <a:gd name="connsiteX74" fmla="*/ 596 w 10000"/>
                <a:gd name="connsiteY74" fmla="*/ 6945 h 10000"/>
                <a:gd name="connsiteX75" fmla="*/ 615 w 10000"/>
                <a:gd name="connsiteY75" fmla="*/ 6822 h 10000"/>
                <a:gd name="connsiteX76" fmla="*/ 561 w 10000"/>
                <a:gd name="connsiteY76" fmla="*/ 6698 h 10000"/>
                <a:gd name="connsiteX77" fmla="*/ 457 w 10000"/>
                <a:gd name="connsiteY77" fmla="*/ 6698 h 10000"/>
                <a:gd name="connsiteX78" fmla="*/ 425 w 10000"/>
                <a:gd name="connsiteY78" fmla="*/ 6791 h 10000"/>
                <a:gd name="connsiteX79" fmla="*/ 400 w 10000"/>
                <a:gd name="connsiteY79" fmla="*/ 6750 h 10000"/>
                <a:gd name="connsiteX80" fmla="*/ 378 w 10000"/>
                <a:gd name="connsiteY80" fmla="*/ 6439 h 10000"/>
                <a:gd name="connsiteX81" fmla="*/ 419 w 10000"/>
                <a:gd name="connsiteY81" fmla="*/ 6470 h 10000"/>
                <a:gd name="connsiteX82" fmla="*/ 466 w 10000"/>
                <a:gd name="connsiteY82" fmla="*/ 6347 h 10000"/>
                <a:gd name="connsiteX83" fmla="*/ 400 w 10000"/>
                <a:gd name="connsiteY83" fmla="*/ 6233 h 10000"/>
                <a:gd name="connsiteX84" fmla="*/ 315 w 10000"/>
                <a:gd name="connsiteY84" fmla="*/ 6017 h 10000"/>
                <a:gd name="connsiteX85" fmla="*/ 334 w 10000"/>
                <a:gd name="connsiteY85" fmla="*/ 5821 h 10000"/>
                <a:gd name="connsiteX86" fmla="*/ 274 w 10000"/>
                <a:gd name="connsiteY86" fmla="*/ 5697 h 10000"/>
                <a:gd name="connsiteX87" fmla="*/ 227 w 10000"/>
                <a:gd name="connsiteY87" fmla="*/ 5728 h 10000"/>
                <a:gd name="connsiteX88" fmla="*/ 202 w 10000"/>
                <a:gd name="connsiteY88" fmla="*/ 5604 h 10000"/>
                <a:gd name="connsiteX89" fmla="*/ 164 w 10000"/>
                <a:gd name="connsiteY89" fmla="*/ 5645 h 10000"/>
                <a:gd name="connsiteX90" fmla="*/ 117 w 10000"/>
                <a:gd name="connsiteY90" fmla="*/ 5604 h 10000"/>
                <a:gd name="connsiteX91" fmla="*/ 69 w 10000"/>
                <a:gd name="connsiteY91" fmla="*/ 5181 h 10000"/>
                <a:gd name="connsiteX92" fmla="*/ 85 w 10000"/>
                <a:gd name="connsiteY92" fmla="*/ 5057 h 10000"/>
                <a:gd name="connsiteX93" fmla="*/ 41 w 10000"/>
                <a:gd name="connsiteY93" fmla="*/ 4892 h 10000"/>
                <a:gd name="connsiteX94" fmla="*/ 66 w 10000"/>
                <a:gd name="connsiteY94" fmla="*/ 4655 h 10000"/>
                <a:gd name="connsiteX95" fmla="*/ 211 w 10000"/>
                <a:gd name="connsiteY95" fmla="*/ 4510 h 10000"/>
                <a:gd name="connsiteX96" fmla="*/ 129 w 10000"/>
                <a:gd name="connsiteY96" fmla="*/ 4406 h 10000"/>
                <a:gd name="connsiteX97" fmla="*/ 82 w 10000"/>
                <a:gd name="connsiteY97" fmla="*/ 4283 h 10000"/>
                <a:gd name="connsiteX98" fmla="*/ 205 w 10000"/>
                <a:gd name="connsiteY98" fmla="*/ 3912 h 10000"/>
                <a:gd name="connsiteX99" fmla="*/ 249 w 10000"/>
                <a:gd name="connsiteY99" fmla="*/ 3664 h 10000"/>
                <a:gd name="connsiteX100" fmla="*/ 151 w 10000"/>
                <a:gd name="connsiteY100" fmla="*/ 3488 h 10000"/>
                <a:gd name="connsiteX101" fmla="*/ 189 w 10000"/>
                <a:gd name="connsiteY101" fmla="*/ 3344 h 10000"/>
                <a:gd name="connsiteX102" fmla="*/ 113 w 10000"/>
                <a:gd name="connsiteY102" fmla="*/ 3148 h 10000"/>
                <a:gd name="connsiteX103" fmla="*/ 113 w 10000"/>
                <a:gd name="connsiteY103" fmla="*/ 2972 h 10000"/>
                <a:gd name="connsiteX104" fmla="*/ 60 w 10000"/>
                <a:gd name="connsiteY104" fmla="*/ 2622 h 10000"/>
                <a:gd name="connsiteX105" fmla="*/ 98 w 10000"/>
                <a:gd name="connsiteY105" fmla="*/ 2404 h 10000"/>
                <a:gd name="connsiteX106" fmla="*/ 38 w 10000"/>
                <a:gd name="connsiteY106" fmla="*/ 2301 h 10000"/>
                <a:gd name="connsiteX107" fmla="*/ 0 w 10000"/>
                <a:gd name="connsiteY107" fmla="*/ 2178 h 10000"/>
                <a:gd name="connsiteX108" fmla="*/ 54 w 10000"/>
                <a:gd name="connsiteY108" fmla="*/ 1951 h 10000"/>
                <a:gd name="connsiteX109" fmla="*/ 120 w 10000"/>
                <a:gd name="connsiteY109" fmla="*/ 1910 h 10000"/>
                <a:gd name="connsiteX110" fmla="*/ 195 w 10000"/>
                <a:gd name="connsiteY110" fmla="*/ 1858 h 10000"/>
                <a:gd name="connsiteX111" fmla="*/ 309 w 10000"/>
                <a:gd name="connsiteY111" fmla="*/ 1951 h 10000"/>
                <a:gd name="connsiteX112" fmla="*/ 482 w 10000"/>
                <a:gd name="connsiteY112" fmla="*/ 2054 h 10000"/>
                <a:gd name="connsiteX113" fmla="*/ 633 w 10000"/>
                <a:gd name="connsiteY113" fmla="*/ 2229 h 10000"/>
                <a:gd name="connsiteX114" fmla="*/ 756 w 10000"/>
                <a:gd name="connsiteY114" fmla="*/ 2373 h 10000"/>
                <a:gd name="connsiteX115" fmla="*/ 725 w 10000"/>
                <a:gd name="connsiteY115" fmla="*/ 2777 h 10000"/>
                <a:gd name="connsiteX116" fmla="*/ 362 w 10000"/>
                <a:gd name="connsiteY116" fmla="*/ 2673 h 10000"/>
                <a:gd name="connsiteX117" fmla="*/ 243 w 10000"/>
                <a:gd name="connsiteY117" fmla="*/ 2550 h 10000"/>
                <a:gd name="connsiteX118" fmla="*/ 287 w 10000"/>
                <a:gd name="connsiteY118" fmla="*/ 2622 h 10000"/>
                <a:gd name="connsiteX119" fmla="*/ 331 w 10000"/>
                <a:gd name="connsiteY119" fmla="*/ 2797 h 10000"/>
                <a:gd name="connsiteX120" fmla="*/ 400 w 10000"/>
                <a:gd name="connsiteY120" fmla="*/ 2921 h 10000"/>
                <a:gd name="connsiteX121" fmla="*/ 416 w 10000"/>
                <a:gd name="connsiteY121" fmla="*/ 3189 h 10000"/>
                <a:gd name="connsiteX122" fmla="*/ 507 w 10000"/>
                <a:gd name="connsiteY122" fmla="*/ 3313 h 10000"/>
                <a:gd name="connsiteX123" fmla="*/ 583 w 10000"/>
                <a:gd name="connsiteY123" fmla="*/ 3436 h 10000"/>
                <a:gd name="connsiteX124" fmla="*/ 605 w 10000"/>
                <a:gd name="connsiteY124" fmla="*/ 3467 h 10000"/>
                <a:gd name="connsiteX125" fmla="*/ 649 w 10000"/>
                <a:gd name="connsiteY125" fmla="*/ 3436 h 10000"/>
                <a:gd name="connsiteX126" fmla="*/ 633 w 10000"/>
                <a:gd name="connsiteY126" fmla="*/ 3364 h 10000"/>
                <a:gd name="connsiteX127" fmla="*/ 545 w 10000"/>
                <a:gd name="connsiteY127" fmla="*/ 3189 h 10000"/>
                <a:gd name="connsiteX128" fmla="*/ 801 w 10000"/>
                <a:gd name="connsiteY128" fmla="*/ 3344 h 10000"/>
                <a:gd name="connsiteX129" fmla="*/ 810 w 10000"/>
                <a:gd name="connsiteY129" fmla="*/ 3271 h 10000"/>
                <a:gd name="connsiteX130" fmla="*/ 785 w 10000"/>
                <a:gd name="connsiteY130" fmla="*/ 3220 h 10000"/>
                <a:gd name="connsiteX131" fmla="*/ 741 w 10000"/>
                <a:gd name="connsiteY131" fmla="*/ 2993 h 10000"/>
                <a:gd name="connsiteX132" fmla="*/ 870 w 10000"/>
                <a:gd name="connsiteY132" fmla="*/ 2777 h 10000"/>
                <a:gd name="connsiteX133" fmla="*/ 968 w 10000"/>
                <a:gd name="connsiteY133" fmla="*/ 2921 h 10000"/>
                <a:gd name="connsiteX134" fmla="*/ 999 w 10000"/>
                <a:gd name="connsiteY134" fmla="*/ 2725 h 10000"/>
                <a:gd name="connsiteX135" fmla="*/ 952 w 10000"/>
                <a:gd name="connsiteY135" fmla="*/ 2653 h 10000"/>
                <a:gd name="connsiteX136" fmla="*/ 936 w 10000"/>
                <a:gd name="connsiteY136" fmla="*/ 2281 h 10000"/>
                <a:gd name="connsiteX137" fmla="*/ 914 w 10000"/>
                <a:gd name="connsiteY137" fmla="*/ 2229 h 10000"/>
                <a:gd name="connsiteX138" fmla="*/ 1037 w 10000"/>
                <a:gd name="connsiteY138" fmla="*/ 2250 h 10000"/>
                <a:gd name="connsiteX139" fmla="*/ 1087 w 10000"/>
                <a:gd name="connsiteY139" fmla="*/ 2404 h 10000"/>
                <a:gd name="connsiteX140" fmla="*/ 1021 w 10000"/>
                <a:gd name="connsiteY140" fmla="*/ 2529 h 10000"/>
                <a:gd name="connsiteX141" fmla="*/ 1135 w 10000"/>
                <a:gd name="connsiteY141" fmla="*/ 2694 h 10000"/>
                <a:gd name="connsiteX142" fmla="*/ 1226 w 10000"/>
                <a:gd name="connsiteY142" fmla="*/ 2529 h 10000"/>
                <a:gd name="connsiteX143" fmla="*/ 1339 w 10000"/>
                <a:gd name="connsiteY143" fmla="*/ 2301 h 10000"/>
                <a:gd name="connsiteX144" fmla="*/ 1459 w 10000"/>
                <a:gd name="connsiteY144" fmla="*/ 2157 h 10000"/>
                <a:gd name="connsiteX145" fmla="*/ 1497 w 10000"/>
                <a:gd name="connsiteY145" fmla="*/ 2250 h 10000"/>
                <a:gd name="connsiteX146" fmla="*/ 1807 w 10000"/>
                <a:gd name="connsiteY146" fmla="*/ 2054 h 10000"/>
                <a:gd name="connsiteX147" fmla="*/ 1870 w 10000"/>
                <a:gd name="connsiteY147" fmla="*/ 2250 h 10000"/>
                <a:gd name="connsiteX148" fmla="*/ 1860 w 10000"/>
                <a:gd name="connsiteY148" fmla="*/ 2002 h 10000"/>
                <a:gd name="connsiteX149" fmla="*/ 1778 w 10000"/>
                <a:gd name="connsiteY149" fmla="*/ 1786 h 10000"/>
                <a:gd name="connsiteX150" fmla="*/ 1763 w 10000"/>
                <a:gd name="connsiteY150" fmla="*/ 1703 h 10000"/>
                <a:gd name="connsiteX151" fmla="*/ 1823 w 10000"/>
                <a:gd name="connsiteY151" fmla="*/ 1786 h 10000"/>
                <a:gd name="connsiteX152" fmla="*/ 2034 w 10000"/>
                <a:gd name="connsiteY152" fmla="*/ 1951 h 10000"/>
                <a:gd name="connsiteX153" fmla="*/ 2270 w 10000"/>
                <a:gd name="connsiteY153" fmla="*/ 2126 h 10000"/>
                <a:gd name="connsiteX154" fmla="*/ 2384 w 10000"/>
                <a:gd name="connsiteY154" fmla="*/ 2250 h 10000"/>
                <a:gd name="connsiteX155" fmla="*/ 2421 w 10000"/>
                <a:gd name="connsiteY155" fmla="*/ 2074 h 10000"/>
                <a:gd name="connsiteX156" fmla="*/ 2368 w 10000"/>
                <a:gd name="connsiteY156" fmla="*/ 2033 h 10000"/>
                <a:gd name="connsiteX157" fmla="*/ 2299 w 10000"/>
                <a:gd name="connsiteY157" fmla="*/ 1930 h 10000"/>
                <a:gd name="connsiteX158" fmla="*/ 2254 w 10000"/>
                <a:gd name="connsiteY158" fmla="*/ 1734 h 10000"/>
                <a:gd name="connsiteX159" fmla="*/ 2185 w 10000"/>
                <a:gd name="connsiteY159" fmla="*/ 1486 h 10000"/>
                <a:gd name="connsiteX160" fmla="*/ 2210 w 10000"/>
                <a:gd name="connsiteY160" fmla="*/ 1434 h 10000"/>
                <a:gd name="connsiteX161" fmla="*/ 2232 w 10000"/>
                <a:gd name="connsiteY161" fmla="*/ 1455 h 10000"/>
                <a:gd name="connsiteX162" fmla="*/ 2292 w 10000"/>
                <a:gd name="connsiteY162" fmla="*/ 1115 h 10000"/>
                <a:gd name="connsiteX163" fmla="*/ 2443 w 10000"/>
                <a:gd name="connsiteY163" fmla="*/ 1135 h 10000"/>
                <a:gd name="connsiteX164" fmla="*/ 2488 w 10000"/>
                <a:gd name="connsiteY164" fmla="*/ 1311 h 10000"/>
                <a:gd name="connsiteX165" fmla="*/ 2519 w 10000"/>
                <a:gd name="connsiteY165" fmla="*/ 1538 h 10000"/>
                <a:gd name="connsiteX166" fmla="*/ 2573 w 10000"/>
                <a:gd name="connsiteY166" fmla="*/ 1734 h 10000"/>
                <a:gd name="connsiteX167" fmla="*/ 2670 w 10000"/>
                <a:gd name="connsiteY167" fmla="*/ 2157 h 10000"/>
                <a:gd name="connsiteX168" fmla="*/ 2481 w 10000"/>
                <a:gd name="connsiteY168" fmla="*/ 2673 h 10000"/>
                <a:gd name="connsiteX169" fmla="*/ 2557 w 10000"/>
                <a:gd name="connsiteY169" fmla="*/ 2746 h 10000"/>
                <a:gd name="connsiteX170" fmla="*/ 2655 w 10000"/>
                <a:gd name="connsiteY170" fmla="*/ 2818 h 10000"/>
                <a:gd name="connsiteX171" fmla="*/ 2784 w 10000"/>
                <a:gd name="connsiteY171" fmla="*/ 2622 h 10000"/>
                <a:gd name="connsiteX172" fmla="*/ 2790 w 10000"/>
                <a:gd name="connsiteY172" fmla="*/ 2404 h 10000"/>
                <a:gd name="connsiteX173" fmla="*/ 2746 w 10000"/>
                <a:gd name="connsiteY173" fmla="*/ 2301 h 10000"/>
                <a:gd name="connsiteX174" fmla="*/ 2919 w 10000"/>
                <a:gd name="connsiteY174" fmla="*/ 2250 h 10000"/>
                <a:gd name="connsiteX175" fmla="*/ 2989 w 10000"/>
                <a:gd name="connsiteY175" fmla="*/ 2497 h 10000"/>
                <a:gd name="connsiteX176" fmla="*/ 2989 w 10000"/>
                <a:gd name="connsiteY176" fmla="*/ 2425 h 10000"/>
                <a:gd name="connsiteX177" fmla="*/ 2973 w 10000"/>
                <a:gd name="connsiteY177" fmla="*/ 2353 h 10000"/>
                <a:gd name="connsiteX178" fmla="*/ 2967 w 10000"/>
                <a:gd name="connsiteY178" fmla="*/ 2178 h 10000"/>
                <a:gd name="connsiteX179" fmla="*/ 2800 w 10000"/>
                <a:gd name="connsiteY179" fmla="*/ 1930 h 10000"/>
                <a:gd name="connsiteX180" fmla="*/ 2670 w 10000"/>
                <a:gd name="connsiteY180" fmla="*/ 2002 h 10000"/>
                <a:gd name="connsiteX181" fmla="*/ 2617 w 10000"/>
                <a:gd name="connsiteY181" fmla="*/ 1683 h 10000"/>
                <a:gd name="connsiteX182" fmla="*/ 2563 w 10000"/>
                <a:gd name="connsiteY182" fmla="*/ 1507 h 10000"/>
                <a:gd name="connsiteX183" fmla="*/ 2617 w 10000"/>
                <a:gd name="connsiteY183" fmla="*/ 1331 h 10000"/>
                <a:gd name="connsiteX184" fmla="*/ 2611 w 10000"/>
                <a:gd name="connsiteY184" fmla="*/ 1166 h 10000"/>
                <a:gd name="connsiteX185" fmla="*/ 2588 w 10000"/>
                <a:gd name="connsiteY185" fmla="*/ 1115 h 10000"/>
                <a:gd name="connsiteX186" fmla="*/ 2626 w 10000"/>
                <a:gd name="connsiteY186" fmla="*/ 1115 h 10000"/>
                <a:gd name="connsiteX187" fmla="*/ 2670 w 10000"/>
                <a:gd name="connsiteY187" fmla="*/ 1455 h 10000"/>
                <a:gd name="connsiteX188" fmla="*/ 2891 w 10000"/>
                <a:gd name="connsiteY188" fmla="*/ 1662 h 10000"/>
                <a:gd name="connsiteX189" fmla="*/ 2724 w 10000"/>
                <a:gd name="connsiteY189" fmla="*/ 1383 h 10000"/>
                <a:gd name="connsiteX190" fmla="*/ 3049 w 10000"/>
                <a:gd name="connsiteY190" fmla="*/ 1383 h 10000"/>
                <a:gd name="connsiteX191" fmla="*/ 3102 w 10000"/>
                <a:gd name="connsiteY191" fmla="*/ 1362 h 10000"/>
                <a:gd name="connsiteX192" fmla="*/ 2897 w 10000"/>
                <a:gd name="connsiteY192" fmla="*/ 1115 h 10000"/>
                <a:gd name="connsiteX193" fmla="*/ 2951 w 10000"/>
                <a:gd name="connsiteY193" fmla="*/ 888 h 10000"/>
                <a:gd name="connsiteX194" fmla="*/ 3178 w 10000"/>
                <a:gd name="connsiteY194" fmla="*/ 888 h 10000"/>
                <a:gd name="connsiteX195" fmla="*/ 3156 w 10000"/>
                <a:gd name="connsiteY195" fmla="*/ 713 h 10000"/>
                <a:gd name="connsiteX196" fmla="*/ 3231 w 10000"/>
                <a:gd name="connsiteY196" fmla="*/ 589 h 10000"/>
                <a:gd name="connsiteX197" fmla="*/ 3276 w 10000"/>
                <a:gd name="connsiteY197" fmla="*/ 548 h 10000"/>
                <a:gd name="connsiteX198" fmla="*/ 3443 w 10000"/>
                <a:gd name="connsiteY198" fmla="*/ 423 h 10000"/>
                <a:gd name="connsiteX199" fmla="*/ 3487 w 10000"/>
                <a:gd name="connsiteY199" fmla="*/ 371 h 10000"/>
                <a:gd name="connsiteX200" fmla="*/ 3480 w 10000"/>
                <a:gd name="connsiteY200" fmla="*/ 444 h 10000"/>
                <a:gd name="connsiteX201" fmla="*/ 3660 w 10000"/>
                <a:gd name="connsiteY201" fmla="*/ 371 h 10000"/>
                <a:gd name="connsiteX202" fmla="*/ 3805 w 10000"/>
                <a:gd name="connsiteY202" fmla="*/ 248 h 10000"/>
                <a:gd name="connsiteX203" fmla="*/ 3827 w 10000"/>
                <a:gd name="connsiteY203" fmla="*/ 0 h 10000"/>
                <a:gd name="connsiteX204" fmla="*/ 3988 w 10000"/>
                <a:gd name="connsiteY204" fmla="*/ 21 h 10000"/>
                <a:gd name="connsiteX205" fmla="*/ 3978 w 10000"/>
                <a:gd name="connsiteY205" fmla="*/ 93 h 10000"/>
                <a:gd name="connsiteX206" fmla="*/ 3988 w 10000"/>
                <a:gd name="connsiteY206" fmla="*/ 176 h 10000"/>
                <a:gd name="connsiteX207" fmla="*/ 4085 w 10000"/>
                <a:gd name="connsiteY207" fmla="*/ 248 h 10000"/>
                <a:gd name="connsiteX208" fmla="*/ 4379 w 10000"/>
                <a:gd name="connsiteY208" fmla="*/ 268 h 10000"/>
                <a:gd name="connsiteX209" fmla="*/ 4539 w 10000"/>
                <a:gd name="connsiteY209" fmla="*/ 392 h 10000"/>
                <a:gd name="connsiteX210" fmla="*/ 4486 w 10000"/>
                <a:gd name="connsiteY210" fmla="*/ 795 h 10000"/>
                <a:gd name="connsiteX211" fmla="*/ 4426 w 10000"/>
                <a:gd name="connsiteY211" fmla="*/ 919 h 10000"/>
                <a:gd name="connsiteX212" fmla="*/ 4356 w 10000"/>
                <a:gd name="connsiteY212" fmla="*/ 1043 h 10000"/>
                <a:gd name="connsiteX213" fmla="*/ 4372 w 10000"/>
                <a:gd name="connsiteY213" fmla="*/ 1115 h 10000"/>
                <a:gd name="connsiteX214" fmla="*/ 4583 w 10000"/>
                <a:gd name="connsiteY214" fmla="*/ 919 h 10000"/>
                <a:gd name="connsiteX215" fmla="*/ 5060 w 10000"/>
                <a:gd name="connsiteY215" fmla="*/ 991 h 10000"/>
                <a:gd name="connsiteX216" fmla="*/ 5108 w 10000"/>
                <a:gd name="connsiteY216" fmla="*/ 1063 h 10000"/>
                <a:gd name="connsiteX217" fmla="*/ 5212 w 10000"/>
                <a:gd name="connsiteY217" fmla="*/ 1187 h 10000"/>
                <a:gd name="connsiteX218" fmla="*/ 5357 w 10000"/>
                <a:gd name="connsiteY218" fmla="*/ 919 h 10000"/>
                <a:gd name="connsiteX219" fmla="*/ 5577 w 10000"/>
                <a:gd name="connsiteY219" fmla="*/ 1063 h 10000"/>
                <a:gd name="connsiteX220" fmla="*/ 5643 w 10000"/>
                <a:gd name="connsiteY220" fmla="*/ 1115 h 10000"/>
                <a:gd name="connsiteX221" fmla="*/ 5697 w 10000"/>
                <a:gd name="connsiteY221" fmla="*/ 1166 h 10000"/>
                <a:gd name="connsiteX222" fmla="*/ 5908 w 10000"/>
                <a:gd name="connsiteY222" fmla="*/ 1631 h 10000"/>
                <a:gd name="connsiteX223" fmla="*/ 5984 w 10000"/>
                <a:gd name="connsiteY223" fmla="*/ 1611 h 10000"/>
                <a:gd name="connsiteX224" fmla="*/ 5977 w 10000"/>
                <a:gd name="connsiteY224" fmla="*/ 1507 h 10000"/>
                <a:gd name="connsiteX225" fmla="*/ 5984 w 10000"/>
                <a:gd name="connsiteY225" fmla="*/ 1383 h 10000"/>
                <a:gd name="connsiteX226" fmla="*/ 6091 w 10000"/>
                <a:gd name="connsiteY226" fmla="*/ 1486 h 10000"/>
                <a:gd name="connsiteX227" fmla="*/ 6264 w 10000"/>
                <a:gd name="connsiteY227" fmla="*/ 1507 h 10000"/>
                <a:gd name="connsiteX228" fmla="*/ 6409 w 10000"/>
                <a:gd name="connsiteY228" fmla="*/ 1455 h 10000"/>
                <a:gd name="connsiteX229" fmla="*/ 6340 w 10000"/>
                <a:gd name="connsiteY229" fmla="*/ 1362 h 10000"/>
                <a:gd name="connsiteX230" fmla="*/ 6431 w 10000"/>
                <a:gd name="connsiteY230" fmla="*/ 1084 h 10000"/>
                <a:gd name="connsiteX231" fmla="*/ 6687 w 10000"/>
                <a:gd name="connsiteY231" fmla="*/ 1207 h 10000"/>
                <a:gd name="connsiteX232" fmla="*/ 6945 w 10000"/>
                <a:gd name="connsiteY232" fmla="*/ 1331 h 10000"/>
                <a:gd name="connsiteX233" fmla="*/ 6967 w 10000"/>
                <a:gd name="connsiteY233" fmla="*/ 1362 h 10000"/>
                <a:gd name="connsiteX234" fmla="*/ 7194 w 10000"/>
                <a:gd name="connsiteY234" fmla="*/ 1611 h 10000"/>
                <a:gd name="connsiteX235" fmla="*/ 7367 w 10000"/>
                <a:gd name="connsiteY235" fmla="*/ 1507 h 10000"/>
                <a:gd name="connsiteX236" fmla="*/ 7582 w 10000"/>
                <a:gd name="connsiteY236" fmla="*/ 1538 h 10000"/>
                <a:gd name="connsiteX237" fmla="*/ 7657 w 10000"/>
                <a:gd name="connsiteY237" fmla="*/ 1611 h 10000"/>
                <a:gd name="connsiteX238" fmla="*/ 7928 w 10000"/>
                <a:gd name="connsiteY238" fmla="*/ 1930 h 10000"/>
                <a:gd name="connsiteX239" fmla="*/ 8231 w 10000"/>
                <a:gd name="connsiteY239" fmla="*/ 1879 h 10000"/>
                <a:gd name="connsiteX240" fmla="*/ 8339 w 10000"/>
                <a:gd name="connsiteY240" fmla="*/ 2033 h 10000"/>
                <a:gd name="connsiteX241" fmla="*/ 8490 w 10000"/>
                <a:gd name="connsiteY241" fmla="*/ 2157 h 10000"/>
                <a:gd name="connsiteX242" fmla="*/ 8519 w 10000"/>
                <a:gd name="connsiteY242" fmla="*/ 2105 h 10000"/>
                <a:gd name="connsiteX243" fmla="*/ 8497 w 10000"/>
                <a:gd name="connsiteY243" fmla="*/ 2074 h 10000"/>
                <a:gd name="connsiteX244" fmla="*/ 8383 w 10000"/>
                <a:gd name="connsiteY244" fmla="*/ 1930 h 10000"/>
                <a:gd name="connsiteX245" fmla="*/ 8465 w 10000"/>
                <a:gd name="connsiteY245" fmla="*/ 1755 h 10000"/>
                <a:gd name="connsiteX246" fmla="*/ 8664 w 10000"/>
                <a:gd name="connsiteY246" fmla="*/ 1910 h 10000"/>
                <a:gd name="connsiteX247" fmla="*/ 8950 w 10000"/>
                <a:gd name="connsiteY247" fmla="*/ 1982 h 10000"/>
                <a:gd name="connsiteX248" fmla="*/ 9206 w 10000"/>
                <a:gd name="connsiteY248" fmla="*/ 2260 h 10000"/>
                <a:gd name="connsiteX249" fmla="*/ 9344 w 10000"/>
                <a:gd name="connsiteY249" fmla="*/ 2332 h 10000"/>
                <a:gd name="connsiteX250" fmla="*/ 9451 w 10000"/>
                <a:gd name="connsiteY250" fmla="*/ 2446 h 10000"/>
                <a:gd name="connsiteX251" fmla="*/ 9574 w 10000"/>
                <a:gd name="connsiteY251" fmla="*/ 2632 h 10000"/>
                <a:gd name="connsiteX252" fmla="*/ 9631 w 10000"/>
                <a:gd name="connsiteY252" fmla="*/ 2756 h 10000"/>
                <a:gd name="connsiteX253" fmla="*/ 9726 w 10000"/>
                <a:gd name="connsiteY253" fmla="*/ 2787 h 10000"/>
                <a:gd name="connsiteX254" fmla="*/ 9590 w 10000"/>
                <a:gd name="connsiteY254" fmla="*/ 2570 h 10000"/>
                <a:gd name="connsiteX255" fmla="*/ 9915 w 10000"/>
                <a:gd name="connsiteY255" fmla="*/ 2756 h 10000"/>
                <a:gd name="connsiteX256" fmla="*/ 10000 w 10000"/>
                <a:gd name="connsiteY256" fmla="*/ 3014 h 10000"/>
                <a:gd name="connsiteX257" fmla="*/ 9934 w 10000"/>
                <a:gd name="connsiteY257" fmla="*/ 2941 h 10000"/>
                <a:gd name="connsiteX258" fmla="*/ 9874 w 10000"/>
                <a:gd name="connsiteY258" fmla="*/ 2952 h 10000"/>
                <a:gd name="connsiteX259" fmla="*/ 10000 w 10000"/>
                <a:gd name="connsiteY259" fmla="*/ 3292 h 10000"/>
                <a:gd name="connsiteX260" fmla="*/ 9845 w 10000"/>
                <a:gd name="connsiteY260" fmla="*/ 3220 h 10000"/>
                <a:gd name="connsiteX261" fmla="*/ 9745 w 10000"/>
                <a:gd name="connsiteY261" fmla="*/ 3075 h 10000"/>
                <a:gd name="connsiteX262" fmla="*/ 9641 w 10000"/>
                <a:gd name="connsiteY262" fmla="*/ 2972 h 10000"/>
                <a:gd name="connsiteX263" fmla="*/ 9555 w 10000"/>
                <a:gd name="connsiteY263" fmla="*/ 3003 h 10000"/>
                <a:gd name="connsiteX264" fmla="*/ 9470 w 10000"/>
                <a:gd name="connsiteY264" fmla="*/ 2787 h 10000"/>
                <a:gd name="connsiteX265" fmla="*/ 9366 w 10000"/>
                <a:gd name="connsiteY265" fmla="*/ 2725 h 10000"/>
                <a:gd name="connsiteX266" fmla="*/ 9461 w 10000"/>
                <a:gd name="connsiteY266" fmla="*/ 2972 h 10000"/>
                <a:gd name="connsiteX267" fmla="*/ 9470 w 10000"/>
                <a:gd name="connsiteY267" fmla="*/ 3230 h 10000"/>
                <a:gd name="connsiteX268" fmla="*/ 9288 w 10000"/>
                <a:gd name="connsiteY268" fmla="*/ 3065 h 10000"/>
                <a:gd name="connsiteX269" fmla="*/ 9262 w 10000"/>
                <a:gd name="connsiteY269" fmla="*/ 3230 h 10000"/>
                <a:gd name="connsiteX270" fmla="*/ 9363 w 10000"/>
                <a:gd name="connsiteY270" fmla="*/ 3230 h 10000"/>
                <a:gd name="connsiteX271" fmla="*/ 9451 w 10000"/>
                <a:gd name="connsiteY271" fmla="*/ 3354 h 10000"/>
                <a:gd name="connsiteX272" fmla="*/ 9659 w 10000"/>
                <a:gd name="connsiteY272" fmla="*/ 3685 h 10000"/>
                <a:gd name="connsiteX273" fmla="*/ 9735 w 10000"/>
                <a:gd name="connsiteY273" fmla="*/ 3839 h 10000"/>
                <a:gd name="connsiteX274" fmla="*/ 9552 w 10000"/>
                <a:gd name="connsiteY274" fmla="*/ 3757 h 10000"/>
                <a:gd name="connsiteX275" fmla="*/ 9451 w 10000"/>
                <a:gd name="connsiteY275" fmla="*/ 4025 h 10000"/>
                <a:gd name="connsiteX276" fmla="*/ 9385 w 10000"/>
                <a:gd name="connsiteY276" fmla="*/ 4283 h 10000"/>
                <a:gd name="connsiteX277" fmla="*/ 9376 w 10000"/>
                <a:gd name="connsiteY277" fmla="*/ 4499 h 10000"/>
                <a:gd name="connsiteX278" fmla="*/ 9335 w 10000"/>
                <a:gd name="connsiteY278" fmla="*/ 4303 h 10000"/>
                <a:gd name="connsiteX279" fmla="*/ 9149 w 10000"/>
                <a:gd name="connsiteY279" fmla="*/ 4314 h 10000"/>
                <a:gd name="connsiteX280" fmla="*/ 9155 w 10000"/>
                <a:gd name="connsiteY280" fmla="*/ 4531 h 10000"/>
                <a:gd name="connsiteX281" fmla="*/ 9061 w 10000"/>
                <a:gd name="connsiteY281" fmla="*/ 4365 h 10000"/>
                <a:gd name="connsiteX282" fmla="*/ 9054 w 10000"/>
                <a:gd name="connsiteY282" fmla="*/ 4521 h 10000"/>
                <a:gd name="connsiteX283" fmla="*/ 8998 w 10000"/>
                <a:gd name="connsiteY283" fmla="*/ 4458 h 10000"/>
                <a:gd name="connsiteX284" fmla="*/ 8966 w 10000"/>
                <a:gd name="connsiteY284" fmla="*/ 4562 h 10000"/>
                <a:gd name="connsiteX285" fmla="*/ 9007 w 10000"/>
                <a:gd name="connsiteY285" fmla="*/ 4686 h 10000"/>
                <a:gd name="connsiteX286" fmla="*/ 9004 w 10000"/>
                <a:gd name="connsiteY286" fmla="*/ 4995 h 10000"/>
                <a:gd name="connsiteX287" fmla="*/ 9073 w 10000"/>
                <a:gd name="connsiteY287" fmla="*/ 5211 h 10000"/>
                <a:gd name="connsiteX288" fmla="*/ 9130 w 10000"/>
                <a:gd name="connsiteY288" fmla="*/ 5150 h 10000"/>
                <a:gd name="connsiteX289" fmla="*/ 9158 w 10000"/>
                <a:gd name="connsiteY289" fmla="*/ 5211 h 10000"/>
                <a:gd name="connsiteX290" fmla="*/ 9231 w 10000"/>
                <a:gd name="connsiteY290" fmla="*/ 5428 h 10000"/>
                <a:gd name="connsiteX291" fmla="*/ 9215 w 10000"/>
                <a:gd name="connsiteY291" fmla="*/ 5604 h 10000"/>
                <a:gd name="connsiteX292" fmla="*/ 9221 w 10000"/>
                <a:gd name="connsiteY292" fmla="*/ 5769 h 10000"/>
                <a:gd name="connsiteX293" fmla="*/ 9269 w 10000"/>
                <a:gd name="connsiteY293" fmla="*/ 5883 h 10000"/>
                <a:gd name="connsiteX294" fmla="*/ 9344 w 10000"/>
                <a:gd name="connsiteY294" fmla="*/ 6068 h 10000"/>
                <a:gd name="connsiteX295" fmla="*/ 9269 w 10000"/>
                <a:gd name="connsiteY295" fmla="*/ 6068 h 10000"/>
                <a:gd name="connsiteX296" fmla="*/ 9253 w 10000"/>
                <a:gd name="connsiteY296" fmla="*/ 6223 h 10000"/>
                <a:gd name="connsiteX297" fmla="*/ 9319 w 10000"/>
                <a:gd name="connsiteY297" fmla="*/ 6408 h 10000"/>
                <a:gd name="connsiteX298" fmla="*/ 9250 w 10000"/>
                <a:gd name="connsiteY298" fmla="*/ 6502 h 10000"/>
                <a:gd name="connsiteX299" fmla="*/ 9297 w 10000"/>
                <a:gd name="connsiteY299" fmla="*/ 6729 h 10000"/>
                <a:gd name="connsiteX300" fmla="*/ 9281 w 10000"/>
                <a:gd name="connsiteY300" fmla="*/ 7069 h 10000"/>
                <a:gd name="connsiteX301" fmla="*/ 9061 w 10000"/>
                <a:gd name="connsiteY301" fmla="*/ 6408 h 10000"/>
                <a:gd name="connsiteX302" fmla="*/ 8824 w 10000"/>
                <a:gd name="connsiteY302" fmla="*/ 5759 h 10000"/>
                <a:gd name="connsiteX303" fmla="*/ 8771 w 10000"/>
                <a:gd name="connsiteY303" fmla="*/ 5459 h 10000"/>
                <a:gd name="connsiteX304" fmla="*/ 8768 w 10000"/>
                <a:gd name="connsiteY304" fmla="*/ 5211 h 10000"/>
                <a:gd name="connsiteX305" fmla="*/ 8692 w 10000"/>
                <a:gd name="connsiteY305" fmla="*/ 5047 h 10000"/>
                <a:gd name="connsiteX306" fmla="*/ 8771 w 10000"/>
                <a:gd name="connsiteY306" fmla="*/ 5088 h 10000"/>
                <a:gd name="connsiteX307" fmla="*/ 8809 w 10000"/>
                <a:gd name="connsiteY307" fmla="*/ 5108 h 10000"/>
                <a:gd name="connsiteX308" fmla="*/ 8809 w 10000"/>
                <a:gd name="connsiteY308" fmla="*/ 4840 h 10000"/>
                <a:gd name="connsiteX309" fmla="*/ 8827 w 10000"/>
                <a:gd name="connsiteY309" fmla="*/ 4437 h 10000"/>
                <a:gd name="connsiteX310" fmla="*/ 8853 w 10000"/>
                <a:gd name="connsiteY310" fmla="*/ 4252 h 10000"/>
                <a:gd name="connsiteX311" fmla="*/ 8909 w 10000"/>
                <a:gd name="connsiteY311" fmla="*/ 4221 h 10000"/>
                <a:gd name="connsiteX312" fmla="*/ 8786 w 10000"/>
                <a:gd name="connsiteY312" fmla="*/ 3901 h 10000"/>
                <a:gd name="connsiteX313" fmla="*/ 8853 w 10000"/>
                <a:gd name="connsiteY313" fmla="*/ 3839 h 10000"/>
                <a:gd name="connsiteX314" fmla="*/ 8739 w 10000"/>
                <a:gd name="connsiteY314" fmla="*/ 3788 h 10000"/>
                <a:gd name="connsiteX315" fmla="*/ 8755 w 10000"/>
                <a:gd name="connsiteY315" fmla="*/ 3984 h 10000"/>
                <a:gd name="connsiteX316" fmla="*/ 8692 w 10000"/>
                <a:gd name="connsiteY316" fmla="*/ 4303 h 10000"/>
                <a:gd name="connsiteX317" fmla="*/ 8604 w 10000"/>
                <a:gd name="connsiteY317" fmla="*/ 4210 h 10000"/>
                <a:gd name="connsiteX318" fmla="*/ 8550 w 10000"/>
                <a:gd name="connsiteY318" fmla="*/ 4056 h 10000"/>
                <a:gd name="connsiteX319" fmla="*/ 8481 w 10000"/>
                <a:gd name="connsiteY319" fmla="*/ 4138 h 10000"/>
                <a:gd name="connsiteX320" fmla="*/ 8389 w 10000"/>
                <a:gd name="connsiteY320" fmla="*/ 4107 h 10000"/>
                <a:gd name="connsiteX321" fmla="*/ 8352 w 10000"/>
                <a:gd name="connsiteY321" fmla="*/ 4406 h 10000"/>
                <a:gd name="connsiteX322" fmla="*/ 8481 w 10000"/>
                <a:gd name="connsiteY322" fmla="*/ 4655 h 10000"/>
                <a:gd name="connsiteX323" fmla="*/ 8405 w 10000"/>
                <a:gd name="connsiteY323" fmla="*/ 4830 h 10000"/>
                <a:gd name="connsiteX324" fmla="*/ 8225 w 10000"/>
                <a:gd name="connsiteY324" fmla="*/ 4799 h 10000"/>
                <a:gd name="connsiteX325" fmla="*/ 8209 w 10000"/>
                <a:gd name="connsiteY325" fmla="*/ 4655 h 10000"/>
                <a:gd name="connsiteX326" fmla="*/ 8102 w 10000"/>
                <a:gd name="connsiteY326" fmla="*/ 4634 h 10000"/>
                <a:gd name="connsiteX327" fmla="*/ 7641 w 10000"/>
                <a:gd name="connsiteY327" fmla="*/ 4779 h 10000"/>
                <a:gd name="connsiteX328" fmla="*/ 7610 w 10000"/>
                <a:gd name="connsiteY328" fmla="*/ 5005 h 10000"/>
                <a:gd name="connsiteX329" fmla="*/ 7550 w 10000"/>
                <a:gd name="connsiteY329" fmla="*/ 5666 h 10000"/>
                <a:gd name="connsiteX330" fmla="*/ 7496 w 10000"/>
                <a:gd name="connsiteY330" fmla="*/ 5965 h 10000"/>
                <a:gd name="connsiteX331" fmla="*/ 7701 w 10000"/>
                <a:gd name="connsiteY331" fmla="*/ 6161 h 10000"/>
                <a:gd name="connsiteX332" fmla="*/ 7745 w 10000"/>
                <a:gd name="connsiteY332" fmla="*/ 6243 h 10000"/>
                <a:gd name="connsiteX333" fmla="*/ 7771 w 10000"/>
                <a:gd name="connsiteY333" fmla="*/ 6285 h 10000"/>
                <a:gd name="connsiteX334" fmla="*/ 7793 w 10000"/>
                <a:gd name="connsiteY334" fmla="*/ 6068 h 10000"/>
                <a:gd name="connsiteX335" fmla="*/ 7912 w 10000"/>
                <a:gd name="connsiteY335" fmla="*/ 6089 h 10000"/>
                <a:gd name="connsiteX336" fmla="*/ 8004 w 10000"/>
                <a:gd name="connsiteY336" fmla="*/ 6367 h 10000"/>
                <a:gd name="connsiteX337" fmla="*/ 8064 w 10000"/>
                <a:gd name="connsiteY337" fmla="*/ 6616 h 10000"/>
                <a:gd name="connsiteX338" fmla="*/ 8111 w 10000"/>
                <a:gd name="connsiteY338" fmla="*/ 6781 h 10000"/>
                <a:gd name="connsiteX339" fmla="*/ 8048 w 10000"/>
                <a:gd name="connsiteY339" fmla="*/ 6491 h 10000"/>
                <a:gd name="connsiteX340" fmla="*/ 8124 w 10000"/>
                <a:gd name="connsiteY340" fmla="*/ 6336 h 10000"/>
                <a:gd name="connsiteX341" fmla="*/ 8177 w 10000"/>
                <a:gd name="connsiteY341" fmla="*/ 6512 h 10000"/>
                <a:gd name="connsiteX342" fmla="*/ 8300 w 10000"/>
                <a:gd name="connsiteY342" fmla="*/ 6987 h 10000"/>
                <a:gd name="connsiteX343" fmla="*/ 8361 w 10000"/>
                <a:gd name="connsiteY343" fmla="*/ 7152 h 10000"/>
                <a:gd name="connsiteX344" fmla="*/ 8490 w 10000"/>
                <a:gd name="connsiteY344" fmla="*/ 7482 h 10000"/>
                <a:gd name="connsiteX345" fmla="*/ 8604 w 10000"/>
                <a:gd name="connsiteY345" fmla="*/ 7854 h 10000"/>
                <a:gd name="connsiteX346" fmla="*/ 8474 w 10000"/>
                <a:gd name="connsiteY346" fmla="*/ 7647 h 10000"/>
                <a:gd name="connsiteX347" fmla="*/ 8443 w 10000"/>
                <a:gd name="connsiteY347" fmla="*/ 7678 h 10000"/>
                <a:gd name="connsiteX348" fmla="*/ 8512 w 10000"/>
                <a:gd name="connsiteY348" fmla="*/ 8050 h 10000"/>
                <a:gd name="connsiteX349" fmla="*/ 8588 w 10000"/>
                <a:gd name="connsiteY349" fmla="*/ 8266 h 10000"/>
                <a:gd name="connsiteX350" fmla="*/ 8642 w 10000"/>
                <a:gd name="connsiteY350" fmla="*/ 8472 h 10000"/>
                <a:gd name="connsiteX351" fmla="*/ 8566 w 10000"/>
                <a:gd name="connsiteY351" fmla="*/ 8421 h 10000"/>
                <a:gd name="connsiteX352" fmla="*/ 8556 w 10000"/>
                <a:gd name="connsiteY352" fmla="*/ 8669 h 10000"/>
                <a:gd name="connsiteX353" fmla="*/ 8497 w 10000"/>
                <a:gd name="connsiteY353" fmla="*/ 8493 h 10000"/>
                <a:gd name="connsiteX354" fmla="*/ 8481 w 10000"/>
                <a:gd name="connsiteY354" fmla="*/ 8421 h 10000"/>
                <a:gd name="connsiteX355" fmla="*/ 8361 w 10000"/>
                <a:gd name="connsiteY355" fmla="*/ 7751 h 10000"/>
                <a:gd name="connsiteX356" fmla="*/ 8322 w 10000"/>
                <a:gd name="connsiteY356" fmla="*/ 7524 h 10000"/>
                <a:gd name="connsiteX357" fmla="*/ 8291 w 10000"/>
                <a:gd name="connsiteY357" fmla="*/ 7378 h 10000"/>
                <a:gd name="connsiteX358" fmla="*/ 8275 w 10000"/>
                <a:gd name="connsiteY358" fmla="*/ 7306 h 10000"/>
                <a:gd name="connsiteX359" fmla="*/ 8139 w 10000"/>
                <a:gd name="connsiteY359" fmla="*/ 6863 h 10000"/>
                <a:gd name="connsiteX360" fmla="*/ 8199 w 10000"/>
                <a:gd name="connsiteY360" fmla="*/ 7451 h 10000"/>
                <a:gd name="connsiteX361" fmla="*/ 8247 w 10000"/>
                <a:gd name="connsiteY361" fmla="*/ 7998 h 10000"/>
                <a:gd name="connsiteX362" fmla="*/ 8177 w 10000"/>
                <a:gd name="connsiteY362" fmla="*/ 9133 h 10000"/>
                <a:gd name="connsiteX363" fmla="*/ 8124 w 10000"/>
                <a:gd name="connsiteY363" fmla="*/ 9484 h 10000"/>
                <a:gd name="connsiteX364" fmla="*/ 7972 w 10000"/>
                <a:gd name="connsiteY364" fmla="*/ 9432 h 10000"/>
                <a:gd name="connsiteX365" fmla="*/ 7897 w 10000"/>
                <a:gd name="connsiteY365" fmla="*/ 9660 h 10000"/>
                <a:gd name="connsiteX366" fmla="*/ 7868 w 10000"/>
                <a:gd name="connsiteY366" fmla="*/ 9588 h 10000"/>
                <a:gd name="connsiteX367" fmla="*/ 7884 w 10000"/>
                <a:gd name="connsiteY367" fmla="*/ 9536 h 10000"/>
                <a:gd name="connsiteX368" fmla="*/ 7897 w 10000"/>
                <a:gd name="connsiteY368" fmla="*/ 9380 h 10000"/>
                <a:gd name="connsiteX369" fmla="*/ 7884 w 10000"/>
                <a:gd name="connsiteY369" fmla="*/ 9236 h 10000"/>
                <a:gd name="connsiteX370" fmla="*/ 7793 w 10000"/>
                <a:gd name="connsiteY370" fmla="*/ 8865 h 10000"/>
                <a:gd name="connsiteX371" fmla="*/ 7831 w 10000"/>
                <a:gd name="connsiteY371" fmla="*/ 8741 h 10000"/>
                <a:gd name="connsiteX372" fmla="*/ 7928 w 10000"/>
                <a:gd name="connsiteY372" fmla="*/ 8844 h 10000"/>
                <a:gd name="connsiteX373" fmla="*/ 7912 w 10000"/>
                <a:gd name="connsiteY373" fmla="*/ 8318 h 10000"/>
                <a:gd name="connsiteX374" fmla="*/ 7906 w 10000"/>
                <a:gd name="connsiteY374" fmla="*/ 8019 h 10000"/>
                <a:gd name="connsiteX375" fmla="*/ 7846 w 10000"/>
                <a:gd name="connsiteY375" fmla="*/ 7802 h 10000"/>
                <a:gd name="connsiteX376" fmla="*/ 7723 w 10000"/>
                <a:gd name="connsiteY376" fmla="*/ 8050 h 10000"/>
                <a:gd name="connsiteX377" fmla="*/ 7619 w 10000"/>
                <a:gd name="connsiteY377" fmla="*/ 8019 h 10000"/>
                <a:gd name="connsiteX378" fmla="*/ 7528 w 10000"/>
                <a:gd name="connsiteY378" fmla="*/ 7699 h 10000"/>
                <a:gd name="connsiteX379" fmla="*/ 7355 w 10000"/>
                <a:gd name="connsiteY379" fmla="*/ 7482 h 10000"/>
                <a:gd name="connsiteX380" fmla="*/ 7279 w 10000"/>
                <a:gd name="connsiteY380" fmla="*/ 7482 h 10000"/>
                <a:gd name="connsiteX381" fmla="*/ 7080 w 10000"/>
                <a:gd name="connsiteY381" fmla="*/ 6781 h 10000"/>
                <a:gd name="connsiteX382" fmla="*/ 6901 w 10000"/>
                <a:gd name="connsiteY382" fmla="*/ 6460 h 10000"/>
                <a:gd name="connsiteX383" fmla="*/ 6724 w 10000"/>
                <a:gd name="connsiteY383" fmla="*/ 6336 h 10000"/>
                <a:gd name="connsiteX384" fmla="*/ 6583 w 10000"/>
                <a:gd name="connsiteY384" fmla="*/ 6408 h 10000"/>
                <a:gd name="connsiteX385" fmla="*/ 6567 w 10000"/>
                <a:gd name="connsiteY385" fmla="*/ 6585 h 10000"/>
                <a:gd name="connsiteX386" fmla="*/ 6664 w 10000"/>
                <a:gd name="connsiteY386" fmla="*/ 6760 h 10000"/>
                <a:gd name="connsiteX387" fmla="*/ 6636 w 10000"/>
                <a:gd name="connsiteY387" fmla="*/ 6935 h 10000"/>
                <a:gd name="connsiteX388" fmla="*/ 6636 w 10000"/>
                <a:gd name="connsiteY388" fmla="*/ 7399 h 10000"/>
                <a:gd name="connsiteX389" fmla="*/ 6560 w 10000"/>
                <a:gd name="connsiteY389" fmla="*/ 7482 h 10000"/>
                <a:gd name="connsiteX390" fmla="*/ 6485 w 10000"/>
                <a:gd name="connsiteY390" fmla="*/ 7378 h 10000"/>
                <a:gd name="connsiteX391" fmla="*/ 6400 w 10000"/>
                <a:gd name="connsiteY391" fmla="*/ 7399 h 10000"/>
                <a:gd name="connsiteX392" fmla="*/ 6334 w 10000"/>
                <a:gd name="connsiteY392" fmla="*/ 7275 h 10000"/>
                <a:gd name="connsiteX393" fmla="*/ 6258 w 10000"/>
                <a:gd name="connsiteY393" fmla="*/ 7358 h 10000"/>
                <a:gd name="connsiteX394" fmla="*/ 6220 w 10000"/>
                <a:gd name="connsiteY394" fmla="*/ 7524 h 10000"/>
                <a:gd name="connsiteX395" fmla="*/ 6081 w 10000"/>
                <a:gd name="connsiteY395" fmla="*/ 7606 h 10000"/>
                <a:gd name="connsiteX396" fmla="*/ 5892 w 10000"/>
                <a:gd name="connsiteY396" fmla="*/ 7575 h 10000"/>
                <a:gd name="connsiteX397" fmla="*/ 5855 w 10000"/>
                <a:gd name="connsiteY397" fmla="*/ 7327 h 10000"/>
                <a:gd name="connsiteX398" fmla="*/ 5643 w 10000"/>
                <a:gd name="connsiteY398" fmla="*/ 7255 h 10000"/>
                <a:gd name="connsiteX399" fmla="*/ 5539 w 10000"/>
                <a:gd name="connsiteY399" fmla="*/ 7358 h 10000"/>
                <a:gd name="connsiteX400" fmla="*/ 5416 w 10000"/>
                <a:gd name="connsiteY400" fmla="*/ 7203 h 10000"/>
                <a:gd name="connsiteX401" fmla="*/ 5372 w 10000"/>
                <a:gd name="connsiteY401" fmla="*/ 6904 h 10000"/>
                <a:gd name="connsiteX402" fmla="*/ 5108 w 10000"/>
                <a:gd name="connsiteY402" fmla="*/ 6708 h 10000"/>
                <a:gd name="connsiteX0" fmla="*/ 5076 w 10000"/>
                <a:gd name="connsiteY0" fmla="*/ 6987 h 10000"/>
                <a:gd name="connsiteX1" fmla="*/ 4977 w 10000"/>
                <a:gd name="connsiteY1" fmla="*/ 7378 h 10000"/>
                <a:gd name="connsiteX2" fmla="*/ 4864 w 10000"/>
                <a:gd name="connsiteY2" fmla="*/ 7183 h 10000"/>
                <a:gd name="connsiteX3" fmla="*/ 4713 w 10000"/>
                <a:gd name="connsiteY3" fmla="*/ 7152 h 10000"/>
                <a:gd name="connsiteX4" fmla="*/ 4464 w 10000"/>
                <a:gd name="connsiteY4" fmla="*/ 7647 h 10000"/>
                <a:gd name="connsiteX5" fmla="*/ 4410 w 10000"/>
                <a:gd name="connsiteY5" fmla="*/ 7606 h 10000"/>
                <a:gd name="connsiteX6" fmla="*/ 4334 w 10000"/>
                <a:gd name="connsiteY6" fmla="*/ 7430 h 10000"/>
                <a:gd name="connsiteX7" fmla="*/ 4275 w 10000"/>
                <a:gd name="connsiteY7" fmla="*/ 7503 h 10000"/>
                <a:gd name="connsiteX8" fmla="*/ 4130 w 10000"/>
                <a:gd name="connsiteY8" fmla="*/ 7255 h 10000"/>
                <a:gd name="connsiteX9" fmla="*/ 4076 w 10000"/>
                <a:gd name="connsiteY9" fmla="*/ 7059 h 10000"/>
                <a:gd name="connsiteX10" fmla="*/ 3972 w 10000"/>
                <a:gd name="connsiteY10" fmla="*/ 7152 h 10000"/>
                <a:gd name="connsiteX11" fmla="*/ 3887 w 10000"/>
                <a:gd name="connsiteY11" fmla="*/ 6956 h 10000"/>
                <a:gd name="connsiteX12" fmla="*/ 3843 w 10000"/>
                <a:gd name="connsiteY12" fmla="*/ 7183 h 10000"/>
                <a:gd name="connsiteX13" fmla="*/ 3698 w 10000"/>
                <a:gd name="connsiteY13" fmla="*/ 6636 h 10000"/>
                <a:gd name="connsiteX14" fmla="*/ 3584 w 10000"/>
                <a:gd name="connsiteY14" fmla="*/ 6388 h 10000"/>
                <a:gd name="connsiteX15" fmla="*/ 3471 w 10000"/>
                <a:gd name="connsiteY15" fmla="*/ 6212 h 10000"/>
                <a:gd name="connsiteX16" fmla="*/ 3496 w 10000"/>
                <a:gd name="connsiteY16" fmla="*/ 5965 h 10000"/>
                <a:gd name="connsiteX17" fmla="*/ 3291 w 10000"/>
                <a:gd name="connsiteY17" fmla="*/ 6367 h 10000"/>
                <a:gd name="connsiteX18" fmla="*/ 3244 w 10000"/>
                <a:gd name="connsiteY18" fmla="*/ 6161 h 10000"/>
                <a:gd name="connsiteX19" fmla="*/ 3093 w 10000"/>
                <a:gd name="connsiteY19" fmla="*/ 6161 h 10000"/>
                <a:gd name="connsiteX20" fmla="*/ 3080 w 10000"/>
                <a:gd name="connsiteY20" fmla="*/ 5944 h 10000"/>
                <a:gd name="connsiteX21" fmla="*/ 2995 w 10000"/>
                <a:gd name="connsiteY21" fmla="*/ 5821 h 10000"/>
                <a:gd name="connsiteX22" fmla="*/ 2897 w 10000"/>
                <a:gd name="connsiteY22" fmla="*/ 5790 h 10000"/>
                <a:gd name="connsiteX23" fmla="*/ 2828 w 10000"/>
                <a:gd name="connsiteY23" fmla="*/ 5996 h 10000"/>
                <a:gd name="connsiteX24" fmla="*/ 2633 w 10000"/>
                <a:gd name="connsiteY24" fmla="*/ 6120 h 10000"/>
                <a:gd name="connsiteX25" fmla="*/ 2412 w 10000"/>
                <a:gd name="connsiteY25" fmla="*/ 6212 h 10000"/>
                <a:gd name="connsiteX26" fmla="*/ 2443 w 10000"/>
                <a:gd name="connsiteY26" fmla="*/ 6408 h 10000"/>
                <a:gd name="connsiteX27" fmla="*/ 2525 w 10000"/>
                <a:gd name="connsiteY27" fmla="*/ 6512 h 10000"/>
                <a:gd name="connsiteX28" fmla="*/ 2428 w 10000"/>
                <a:gd name="connsiteY28" fmla="*/ 6512 h 10000"/>
                <a:gd name="connsiteX29" fmla="*/ 2406 w 10000"/>
                <a:gd name="connsiteY29" fmla="*/ 6832 h 10000"/>
                <a:gd name="connsiteX30" fmla="*/ 2535 w 10000"/>
                <a:gd name="connsiteY30" fmla="*/ 6987 h 10000"/>
                <a:gd name="connsiteX31" fmla="*/ 2497 w 10000"/>
                <a:gd name="connsiteY31" fmla="*/ 7183 h 10000"/>
                <a:gd name="connsiteX32" fmla="*/ 2384 w 10000"/>
                <a:gd name="connsiteY32" fmla="*/ 7183 h 10000"/>
                <a:gd name="connsiteX33" fmla="*/ 2308 w 10000"/>
                <a:gd name="connsiteY33" fmla="*/ 7028 h 10000"/>
                <a:gd name="connsiteX34" fmla="*/ 2147 w 10000"/>
                <a:gd name="connsiteY34" fmla="*/ 7131 h 10000"/>
                <a:gd name="connsiteX35" fmla="*/ 2109 w 10000"/>
                <a:gd name="connsiteY35" fmla="*/ 7203 h 10000"/>
                <a:gd name="connsiteX36" fmla="*/ 1983 w 10000"/>
                <a:gd name="connsiteY36" fmla="*/ 7028 h 10000"/>
                <a:gd name="connsiteX37" fmla="*/ 1854 w 10000"/>
                <a:gd name="connsiteY37" fmla="*/ 6884 h 10000"/>
                <a:gd name="connsiteX38" fmla="*/ 1741 w 10000"/>
                <a:gd name="connsiteY38" fmla="*/ 6863 h 10000"/>
                <a:gd name="connsiteX39" fmla="*/ 1610 w 10000"/>
                <a:gd name="connsiteY39" fmla="*/ 7183 h 10000"/>
                <a:gd name="connsiteX40" fmla="*/ 1655 w 10000"/>
                <a:gd name="connsiteY40" fmla="*/ 7430 h 10000"/>
                <a:gd name="connsiteX41" fmla="*/ 1604 w 10000"/>
                <a:gd name="connsiteY41" fmla="*/ 7430 h 10000"/>
                <a:gd name="connsiteX42" fmla="*/ 1551 w 10000"/>
                <a:gd name="connsiteY42" fmla="*/ 7255 h 10000"/>
                <a:gd name="connsiteX43" fmla="*/ 1513 w 10000"/>
                <a:gd name="connsiteY43" fmla="*/ 7430 h 10000"/>
                <a:gd name="connsiteX44" fmla="*/ 1519 w 10000"/>
                <a:gd name="connsiteY44" fmla="*/ 7854 h 10000"/>
                <a:gd name="connsiteX45" fmla="*/ 1604 w 10000"/>
                <a:gd name="connsiteY45" fmla="*/ 8070 h 10000"/>
                <a:gd name="connsiteX46" fmla="*/ 1648 w 10000"/>
                <a:gd name="connsiteY46" fmla="*/ 8019 h 10000"/>
                <a:gd name="connsiteX47" fmla="*/ 1741 w 10000"/>
                <a:gd name="connsiteY47" fmla="*/ 8493 h 10000"/>
                <a:gd name="connsiteX48" fmla="*/ 1610 w 10000"/>
                <a:gd name="connsiteY48" fmla="*/ 8669 h 10000"/>
                <a:gd name="connsiteX49" fmla="*/ 1595 w 10000"/>
                <a:gd name="connsiteY49" fmla="*/ 9009 h 10000"/>
                <a:gd name="connsiteX50" fmla="*/ 1664 w 10000"/>
                <a:gd name="connsiteY50" fmla="*/ 9236 h 10000"/>
                <a:gd name="connsiteX51" fmla="*/ 1664 w 10000"/>
                <a:gd name="connsiteY51" fmla="*/ 9484 h 10000"/>
                <a:gd name="connsiteX52" fmla="*/ 1769 w 10000"/>
                <a:gd name="connsiteY52" fmla="*/ 9835 h 10000"/>
                <a:gd name="connsiteX53" fmla="*/ 1703 w 10000"/>
                <a:gd name="connsiteY53" fmla="*/ 10000 h 10000"/>
                <a:gd name="connsiteX54" fmla="*/ 1604 w 10000"/>
                <a:gd name="connsiteY54" fmla="*/ 9753 h 10000"/>
                <a:gd name="connsiteX55" fmla="*/ 1465 w 10000"/>
                <a:gd name="connsiteY55" fmla="*/ 9505 h 10000"/>
                <a:gd name="connsiteX56" fmla="*/ 1406 w 10000"/>
                <a:gd name="connsiteY56" fmla="*/ 9588 h 10000"/>
                <a:gd name="connsiteX57" fmla="*/ 1308 w 10000"/>
                <a:gd name="connsiteY57" fmla="*/ 9380 h 10000"/>
                <a:gd name="connsiteX58" fmla="*/ 1097 w 10000"/>
                <a:gd name="connsiteY58" fmla="*/ 9339 h 10000"/>
                <a:gd name="connsiteX59" fmla="*/ 848 w 10000"/>
                <a:gd name="connsiteY59" fmla="*/ 8813 h 10000"/>
                <a:gd name="connsiteX60" fmla="*/ 914 w 10000"/>
                <a:gd name="connsiteY60" fmla="*/ 8721 h 10000"/>
                <a:gd name="connsiteX61" fmla="*/ 961 w 10000"/>
                <a:gd name="connsiteY61" fmla="*/ 8493 h 10000"/>
                <a:gd name="connsiteX62" fmla="*/ 908 w 10000"/>
                <a:gd name="connsiteY62" fmla="*/ 8390 h 10000"/>
                <a:gd name="connsiteX63" fmla="*/ 1021 w 10000"/>
                <a:gd name="connsiteY63" fmla="*/ 8245 h 10000"/>
                <a:gd name="connsiteX64" fmla="*/ 945 w 10000"/>
                <a:gd name="connsiteY64" fmla="*/ 8194 h 10000"/>
                <a:gd name="connsiteX65" fmla="*/ 958 w 10000"/>
                <a:gd name="connsiteY65" fmla="*/ 8091 h 10000"/>
                <a:gd name="connsiteX66" fmla="*/ 1005 w 10000"/>
                <a:gd name="connsiteY66" fmla="*/ 8111 h 10000"/>
                <a:gd name="connsiteX67" fmla="*/ 1059 w 10000"/>
                <a:gd name="connsiteY67" fmla="*/ 8019 h 10000"/>
                <a:gd name="connsiteX68" fmla="*/ 1034 w 10000"/>
                <a:gd name="connsiteY68" fmla="*/ 7864 h 10000"/>
                <a:gd name="connsiteX69" fmla="*/ 1043 w 10000"/>
                <a:gd name="connsiteY69" fmla="*/ 7503 h 10000"/>
                <a:gd name="connsiteX70" fmla="*/ 930 w 10000"/>
                <a:gd name="connsiteY70" fmla="*/ 7440 h 10000"/>
                <a:gd name="connsiteX71" fmla="*/ 832 w 10000"/>
                <a:gd name="connsiteY71" fmla="*/ 7286 h 10000"/>
                <a:gd name="connsiteX72" fmla="*/ 700 w 10000"/>
                <a:gd name="connsiteY72" fmla="*/ 7275 h 10000"/>
                <a:gd name="connsiteX73" fmla="*/ 684 w 10000"/>
                <a:gd name="connsiteY73" fmla="*/ 7090 h 10000"/>
                <a:gd name="connsiteX74" fmla="*/ 596 w 10000"/>
                <a:gd name="connsiteY74" fmla="*/ 6945 h 10000"/>
                <a:gd name="connsiteX75" fmla="*/ 615 w 10000"/>
                <a:gd name="connsiteY75" fmla="*/ 6822 h 10000"/>
                <a:gd name="connsiteX76" fmla="*/ 561 w 10000"/>
                <a:gd name="connsiteY76" fmla="*/ 6698 h 10000"/>
                <a:gd name="connsiteX77" fmla="*/ 457 w 10000"/>
                <a:gd name="connsiteY77" fmla="*/ 6698 h 10000"/>
                <a:gd name="connsiteX78" fmla="*/ 425 w 10000"/>
                <a:gd name="connsiteY78" fmla="*/ 6791 h 10000"/>
                <a:gd name="connsiteX79" fmla="*/ 400 w 10000"/>
                <a:gd name="connsiteY79" fmla="*/ 6750 h 10000"/>
                <a:gd name="connsiteX80" fmla="*/ 378 w 10000"/>
                <a:gd name="connsiteY80" fmla="*/ 6439 h 10000"/>
                <a:gd name="connsiteX81" fmla="*/ 419 w 10000"/>
                <a:gd name="connsiteY81" fmla="*/ 6470 h 10000"/>
                <a:gd name="connsiteX82" fmla="*/ 466 w 10000"/>
                <a:gd name="connsiteY82" fmla="*/ 6347 h 10000"/>
                <a:gd name="connsiteX83" fmla="*/ 400 w 10000"/>
                <a:gd name="connsiteY83" fmla="*/ 6233 h 10000"/>
                <a:gd name="connsiteX84" fmla="*/ 315 w 10000"/>
                <a:gd name="connsiteY84" fmla="*/ 6017 h 10000"/>
                <a:gd name="connsiteX85" fmla="*/ 334 w 10000"/>
                <a:gd name="connsiteY85" fmla="*/ 5821 h 10000"/>
                <a:gd name="connsiteX86" fmla="*/ 274 w 10000"/>
                <a:gd name="connsiteY86" fmla="*/ 5697 h 10000"/>
                <a:gd name="connsiteX87" fmla="*/ 227 w 10000"/>
                <a:gd name="connsiteY87" fmla="*/ 5728 h 10000"/>
                <a:gd name="connsiteX88" fmla="*/ 202 w 10000"/>
                <a:gd name="connsiteY88" fmla="*/ 5604 h 10000"/>
                <a:gd name="connsiteX89" fmla="*/ 164 w 10000"/>
                <a:gd name="connsiteY89" fmla="*/ 5645 h 10000"/>
                <a:gd name="connsiteX90" fmla="*/ 117 w 10000"/>
                <a:gd name="connsiteY90" fmla="*/ 5604 h 10000"/>
                <a:gd name="connsiteX91" fmla="*/ 69 w 10000"/>
                <a:gd name="connsiteY91" fmla="*/ 5181 h 10000"/>
                <a:gd name="connsiteX92" fmla="*/ 85 w 10000"/>
                <a:gd name="connsiteY92" fmla="*/ 5057 h 10000"/>
                <a:gd name="connsiteX93" fmla="*/ 41 w 10000"/>
                <a:gd name="connsiteY93" fmla="*/ 4892 h 10000"/>
                <a:gd name="connsiteX94" fmla="*/ 66 w 10000"/>
                <a:gd name="connsiteY94" fmla="*/ 4655 h 10000"/>
                <a:gd name="connsiteX95" fmla="*/ 211 w 10000"/>
                <a:gd name="connsiteY95" fmla="*/ 4510 h 10000"/>
                <a:gd name="connsiteX96" fmla="*/ 129 w 10000"/>
                <a:gd name="connsiteY96" fmla="*/ 4406 h 10000"/>
                <a:gd name="connsiteX97" fmla="*/ 82 w 10000"/>
                <a:gd name="connsiteY97" fmla="*/ 4283 h 10000"/>
                <a:gd name="connsiteX98" fmla="*/ 205 w 10000"/>
                <a:gd name="connsiteY98" fmla="*/ 3912 h 10000"/>
                <a:gd name="connsiteX99" fmla="*/ 249 w 10000"/>
                <a:gd name="connsiteY99" fmla="*/ 3664 h 10000"/>
                <a:gd name="connsiteX100" fmla="*/ 151 w 10000"/>
                <a:gd name="connsiteY100" fmla="*/ 3488 h 10000"/>
                <a:gd name="connsiteX101" fmla="*/ 189 w 10000"/>
                <a:gd name="connsiteY101" fmla="*/ 3344 h 10000"/>
                <a:gd name="connsiteX102" fmla="*/ 113 w 10000"/>
                <a:gd name="connsiteY102" fmla="*/ 3148 h 10000"/>
                <a:gd name="connsiteX103" fmla="*/ 113 w 10000"/>
                <a:gd name="connsiteY103" fmla="*/ 2972 h 10000"/>
                <a:gd name="connsiteX104" fmla="*/ 60 w 10000"/>
                <a:gd name="connsiteY104" fmla="*/ 2622 h 10000"/>
                <a:gd name="connsiteX105" fmla="*/ 98 w 10000"/>
                <a:gd name="connsiteY105" fmla="*/ 2404 h 10000"/>
                <a:gd name="connsiteX106" fmla="*/ 38 w 10000"/>
                <a:gd name="connsiteY106" fmla="*/ 2301 h 10000"/>
                <a:gd name="connsiteX107" fmla="*/ 0 w 10000"/>
                <a:gd name="connsiteY107" fmla="*/ 2178 h 10000"/>
                <a:gd name="connsiteX108" fmla="*/ 54 w 10000"/>
                <a:gd name="connsiteY108" fmla="*/ 1951 h 10000"/>
                <a:gd name="connsiteX109" fmla="*/ 120 w 10000"/>
                <a:gd name="connsiteY109" fmla="*/ 1910 h 10000"/>
                <a:gd name="connsiteX110" fmla="*/ 195 w 10000"/>
                <a:gd name="connsiteY110" fmla="*/ 1858 h 10000"/>
                <a:gd name="connsiteX111" fmla="*/ 309 w 10000"/>
                <a:gd name="connsiteY111" fmla="*/ 1951 h 10000"/>
                <a:gd name="connsiteX112" fmla="*/ 482 w 10000"/>
                <a:gd name="connsiteY112" fmla="*/ 2054 h 10000"/>
                <a:gd name="connsiteX113" fmla="*/ 633 w 10000"/>
                <a:gd name="connsiteY113" fmla="*/ 2229 h 10000"/>
                <a:gd name="connsiteX114" fmla="*/ 756 w 10000"/>
                <a:gd name="connsiteY114" fmla="*/ 2373 h 10000"/>
                <a:gd name="connsiteX115" fmla="*/ 725 w 10000"/>
                <a:gd name="connsiteY115" fmla="*/ 2777 h 10000"/>
                <a:gd name="connsiteX116" fmla="*/ 362 w 10000"/>
                <a:gd name="connsiteY116" fmla="*/ 2673 h 10000"/>
                <a:gd name="connsiteX117" fmla="*/ 243 w 10000"/>
                <a:gd name="connsiteY117" fmla="*/ 2550 h 10000"/>
                <a:gd name="connsiteX118" fmla="*/ 287 w 10000"/>
                <a:gd name="connsiteY118" fmla="*/ 2622 h 10000"/>
                <a:gd name="connsiteX119" fmla="*/ 331 w 10000"/>
                <a:gd name="connsiteY119" fmla="*/ 2797 h 10000"/>
                <a:gd name="connsiteX120" fmla="*/ 400 w 10000"/>
                <a:gd name="connsiteY120" fmla="*/ 2921 h 10000"/>
                <a:gd name="connsiteX121" fmla="*/ 416 w 10000"/>
                <a:gd name="connsiteY121" fmla="*/ 3189 h 10000"/>
                <a:gd name="connsiteX122" fmla="*/ 507 w 10000"/>
                <a:gd name="connsiteY122" fmla="*/ 3313 h 10000"/>
                <a:gd name="connsiteX123" fmla="*/ 583 w 10000"/>
                <a:gd name="connsiteY123" fmla="*/ 3436 h 10000"/>
                <a:gd name="connsiteX124" fmla="*/ 605 w 10000"/>
                <a:gd name="connsiteY124" fmla="*/ 3467 h 10000"/>
                <a:gd name="connsiteX125" fmla="*/ 649 w 10000"/>
                <a:gd name="connsiteY125" fmla="*/ 3436 h 10000"/>
                <a:gd name="connsiteX126" fmla="*/ 633 w 10000"/>
                <a:gd name="connsiteY126" fmla="*/ 3364 h 10000"/>
                <a:gd name="connsiteX127" fmla="*/ 545 w 10000"/>
                <a:gd name="connsiteY127" fmla="*/ 3189 h 10000"/>
                <a:gd name="connsiteX128" fmla="*/ 801 w 10000"/>
                <a:gd name="connsiteY128" fmla="*/ 3344 h 10000"/>
                <a:gd name="connsiteX129" fmla="*/ 810 w 10000"/>
                <a:gd name="connsiteY129" fmla="*/ 3271 h 10000"/>
                <a:gd name="connsiteX130" fmla="*/ 785 w 10000"/>
                <a:gd name="connsiteY130" fmla="*/ 3220 h 10000"/>
                <a:gd name="connsiteX131" fmla="*/ 741 w 10000"/>
                <a:gd name="connsiteY131" fmla="*/ 2993 h 10000"/>
                <a:gd name="connsiteX132" fmla="*/ 870 w 10000"/>
                <a:gd name="connsiteY132" fmla="*/ 2777 h 10000"/>
                <a:gd name="connsiteX133" fmla="*/ 968 w 10000"/>
                <a:gd name="connsiteY133" fmla="*/ 2921 h 10000"/>
                <a:gd name="connsiteX134" fmla="*/ 999 w 10000"/>
                <a:gd name="connsiteY134" fmla="*/ 2725 h 10000"/>
                <a:gd name="connsiteX135" fmla="*/ 952 w 10000"/>
                <a:gd name="connsiteY135" fmla="*/ 2653 h 10000"/>
                <a:gd name="connsiteX136" fmla="*/ 936 w 10000"/>
                <a:gd name="connsiteY136" fmla="*/ 2281 h 10000"/>
                <a:gd name="connsiteX137" fmla="*/ 914 w 10000"/>
                <a:gd name="connsiteY137" fmla="*/ 2229 h 10000"/>
                <a:gd name="connsiteX138" fmla="*/ 1037 w 10000"/>
                <a:gd name="connsiteY138" fmla="*/ 2250 h 10000"/>
                <a:gd name="connsiteX139" fmla="*/ 1087 w 10000"/>
                <a:gd name="connsiteY139" fmla="*/ 2404 h 10000"/>
                <a:gd name="connsiteX140" fmla="*/ 1021 w 10000"/>
                <a:gd name="connsiteY140" fmla="*/ 2529 h 10000"/>
                <a:gd name="connsiteX141" fmla="*/ 1135 w 10000"/>
                <a:gd name="connsiteY141" fmla="*/ 2694 h 10000"/>
                <a:gd name="connsiteX142" fmla="*/ 1226 w 10000"/>
                <a:gd name="connsiteY142" fmla="*/ 2529 h 10000"/>
                <a:gd name="connsiteX143" fmla="*/ 1339 w 10000"/>
                <a:gd name="connsiteY143" fmla="*/ 2301 h 10000"/>
                <a:gd name="connsiteX144" fmla="*/ 1459 w 10000"/>
                <a:gd name="connsiteY144" fmla="*/ 2157 h 10000"/>
                <a:gd name="connsiteX145" fmla="*/ 1497 w 10000"/>
                <a:gd name="connsiteY145" fmla="*/ 2250 h 10000"/>
                <a:gd name="connsiteX146" fmla="*/ 1807 w 10000"/>
                <a:gd name="connsiteY146" fmla="*/ 2054 h 10000"/>
                <a:gd name="connsiteX147" fmla="*/ 1870 w 10000"/>
                <a:gd name="connsiteY147" fmla="*/ 2250 h 10000"/>
                <a:gd name="connsiteX148" fmla="*/ 1860 w 10000"/>
                <a:gd name="connsiteY148" fmla="*/ 2002 h 10000"/>
                <a:gd name="connsiteX149" fmla="*/ 1778 w 10000"/>
                <a:gd name="connsiteY149" fmla="*/ 1786 h 10000"/>
                <a:gd name="connsiteX150" fmla="*/ 1763 w 10000"/>
                <a:gd name="connsiteY150" fmla="*/ 1703 h 10000"/>
                <a:gd name="connsiteX151" fmla="*/ 1823 w 10000"/>
                <a:gd name="connsiteY151" fmla="*/ 1786 h 10000"/>
                <a:gd name="connsiteX152" fmla="*/ 2034 w 10000"/>
                <a:gd name="connsiteY152" fmla="*/ 1951 h 10000"/>
                <a:gd name="connsiteX153" fmla="*/ 2270 w 10000"/>
                <a:gd name="connsiteY153" fmla="*/ 2126 h 10000"/>
                <a:gd name="connsiteX154" fmla="*/ 2384 w 10000"/>
                <a:gd name="connsiteY154" fmla="*/ 2250 h 10000"/>
                <a:gd name="connsiteX155" fmla="*/ 2421 w 10000"/>
                <a:gd name="connsiteY155" fmla="*/ 2074 h 10000"/>
                <a:gd name="connsiteX156" fmla="*/ 2368 w 10000"/>
                <a:gd name="connsiteY156" fmla="*/ 2033 h 10000"/>
                <a:gd name="connsiteX157" fmla="*/ 2299 w 10000"/>
                <a:gd name="connsiteY157" fmla="*/ 1930 h 10000"/>
                <a:gd name="connsiteX158" fmla="*/ 2254 w 10000"/>
                <a:gd name="connsiteY158" fmla="*/ 1734 h 10000"/>
                <a:gd name="connsiteX159" fmla="*/ 2185 w 10000"/>
                <a:gd name="connsiteY159" fmla="*/ 1486 h 10000"/>
                <a:gd name="connsiteX160" fmla="*/ 2210 w 10000"/>
                <a:gd name="connsiteY160" fmla="*/ 1434 h 10000"/>
                <a:gd name="connsiteX161" fmla="*/ 2232 w 10000"/>
                <a:gd name="connsiteY161" fmla="*/ 1455 h 10000"/>
                <a:gd name="connsiteX162" fmla="*/ 2292 w 10000"/>
                <a:gd name="connsiteY162" fmla="*/ 1115 h 10000"/>
                <a:gd name="connsiteX163" fmla="*/ 2443 w 10000"/>
                <a:gd name="connsiteY163" fmla="*/ 1135 h 10000"/>
                <a:gd name="connsiteX164" fmla="*/ 2488 w 10000"/>
                <a:gd name="connsiteY164" fmla="*/ 1311 h 10000"/>
                <a:gd name="connsiteX165" fmla="*/ 2519 w 10000"/>
                <a:gd name="connsiteY165" fmla="*/ 1538 h 10000"/>
                <a:gd name="connsiteX166" fmla="*/ 2573 w 10000"/>
                <a:gd name="connsiteY166" fmla="*/ 1734 h 10000"/>
                <a:gd name="connsiteX167" fmla="*/ 2670 w 10000"/>
                <a:gd name="connsiteY167" fmla="*/ 2157 h 10000"/>
                <a:gd name="connsiteX168" fmla="*/ 2481 w 10000"/>
                <a:gd name="connsiteY168" fmla="*/ 2673 h 10000"/>
                <a:gd name="connsiteX169" fmla="*/ 2557 w 10000"/>
                <a:gd name="connsiteY169" fmla="*/ 2746 h 10000"/>
                <a:gd name="connsiteX170" fmla="*/ 2655 w 10000"/>
                <a:gd name="connsiteY170" fmla="*/ 2818 h 10000"/>
                <a:gd name="connsiteX171" fmla="*/ 2784 w 10000"/>
                <a:gd name="connsiteY171" fmla="*/ 2622 h 10000"/>
                <a:gd name="connsiteX172" fmla="*/ 2790 w 10000"/>
                <a:gd name="connsiteY172" fmla="*/ 2404 h 10000"/>
                <a:gd name="connsiteX173" fmla="*/ 2746 w 10000"/>
                <a:gd name="connsiteY173" fmla="*/ 2301 h 10000"/>
                <a:gd name="connsiteX174" fmla="*/ 2919 w 10000"/>
                <a:gd name="connsiteY174" fmla="*/ 2250 h 10000"/>
                <a:gd name="connsiteX175" fmla="*/ 2989 w 10000"/>
                <a:gd name="connsiteY175" fmla="*/ 2497 h 10000"/>
                <a:gd name="connsiteX176" fmla="*/ 2989 w 10000"/>
                <a:gd name="connsiteY176" fmla="*/ 2425 h 10000"/>
                <a:gd name="connsiteX177" fmla="*/ 2973 w 10000"/>
                <a:gd name="connsiteY177" fmla="*/ 2353 h 10000"/>
                <a:gd name="connsiteX178" fmla="*/ 2967 w 10000"/>
                <a:gd name="connsiteY178" fmla="*/ 2178 h 10000"/>
                <a:gd name="connsiteX179" fmla="*/ 2800 w 10000"/>
                <a:gd name="connsiteY179" fmla="*/ 1930 h 10000"/>
                <a:gd name="connsiteX180" fmla="*/ 2670 w 10000"/>
                <a:gd name="connsiteY180" fmla="*/ 2002 h 10000"/>
                <a:gd name="connsiteX181" fmla="*/ 2617 w 10000"/>
                <a:gd name="connsiteY181" fmla="*/ 1683 h 10000"/>
                <a:gd name="connsiteX182" fmla="*/ 2563 w 10000"/>
                <a:gd name="connsiteY182" fmla="*/ 1507 h 10000"/>
                <a:gd name="connsiteX183" fmla="*/ 2617 w 10000"/>
                <a:gd name="connsiteY183" fmla="*/ 1331 h 10000"/>
                <a:gd name="connsiteX184" fmla="*/ 2611 w 10000"/>
                <a:gd name="connsiteY184" fmla="*/ 1166 h 10000"/>
                <a:gd name="connsiteX185" fmla="*/ 2588 w 10000"/>
                <a:gd name="connsiteY185" fmla="*/ 1115 h 10000"/>
                <a:gd name="connsiteX186" fmla="*/ 2626 w 10000"/>
                <a:gd name="connsiteY186" fmla="*/ 1115 h 10000"/>
                <a:gd name="connsiteX187" fmla="*/ 2670 w 10000"/>
                <a:gd name="connsiteY187" fmla="*/ 1455 h 10000"/>
                <a:gd name="connsiteX188" fmla="*/ 2891 w 10000"/>
                <a:gd name="connsiteY188" fmla="*/ 1662 h 10000"/>
                <a:gd name="connsiteX189" fmla="*/ 2724 w 10000"/>
                <a:gd name="connsiteY189" fmla="*/ 1383 h 10000"/>
                <a:gd name="connsiteX190" fmla="*/ 3049 w 10000"/>
                <a:gd name="connsiteY190" fmla="*/ 1383 h 10000"/>
                <a:gd name="connsiteX191" fmla="*/ 3102 w 10000"/>
                <a:gd name="connsiteY191" fmla="*/ 1362 h 10000"/>
                <a:gd name="connsiteX192" fmla="*/ 2897 w 10000"/>
                <a:gd name="connsiteY192" fmla="*/ 1115 h 10000"/>
                <a:gd name="connsiteX193" fmla="*/ 2951 w 10000"/>
                <a:gd name="connsiteY193" fmla="*/ 888 h 10000"/>
                <a:gd name="connsiteX194" fmla="*/ 3178 w 10000"/>
                <a:gd name="connsiteY194" fmla="*/ 888 h 10000"/>
                <a:gd name="connsiteX195" fmla="*/ 3156 w 10000"/>
                <a:gd name="connsiteY195" fmla="*/ 713 h 10000"/>
                <a:gd name="connsiteX196" fmla="*/ 3231 w 10000"/>
                <a:gd name="connsiteY196" fmla="*/ 589 h 10000"/>
                <a:gd name="connsiteX197" fmla="*/ 3276 w 10000"/>
                <a:gd name="connsiteY197" fmla="*/ 548 h 10000"/>
                <a:gd name="connsiteX198" fmla="*/ 3443 w 10000"/>
                <a:gd name="connsiteY198" fmla="*/ 423 h 10000"/>
                <a:gd name="connsiteX199" fmla="*/ 3487 w 10000"/>
                <a:gd name="connsiteY199" fmla="*/ 371 h 10000"/>
                <a:gd name="connsiteX200" fmla="*/ 3480 w 10000"/>
                <a:gd name="connsiteY200" fmla="*/ 444 h 10000"/>
                <a:gd name="connsiteX201" fmla="*/ 3660 w 10000"/>
                <a:gd name="connsiteY201" fmla="*/ 371 h 10000"/>
                <a:gd name="connsiteX202" fmla="*/ 3805 w 10000"/>
                <a:gd name="connsiteY202" fmla="*/ 248 h 10000"/>
                <a:gd name="connsiteX203" fmla="*/ 3827 w 10000"/>
                <a:gd name="connsiteY203" fmla="*/ 0 h 10000"/>
                <a:gd name="connsiteX204" fmla="*/ 3988 w 10000"/>
                <a:gd name="connsiteY204" fmla="*/ 21 h 10000"/>
                <a:gd name="connsiteX205" fmla="*/ 3978 w 10000"/>
                <a:gd name="connsiteY205" fmla="*/ 93 h 10000"/>
                <a:gd name="connsiteX206" fmla="*/ 3988 w 10000"/>
                <a:gd name="connsiteY206" fmla="*/ 176 h 10000"/>
                <a:gd name="connsiteX207" fmla="*/ 4085 w 10000"/>
                <a:gd name="connsiteY207" fmla="*/ 248 h 10000"/>
                <a:gd name="connsiteX208" fmla="*/ 4379 w 10000"/>
                <a:gd name="connsiteY208" fmla="*/ 268 h 10000"/>
                <a:gd name="connsiteX209" fmla="*/ 4539 w 10000"/>
                <a:gd name="connsiteY209" fmla="*/ 392 h 10000"/>
                <a:gd name="connsiteX210" fmla="*/ 4486 w 10000"/>
                <a:gd name="connsiteY210" fmla="*/ 795 h 10000"/>
                <a:gd name="connsiteX211" fmla="*/ 4426 w 10000"/>
                <a:gd name="connsiteY211" fmla="*/ 919 h 10000"/>
                <a:gd name="connsiteX212" fmla="*/ 4356 w 10000"/>
                <a:gd name="connsiteY212" fmla="*/ 1043 h 10000"/>
                <a:gd name="connsiteX213" fmla="*/ 4372 w 10000"/>
                <a:gd name="connsiteY213" fmla="*/ 1115 h 10000"/>
                <a:gd name="connsiteX214" fmla="*/ 4583 w 10000"/>
                <a:gd name="connsiteY214" fmla="*/ 919 h 10000"/>
                <a:gd name="connsiteX215" fmla="*/ 5060 w 10000"/>
                <a:gd name="connsiteY215" fmla="*/ 991 h 10000"/>
                <a:gd name="connsiteX216" fmla="*/ 5108 w 10000"/>
                <a:gd name="connsiteY216" fmla="*/ 1063 h 10000"/>
                <a:gd name="connsiteX217" fmla="*/ 5212 w 10000"/>
                <a:gd name="connsiteY217" fmla="*/ 1187 h 10000"/>
                <a:gd name="connsiteX218" fmla="*/ 5357 w 10000"/>
                <a:gd name="connsiteY218" fmla="*/ 919 h 10000"/>
                <a:gd name="connsiteX219" fmla="*/ 5577 w 10000"/>
                <a:gd name="connsiteY219" fmla="*/ 1063 h 10000"/>
                <a:gd name="connsiteX220" fmla="*/ 5643 w 10000"/>
                <a:gd name="connsiteY220" fmla="*/ 1115 h 10000"/>
                <a:gd name="connsiteX221" fmla="*/ 5697 w 10000"/>
                <a:gd name="connsiteY221" fmla="*/ 1166 h 10000"/>
                <a:gd name="connsiteX222" fmla="*/ 5908 w 10000"/>
                <a:gd name="connsiteY222" fmla="*/ 1631 h 10000"/>
                <a:gd name="connsiteX223" fmla="*/ 5984 w 10000"/>
                <a:gd name="connsiteY223" fmla="*/ 1611 h 10000"/>
                <a:gd name="connsiteX224" fmla="*/ 5977 w 10000"/>
                <a:gd name="connsiteY224" fmla="*/ 1507 h 10000"/>
                <a:gd name="connsiteX225" fmla="*/ 5984 w 10000"/>
                <a:gd name="connsiteY225" fmla="*/ 1383 h 10000"/>
                <a:gd name="connsiteX226" fmla="*/ 6091 w 10000"/>
                <a:gd name="connsiteY226" fmla="*/ 1486 h 10000"/>
                <a:gd name="connsiteX227" fmla="*/ 6264 w 10000"/>
                <a:gd name="connsiteY227" fmla="*/ 1507 h 10000"/>
                <a:gd name="connsiteX228" fmla="*/ 6409 w 10000"/>
                <a:gd name="connsiteY228" fmla="*/ 1455 h 10000"/>
                <a:gd name="connsiteX229" fmla="*/ 6340 w 10000"/>
                <a:gd name="connsiteY229" fmla="*/ 1362 h 10000"/>
                <a:gd name="connsiteX230" fmla="*/ 6431 w 10000"/>
                <a:gd name="connsiteY230" fmla="*/ 1084 h 10000"/>
                <a:gd name="connsiteX231" fmla="*/ 6687 w 10000"/>
                <a:gd name="connsiteY231" fmla="*/ 1207 h 10000"/>
                <a:gd name="connsiteX232" fmla="*/ 6945 w 10000"/>
                <a:gd name="connsiteY232" fmla="*/ 1331 h 10000"/>
                <a:gd name="connsiteX233" fmla="*/ 6967 w 10000"/>
                <a:gd name="connsiteY233" fmla="*/ 1362 h 10000"/>
                <a:gd name="connsiteX234" fmla="*/ 7194 w 10000"/>
                <a:gd name="connsiteY234" fmla="*/ 1611 h 10000"/>
                <a:gd name="connsiteX235" fmla="*/ 7367 w 10000"/>
                <a:gd name="connsiteY235" fmla="*/ 1507 h 10000"/>
                <a:gd name="connsiteX236" fmla="*/ 7582 w 10000"/>
                <a:gd name="connsiteY236" fmla="*/ 1538 h 10000"/>
                <a:gd name="connsiteX237" fmla="*/ 7657 w 10000"/>
                <a:gd name="connsiteY237" fmla="*/ 1611 h 10000"/>
                <a:gd name="connsiteX238" fmla="*/ 7928 w 10000"/>
                <a:gd name="connsiteY238" fmla="*/ 1930 h 10000"/>
                <a:gd name="connsiteX239" fmla="*/ 8231 w 10000"/>
                <a:gd name="connsiteY239" fmla="*/ 1879 h 10000"/>
                <a:gd name="connsiteX240" fmla="*/ 8339 w 10000"/>
                <a:gd name="connsiteY240" fmla="*/ 2033 h 10000"/>
                <a:gd name="connsiteX241" fmla="*/ 8490 w 10000"/>
                <a:gd name="connsiteY241" fmla="*/ 2157 h 10000"/>
                <a:gd name="connsiteX242" fmla="*/ 8519 w 10000"/>
                <a:gd name="connsiteY242" fmla="*/ 2105 h 10000"/>
                <a:gd name="connsiteX243" fmla="*/ 8497 w 10000"/>
                <a:gd name="connsiteY243" fmla="*/ 2074 h 10000"/>
                <a:gd name="connsiteX244" fmla="*/ 8383 w 10000"/>
                <a:gd name="connsiteY244" fmla="*/ 1930 h 10000"/>
                <a:gd name="connsiteX245" fmla="*/ 8465 w 10000"/>
                <a:gd name="connsiteY245" fmla="*/ 1755 h 10000"/>
                <a:gd name="connsiteX246" fmla="*/ 8664 w 10000"/>
                <a:gd name="connsiteY246" fmla="*/ 1910 h 10000"/>
                <a:gd name="connsiteX247" fmla="*/ 8950 w 10000"/>
                <a:gd name="connsiteY247" fmla="*/ 1982 h 10000"/>
                <a:gd name="connsiteX248" fmla="*/ 9206 w 10000"/>
                <a:gd name="connsiteY248" fmla="*/ 2260 h 10000"/>
                <a:gd name="connsiteX249" fmla="*/ 9344 w 10000"/>
                <a:gd name="connsiteY249" fmla="*/ 2332 h 10000"/>
                <a:gd name="connsiteX250" fmla="*/ 9451 w 10000"/>
                <a:gd name="connsiteY250" fmla="*/ 2446 h 10000"/>
                <a:gd name="connsiteX251" fmla="*/ 9574 w 10000"/>
                <a:gd name="connsiteY251" fmla="*/ 2632 h 10000"/>
                <a:gd name="connsiteX252" fmla="*/ 9631 w 10000"/>
                <a:gd name="connsiteY252" fmla="*/ 2756 h 10000"/>
                <a:gd name="connsiteX253" fmla="*/ 9726 w 10000"/>
                <a:gd name="connsiteY253" fmla="*/ 2787 h 10000"/>
                <a:gd name="connsiteX254" fmla="*/ 9590 w 10000"/>
                <a:gd name="connsiteY254" fmla="*/ 2570 h 10000"/>
                <a:gd name="connsiteX255" fmla="*/ 9915 w 10000"/>
                <a:gd name="connsiteY255" fmla="*/ 2756 h 10000"/>
                <a:gd name="connsiteX256" fmla="*/ 10000 w 10000"/>
                <a:gd name="connsiteY256" fmla="*/ 3014 h 10000"/>
                <a:gd name="connsiteX257" fmla="*/ 9934 w 10000"/>
                <a:gd name="connsiteY257" fmla="*/ 2941 h 10000"/>
                <a:gd name="connsiteX258" fmla="*/ 9874 w 10000"/>
                <a:gd name="connsiteY258" fmla="*/ 2952 h 10000"/>
                <a:gd name="connsiteX259" fmla="*/ 10000 w 10000"/>
                <a:gd name="connsiteY259" fmla="*/ 3292 h 10000"/>
                <a:gd name="connsiteX260" fmla="*/ 9845 w 10000"/>
                <a:gd name="connsiteY260" fmla="*/ 3220 h 10000"/>
                <a:gd name="connsiteX261" fmla="*/ 9745 w 10000"/>
                <a:gd name="connsiteY261" fmla="*/ 3075 h 10000"/>
                <a:gd name="connsiteX262" fmla="*/ 9641 w 10000"/>
                <a:gd name="connsiteY262" fmla="*/ 2972 h 10000"/>
                <a:gd name="connsiteX263" fmla="*/ 9555 w 10000"/>
                <a:gd name="connsiteY263" fmla="*/ 3003 h 10000"/>
                <a:gd name="connsiteX264" fmla="*/ 9470 w 10000"/>
                <a:gd name="connsiteY264" fmla="*/ 2787 h 10000"/>
                <a:gd name="connsiteX265" fmla="*/ 9366 w 10000"/>
                <a:gd name="connsiteY265" fmla="*/ 2725 h 10000"/>
                <a:gd name="connsiteX266" fmla="*/ 9461 w 10000"/>
                <a:gd name="connsiteY266" fmla="*/ 2972 h 10000"/>
                <a:gd name="connsiteX267" fmla="*/ 9470 w 10000"/>
                <a:gd name="connsiteY267" fmla="*/ 3230 h 10000"/>
                <a:gd name="connsiteX268" fmla="*/ 9288 w 10000"/>
                <a:gd name="connsiteY268" fmla="*/ 3065 h 10000"/>
                <a:gd name="connsiteX269" fmla="*/ 9262 w 10000"/>
                <a:gd name="connsiteY269" fmla="*/ 3230 h 10000"/>
                <a:gd name="connsiteX270" fmla="*/ 9363 w 10000"/>
                <a:gd name="connsiteY270" fmla="*/ 3230 h 10000"/>
                <a:gd name="connsiteX271" fmla="*/ 9451 w 10000"/>
                <a:gd name="connsiteY271" fmla="*/ 3354 h 10000"/>
                <a:gd name="connsiteX272" fmla="*/ 9659 w 10000"/>
                <a:gd name="connsiteY272" fmla="*/ 3685 h 10000"/>
                <a:gd name="connsiteX273" fmla="*/ 9735 w 10000"/>
                <a:gd name="connsiteY273" fmla="*/ 3839 h 10000"/>
                <a:gd name="connsiteX274" fmla="*/ 9552 w 10000"/>
                <a:gd name="connsiteY274" fmla="*/ 3757 h 10000"/>
                <a:gd name="connsiteX275" fmla="*/ 9451 w 10000"/>
                <a:gd name="connsiteY275" fmla="*/ 4025 h 10000"/>
                <a:gd name="connsiteX276" fmla="*/ 9385 w 10000"/>
                <a:gd name="connsiteY276" fmla="*/ 4283 h 10000"/>
                <a:gd name="connsiteX277" fmla="*/ 9376 w 10000"/>
                <a:gd name="connsiteY277" fmla="*/ 4499 h 10000"/>
                <a:gd name="connsiteX278" fmla="*/ 9335 w 10000"/>
                <a:gd name="connsiteY278" fmla="*/ 4303 h 10000"/>
                <a:gd name="connsiteX279" fmla="*/ 9149 w 10000"/>
                <a:gd name="connsiteY279" fmla="*/ 4314 h 10000"/>
                <a:gd name="connsiteX280" fmla="*/ 9155 w 10000"/>
                <a:gd name="connsiteY280" fmla="*/ 4531 h 10000"/>
                <a:gd name="connsiteX281" fmla="*/ 9061 w 10000"/>
                <a:gd name="connsiteY281" fmla="*/ 4365 h 10000"/>
                <a:gd name="connsiteX282" fmla="*/ 9054 w 10000"/>
                <a:gd name="connsiteY282" fmla="*/ 4521 h 10000"/>
                <a:gd name="connsiteX283" fmla="*/ 8998 w 10000"/>
                <a:gd name="connsiteY283" fmla="*/ 4458 h 10000"/>
                <a:gd name="connsiteX284" fmla="*/ 8966 w 10000"/>
                <a:gd name="connsiteY284" fmla="*/ 4562 h 10000"/>
                <a:gd name="connsiteX285" fmla="*/ 9007 w 10000"/>
                <a:gd name="connsiteY285" fmla="*/ 4686 h 10000"/>
                <a:gd name="connsiteX286" fmla="*/ 9004 w 10000"/>
                <a:gd name="connsiteY286" fmla="*/ 4995 h 10000"/>
                <a:gd name="connsiteX287" fmla="*/ 9073 w 10000"/>
                <a:gd name="connsiteY287" fmla="*/ 5211 h 10000"/>
                <a:gd name="connsiteX288" fmla="*/ 9130 w 10000"/>
                <a:gd name="connsiteY288" fmla="*/ 5150 h 10000"/>
                <a:gd name="connsiteX289" fmla="*/ 9158 w 10000"/>
                <a:gd name="connsiteY289" fmla="*/ 5211 h 10000"/>
                <a:gd name="connsiteX290" fmla="*/ 9231 w 10000"/>
                <a:gd name="connsiteY290" fmla="*/ 5428 h 10000"/>
                <a:gd name="connsiteX291" fmla="*/ 9215 w 10000"/>
                <a:gd name="connsiteY291" fmla="*/ 5604 h 10000"/>
                <a:gd name="connsiteX292" fmla="*/ 9221 w 10000"/>
                <a:gd name="connsiteY292" fmla="*/ 5769 h 10000"/>
                <a:gd name="connsiteX293" fmla="*/ 9269 w 10000"/>
                <a:gd name="connsiteY293" fmla="*/ 5883 h 10000"/>
                <a:gd name="connsiteX294" fmla="*/ 9344 w 10000"/>
                <a:gd name="connsiteY294" fmla="*/ 6068 h 10000"/>
                <a:gd name="connsiteX295" fmla="*/ 9269 w 10000"/>
                <a:gd name="connsiteY295" fmla="*/ 6068 h 10000"/>
                <a:gd name="connsiteX296" fmla="*/ 9253 w 10000"/>
                <a:gd name="connsiteY296" fmla="*/ 6223 h 10000"/>
                <a:gd name="connsiteX297" fmla="*/ 9319 w 10000"/>
                <a:gd name="connsiteY297" fmla="*/ 6408 h 10000"/>
                <a:gd name="connsiteX298" fmla="*/ 9250 w 10000"/>
                <a:gd name="connsiteY298" fmla="*/ 6502 h 10000"/>
                <a:gd name="connsiteX299" fmla="*/ 9297 w 10000"/>
                <a:gd name="connsiteY299" fmla="*/ 6729 h 10000"/>
                <a:gd name="connsiteX300" fmla="*/ 9281 w 10000"/>
                <a:gd name="connsiteY300" fmla="*/ 7069 h 10000"/>
                <a:gd name="connsiteX301" fmla="*/ 9061 w 10000"/>
                <a:gd name="connsiteY301" fmla="*/ 6408 h 10000"/>
                <a:gd name="connsiteX302" fmla="*/ 8824 w 10000"/>
                <a:gd name="connsiteY302" fmla="*/ 5759 h 10000"/>
                <a:gd name="connsiteX303" fmla="*/ 8771 w 10000"/>
                <a:gd name="connsiteY303" fmla="*/ 5459 h 10000"/>
                <a:gd name="connsiteX304" fmla="*/ 8768 w 10000"/>
                <a:gd name="connsiteY304" fmla="*/ 5211 h 10000"/>
                <a:gd name="connsiteX305" fmla="*/ 8692 w 10000"/>
                <a:gd name="connsiteY305" fmla="*/ 5047 h 10000"/>
                <a:gd name="connsiteX306" fmla="*/ 8771 w 10000"/>
                <a:gd name="connsiteY306" fmla="*/ 5088 h 10000"/>
                <a:gd name="connsiteX307" fmla="*/ 8809 w 10000"/>
                <a:gd name="connsiteY307" fmla="*/ 5108 h 10000"/>
                <a:gd name="connsiteX308" fmla="*/ 8809 w 10000"/>
                <a:gd name="connsiteY308" fmla="*/ 4840 h 10000"/>
                <a:gd name="connsiteX309" fmla="*/ 8827 w 10000"/>
                <a:gd name="connsiteY309" fmla="*/ 4437 h 10000"/>
                <a:gd name="connsiteX310" fmla="*/ 8853 w 10000"/>
                <a:gd name="connsiteY310" fmla="*/ 4252 h 10000"/>
                <a:gd name="connsiteX311" fmla="*/ 8909 w 10000"/>
                <a:gd name="connsiteY311" fmla="*/ 4221 h 10000"/>
                <a:gd name="connsiteX312" fmla="*/ 8786 w 10000"/>
                <a:gd name="connsiteY312" fmla="*/ 3901 h 10000"/>
                <a:gd name="connsiteX313" fmla="*/ 8853 w 10000"/>
                <a:gd name="connsiteY313" fmla="*/ 3839 h 10000"/>
                <a:gd name="connsiteX314" fmla="*/ 8739 w 10000"/>
                <a:gd name="connsiteY314" fmla="*/ 3788 h 10000"/>
                <a:gd name="connsiteX315" fmla="*/ 8755 w 10000"/>
                <a:gd name="connsiteY315" fmla="*/ 3984 h 10000"/>
                <a:gd name="connsiteX316" fmla="*/ 8692 w 10000"/>
                <a:gd name="connsiteY316" fmla="*/ 4303 h 10000"/>
                <a:gd name="connsiteX317" fmla="*/ 8604 w 10000"/>
                <a:gd name="connsiteY317" fmla="*/ 4210 h 10000"/>
                <a:gd name="connsiteX318" fmla="*/ 8550 w 10000"/>
                <a:gd name="connsiteY318" fmla="*/ 4056 h 10000"/>
                <a:gd name="connsiteX319" fmla="*/ 8481 w 10000"/>
                <a:gd name="connsiteY319" fmla="*/ 4138 h 10000"/>
                <a:gd name="connsiteX320" fmla="*/ 8389 w 10000"/>
                <a:gd name="connsiteY320" fmla="*/ 4107 h 10000"/>
                <a:gd name="connsiteX321" fmla="*/ 8352 w 10000"/>
                <a:gd name="connsiteY321" fmla="*/ 4406 h 10000"/>
                <a:gd name="connsiteX322" fmla="*/ 8481 w 10000"/>
                <a:gd name="connsiteY322" fmla="*/ 4655 h 10000"/>
                <a:gd name="connsiteX323" fmla="*/ 8405 w 10000"/>
                <a:gd name="connsiteY323" fmla="*/ 4830 h 10000"/>
                <a:gd name="connsiteX324" fmla="*/ 8225 w 10000"/>
                <a:gd name="connsiteY324" fmla="*/ 4799 h 10000"/>
                <a:gd name="connsiteX325" fmla="*/ 8209 w 10000"/>
                <a:gd name="connsiteY325" fmla="*/ 4655 h 10000"/>
                <a:gd name="connsiteX326" fmla="*/ 8102 w 10000"/>
                <a:gd name="connsiteY326" fmla="*/ 4634 h 10000"/>
                <a:gd name="connsiteX327" fmla="*/ 7641 w 10000"/>
                <a:gd name="connsiteY327" fmla="*/ 4779 h 10000"/>
                <a:gd name="connsiteX328" fmla="*/ 7610 w 10000"/>
                <a:gd name="connsiteY328" fmla="*/ 5005 h 10000"/>
                <a:gd name="connsiteX329" fmla="*/ 7550 w 10000"/>
                <a:gd name="connsiteY329" fmla="*/ 5666 h 10000"/>
                <a:gd name="connsiteX330" fmla="*/ 7496 w 10000"/>
                <a:gd name="connsiteY330" fmla="*/ 5965 h 10000"/>
                <a:gd name="connsiteX331" fmla="*/ 7701 w 10000"/>
                <a:gd name="connsiteY331" fmla="*/ 6161 h 10000"/>
                <a:gd name="connsiteX332" fmla="*/ 7745 w 10000"/>
                <a:gd name="connsiteY332" fmla="*/ 6243 h 10000"/>
                <a:gd name="connsiteX333" fmla="*/ 7771 w 10000"/>
                <a:gd name="connsiteY333" fmla="*/ 6285 h 10000"/>
                <a:gd name="connsiteX334" fmla="*/ 7793 w 10000"/>
                <a:gd name="connsiteY334" fmla="*/ 6068 h 10000"/>
                <a:gd name="connsiteX335" fmla="*/ 7912 w 10000"/>
                <a:gd name="connsiteY335" fmla="*/ 6089 h 10000"/>
                <a:gd name="connsiteX336" fmla="*/ 8004 w 10000"/>
                <a:gd name="connsiteY336" fmla="*/ 6367 h 10000"/>
                <a:gd name="connsiteX337" fmla="*/ 8064 w 10000"/>
                <a:gd name="connsiteY337" fmla="*/ 6616 h 10000"/>
                <a:gd name="connsiteX338" fmla="*/ 8111 w 10000"/>
                <a:gd name="connsiteY338" fmla="*/ 6781 h 10000"/>
                <a:gd name="connsiteX339" fmla="*/ 8048 w 10000"/>
                <a:gd name="connsiteY339" fmla="*/ 6491 h 10000"/>
                <a:gd name="connsiteX340" fmla="*/ 8124 w 10000"/>
                <a:gd name="connsiteY340" fmla="*/ 6336 h 10000"/>
                <a:gd name="connsiteX341" fmla="*/ 8177 w 10000"/>
                <a:gd name="connsiteY341" fmla="*/ 6512 h 10000"/>
                <a:gd name="connsiteX342" fmla="*/ 8300 w 10000"/>
                <a:gd name="connsiteY342" fmla="*/ 6987 h 10000"/>
                <a:gd name="connsiteX343" fmla="*/ 8361 w 10000"/>
                <a:gd name="connsiteY343" fmla="*/ 7152 h 10000"/>
                <a:gd name="connsiteX344" fmla="*/ 8490 w 10000"/>
                <a:gd name="connsiteY344" fmla="*/ 7482 h 10000"/>
                <a:gd name="connsiteX345" fmla="*/ 8604 w 10000"/>
                <a:gd name="connsiteY345" fmla="*/ 7854 h 10000"/>
                <a:gd name="connsiteX346" fmla="*/ 8474 w 10000"/>
                <a:gd name="connsiteY346" fmla="*/ 7647 h 10000"/>
                <a:gd name="connsiteX347" fmla="*/ 8443 w 10000"/>
                <a:gd name="connsiteY347" fmla="*/ 7678 h 10000"/>
                <a:gd name="connsiteX348" fmla="*/ 8512 w 10000"/>
                <a:gd name="connsiteY348" fmla="*/ 8050 h 10000"/>
                <a:gd name="connsiteX349" fmla="*/ 8588 w 10000"/>
                <a:gd name="connsiteY349" fmla="*/ 8266 h 10000"/>
                <a:gd name="connsiteX350" fmla="*/ 8642 w 10000"/>
                <a:gd name="connsiteY350" fmla="*/ 8472 h 10000"/>
                <a:gd name="connsiteX351" fmla="*/ 8566 w 10000"/>
                <a:gd name="connsiteY351" fmla="*/ 8421 h 10000"/>
                <a:gd name="connsiteX352" fmla="*/ 8556 w 10000"/>
                <a:gd name="connsiteY352" fmla="*/ 8669 h 10000"/>
                <a:gd name="connsiteX353" fmla="*/ 8497 w 10000"/>
                <a:gd name="connsiteY353" fmla="*/ 8493 h 10000"/>
                <a:gd name="connsiteX354" fmla="*/ 8481 w 10000"/>
                <a:gd name="connsiteY354" fmla="*/ 8421 h 10000"/>
                <a:gd name="connsiteX355" fmla="*/ 8361 w 10000"/>
                <a:gd name="connsiteY355" fmla="*/ 7751 h 10000"/>
                <a:gd name="connsiteX356" fmla="*/ 8322 w 10000"/>
                <a:gd name="connsiteY356" fmla="*/ 7524 h 10000"/>
                <a:gd name="connsiteX357" fmla="*/ 8291 w 10000"/>
                <a:gd name="connsiteY357" fmla="*/ 7378 h 10000"/>
                <a:gd name="connsiteX358" fmla="*/ 8275 w 10000"/>
                <a:gd name="connsiteY358" fmla="*/ 7306 h 10000"/>
                <a:gd name="connsiteX359" fmla="*/ 8139 w 10000"/>
                <a:gd name="connsiteY359" fmla="*/ 6863 h 10000"/>
                <a:gd name="connsiteX360" fmla="*/ 8199 w 10000"/>
                <a:gd name="connsiteY360" fmla="*/ 7451 h 10000"/>
                <a:gd name="connsiteX361" fmla="*/ 8247 w 10000"/>
                <a:gd name="connsiteY361" fmla="*/ 7998 h 10000"/>
                <a:gd name="connsiteX362" fmla="*/ 8177 w 10000"/>
                <a:gd name="connsiteY362" fmla="*/ 9133 h 10000"/>
                <a:gd name="connsiteX363" fmla="*/ 8124 w 10000"/>
                <a:gd name="connsiteY363" fmla="*/ 9484 h 10000"/>
                <a:gd name="connsiteX364" fmla="*/ 7972 w 10000"/>
                <a:gd name="connsiteY364" fmla="*/ 9432 h 10000"/>
                <a:gd name="connsiteX365" fmla="*/ 7897 w 10000"/>
                <a:gd name="connsiteY365" fmla="*/ 9660 h 10000"/>
                <a:gd name="connsiteX366" fmla="*/ 7868 w 10000"/>
                <a:gd name="connsiteY366" fmla="*/ 9588 h 10000"/>
                <a:gd name="connsiteX367" fmla="*/ 7884 w 10000"/>
                <a:gd name="connsiteY367" fmla="*/ 9536 h 10000"/>
                <a:gd name="connsiteX368" fmla="*/ 7897 w 10000"/>
                <a:gd name="connsiteY368" fmla="*/ 9380 h 10000"/>
                <a:gd name="connsiteX369" fmla="*/ 7884 w 10000"/>
                <a:gd name="connsiteY369" fmla="*/ 9236 h 10000"/>
                <a:gd name="connsiteX370" fmla="*/ 7793 w 10000"/>
                <a:gd name="connsiteY370" fmla="*/ 8865 h 10000"/>
                <a:gd name="connsiteX371" fmla="*/ 7831 w 10000"/>
                <a:gd name="connsiteY371" fmla="*/ 8741 h 10000"/>
                <a:gd name="connsiteX372" fmla="*/ 7928 w 10000"/>
                <a:gd name="connsiteY372" fmla="*/ 8844 h 10000"/>
                <a:gd name="connsiteX373" fmla="*/ 7912 w 10000"/>
                <a:gd name="connsiteY373" fmla="*/ 8318 h 10000"/>
                <a:gd name="connsiteX374" fmla="*/ 7906 w 10000"/>
                <a:gd name="connsiteY374" fmla="*/ 8019 h 10000"/>
                <a:gd name="connsiteX375" fmla="*/ 7846 w 10000"/>
                <a:gd name="connsiteY375" fmla="*/ 7802 h 10000"/>
                <a:gd name="connsiteX376" fmla="*/ 7723 w 10000"/>
                <a:gd name="connsiteY376" fmla="*/ 8050 h 10000"/>
                <a:gd name="connsiteX377" fmla="*/ 7619 w 10000"/>
                <a:gd name="connsiteY377" fmla="*/ 8019 h 10000"/>
                <a:gd name="connsiteX378" fmla="*/ 7528 w 10000"/>
                <a:gd name="connsiteY378" fmla="*/ 7699 h 10000"/>
                <a:gd name="connsiteX379" fmla="*/ 7355 w 10000"/>
                <a:gd name="connsiteY379" fmla="*/ 7482 h 10000"/>
                <a:gd name="connsiteX380" fmla="*/ 7279 w 10000"/>
                <a:gd name="connsiteY380" fmla="*/ 7482 h 10000"/>
                <a:gd name="connsiteX381" fmla="*/ 7080 w 10000"/>
                <a:gd name="connsiteY381" fmla="*/ 6781 h 10000"/>
                <a:gd name="connsiteX382" fmla="*/ 6901 w 10000"/>
                <a:gd name="connsiteY382" fmla="*/ 6460 h 10000"/>
                <a:gd name="connsiteX383" fmla="*/ 6724 w 10000"/>
                <a:gd name="connsiteY383" fmla="*/ 6336 h 10000"/>
                <a:gd name="connsiteX384" fmla="*/ 6583 w 10000"/>
                <a:gd name="connsiteY384" fmla="*/ 6408 h 10000"/>
                <a:gd name="connsiteX385" fmla="*/ 6567 w 10000"/>
                <a:gd name="connsiteY385" fmla="*/ 6585 h 10000"/>
                <a:gd name="connsiteX386" fmla="*/ 6664 w 10000"/>
                <a:gd name="connsiteY386" fmla="*/ 6760 h 10000"/>
                <a:gd name="connsiteX387" fmla="*/ 6636 w 10000"/>
                <a:gd name="connsiteY387" fmla="*/ 6935 h 10000"/>
                <a:gd name="connsiteX388" fmla="*/ 6636 w 10000"/>
                <a:gd name="connsiteY388" fmla="*/ 7399 h 10000"/>
                <a:gd name="connsiteX389" fmla="*/ 6560 w 10000"/>
                <a:gd name="connsiteY389" fmla="*/ 7482 h 10000"/>
                <a:gd name="connsiteX390" fmla="*/ 6485 w 10000"/>
                <a:gd name="connsiteY390" fmla="*/ 7378 h 10000"/>
                <a:gd name="connsiteX391" fmla="*/ 6400 w 10000"/>
                <a:gd name="connsiteY391" fmla="*/ 7399 h 10000"/>
                <a:gd name="connsiteX392" fmla="*/ 6334 w 10000"/>
                <a:gd name="connsiteY392" fmla="*/ 7275 h 10000"/>
                <a:gd name="connsiteX393" fmla="*/ 6258 w 10000"/>
                <a:gd name="connsiteY393" fmla="*/ 7358 h 10000"/>
                <a:gd name="connsiteX394" fmla="*/ 6220 w 10000"/>
                <a:gd name="connsiteY394" fmla="*/ 7524 h 10000"/>
                <a:gd name="connsiteX395" fmla="*/ 6081 w 10000"/>
                <a:gd name="connsiteY395" fmla="*/ 7606 h 10000"/>
                <a:gd name="connsiteX396" fmla="*/ 5892 w 10000"/>
                <a:gd name="connsiteY396" fmla="*/ 7575 h 10000"/>
                <a:gd name="connsiteX397" fmla="*/ 5855 w 10000"/>
                <a:gd name="connsiteY397" fmla="*/ 7327 h 10000"/>
                <a:gd name="connsiteX398" fmla="*/ 5643 w 10000"/>
                <a:gd name="connsiteY398" fmla="*/ 7255 h 10000"/>
                <a:gd name="connsiteX399" fmla="*/ 5539 w 10000"/>
                <a:gd name="connsiteY399" fmla="*/ 7358 h 10000"/>
                <a:gd name="connsiteX400" fmla="*/ 5416 w 10000"/>
                <a:gd name="connsiteY400" fmla="*/ 7203 h 10000"/>
                <a:gd name="connsiteX401" fmla="*/ 5372 w 10000"/>
                <a:gd name="connsiteY401" fmla="*/ 6904 h 10000"/>
                <a:gd name="connsiteX0" fmla="*/ 4977 w 10000"/>
                <a:gd name="connsiteY0" fmla="*/ 7378 h 10000"/>
                <a:gd name="connsiteX1" fmla="*/ 4864 w 10000"/>
                <a:gd name="connsiteY1" fmla="*/ 7183 h 10000"/>
                <a:gd name="connsiteX2" fmla="*/ 4713 w 10000"/>
                <a:gd name="connsiteY2" fmla="*/ 7152 h 10000"/>
                <a:gd name="connsiteX3" fmla="*/ 4464 w 10000"/>
                <a:gd name="connsiteY3" fmla="*/ 7647 h 10000"/>
                <a:gd name="connsiteX4" fmla="*/ 4410 w 10000"/>
                <a:gd name="connsiteY4" fmla="*/ 7606 h 10000"/>
                <a:gd name="connsiteX5" fmla="*/ 4334 w 10000"/>
                <a:gd name="connsiteY5" fmla="*/ 7430 h 10000"/>
                <a:gd name="connsiteX6" fmla="*/ 4275 w 10000"/>
                <a:gd name="connsiteY6" fmla="*/ 7503 h 10000"/>
                <a:gd name="connsiteX7" fmla="*/ 4130 w 10000"/>
                <a:gd name="connsiteY7" fmla="*/ 7255 h 10000"/>
                <a:gd name="connsiteX8" fmla="*/ 4076 w 10000"/>
                <a:gd name="connsiteY8" fmla="*/ 7059 h 10000"/>
                <a:gd name="connsiteX9" fmla="*/ 3972 w 10000"/>
                <a:gd name="connsiteY9" fmla="*/ 7152 h 10000"/>
                <a:gd name="connsiteX10" fmla="*/ 3887 w 10000"/>
                <a:gd name="connsiteY10" fmla="*/ 6956 h 10000"/>
                <a:gd name="connsiteX11" fmla="*/ 3843 w 10000"/>
                <a:gd name="connsiteY11" fmla="*/ 7183 h 10000"/>
                <a:gd name="connsiteX12" fmla="*/ 3698 w 10000"/>
                <a:gd name="connsiteY12" fmla="*/ 6636 h 10000"/>
                <a:gd name="connsiteX13" fmla="*/ 3584 w 10000"/>
                <a:gd name="connsiteY13" fmla="*/ 6388 h 10000"/>
                <a:gd name="connsiteX14" fmla="*/ 3471 w 10000"/>
                <a:gd name="connsiteY14" fmla="*/ 6212 h 10000"/>
                <a:gd name="connsiteX15" fmla="*/ 3496 w 10000"/>
                <a:gd name="connsiteY15" fmla="*/ 5965 h 10000"/>
                <a:gd name="connsiteX16" fmla="*/ 3291 w 10000"/>
                <a:gd name="connsiteY16" fmla="*/ 6367 h 10000"/>
                <a:gd name="connsiteX17" fmla="*/ 3244 w 10000"/>
                <a:gd name="connsiteY17" fmla="*/ 6161 h 10000"/>
                <a:gd name="connsiteX18" fmla="*/ 3093 w 10000"/>
                <a:gd name="connsiteY18" fmla="*/ 6161 h 10000"/>
                <a:gd name="connsiteX19" fmla="*/ 3080 w 10000"/>
                <a:gd name="connsiteY19" fmla="*/ 5944 h 10000"/>
                <a:gd name="connsiteX20" fmla="*/ 2995 w 10000"/>
                <a:gd name="connsiteY20" fmla="*/ 5821 h 10000"/>
                <a:gd name="connsiteX21" fmla="*/ 2897 w 10000"/>
                <a:gd name="connsiteY21" fmla="*/ 5790 h 10000"/>
                <a:gd name="connsiteX22" fmla="*/ 2828 w 10000"/>
                <a:gd name="connsiteY22" fmla="*/ 5996 h 10000"/>
                <a:gd name="connsiteX23" fmla="*/ 2633 w 10000"/>
                <a:gd name="connsiteY23" fmla="*/ 6120 h 10000"/>
                <a:gd name="connsiteX24" fmla="*/ 2412 w 10000"/>
                <a:gd name="connsiteY24" fmla="*/ 6212 h 10000"/>
                <a:gd name="connsiteX25" fmla="*/ 2443 w 10000"/>
                <a:gd name="connsiteY25" fmla="*/ 6408 h 10000"/>
                <a:gd name="connsiteX26" fmla="*/ 2525 w 10000"/>
                <a:gd name="connsiteY26" fmla="*/ 6512 h 10000"/>
                <a:gd name="connsiteX27" fmla="*/ 2428 w 10000"/>
                <a:gd name="connsiteY27" fmla="*/ 6512 h 10000"/>
                <a:gd name="connsiteX28" fmla="*/ 2406 w 10000"/>
                <a:gd name="connsiteY28" fmla="*/ 6832 h 10000"/>
                <a:gd name="connsiteX29" fmla="*/ 2535 w 10000"/>
                <a:gd name="connsiteY29" fmla="*/ 6987 h 10000"/>
                <a:gd name="connsiteX30" fmla="*/ 2497 w 10000"/>
                <a:gd name="connsiteY30" fmla="*/ 7183 h 10000"/>
                <a:gd name="connsiteX31" fmla="*/ 2384 w 10000"/>
                <a:gd name="connsiteY31" fmla="*/ 7183 h 10000"/>
                <a:gd name="connsiteX32" fmla="*/ 2308 w 10000"/>
                <a:gd name="connsiteY32" fmla="*/ 7028 h 10000"/>
                <a:gd name="connsiteX33" fmla="*/ 2147 w 10000"/>
                <a:gd name="connsiteY33" fmla="*/ 7131 h 10000"/>
                <a:gd name="connsiteX34" fmla="*/ 2109 w 10000"/>
                <a:gd name="connsiteY34" fmla="*/ 7203 h 10000"/>
                <a:gd name="connsiteX35" fmla="*/ 1983 w 10000"/>
                <a:gd name="connsiteY35" fmla="*/ 7028 h 10000"/>
                <a:gd name="connsiteX36" fmla="*/ 1854 w 10000"/>
                <a:gd name="connsiteY36" fmla="*/ 6884 h 10000"/>
                <a:gd name="connsiteX37" fmla="*/ 1741 w 10000"/>
                <a:gd name="connsiteY37" fmla="*/ 6863 h 10000"/>
                <a:gd name="connsiteX38" fmla="*/ 1610 w 10000"/>
                <a:gd name="connsiteY38" fmla="*/ 7183 h 10000"/>
                <a:gd name="connsiteX39" fmla="*/ 1655 w 10000"/>
                <a:gd name="connsiteY39" fmla="*/ 7430 h 10000"/>
                <a:gd name="connsiteX40" fmla="*/ 1604 w 10000"/>
                <a:gd name="connsiteY40" fmla="*/ 7430 h 10000"/>
                <a:gd name="connsiteX41" fmla="*/ 1551 w 10000"/>
                <a:gd name="connsiteY41" fmla="*/ 7255 h 10000"/>
                <a:gd name="connsiteX42" fmla="*/ 1513 w 10000"/>
                <a:gd name="connsiteY42" fmla="*/ 7430 h 10000"/>
                <a:gd name="connsiteX43" fmla="*/ 1519 w 10000"/>
                <a:gd name="connsiteY43" fmla="*/ 7854 h 10000"/>
                <a:gd name="connsiteX44" fmla="*/ 1604 w 10000"/>
                <a:gd name="connsiteY44" fmla="*/ 8070 h 10000"/>
                <a:gd name="connsiteX45" fmla="*/ 1648 w 10000"/>
                <a:gd name="connsiteY45" fmla="*/ 8019 h 10000"/>
                <a:gd name="connsiteX46" fmla="*/ 1741 w 10000"/>
                <a:gd name="connsiteY46" fmla="*/ 8493 h 10000"/>
                <a:gd name="connsiteX47" fmla="*/ 1610 w 10000"/>
                <a:gd name="connsiteY47" fmla="*/ 8669 h 10000"/>
                <a:gd name="connsiteX48" fmla="*/ 1595 w 10000"/>
                <a:gd name="connsiteY48" fmla="*/ 9009 h 10000"/>
                <a:gd name="connsiteX49" fmla="*/ 1664 w 10000"/>
                <a:gd name="connsiteY49" fmla="*/ 9236 h 10000"/>
                <a:gd name="connsiteX50" fmla="*/ 1664 w 10000"/>
                <a:gd name="connsiteY50" fmla="*/ 9484 h 10000"/>
                <a:gd name="connsiteX51" fmla="*/ 1769 w 10000"/>
                <a:gd name="connsiteY51" fmla="*/ 9835 h 10000"/>
                <a:gd name="connsiteX52" fmla="*/ 1703 w 10000"/>
                <a:gd name="connsiteY52" fmla="*/ 10000 h 10000"/>
                <a:gd name="connsiteX53" fmla="*/ 1604 w 10000"/>
                <a:gd name="connsiteY53" fmla="*/ 9753 h 10000"/>
                <a:gd name="connsiteX54" fmla="*/ 1465 w 10000"/>
                <a:gd name="connsiteY54" fmla="*/ 9505 h 10000"/>
                <a:gd name="connsiteX55" fmla="*/ 1406 w 10000"/>
                <a:gd name="connsiteY55" fmla="*/ 9588 h 10000"/>
                <a:gd name="connsiteX56" fmla="*/ 1308 w 10000"/>
                <a:gd name="connsiteY56" fmla="*/ 9380 h 10000"/>
                <a:gd name="connsiteX57" fmla="*/ 1097 w 10000"/>
                <a:gd name="connsiteY57" fmla="*/ 9339 h 10000"/>
                <a:gd name="connsiteX58" fmla="*/ 848 w 10000"/>
                <a:gd name="connsiteY58" fmla="*/ 8813 h 10000"/>
                <a:gd name="connsiteX59" fmla="*/ 914 w 10000"/>
                <a:gd name="connsiteY59" fmla="*/ 8721 h 10000"/>
                <a:gd name="connsiteX60" fmla="*/ 961 w 10000"/>
                <a:gd name="connsiteY60" fmla="*/ 8493 h 10000"/>
                <a:gd name="connsiteX61" fmla="*/ 908 w 10000"/>
                <a:gd name="connsiteY61" fmla="*/ 8390 h 10000"/>
                <a:gd name="connsiteX62" fmla="*/ 1021 w 10000"/>
                <a:gd name="connsiteY62" fmla="*/ 8245 h 10000"/>
                <a:gd name="connsiteX63" fmla="*/ 945 w 10000"/>
                <a:gd name="connsiteY63" fmla="*/ 8194 h 10000"/>
                <a:gd name="connsiteX64" fmla="*/ 958 w 10000"/>
                <a:gd name="connsiteY64" fmla="*/ 8091 h 10000"/>
                <a:gd name="connsiteX65" fmla="*/ 1005 w 10000"/>
                <a:gd name="connsiteY65" fmla="*/ 8111 h 10000"/>
                <a:gd name="connsiteX66" fmla="*/ 1059 w 10000"/>
                <a:gd name="connsiteY66" fmla="*/ 8019 h 10000"/>
                <a:gd name="connsiteX67" fmla="*/ 1034 w 10000"/>
                <a:gd name="connsiteY67" fmla="*/ 7864 h 10000"/>
                <a:gd name="connsiteX68" fmla="*/ 1043 w 10000"/>
                <a:gd name="connsiteY68" fmla="*/ 7503 h 10000"/>
                <a:gd name="connsiteX69" fmla="*/ 930 w 10000"/>
                <a:gd name="connsiteY69" fmla="*/ 7440 h 10000"/>
                <a:gd name="connsiteX70" fmla="*/ 832 w 10000"/>
                <a:gd name="connsiteY70" fmla="*/ 7286 h 10000"/>
                <a:gd name="connsiteX71" fmla="*/ 700 w 10000"/>
                <a:gd name="connsiteY71" fmla="*/ 7275 h 10000"/>
                <a:gd name="connsiteX72" fmla="*/ 684 w 10000"/>
                <a:gd name="connsiteY72" fmla="*/ 7090 h 10000"/>
                <a:gd name="connsiteX73" fmla="*/ 596 w 10000"/>
                <a:gd name="connsiteY73" fmla="*/ 6945 h 10000"/>
                <a:gd name="connsiteX74" fmla="*/ 615 w 10000"/>
                <a:gd name="connsiteY74" fmla="*/ 6822 h 10000"/>
                <a:gd name="connsiteX75" fmla="*/ 561 w 10000"/>
                <a:gd name="connsiteY75" fmla="*/ 6698 h 10000"/>
                <a:gd name="connsiteX76" fmla="*/ 457 w 10000"/>
                <a:gd name="connsiteY76" fmla="*/ 6698 h 10000"/>
                <a:gd name="connsiteX77" fmla="*/ 425 w 10000"/>
                <a:gd name="connsiteY77" fmla="*/ 6791 h 10000"/>
                <a:gd name="connsiteX78" fmla="*/ 400 w 10000"/>
                <a:gd name="connsiteY78" fmla="*/ 6750 h 10000"/>
                <a:gd name="connsiteX79" fmla="*/ 378 w 10000"/>
                <a:gd name="connsiteY79" fmla="*/ 6439 h 10000"/>
                <a:gd name="connsiteX80" fmla="*/ 419 w 10000"/>
                <a:gd name="connsiteY80" fmla="*/ 6470 h 10000"/>
                <a:gd name="connsiteX81" fmla="*/ 466 w 10000"/>
                <a:gd name="connsiteY81" fmla="*/ 6347 h 10000"/>
                <a:gd name="connsiteX82" fmla="*/ 400 w 10000"/>
                <a:gd name="connsiteY82" fmla="*/ 6233 h 10000"/>
                <a:gd name="connsiteX83" fmla="*/ 315 w 10000"/>
                <a:gd name="connsiteY83" fmla="*/ 6017 h 10000"/>
                <a:gd name="connsiteX84" fmla="*/ 334 w 10000"/>
                <a:gd name="connsiteY84" fmla="*/ 5821 h 10000"/>
                <a:gd name="connsiteX85" fmla="*/ 274 w 10000"/>
                <a:gd name="connsiteY85" fmla="*/ 5697 h 10000"/>
                <a:gd name="connsiteX86" fmla="*/ 227 w 10000"/>
                <a:gd name="connsiteY86" fmla="*/ 5728 h 10000"/>
                <a:gd name="connsiteX87" fmla="*/ 202 w 10000"/>
                <a:gd name="connsiteY87" fmla="*/ 5604 h 10000"/>
                <a:gd name="connsiteX88" fmla="*/ 164 w 10000"/>
                <a:gd name="connsiteY88" fmla="*/ 5645 h 10000"/>
                <a:gd name="connsiteX89" fmla="*/ 117 w 10000"/>
                <a:gd name="connsiteY89" fmla="*/ 5604 h 10000"/>
                <a:gd name="connsiteX90" fmla="*/ 69 w 10000"/>
                <a:gd name="connsiteY90" fmla="*/ 5181 h 10000"/>
                <a:gd name="connsiteX91" fmla="*/ 85 w 10000"/>
                <a:gd name="connsiteY91" fmla="*/ 5057 h 10000"/>
                <a:gd name="connsiteX92" fmla="*/ 41 w 10000"/>
                <a:gd name="connsiteY92" fmla="*/ 4892 h 10000"/>
                <a:gd name="connsiteX93" fmla="*/ 66 w 10000"/>
                <a:gd name="connsiteY93" fmla="*/ 4655 h 10000"/>
                <a:gd name="connsiteX94" fmla="*/ 211 w 10000"/>
                <a:gd name="connsiteY94" fmla="*/ 4510 h 10000"/>
                <a:gd name="connsiteX95" fmla="*/ 129 w 10000"/>
                <a:gd name="connsiteY95" fmla="*/ 4406 h 10000"/>
                <a:gd name="connsiteX96" fmla="*/ 82 w 10000"/>
                <a:gd name="connsiteY96" fmla="*/ 4283 h 10000"/>
                <a:gd name="connsiteX97" fmla="*/ 205 w 10000"/>
                <a:gd name="connsiteY97" fmla="*/ 3912 h 10000"/>
                <a:gd name="connsiteX98" fmla="*/ 249 w 10000"/>
                <a:gd name="connsiteY98" fmla="*/ 3664 h 10000"/>
                <a:gd name="connsiteX99" fmla="*/ 151 w 10000"/>
                <a:gd name="connsiteY99" fmla="*/ 3488 h 10000"/>
                <a:gd name="connsiteX100" fmla="*/ 189 w 10000"/>
                <a:gd name="connsiteY100" fmla="*/ 3344 h 10000"/>
                <a:gd name="connsiteX101" fmla="*/ 113 w 10000"/>
                <a:gd name="connsiteY101" fmla="*/ 3148 h 10000"/>
                <a:gd name="connsiteX102" fmla="*/ 113 w 10000"/>
                <a:gd name="connsiteY102" fmla="*/ 2972 h 10000"/>
                <a:gd name="connsiteX103" fmla="*/ 60 w 10000"/>
                <a:gd name="connsiteY103" fmla="*/ 2622 h 10000"/>
                <a:gd name="connsiteX104" fmla="*/ 98 w 10000"/>
                <a:gd name="connsiteY104" fmla="*/ 2404 h 10000"/>
                <a:gd name="connsiteX105" fmla="*/ 38 w 10000"/>
                <a:gd name="connsiteY105" fmla="*/ 2301 h 10000"/>
                <a:gd name="connsiteX106" fmla="*/ 0 w 10000"/>
                <a:gd name="connsiteY106" fmla="*/ 2178 h 10000"/>
                <a:gd name="connsiteX107" fmla="*/ 54 w 10000"/>
                <a:gd name="connsiteY107" fmla="*/ 1951 h 10000"/>
                <a:gd name="connsiteX108" fmla="*/ 120 w 10000"/>
                <a:gd name="connsiteY108" fmla="*/ 1910 h 10000"/>
                <a:gd name="connsiteX109" fmla="*/ 195 w 10000"/>
                <a:gd name="connsiteY109" fmla="*/ 1858 h 10000"/>
                <a:gd name="connsiteX110" fmla="*/ 309 w 10000"/>
                <a:gd name="connsiteY110" fmla="*/ 1951 h 10000"/>
                <a:gd name="connsiteX111" fmla="*/ 482 w 10000"/>
                <a:gd name="connsiteY111" fmla="*/ 2054 h 10000"/>
                <a:gd name="connsiteX112" fmla="*/ 633 w 10000"/>
                <a:gd name="connsiteY112" fmla="*/ 2229 h 10000"/>
                <a:gd name="connsiteX113" fmla="*/ 756 w 10000"/>
                <a:gd name="connsiteY113" fmla="*/ 2373 h 10000"/>
                <a:gd name="connsiteX114" fmla="*/ 725 w 10000"/>
                <a:gd name="connsiteY114" fmla="*/ 2777 h 10000"/>
                <a:gd name="connsiteX115" fmla="*/ 362 w 10000"/>
                <a:gd name="connsiteY115" fmla="*/ 2673 h 10000"/>
                <a:gd name="connsiteX116" fmla="*/ 243 w 10000"/>
                <a:gd name="connsiteY116" fmla="*/ 2550 h 10000"/>
                <a:gd name="connsiteX117" fmla="*/ 287 w 10000"/>
                <a:gd name="connsiteY117" fmla="*/ 2622 h 10000"/>
                <a:gd name="connsiteX118" fmla="*/ 331 w 10000"/>
                <a:gd name="connsiteY118" fmla="*/ 2797 h 10000"/>
                <a:gd name="connsiteX119" fmla="*/ 400 w 10000"/>
                <a:gd name="connsiteY119" fmla="*/ 2921 h 10000"/>
                <a:gd name="connsiteX120" fmla="*/ 416 w 10000"/>
                <a:gd name="connsiteY120" fmla="*/ 3189 h 10000"/>
                <a:gd name="connsiteX121" fmla="*/ 507 w 10000"/>
                <a:gd name="connsiteY121" fmla="*/ 3313 h 10000"/>
                <a:gd name="connsiteX122" fmla="*/ 583 w 10000"/>
                <a:gd name="connsiteY122" fmla="*/ 3436 h 10000"/>
                <a:gd name="connsiteX123" fmla="*/ 605 w 10000"/>
                <a:gd name="connsiteY123" fmla="*/ 3467 h 10000"/>
                <a:gd name="connsiteX124" fmla="*/ 649 w 10000"/>
                <a:gd name="connsiteY124" fmla="*/ 3436 h 10000"/>
                <a:gd name="connsiteX125" fmla="*/ 633 w 10000"/>
                <a:gd name="connsiteY125" fmla="*/ 3364 h 10000"/>
                <a:gd name="connsiteX126" fmla="*/ 545 w 10000"/>
                <a:gd name="connsiteY126" fmla="*/ 3189 h 10000"/>
                <a:gd name="connsiteX127" fmla="*/ 801 w 10000"/>
                <a:gd name="connsiteY127" fmla="*/ 3344 h 10000"/>
                <a:gd name="connsiteX128" fmla="*/ 810 w 10000"/>
                <a:gd name="connsiteY128" fmla="*/ 3271 h 10000"/>
                <a:gd name="connsiteX129" fmla="*/ 785 w 10000"/>
                <a:gd name="connsiteY129" fmla="*/ 3220 h 10000"/>
                <a:gd name="connsiteX130" fmla="*/ 741 w 10000"/>
                <a:gd name="connsiteY130" fmla="*/ 2993 h 10000"/>
                <a:gd name="connsiteX131" fmla="*/ 870 w 10000"/>
                <a:gd name="connsiteY131" fmla="*/ 2777 h 10000"/>
                <a:gd name="connsiteX132" fmla="*/ 968 w 10000"/>
                <a:gd name="connsiteY132" fmla="*/ 2921 h 10000"/>
                <a:gd name="connsiteX133" fmla="*/ 999 w 10000"/>
                <a:gd name="connsiteY133" fmla="*/ 2725 h 10000"/>
                <a:gd name="connsiteX134" fmla="*/ 952 w 10000"/>
                <a:gd name="connsiteY134" fmla="*/ 2653 h 10000"/>
                <a:gd name="connsiteX135" fmla="*/ 936 w 10000"/>
                <a:gd name="connsiteY135" fmla="*/ 2281 h 10000"/>
                <a:gd name="connsiteX136" fmla="*/ 914 w 10000"/>
                <a:gd name="connsiteY136" fmla="*/ 2229 h 10000"/>
                <a:gd name="connsiteX137" fmla="*/ 1037 w 10000"/>
                <a:gd name="connsiteY137" fmla="*/ 2250 h 10000"/>
                <a:gd name="connsiteX138" fmla="*/ 1087 w 10000"/>
                <a:gd name="connsiteY138" fmla="*/ 2404 h 10000"/>
                <a:gd name="connsiteX139" fmla="*/ 1021 w 10000"/>
                <a:gd name="connsiteY139" fmla="*/ 2529 h 10000"/>
                <a:gd name="connsiteX140" fmla="*/ 1135 w 10000"/>
                <a:gd name="connsiteY140" fmla="*/ 2694 h 10000"/>
                <a:gd name="connsiteX141" fmla="*/ 1226 w 10000"/>
                <a:gd name="connsiteY141" fmla="*/ 2529 h 10000"/>
                <a:gd name="connsiteX142" fmla="*/ 1339 w 10000"/>
                <a:gd name="connsiteY142" fmla="*/ 2301 h 10000"/>
                <a:gd name="connsiteX143" fmla="*/ 1459 w 10000"/>
                <a:gd name="connsiteY143" fmla="*/ 2157 h 10000"/>
                <a:gd name="connsiteX144" fmla="*/ 1497 w 10000"/>
                <a:gd name="connsiteY144" fmla="*/ 2250 h 10000"/>
                <a:gd name="connsiteX145" fmla="*/ 1807 w 10000"/>
                <a:gd name="connsiteY145" fmla="*/ 2054 h 10000"/>
                <a:gd name="connsiteX146" fmla="*/ 1870 w 10000"/>
                <a:gd name="connsiteY146" fmla="*/ 2250 h 10000"/>
                <a:gd name="connsiteX147" fmla="*/ 1860 w 10000"/>
                <a:gd name="connsiteY147" fmla="*/ 2002 h 10000"/>
                <a:gd name="connsiteX148" fmla="*/ 1778 w 10000"/>
                <a:gd name="connsiteY148" fmla="*/ 1786 h 10000"/>
                <a:gd name="connsiteX149" fmla="*/ 1763 w 10000"/>
                <a:gd name="connsiteY149" fmla="*/ 1703 h 10000"/>
                <a:gd name="connsiteX150" fmla="*/ 1823 w 10000"/>
                <a:gd name="connsiteY150" fmla="*/ 1786 h 10000"/>
                <a:gd name="connsiteX151" fmla="*/ 2034 w 10000"/>
                <a:gd name="connsiteY151" fmla="*/ 1951 h 10000"/>
                <a:gd name="connsiteX152" fmla="*/ 2270 w 10000"/>
                <a:gd name="connsiteY152" fmla="*/ 2126 h 10000"/>
                <a:gd name="connsiteX153" fmla="*/ 2384 w 10000"/>
                <a:gd name="connsiteY153" fmla="*/ 2250 h 10000"/>
                <a:gd name="connsiteX154" fmla="*/ 2421 w 10000"/>
                <a:gd name="connsiteY154" fmla="*/ 2074 h 10000"/>
                <a:gd name="connsiteX155" fmla="*/ 2368 w 10000"/>
                <a:gd name="connsiteY155" fmla="*/ 2033 h 10000"/>
                <a:gd name="connsiteX156" fmla="*/ 2299 w 10000"/>
                <a:gd name="connsiteY156" fmla="*/ 1930 h 10000"/>
                <a:gd name="connsiteX157" fmla="*/ 2254 w 10000"/>
                <a:gd name="connsiteY157" fmla="*/ 1734 h 10000"/>
                <a:gd name="connsiteX158" fmla="*/ 2185 w 10000"/>
                <a:gd name="connsiteY158" fmla="*/ 1486 h 10000"/>
                <a:gd name="connsiteX159" fmla="*/ 2210 w 10000"/>
                <a:gd name="connsiteY159" fmla="*/ 1434 h 10000"/>
                <a:gd name="connsiteX160" fmla="*/ 2232 w 10000"/>
                <a:gd name="connsiteY160" fmla="*/ 1455 h 10000"/>
                <a:gd name="connsiteX161" fmla="*/ 2292 w 10000"/>
                <a:gd name="connsiteY161" fmla="*/ 1115 h 10000"/>
                <a:gd name="connsiteX162" fmla="*/ 2443 w 10000"/>
                <a:gd name="connsiteY162" fmla="*/ 1135 h 10000"/>
                <a:gd name="connsiteX163" fmla="*/ 2488 w 10000"/>
                <a:gd name="connsiteY163" fmla="*/ 1311 h 10000"/>
                <a:gd name="connsiteX164" fmla="*/ 2519 w 10000"/>
                <a:gd name="connsiteY164" fmla="*/ 1538 h 10000"/>
                <a:gd name="connsiteX165" fmla="*/ 2573 w 10000"/>
                <a:gd name="connsiteY165" fmla="*/ 1734 h 10000"/>
                <a:gd name="connsiteX166" fmla="*/ 2670 w 10000"/>
                <a:gd name="connsiteY166" fmla="*/ 2157 h 10000"/>
                <a:gd name="connsiteX167" fmla="*/ 2481 w 10000"/>
                <a:gd name="connsiteY167" fmla="*/ 2673 h 10000"/>
                <a:gd name="connsiteX168" fmla="*/ 2557 w 10000"/>
                <a:gd name="connsiteY168" fmla="*/ 2746 h 10000"/>
                <a:gd name="connsiteX169" fmla="*/ 2655 w 10000"/>
                <a:gd name="connsiteY169" fmla="*/ 2818 h 10000"/>
                <a:gd name="connsiteX170" fmla="*/ 2784 w 10000"/>
                <a:gd name="connsiteY170" fmla="*/ 2622 h 10000"/>
                <a:gd name="connsiteX171" fmla="*/ 2790 w 10000"/>
                <a:gd name="connsiteY171" fmla="*/ 2404 h 10000"/>
                <a:gd name="connsiteX172" fmla="*/ 2746 w 10000"/>
                <a:gd name="connsiteY172" fmla="*/ 2301 h 10000"/>
                <a:gd name="connsiteX173" fmla="*/ 2919 w 10000"/>
                <a:gd name="connsiteY173" fmla="*/ 2250 h 10000"/>
                <a:gd name="connsiteX174" fmla="*/ 2989 w 10000"/>
                <a:gd name="connsiteY174" fmla="*/ 2497 h 10000"/>
                <a:gd name="connsiteX175" fmla="*/ 2989 w 10000"/>
                <a:gd name="connsiteY175" fmla="*/ 2425 h 10000"/>
                <a:gd name="connsiteX176" fmla="*/ 2973 w 10000"/>
                <a:gd name="connsiteY176" fmla="*/ 2353 h 10000"/>
                <a:gd name="connsiteX177" fmla="*/ 2967 w 10000"/>
                <a:gd name="connsiteY177" fmla="*/ 2178 h 10000"/>
                <a:gd name="connsiteX178" fmla="*/ 2800 w 10000"/>
                <a:gd name="connsiteY178" fmla="*/ 1930 h 10000"/>
                <a:gd name="connsiteX179" fmla="*/ 2670 w 10000"/>
                <a:gd name="connsiteY179" fmla="*/ 2002 h 10000"/>
                <a:gd name="connsiteX180" fmla="*/ 2617 w 10000"/>
                <a:gd name="connsiteY180" fmla="*/ 1683 h 10000"/>
                <a:gd name="connsiteX181" fmla="*/ 2563 w 10000"/>
                <a:gd name="connsiteY181" fmla="*/ 1507 h 10000"/>
                <a:gd name="connsiteX182" fmla="*/ 2617 w 10000"/>
                <a:gd name="connsiteY182" fmla="*/ 1331 h 10000"/>
                <a:gd name="connsiteX183" fmla="*/ 2611 w 10000"/>
                <a:gd name="connsiteY183" fmla="*/ 1166 h 10000"/>
                <a:gd name="connsiteX184" fmla="*/ 2588 w 10000"/>
                <a:gd name="connsiteY184" fmla="*/ 1115 h 10000"/>
                <a:gd name="connsiteX185" fmla="*/ 2626 w 10000"/>
                <a:gd name="connsiteY185" fmla="*/ 1115 h 10000"/>
                <a:gd name="connsiteX186" fmla="*/ 2670 w 10000"/>
                <a:gd name="connsiteY186" fmla="*/ 1455 h 10000"/>
                <a:gd name="connsiteX187" fmla="*/ 2891 w 10000"/>
                <a:gd name="connsiteY187" fmla="*/ 1662 h 10000"/>
                <a:gd name="connsiteX188" fmla="*/ 2724 w 10000"/>
                <a:gd name="connsiteY188" fmla="*/ 1383 h 10000"/>
                <a:gd name="connsiteX189" fmla="*/ 3049 w 10000"/>
                <a:gd name="connsiteY189" fmla="*/ 1383 h 10000"/>
                <a:gd name="connsiteX190" fmla="*/ 3102 w 10000"/>
                <a:gd name="connsiteY190" fmla="*/ 1362 h 10000"/>
                <a:gd name="connsiteX191" fmla="*/ 2897 w 10000"/>
                <a:gd name="connsiteY191" fmla="*/ 1115 h 10000"/>
                <a:gd name="connsiteX192" fmla="*/ 2951 w 10000"/>
                <a:gd name="connsiteY192" fmla="*/ 888 h 10000"/>
                <a:gd name="connsiteX193" fmla="*/ 3178 w 10000"/>
                <a:gd name="connsiteY193" fmla="*/ 888 h 10000"/>
                <a:gd name="connsiteX194" fmla="*/ 3156 w 10000"/>
                <a:gd name="connsiteY194" fmla="*/ 713 h 10000"/>
                <a:gd name="connsiteX195" fmla="*/ 3231 w 10000"/>
                <a:gd name="connsiteY195" fmla="*/ 589 h 10000"/>
                <a:gd name="connsiteX196" fmla="*/ 3276 w 10000"/>
                <a:gd name="connsiteY196" fmla="*/ 548 h 10000"/>
                <a:gd name="connsiteX197" fmla="*/ 3443 w 10000"/>
                <a:gd name="connsiteY197" fmla="*/ 423 h 10000"/>
                <a:gd name="connsiteX198" fmla="*/ 3487 w 10000"/>
                <a:gd name="connsiteY198" fmla="*/ 371 h 10000"/>
                <a:gd name="connsiteX199" fmla="*/ 3480 w 10000"/>
                <a:gd name="connsiteY199" fmla="*/ 444 h 10000"/>
                <a:gd name="connsiteX200" fmla="*/ 3660 w 10000"/>
                <a:gd name="connsiteY200" fmla="*/ 371 h 10000"/>
                <a:gd name="connsiteX201" fmla="*/ 3805 w 10000"/>
                <a:gd name="connsiteY201" fmla="*/ 248 h 10000"/>
                <a:gd name="connsiteX202" fmla="*/ 3827 w 10000"/>
                <a:gd name="connsiteY202" fmla="*/ 0 h 10000"/>
                <a:gd name="connsiteX203" fmla="*/ 3988 w 10000"/>
                <a:gd name="connsiteY203" fmla="*/ 21 h 10000"/>
                <a:gd name="connsiteX204" fmla="*/ 3978 w 10000"/>
                <a:gd name="connsiteY204" fmla="*/ 93 h 10000"/>
                <a:gd name="connsiteX205" fmla="*/ 3988 w 10000"/>
                <a:gd name="connsiteY205" fmla="*/ 176 h 10000"/>
                <a:gd name="connsiteX206" fmla="*/ 4085 w 10000"/>
                <a:gd name="connsiteY206" fmla="*/ 248 h 10000"/>
                <a:gd name="connsiteX207" fmla="*/ 4379 w 10000"/>
                <a:gd name="connsiteY207" fmla="*/ 268 h 10000"/>
                <a:gd name="connsiteX208" fmla="*/ 4539 w 10000"/>
                <a:gd name="connsiteY208" fmla="*/ 392 h 10000"/>
                <a:gd name="connsiteX209" fmla="*/ 4486 w 10000"/>
                <a:gd name="connsiteY209" fmla="*/ 795 h 10000"/>
                <a:gd name="connsiteX210" fmla="*/ 4426 w 10000"/>
                <a:gd name="connsiteY210" fmla="*/ 919 h 10000"/>
                <a:gd name="connsiteX211" fmla="*/ 4356 w 10000"/>
                <a:gd name="connsiteY211" fmla="*/ 1043 h 10000"/>
                <a:gd name="connsiteX212" fmla="*/ 4372 w 10000"/>
                <a:gd name="connsiteY212" fmla="*/ 1115 h 10000"/>
                <a:gd name="connsiteX213" fmla="*/ 4583 w 10000"/>
                <a:gd name="connsiteY213" fmla="*/ 919 h 10000"/>
                <a:gd name="connsiteX214" fmla="*/ 5060 w 10000"/>
                <a:gd name="connsiteY214" fmla="*/ 991 h 10000"/>
                <a:gd name="connsiteX215" fmla="*/ 5108 w 10000"/>
                <a:gd name="connsiteY215" fmla="*/ 1063 h 10000"/>
                <a:gd name="connsiteX216" fmla="*/ 5212 w 10000"/>
                <a:gd name="connsiteY216" fmla="*/ 1187 h 10000"/>
                <a:gd name="connsiteX217" fmla="*/ 5357 w 10000"/>
                <a:gd name="connsiteY217" fmla="*/ 919 h 10000"/>
                <a:gd name="connsiteX218" fmla="*/ 5577 w 10000"/>
                <a:gd name="connsiteY218" fmla="*/ 1063 h 10000"/>
                <a:gd name="connsiteX219" fmla="*/ 5643 w 10000"/>
                <a:gd name="connsiteY219" fmla="*/ 1115 h 10000"/>
                <a:gd name="connsiteX220" fmla="*/ 5697 w 10000"/>
                <a:gd name="connsiteY220" fmla="*/ 1166 h 10000"/>
                <a:gd name="connsiteX221" fmla="*/ 5908 w 10000"/>
                <a:gd name="connsiteY221" fmla="*/ 1631 h 10000"/>
                <a:gd name="connsiteX222" fmla="*/ 5984 w 10000"/>
                <a:gd name="connsiteY222" fmla="*/ 1611 h 10000"/>
                <a:gd name="connsiteX223" fmla="*/ 5977 w 10000"/>
                <a:gd name="connsiteY223" fmla="*/ 1507 h 10000"/>
                <a:gd name="connsiteX224" fmla="*/ 5984 w 10000"/>
                <a:gd name="connsiteY224" fmla="*/ 1383 h 10000"/>
                <a:gd name="connsiteX225" fmla="*/ 6091 w 10000"/>
                <a:gd name="connsiteY225" fmla="*/ 1486 h 10000"/>
                <a:gd name="connsiteX226" fmla="*/ 6264 w 10000"/>
                <a:gd name="connsiteY226" fmla="*/ 1507 h 10000"/>
                <a:gd name="connsiteX227" fmla="*/ 6409 w 10000"/>
                <a:gd name="connsiteY227" fmla="*/ 1455 h 10000"/>
                <a:gd name="connsiteX228" fmla="*/ 6340 w 10000"/>
                <a:gd name="connsiteY228" fmla="*/ 1362 h 10000"/>
                <a:gd name="connsiteX229" fmla="*/ 6431 w 10000"/>
                <a:gd name="connsiteY229" fmla="*/ 1084 h 10000"/>
                <a:gd name="connsiteX230" fmla="*/ 6687 w 10000"/>
                <a:gd name="connsiteY230" fmla="*/ 1207 h 10000"/>
                <a:gd name="connsiteX231" fmla="*/ 6945 w 10000"/>
                <a:gd name="connsiteY231" fmla="*/ 1331 h 10000"/>
                <a:gd name="connsiteX232" fmla="*/ 6967 w 10000"/>
                <a:gd name="connsiteY232" fmla="*/ 1362 h 10000"/>
                <a:gd name="connsiteX233" fmla="*/ 7194 w 10000"/>
                <a:gd name="connsiteY233" fmla="*/ 1611 h 10000"/>
                <a:gd name="connsiteX234" fmla="*/ 7367 w 10000"/>
                <a:gd name="connsiteY234" fmla="*/ 1507 h 10000"/>
                <a:gd name="connsiteX235" fmla="*/ 7582 w 10000"/>
                <a:gd name="connsiteY235" fmla="*/ 1538 h 10000"/>
                <a:gd name="connsiteX236" fmla="*/ 7657 w 10000"/>
                <a:gd name="connsiteY236" fmla="*/ 1611 h 10000"/>
                <a:gd name="connsiteX237" fmla="*/ 7928 w 10000"/>
                <a:gd name="connsiteY237" fmla="*/ 1930 h 10000"/>
                <a:gd name="connsiteX238" fmla="*/ 8231 w 10000"/>
                <a:gd name="connsiteY238" fmla="*/ 1879 h 10000"/>
                <a:gd name="connsiteX239" fmla="*/ 8339 w 10000"/>
                <a:gd name="connsiteY239" fmla="*/ 2033 h 10000"/>
                <a:gd name="connsiteX240" fmla="*/ 8490 w 10000"/>
                <a:gd name="connsiteY240" fmla="*/ 2157 h 10000"/>
                <a:gd name="connsiteX241" fmla="*/ 8519 w 10000"/>
                <a:gd name="connsiteY241" fmla="*/ 2105 h 10000"/>
                <a:gd name="connsiteX242" fmla="*/ 8497 w 10000"/>
                <a:gd name="connsiteY242" fmla="*/ 2074 h 10000"/>
                <a:gd name="connsiteX243" fmla="*/ 8383 w 10000"/>
                <a:gd name="connsiteY243" fmla="*/ 1930 h 10000"/>
                <a:gd name="connsiteX244" fmla="*/ 8465 w 10000"/>
                <a:gd name="connsiteY244" fmla="*/ 1755 h 10000"/>
                <a:gd name="connsiteX245" fmla="*/ 8664 w 10000"/>
                <a:gd name="connsiteY245" fmla="*/ 1910 h 10000"/>
                <a:gd name="connsiteX246" fmla="*/ 8950 w 10000"/>
                <a:gd name="connsiteY246" fmla="*/ 1982 h 10000"/>
                <a:gd name="connsiteX247" fmla="*/ 9206 w 10000"/>
                <a:gd name="connsiteY247" fmla="*/ 2260 h 10000"/>
                <a:gd name="connsiteX248" fmla="*/ 9344 w 10000"/>
                <a:gd name="connsiteY248" fmla="*/ 2332 h 10000"/>
                <a:gd name="connsiteX249" fmla="*/ 9451 w 10000"/>
                <a:gd name="connsiteY249" fmla="*/ 2446 h 10000"/>
                <a:gd name="connsiteX250" fmla="*/ 9574 w 10000"/>
                <a:gd name="connsiteY250" fmla="*/ 2632 h 10000"/>
                <a:gd name="connsiteX251" fmla="*/ 9631 w 10000"/>
                <a:gd name="connsiteY251" fmla="*/ 2756 h 10000"/>
                <a:gd name="connsiteX252" fmla="*/ 9726 w 10000"/>
                <a:gd name="connsiteY252" fmla="*/ 2787 h 10000"/>
                <a:gd name="connsiteX253" fmla="*/ 9590 w 10000"/>
                <a:gd name="connsiteY253" fmla="*/ 2570 h 10000"/>
                <a:gd name="connsiteX254" fmla="*/ 9915 w 10000"/>
                <a:gd name="connsiteY254" fmla="*/ 2756 h 10000"/>
                <a:gd name="connsiteX255" fmla="*/ 10000 w 10000"/>
                <a:gd name="connsiteY255" fmla="*/ 3014 h 10000"/>
                <a:gd name="connsiteX256" fmla="*/ 9934 w 10000"/>
                <a:gd name="connsiteY256" fmla="*/ 2941 h 10000"/>
                <a:gd name="connsiteX257" fmla="*/ 9874 w 10000"/>
                <a:gd name="connsiteY257" fmla="*/ 2952 h 10000"/>
                <a:gd name="connsiteX258" fmla="*/ 10000 w 10000"/>
                <a:gd name="connsiteY258" fmla="*/ 3292 h 10000"/>
                <a:gd name="connsiteX259" fmla="*/ 9845 w 10000"/>
                <a:gd name="connsiteY259" fmla="*/ 3220 h 10000"/>
                <a:gd name="connsiteX260" fmla="*/ 9745 w 10000"/>
                <a:gd name="connsiteY260" fmla="*/ 3075 h 10000"/>
                <a:gd name="connsiteX261" fmla="*/ 9641 w 10000"/>
                <a:gd name="connsiteY261" fmla="*/ 2972 h 10000"/>
                <a:gd name="connsiteX262" fmla="*/ 9555 w 10000"/>
                <a:gd name="connsiteY262" fmla="*/ 3003 h 10000"/>
                <a:gd name="connsiteX263" fmla="*/ 9470 w 10000"/>
                <a:gd name="connsiteY263" fmla="*/ 2787 h 10000"/>
                <a:gd name="connsiteX264" fmla="*/ 9366 w 10000"/>
                <a:gd name="connsiteY264" fmla="*/ 2725 h 10000"/>
                <a:gd name="connsiteX265" fmla="*/ 9461 w 10000"/>
                <a:gd name="connsiteY265" fmla="*/ 2972 h 10000"/>
                <a:gd name="connsiteX266" fmla="*/ 9470 w 10000"/>
                <a:gd name="connsiteY266" fmla="*/ 3230 h 10000"/>
                <a:gd name="connsiteX267" fmla="*/ 9288 w 10000"/>
                <a:gd name="connsiteY267" fmla="*/ 3065 h 10000"/>
                <a:gd name="connsiteX268" fmla="*/ 9262 w 10000"/>
                <a:gd name="connsiteY268" fmla="*/ 3230 h 10000"/>
                <a:gd name="connsiteX269" fmla="*/ 9363 w 10000"/>
                <a:gd name="connsiteY269" fmla="*/ 3230 h 10000"/>
                <a:gd name="connsiteX270" fmla="*/ 9451 w 10000"/>
                <a:gd name="connsiteY270" fmla="*/ 3354 h 10000"/>
                <a:gd name="connsiteX271" fmla="*/ 9659 w 10000"/>
                <a:gd name="connsiteY271" fmla="*/ 3685 h 10000"/>
                <a:gd name="connsiteX272" fmla="*/ 9735 w 10000"/>
                <a:gd name="connsiteY272" fmla="*/ 3839 h 10000"/>
                <a:gd name="connsiteX273" fmla="*/ 9552 w 10000"/>
                <a:gd name="connsiteY273" fmla="*/ 3757 h 10000"/>
                <a:gd name="connsiteX274" fmla="*/ 9451 w 10000"/>
                <a:gd name="connsiteY274" fmla="*/ 4025 h 10000"/>
                <a:gd name="connsiteX275" fmla="*/ 9385 w 10000"/>
                <a:gd name="connsiteY275" fmla="*/ 4283 h 10000"/>
                <a:gd name="connsiteX276" fmla="*/ 9376 w 10000"/>
                <a:gd name="connsiteY276" fmla="*/ 4499 h 10000"/>
                <a:gd name="connsiteX277" fmla="*/ 9335 w 10000"/>
                <a:gd name="connsiteY277" fmla="*/ 4303 h 10000"/>
                <a:gd name="connsiteX278" fmla="*/ 9149 w 10000"/>
                <a:gd name="connsiteY278" fmla="*/ 4314 h 10000"/>
                <a:gd name="connsiteX279" fmla="*/ 9155 w 10000"/>
                <a:gd name="connsiteY279" fmla="*/ 4531 h 10000"/>
                <a:gd name="connsiteX280" fmla="*/ 9061 w 10000"/>
                <a:gd name="connsiteY280" fmla="*/ 4365 h 10000"/>
                <a:gd name="connsiteX281" fmla="*/ 9054 w 10000"/>
                <a:gd name="connsiteY281" fmla="*/ 4521 h 10000"/>
                <a:gd name="connsiteX282" fmla="*/ 8998 w 10000"/>
                <a:gd name="connsiteY282" fmla="*/ 4458 h 10000"/>
                <a:gd name="connsiteX283" fmla="*/ 8966 w 10000"/>
                <a:gd name="connsiteY283" fmla="*/ 4562 h 10000"/>
                <a:gd name="connsiteX284" fmla="*/ 9007 w 10000"/>
                <a:gd name="connsiteY284" fmla="*/ 4686 h 10000"/>
                <a:gd name="connsiteX285" fmla="*/ 9004 w 10000"/>
                <a:gd name="connsiteY285" fmla="*/ 4995 h 10000"/>
                <a:gd name="connsiteX286" fmla="*/ 9073 w 10000"/>
                <a:gd name="connsiteY286" fmla="*/ 5211 h 10000"/>
                <a:gd name="connsiteX287" fmla="*/ 9130 w 10000"/>
                <a:gd name="connsiteY287" fmla="*/ 5150 h 10000"/>
                <a:gd name="connsiteX288" fmla="*/ 9158 w 10000"/>
                <a:gd name="connsiteY288" fmla="*/ 5211 h 10000"/>
                <a:gd name="connsiteX289" fmla="*/ 9231 w 10000"/>
                <a:gd name="connsiteY289" fmla="*/ 5428 h 10000"/>
                <a:gd name="connsiteX290" fmla="*/ 9215 w 10000"/>
                <a:gd name="connsiteY290" fmla="*/ 5604 h 10000"/>
                <a:gd name="connsiteX291" fmla="*/ 9221 w 10000"/>
                <a:gd name="connsiteY291" fmla="*/ 5769 h 10000"/>
                <a:gd name="connsiteX292" fmla="*/ 9269 w 10000"/>
                <a:gd name="connsiteY292" fmla="*/ 5883 h 10000"/>
                <a:gd name="connsiteX293" fmla="*/ 9344 w 10000"/>
                <a:gd name="connsiteY293" fmla="*/ 6068 h 10000"/>
                <a:gd name="connsiteX294" fmla="*/ 9269 w 10000"/>
                <a:gd name="connsiteY294" fmla="*/ 6068 h 10000"/>
                <a:gd name="connsiteX295" fmla="*/ 9253 w 10000"/>
                <a:gd name="connsiteY295" fmla="*/ 6223 h 10000"/>
                <a:gd name="connsiteX296" fmla="*/ 9319 w 10000"/>
                <a:gd name="connsiteY296" fmla="*/ 6408 h 10000"/>
                <a:gd name="connsiteX297" fmla="*/ 9250 w 10000"/>
                <a:gd name="connsiteY297" fmla="*/ 6502 h 10000"/>
                <a:gd name="connsiteX298" fmla="*/ 9297 w 10000"/>
                <a:gd name="connsiteY298" fmla="*/ 6729 h 10000"/>
                <a:gd name="connsiteX299" fmla="*/ 9281 w 10000"/>
                <a:gd name="connsiteY299" fmla="*/ 7069 h 10000"/>
                <a:gd name="connsiteX300" fmla="*/ 9061 w 10000"/>
                <a:gd name="connsiteY300" fmla="*/ 6408 h 10000"/>
                <a:gd name="connsiteX301" fmla="*/ 8824 w 10000"/>
                <a:gd name="connsiteY301" fmla="*/ 5759 h 10000"/>
                <a:gd name="connsiteX302" fmla="*/ 8771 w 10000"/>
                <a:gd name="connsiteY302" fmla="*/ 5459 h 10000"/>
                <a:gd name="connsiteX303" fmla="*/ 8768 w 10000"/>
                <a:gd name="connsiteY303" fmla="*/ 5211 h 10000"/>
                <a:gd name="connsiteX304" fmla="*/ 8692 w 10000"/>
                <a:gd name="connsiteY304" fmla="*/ 5047 h 10000"/>
                <a:gd name="connsiteX305" fmla="*/ 8771 w 10000"/>
                <a:gd name="connsiteY305" fmla="*/ 5088 h 10000"/>
                <a:gd name="connsiteX306" fmla="*/ 8809 w 10000"/>
                <a:gd name="connsiteY306" fmla="*/ 5108 h 10000"/>
                <a:gd name="connsiteX307" fmla="*/ 8809 w 10000"/>
                <a:gd name="connsiteY307" fmla="*/ 4840 h 10000"/>
                <a:gd name="connsiteX308" fmla="*/ 8827 w 10000"/>
                <a:gd name="connsiteY308" fmla="*/ 4437 h 10000"/>
                <a:gd name="connsiteX309" fmla="*/ 8853 w 10000"/>
                <a:gd name="connsiteY309" fmla="*/ 4252 h 10000"/>
                <a:gd name="connsiteX310" fmla="*/ 8909 w 10000"/>
                <a:gd name="connsiteY310" fmla="*/ 4221 h 10000"/>
                <a:gd name="connsiteX311" fmla="*/ 8786 w 10000"/>
                <a:gd name="connsiteY311" fmla="*/ 3901 h 10000"/>
                <a:gd name="connsiteX312" fmla="*/ 8853 w 10000"/>
                <a:gd name="connsiteY312" fmla="*/ 3839 h 10000"/>
                <a:gd name="connsiteX313" fmla="*/ 8739 w 10000"/>
                <a:gd name="connsiteY313" fmla="*/ 3788 h 10000"/>
                <a:gd name="connsiteX314" fmla="*/ 8755 w 10000"/>
                <a:gd name="connsiteY314" fmla="*/ 3984 h 10000"/>
                <a:gd name="connsiteX315" fmla="*/ 8692 w 10000"/>
                <a:gd name="connsiteY315" fmla="*/ 4303 h 10000"/>
                <a:gd name="connsiteX316" fmla="*/ 8604 w 10000"/>
                <a:gd name="connsiteY316" fmla="*/ 4210 h 10000"/>
                <a:gd name="connsiteX317" fmla="*/ 8550 w 10000"/>
                <a:gd name="connsiteY317" fmla="*/ 4056 h 10000"/>
                <a:gd name="connsiteX318" fmla="*/ 8481 w 10000"/>
                <a:gd name="connsiteY318" fmla="*/ 4138 h 10000"/>
                <a:gd name="connsiteX319" fmla="*/ 8389 w 10000"/>
                <a:gd name="connsiteY319" fmla="*/ 4107 h 10000"/>
                <a:gd name="connsiteX320" fmla="*/ 8352 w 10000"/>
                <a:gd name="connsiteY320" fmla="*/ 4406 h 10000"/>
                <a:gd name="connsiteX321" fmla="*/ 8481 w 10000"/>
                <a:gd name="connsiteY321" fmla="*/ 4655 h 10000"/>
                <a:gd name="connsiteX322" fmla="*/ 8405 w 10000"/>
                <a:gd name="connsiteY322" fmla="*/ 4830 h 10000"/>
                <a:gd name="connsiteX323" fmla="*/ 8225 w 10000"/>
                <a:gd name="connsiteY323" fmla="*/ 4799 h 10000"/>
                <a:gd name="connsiteX324" fmla="*/ 8209 w 10000"/>
                <a:gd name="connsiteY324" fmla="*/ 4655 h 10000"/>
                <a:gd name="connsiteX325" fmla="*/ 8102 w 10000"/>
                <a:gd name="connsiteY325" fmla="*/ 4634 h 10000"/>
                <a:gd name="connsiteX326" fmla="*/ 7641 w 10000"/>
                <a:gd name="connsiteY326" fmla="*/ 4779 h 10000"/>
                <a:gd name="connsiteX327" fmla="*/ 7610 w 10000"/>
                <a:gd name="connsiteY327" fmla="*/ 5005 h 10000"/>
                <a:gd name="connsiteX328" fmla="*/ 7550 w 10000"/>
                <a:gd name="connsiteY328" fmla="*/ 5666 h 10000"/>
                <a:gd name="connsiteX329" fmla="*/ 7496 w 10000"/>
                <a:gd name="connsiteY329" fmla="*/ 5965 h 10000"/>
                <a:gd name="connsiteX330" fmla="*/ 7701 w 10000"/>
                <a:gd name="connsiteY330" fmla="*/ 6161 h 10000"/>
                <a:gd name="connsiteX331" fmla="*/ 7745 w 10000"/>
                <a:gd name="connsiteY331" fmla="*/ 6243 h 10000"/>
                <a:gd name="connsiteX332" fmla="*/ 7771 w 10000"/>
                <a:gd name="connsiteY332" fmla="*/ 6285 h 10000"/>
                <a:gd name="connsiteX333" fmla="*/ 7793 w 10000"/>
                <a:gd name="connsiteY333" fmla="*/ 6068 h 10000"/>
                <a:gd name="connsiteX334" fmla="*/ 7912 w 10000"/>
                <a:gd name="connsiteY334" fmla="*/ 6089 h 10000"/>
                <a:gd name="connsiteX335" fmla="*/ 8004 w 10000"/>
                <a:gd name="connsiteY335" fmla="*/ 6367 h 10000"/>
                <a:gd name="connsiteX336" fmla="*/ 8064 w 10000"/>
                <a:gd name="connsiteY336" fmla="*/ 6616 h 10000"/>
                <a:gd name="connsiteX337" fmla="*/ 8111 w 10000"/>
                <a:gd name="connsiteY337" fmla="*/ 6781 h 10000"/>
                <a:gd name="connsiteX338" fmla="*/ 8048 w 10000"/>
                <a:gd name="connsiteY338" fmla="*/ 6491 h 10000"/>
                <a:gd name="connsiteX339" fmla="*/ 8124 w 10000"/>
                <a:gd name="connsiteY339" fmla="*/ 6336 h 10000"/>
                <a:gd name="connsiteX340" fmla="*/ 8177 w 10000"/>
                <a:gd name="connsiteY340" fmla="*/ 6512 h 10000"/>
                <a:gd name="connsiteX341" fmla="*/ 8300 w 10000"/>
                <a:gd name="connsiteY341" fmla="*/ 6987 h 10000"/>
                <a:gd name="connsiteX342" fmla="*/ 8361 w 10000"/>
                <a:gd name="connsiteY342" fmla="*/ 7152 h 10000"/>
                <a:gd name="connsiteX343" fmla="*/ 8490 w 10000"/>
                <a:gd name="connsiteY343" fmla="*/ 7482 h 10000"/>
                <a:gd name="connsiteX344" fmla="*/ 8604 w 10000"/>
                <a:gd name="connsiteY344" fmla="*/ 7854 h 10000"/>
                <a:gd name="connsiteX345" fmla="*/ 8474 w 10000"/>
                <a:gd name="connsiteY345" fmla="*/ 7647 h 10000"/>
                <a:gd name="connsiteX346" fmla="*/ 8443 w 10000"/>
                <a:gd name="connsiteY346" fmla="*/ 7678 h 10000"/>
                <a:gd name="connsiteX347" fmla="*/ 8512 w 10000"/>
                <a:gd name="connsiteY347" fmla="*/ 8050 h 10000"/>
                <a:gd name="connsiteX348" fmla="*/ 8588 w 10000"/>
                <a:gd name="connsiteY348" fmla="*/ 8266 h 10000"/>
                <a:gd name="connsiteX349" fmla="*/ 8642 w 10000"/>
                <a:gd name="connsiteY349" fmla="*/ 8472 h 10000"/>
                <a:gd name="connsiteX350" fmla="*/ 8566 w 10000"/>
                <a:gd name="connsiteY350" fmla="*/ 8421 h 10000"/>
                <a:gd name="connsiteX351" fmla="*/ 8556 w 10000"/>
                <a:gd name="connsiteY351" fmla="*/ 8669 h 10000"/>
                <a:gd name="connsiteX352" fmla="*/ 8497 w 10000"/>
                <a:gd name="connsiteY352" fmla="*/ 8493 h 10000"/>
                <a:gd name="connsiteX353" fmla="*/ 8481 w 10000"/>
                <a:gd name="connsiteY353" fmla="*/ 8421 h 10000"/>
                <a:gd name="connsiteX354" fmla="*/ 8361 w 10000"/>
                <a:gd name="connsiteY354" fmla="*/ 7751 h 10000"/>
                <a:gd name="connsiteX355" fmla="*/ 8322 w 10000"/>
                <a:gd name="connsiteY355" fmla="*/ 7524 h 10000"/>
                <a:gd name="connsiteX356" fmla="*/ 8291 w 10000"/>
                <a:gd name="connsiteY356" fmla="*/ 7378 h 10000"/>
                <a:gd name="connsiteX357" fmla="*/ 8275 w 10000"/>
                <a:gd name="connsiteY357" fmla="*/ 7306 h 10000"/>
                <a:gd name="connsiteX358" fmla="*/ 8139 w 10000"/>
                <a:gd name="connsiteY358" fmla="*/ 6863 h 10000"/>
                <a:gd name="connsiteX359" fmla="*/ 8199 w 10000"/>
                <a:gd name="connsiteY359" fmla="*/ 7451 h 10000"/>
                <a:gd name="connsiteX360" fmla="*/ 8247 w 10000"/>
                <a:gd name="connsiteY360" fmla="*/ 7998 h 10000"/>
                <a:gd name="connsiteX361" fmla="*/ 8177 w 10000"/>
                <a:gd name="connsiteY361" fmla="*/ 9133 h 10000"/>
                <a:gd name="connsiteX362" fmla="*/ 8124 w 10000"/>
                <a:gd name="connsiteY362" fmla="*/ 9484 h 10000"/>
                <a:gd name="connsiteX363" fmla="*/ 7972 w 10000"/>
                <a:gd name="connsiteY363" fmla="*/ 9432 h 10000"/>
                <a:gd name="connsiteX364" fmla="*/ 7897 w 10000"/>
                <a:gd name="connsiteY364" fmla="*/ 9660 h 10000"/>
                <a:gd name="connsiteX365" fmla="*/ 7868 w 10000"/>
                <a:gd name="connsiteY365" fmla="*/ 9588 h 10000"/>
                <a:gd name="connsiteX366" fmla="*/ 7884 w 10000"/>
                <a:gd name="connsiteY366" fmla="*/ 9536 h 10000"/>
                <a:gd name="connsiteX367" fmla="*/ 7897 w 10000"/>
                <a:gd name="connsiteY367" fmla="*/ 9380 h 10000"/>
                <a:gd name="connsiteX368" fmla="*/ 7884 w 10000"/>
                <a:gd name="connsiteY368" fmla="*/ 9236 h 10000"/>
                <a:gd name="connsiteX369" fmla="*/ 7793 w 10000"/>
                <a:gd name="connsiteY369" fmla="*/ 8865 h 10000"/>
                <a:gd name="connsiteX370" fmla="*/ 7831 w 10000"/>
                <a:gd name="connsiteY370" fmla="*/ 8741 h 10000"/>
                <a:gd name="connsiteX371" fmla="*/ 7928 w 10000"/>
                <a:gd name="connsiteY371" fmla="*/ 8844 h 10000"/>
                <a:gd name="connsiteX372" fmla="*/ 7912 w 10000"/>
                <a:gd name="connsiteY372" fmla="*/ 8318 h 10000"/>
                <a:gd name="connsiteX373" fmla="*/ 7906 w 10000"/>
                <a:gd name="connsiteY373" fmla="*/ 8019 h 10000"/>
                <a:gd name="connsiteX374" fmla="*/ 7846 w 10000"/>
                <a:gd name="connsiteY374" fmla="*/ 7802 h 10000"/>
                <a:gd name="connsiteX375" fmla="*/ 7723 w 10000"/>
                <a:gd name="connsiteY375" fmla="*/ 8050 h 10000"/>
                <a:gd name="connsiteX376" fmla="*/ 7619 w 10000"/>
                <a:gd name="connsiteY376" fmla="*/ 8019 h 10000"/>
                <a:gd name="connsiteX377" fmla="*/ 7528 w 10000"/>
                <a:gd name="connsiteY377" fmla="*/ 7699 h 10000"/>
                <a:gd name="connsiteX378" fmla="*/ 7355 w 10000"/>
                <a:gd name="connsiteY378" fmla="*/ 7482 h 10000"/>
                <a:gd name="connsiteX379" fmla="*/ 7279 w 10000"/>
                <a:gd name="connsiteY379" fmla="*/ 7482 h 10000"/>
                <a:gd name="connsiteX380" fmla="*/ 7080 w 10000"/>
                <a:gd name="connsiteY380" fmla="*/ 6781 h 10000"/>
                <a:gd name="connsiteX381" fmla="*/ 6901 w 10000"/>
                <a:gd name="connsiteY381" fmla="*/ 6460 h 10000"/>
                <a:gd name="connsiteX382" fmla="*/ 6724 w 10000"/>
                <a:gd name="connsiteY382" fmla="*/ 6336 h 10000"/>
                <a:gd name="connsiteX383" fmla="*/ 6583 w 10000"/>
                <a:gd name="connsiteY383" fmla="*/ 6408 h 10000"/>
                <a:gd name="connsiteX384" fmla="*/ 6567 w 10000"/>
                <a:gd name="connsiteY384" fmla="*/ 6585 h 10000"/>
                <a:gd name="connsiteX385" fmla="*/ 6664 w 10000"/>
                <a:gd name="connsiteY385" fmla="*/ 6760 h 10000"/>
                <a:gd name="connsiteX386" fmla="*/ 6636 w 10000"/>
                <a:gd name="connsiteY386" fmla="*/ 6935 h 10000"/>
                <a:gd name="connsiteX387" fmla="*/ 6636 w 10000"/>
                <a:gd name="connsiteY387" fmla="*/ 7399 h 10000"/>
                <a:gd name="connsiteX388" fmla="*/ 6560 w 10000"/>
                <a:gd name="connsiteY388" fmla="*/ 7482 h 10000"/>
                <a:gd name="connsiteX389" fmla="*/ 6485 w 10000"/>
                <a:gd name="connsiteY389" fmla="*/ 7378 h 10000"/>
                <a:gd name="connsiteX390" fmla="*/ 6400 w 10000"/>
                <a:gd name="connsiteY390" fmla="*/ 7399 h 10000"/>
                <a:gd name="connsiteX391" fmla="*/ 6334 w 10000"/>
                <a:gd name="connsiteY391" fmla="*/ 7275 h 10000"/>
                <a:gd name="connsiteX392" fmla="*/ 6258 w 10000"/>
                <a:gd name="connsiteY392" fmla="*/ 7358 h 10000"/>
                <a:gd name="connsiteX393" fmla="*/ 6220 w 10000"/>
                <a:gd name="connsiteY393" fmla="*/ 7524 h 10000"/>
                <a:gd name="connsiteX394" fmla="*/ 6081 w 10000"/>
                <a:gd name="connsiteY394" fmla="*/ 7606 h 10000"/>
                <a:gd name="connsiteX395" fmla="*/ 5892 w 10000"/>
                <a:gd name="connsiteY395" fmla="*/ 7575 h 10000"/>
                <a:gd name="connsiteX396" fmla="*/ 5855 w 10000"/>
                <a:gd name="connsiteY396" fmla="*/ 7327 h 10000"/>
                <a:gd name="connsiteX397" fmla="*/ 5643 w 10000"/>
                <a:gd name="connsiteY397" fmla="*/ 7255 h 10000"/>
                <a:gd name="connsiteX398" fmla="*/ 5539 w 10000"/>
                <a:gd name="connsiteY398" fmla="*/ 7358 h 10000"/>
                <a:gd name="connsiteX399" fmla="*/ 5416 w 10000"/>
                <a:gd name="connsiteY399" fmla="*/ 7203 h 10000"/>
                <a:gd name="connsiteX400" fmla="*/ 5372 w 10000"/>
                <a:gd name="connsiteY400"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972 w 10000"/>
                <a:gd name="connsiteY8" fmla="*/ 7152 h 10000"/>
                <a:gd name="connsiteX9" fmla="*/ 3887 w 10000"/>
                <a:gd name="connsiteY9" fmla="*/ 6956 h 10000"/>
                <a:gd name="connsiteX10" fmla="*/ 3843 w 10000"/>
                <a:gd name="connsiteY10" fmla="*/ 7183 h 10000"/>
                <a:gd name="connsiteX11" fmla="*/ 3698 w 10000"/>
                <a:gd name="connsiteY11" fmla="*/ 6636 h 10000"/>
                <a:gd name="connsiteX12" fmla="*/ 3584 w 10000"/>
                <a:gd name="connsiteY12" fmla="*/ 6388 h 10000"/>
                <a:gd name="connsiteX13" fmla="*/ 3471 w 10000"/>
                <a:gd name="connsiteY13" fmla="*/ 6212 h 10000"/>
                <a:gd name="connsiteX14" fmla="*/ 3496 w 10000"/>
                <a:gd name="connsiteY14" fmla="*/ 5965 h 10000"/>
                <a:gd name="connsiteX15" fmla="*/ 3291 w 10000"/>
                <a:gd name="connsiteY15" fmla="*/ 6367 h 10000"/>
                <a:gd name="connsiteX16" fmla="*/ 3244 w 10000"/>
                <a:gd name="connsiteY16" fmla="*/ 6161 h 10000"/>
                <a:gd name="connsiteX17" fmla="*/ 3093 w 10000"/>
                <a:gd name="connsiteY17" fmla="*/ 6161 h 10000"/>
                <a:gd name="connsiteX18" fmla="*/ 3080 w 10000"/>
                <a:gd name="connsiteY18" fmla="*/ 5944 h 10000"/>
                <a:gd name="connsiteX19" fmla="*/ 2995 w 10000"/>
                <a:gd name="connsiteY19" fmla="*/ 5821 h 10000"/>
                <a:gd name="connsiteX20" fmla="*/ 2897 w 10000"/>
                <a:gd name="connsiteY20" fmla="*/ 5790 h 10000"/>
                <a:gd name="connsiteX21" fmla="*/ 2828 w 10000"/>
                <a:gd name="connsiteY21" fmla="*/ 5996 h 10000"/>
                <a:gd name="connsiteX22" fmla="*/ 2633 w 10000"/>
                <a:gd name="connsiteY22" fmla="*/ 6120 h 10000"/>
                <a:gd name="connsiteX23" fmla="*/ 2412 w 10000"/>
                <a:gd name="connsiteY23" fmla="*/ 6212 h 10000"/>
                <a:gd name="connsiteX24" fmla="*/ 2443 w 10000"/>
                <a:gd name="connsiteY24" fmla="*/ 6408 h 10000"/>
                <a:gd name="connsiteX25" fmla="*/ 2525 w 10000"/>
                <a:gd name="connsiteY25" fmla="*/ 6512 h 10000"/>
                <a:gd name="connsiteX26" fmla="*/ 2428 w 10000"/>
                <a:gd name="connsiteY26" fmla="*/ 6512 h 10000"/>
                <a:gd name="connsiteX27" fmla="*/ 2406 w 10000"/>
                <a:gd name="connsiteY27" fmla="*/ 6832 h 10000"/>
                <a:gd name="connsiteX28" fmla="*/ 2535 w 10000"/>
                <a:gd name="connsiteY28" fmla="*/ 6987 h 10000"/>
                <a:gd name="connsiteX29" fmla="*/ 2497 w 10000"/>
                <a:gd name="connsiteY29" fmla="*/ 7183 h 10000"/>
                <a:gd name="connsiteX30" fmla="*/ 2384 w 10000"/>
                <a:gd name="connsiteY30" fmla="*/ 7183 h 10000"/>
                <a:gd name="connsiteX31" fmla="*/ 2308 w 10000"/>
                <a:gd name="connsiteY31" fmla="*/ 7028 h 10000"/>
                <a:gd name="connsiteX32" fmla="*/ 2147 w 10000"/>
                <a:gd name="connsiteY32" fmla="*/ 7131 h 10000"/>
                <a:gd name="connsiteX33" fmla="*/ 2109 w 10000"/>
                <a:gd name="connsiteY33" fmla="*/ 7203 h 10000"/>
                <a:gd name="connsiteX34" fmla="*/ 1983 w 10000"/>
                <a:gd name="connsiteY34" fmla="*/ 7028 h 10000"/>
                <a:gd name="connsiteX35" fmla="*/ 1854 w 10000"/>
                <a:gd name="connsiteY35" fmla="*/ 6884 h 10000"/>
                <a:gd name="connsiteX36" fmla="*/ 1741 w 10000"/>
                <a:gd name="connsiteY36" fmla="*/ 6863 h 10000"/>
                <a:gd name="connsiteX37" fmla="*/ 1610 w 10000"/>
                <a:gd name="connsiteY37" fmla="*/ 7183 h 10000"/>
                <a:gd name="connsiteX38" fmla="*/ 1655 w 10000"/>
                <a:gd name="connsiteY38" fmla="*/ 7430 h 10000"/>
                <a:gd name="connsiteX39" fmla="*/ 1604 w 10000"/>
                <a:gd name="connsiteY39" fmla="*/ 7430 h 10000"/>
                <a:gd name="connsiteX40" fmla="*/ 1551 w 10000"/>
                <a:gd name="connsiteY40" fmla="*/ 7255 h 10000"/>
                <a:gd name="connsiteX41" fmla="*/ 1513 w 10000"/>
                <a:gd name="connsiteY41" fmla="*/ 7430 h 10000"/>
                <a:gd name="connsiteX42" fmla="*/ 1519 w 10000"/>
                <a:gd name="connsiteY42" fmla="*/ 7854 h 10000"/>
                <a:gd name="connsiteX43" fmla="*/ 1604 w 10000"/>
                <a:gd name="connsiteY43" fmla="*/ 8070 h 10000"/>
                <a:gd name="connsiteX44" fmla="*/ 1648 w 10000"/>
                <a:gd name="connsiteY44" fmla="*/ 8019 h 10000"/>
                <a:gd name="connsiteX45" fmla="*/ 1741 w 10000"/>
                <a:gd name="connsiteY45" fmla="*/ 8493 h 10000"/>
                <a:gd name="connsiteX46" fmla="*/ 1610 w 10000"/>
                <a:gd name="connsiteY46" fmla="*/ 8669 h 10000"/>
                <a:gd name="connsiteX47" fmla="*/ 1595 w 10000"/>
                <a:gd name="connsiteY47" fmla="*/ 9009 h 10000"/>
                <a:gd name="connsiteX48" fmla="*/ 1664 w 10000"/>
                <a:gd name="connsiteY48" fmla="*/ 9236 h 10000"/>
                <a:gd name="connsiteX49" fmla="*/ 1664 w 10000"/>
                <a:gd name="connsiteY49" fmla="*/ 9484 h 10000"/>
                <a:gd name="connsiteX50" fmla="*/ 1769 w 10000"/>
                <a:gd name="connsiteY50" fmla="*/ 9835 h 10000"/>
                <a:gd name="connsiteX51" fmla="*/ 1703 w 10000"/>
                <a:gd name="connsiteY51" fmla="*/ 10000 h 10000"/>
                <a:gd name="connsiteX52" fmla="*/ 1604 w 10000"/>
                <a:gd name="connsiteY52" fmla="*/ 9753 h 10000"/>
                <a:gd name="connsiteX53" fmla="*/ 1465 w 10000"/>
                <a:gd name="connsiteY53" fmla="*/ 9505 h 10000"/>
                <a:gd name="connsiteX54" fmla="*/ 1406 w 10000"/>
                <a:gd name="connsiteY54" fmla="*/ 9588 h 10000"/>
                <a:gd name="connsiteX55" fmla="*/ 1308 w 10000"/>
                <a:gd name="connsiteY55" fmla="*/ 9380 h 10000"/>
                <a:gd name="connsiteX56" fmla="*/ 1097 w 10000"/>
                <a:gd name="connsiteY56" fmla="*/ 9339 h 10000"/>
                <a:gd name="connsiteX57" fmla="*/ 848 w 10000"/>
                <a:gd name="connsiteY57" fmla="*/ 8813 h 10000"/>
                <a:gd name="connsiteX58" fmla="*/ 914 w 10000"/>
                <a:gd name="connsiteY58" fmla="*/ 8721 h 10000"/>
                <a:gd name="connsiteX59" fmla="*/ 961 w 10000"/>
                <a:gd name="connsiteY59" fmla="*/ 8493 h 10000"/>
                <a:gd name="connsiteX60" fmla="*/ 908 w 10000"/>
                <a:gd name="connsiteY60" fmla="*/ 8390 h 10000"/>
                <a:gd name="connsiteX61" fmla="*/ 1021 w 10000"/>
                <a:gd name="connsiteY61" fmla="*/ 8245 h 10000"/>
                <a:gd name="connsiteX62" fmla="*/ 945 w 10000"/>
                <a:gd name="connsiteY62" fmla="*/ 8194 h 10000"/>
                <a:gd name="connsiteX63" fmla="*/ 958 w 10000"/>
                <a:gd name="connsiteY63" fmla="*/ 8091 h 10000"/>
                <a:gd name="connsiteX64" fmla="*/ 1005 w 10000"/>
                <a:gd name="connsiteY64" fmla="*/ 8111 h 10000"/>
                <a:gd name="connsiteX65" fmla="*/ 1059 w 10000"/>
                <a:gd name="connsiteY65" fmla="*/ 8019 h 10000"/>
                <a:gd name="connsiteX66" fmla="*/ 1034 w 10000"/>
                <a:gd name="connsiteY66" fmla="*/ 7864 h 10000"/>
                <a:gd name="connsiteX67" fmla="*/ 1043 w 10000"/>
                <a:gd name="connsiteY67" fmla="*/ 7503 h 10000"/>
                <a:gd name="connsiteX68" fmla="*/ 930 w 10000"/>
                <a:gd name="connsiteY68" fmla="*/ 7440 h 10000"/>
                <a:gd name="connsiteX69" fmla="*/ 832 w 10000"/>
                <a:gd name="connsiteY69" fmla="*/ 7286 h 10000"/>
                <a:gd name="connsiteX70" fmla="*/ 700 w 10000"/>
                <a:gd name="connsiteY70" fmla="*/ 7275 h 10000"/>
                <a:gd name="connsiteX71" fmla="*/ 684 w 10000"/>
                <a:gd name="connsiteY71" fmla="*/ 7090 h 10000"/>
                <a:gd name="connsiteX72" fmla="*/ 596 w 10000"/>
                <a:gd name="connsiteY72" fmla="*/ 6945 h 10000"/>
                <a:gd name="connsiteX73" fmla="*/ 615 w 10000"/>
                <a:gd name="connsiteY73" fmla="*/ 6822 h 10000"/>
                <a:gd name="connsiteX74" fmla="*/ 561 w 10000"/>
                <a:gd name="connsiteY74" fmla="*/ 6698 h 10000"/>
                <a:gd name="connsiteX75" fmla="*/ 457 w 10000"/>
                <a:gd name="connsiteY75" fmla="*/ 6698 h 10000"/>
                <a:gd name="connsiteX76" fmla="*/ 425 w 10000"/>
                <a:gd name="connsiteY76" fmla="*/ 6791 h 10000"/>
                <a:gd name="connsiteX77" fmla="*/ 400 w 10000"/>
                <a:gd name="connsiteY77" fmla="*/ 6750 h 10000"/>
                <a:gd name="connsiteX78" fmla="*/ 378 w 10000"/>
                <a:gd name="connsiteY78" fmla="*/ 6439 h 10000"/>
                <a:gd name="connsiteX79" fmla="*/ 419 w 10000"/>
                <a:gd name="connsiteY79" fmla="*/ 6470 h 10000"/>
                <a:gd name="connsiteX80" fmla="*/ 466 w 10000"/>
                <a:gd name="connsiteY80" fmla="*/ 6347 h 10000"/>
                <a:gd name="connsiteX81" fmla="*/ 400 w 10000"/>
                <a:gd name="connsiteY81" fmla="*/ 6233 h 10000"/>
                <a:gd name="connsiteX82" fmla="*/ 315 w 10000"/>
                <a:gd name="connsiteY82" fmla="*/ 6017 h 10000"/>
                <a:gd name="connsiteX83" fmla="*/ 334 w 10000"/>
                <a:gd name="connsiteY83" fmla="*/ 5821 h 10000"/>
                <a:gd name="connsiteX84" fmla="*/ 274 w 10000"/>
                <a:gd name="connsiteY84" fmla="*/ 5697 h 10000"/>
                <a:gd name="connsiteX85" fmla="*/ 227 w 10000"/>
                <a:gd name="connsiteY85" fmla="*/ 5728 h 10000"/>
                <a:gd name="connsiteX86" fmla="*/ 202 w 10000"/>
                <a:gd name="connsiteY86" fmla="*/ 5604 h 10000"/>
                <a:gd name="connsiteX87" fmla="*/ 164 w 10000"/>
                <a:gd name="connsiteY87" fmla="*/ 5645 h 10000"/>
                <a:gd name="connsiteX88" fmla="*/ 117 w 10000"/>
                <a:gd name="connsiteY88" fmla="*/ 5604 h 10000"/>
                <a:gd name="connsiteX89" fmla="*/ 69 w 10000"/>
                <a:gd name="connsiteY89" fmla="*/ 5181 h 10000"/>
                <a:gd name="connsiteX90" fmla="*/ 85 w 10000"/>
                <a:gd name="connsiteY90" fmla="*/ 5057 h 10000"/>
                <a:gd name="connsiteX91" fmla="*/ 41 w 10000"/>
                <a:gd name="connsiteY91" fmla="*/ 4892 h 10000"/>
                <a:gd name="connsiteX92" fmla="*/ 66 w 10000"/>
                <a:gd name="connsiteY92" fmla="*/ 4655 h 10000"/>
                <a:gd name="connsiteX93" fmla="*/ 211 w 10000"/>
                <a:gd name="connsiteY93" fmla="*/ 4510 h 10000"/>
                <a:gd name="connsiteX94" fmla="*/ 129 w 10000"/>
                <a:gd name="connsiteY94" fmla="*/ 4406 h 10000"/>
                <a:gd name="connsiteX95" fmla="*/ 82 w 10000"/>
                <a:gd name="connsiteY95" fmla="*/ 4283 h 10000"/>
                <a:gd name="connsiteX96" fmla="*/ 205 w 10000"/>
                <a:gd name="connsiteY96" fmla="*/ 3912 h 10000"/>
                <a:gd name="connsiteX97" fmla="*/ 249 w 10000"/>
                <a:gd name="connsiteY97" fmla="*/ 3664 h 10000"/>
                <a:gd name="connsiteX98" fmla="*/ 151 w 10000"/>
                <a:gd name="connsiteY98" fmla="*/ 3488 h 10000"/>
                <a:gd name="connsiteX99" fmla="*/ 189 w 10000"/>
                <a:gd name="connsiteY99" fmla="*/ 3344 h 10000"/>
                <a:gd name="connsiteX100" fmla="*/ 113 w 10000"/>
                <a:gd name="connsiteY100" fmla="*/ 3148 h 10000"/>
                <a:gd name="connsiteX101" fmla="*/ 113 w 10000"/>
                <a:gd name="connsiteY101" fmla="*/ 2972 h 10000"/>
                <a:gd name="connsiteX102" fmla="*/ 60 w 10000"/>
                <a:gd name="connsiteY102" fmla="*/ 2622 h 10000"/>
                <a:gd name="connsiteX103" fmla="*/ 98 w 10000"/>
                <a:gd name="connsiteY103" fmla="*/ 2404 h 10000"/>
                <a:gd name="connsiteX104" fmla="*/ 38 w 10000"/>
                <a:gd name="connsiteY104" fmla="*/ 2301 h 10000"/>
                <a:gd name="connsiteX105" fmla="*/ 0 w 10000"/>
                <a:gd name="connsiteY105" fmla="*/ 2178 h 10000"/>
                <a:gd name="connsiteX106" fmla="*/ 54 w 10000"/>
                <a:gd name="connsiteY106" fmla="*/ 1951 h 10000"/>
                <a:gd name="connsiteX107" fmla="*/ 120 w 10000"/>
                <a:gd name="connsiteY107" fmla="*/ 1910 h 10000"/>
                <a:gd name="connsiteX108" fmla="*/ 195 w 10000"/>
                <a:gd name="connsiteY108" fmla="*/ 1858 h 10000"/>
                <a:gd name="connsiteX109" fmla="*/ 309 w 10000"/>
                <a:gd name="connsiteY109" fmla="*/ 1951 h 10000"/>
                <a:gd name="connsiteX110" fmla="*/ 482 w 10000"/>
                <a:gd name="connsiteY110" fmla="*/ 2054 h 10000"/>
                <a:gd name="connsiteX111" fmla="*/ 633 w 10000"/>
                <a:gd name="connsiteY111" fmla="*/ 2229 h 10000"/>
                <a:gd name="connsiteX112" fmla="*/ 756 w 10000"/>
                <a:gd name="connsiteY112" fmla="*/ 2373 h 10000"/>
                <a:gd name="connsiteX113" fmla="*/ 725 w 10000"/>
                <a:gd name="connsiteY113" fmla="*/ 2777 h 10000"/>
                <a:gd name="connsiteX114" fmla="*/ 362 w 10000"/>
                <a:gd name="connsiteY114" fmla="*/ 2673 h 10000"/>
                <a:gd name="connsiteX115" fmla="*/ 243 w 10000"/>
                <a:gd name="connsiteY115" fmla="*/ 2550 h 10000"/>
                <a:gd name="connsiteX116" fmla="*/ 287 w 10000"/>
                <a:gd name="connsiteY116" fmla="*/ 2622 h 10000"/>
                <a:gd name="connsiteX117" fmla="*/ 331 w 10000"/>
                <a:gd name="connsiteY117" fmla="*/ 2797 h 10000"/>
                <a:gd name="connsiteX118" fmla="*/ 400 w 10000"/>
                <a:gd name="connsiteY118" fmla="*/ 2921 h 10000"/>
                <a:gd name="connsiteX119" fmla="*/ 416 w 10000"/>
                <a:gd name="connsiteY119" fmla="*/ 3189 h 10000"/>
                <a:gd name="connsiteX120" fmla="*/ 507 w 10000"/>
                <a:gd name="connsiteY120" fmla="*/ 3313 h 10000"/>
                <a:gd name="connsiteX121" fmla="*/ 583 w 10000"/>
                <a:gd name="connsiteY121" fmla="*/ 3436 h 10000"/>
                <a:gd name="connsiteX122" fmla="*/ 605 w 10000"/>
                <a:gd name="connsiteY122" fmla="*/ 3467 h 10000"/>
                <a:gd name="connsiteX123" fmla="*/ 649 w 10000"/>
                <a:gd name="connsiteY123" fmla="*/ 3436 h 10000"/>
                <a:gd name="connsiteX124" fmla="*/ 633 w 10000"/>
                <a:gd name="connsiteY124" fmla="*/ 3364 h 10000"/>
                <a:gd name="connsiteX125" fmla="*/ 545 w 10000"/>
                <a:gd name="connsiteY125" fmla="*/ 3189 h 10000"/>
                <a:gd name="connsiteX126" fmla="*/ 801 w 10000"/>
                <a:gd name="connsiteY126" fmla="*/ 3344 h 10000"/>
                <a:gd name="connsiteX127" fmla="*/ 810 w 10000"/>
                <a:gd name="connsiteY127" fmla="*/ 3271 h 10000"/>
                <a:gd name="connsiteX128" fmla="*/ 785 w 10000"/>
                <a:gd name="connsiteY128" fmla="*/ 3220 h 10000"/>
                <a:gd name="connsiteX129" fmla="*/ 741 w 10000"/>
                <a:gd name="connsiteY129" fmla="*/ 2993 h 10000"/>
                <a:gd name="connsiteX130" fmla="*/ 870 w 10000"/>
                <a:gd name="connsiteY130" fmla="*/ 2777 h 10000"/>
                <a:gd name="connsiteX131" fmla="*/ 968 w 10000"/>
                <a:gd name="connsiteY131" fmla="*/ 2921 h 10000"/>
                <a:gd name="connsiteX132" fmla="*/ 999 w 10000"/>
                <a:gd name="connsiteY132" fmla="*/ 2725 h 10000"/>
                <a:gd name="connsiteX133" fmla="*/ 952 w 10000"/>
                <a:gd name="connsiteY133" fmla="*/ 2653 h 10000"/>
                <a:gd name="connsiteX134" fmla="*/ 936 w 10000"/>
                <a:gd name="connsiteY134" fmla="*/ 2281 h 10000"/>
                <a:gd name="connsiteX135" fmla="*/ 914 w 10000"/>
                <a:gd name="connsiteY135" fmla="*/ 2229 h 10000"/>
                <a:gd name="connsiteX136" fmla="*/ 1037 w 10000"/>
                <a:gd name="connsiteY136" fmla="*/ 2250 h 10000"/>
                <a:gd name="connsiteX137" fmla="*/ 1087 w 10000"/>
                <a:gd name="connsiteY137" fmla="*/ 2404 h 10000"/>
                <a:gd name="connsiteX138" fmla="*/ 1021 w 10000"/>
                <a:gd name="connsiteY138" fmla="*/ 2529 h 10000"/>
                <a:gd name="connsiteX139" fmla="*/ 1135 w 10000"/>
                <a:gd name="connsiteY139" fmla="*/ 2694 h 10000"/>
                <a:gd name="connsiteX140" fmla="*/ 1226 w 10000"/>
                <a:gd name="connsiteY140" fmla="*/ 2529 h 10000"/>
                <a:gd name="connsiteX141" fmla="*/ 1339 w 10000"/>
                <a:gd name="connsiteY141" fmla="*/ 2301 h 10000"/>
                <a:gd name="connsiteX142" fmla="*/ 1459 w 10000"/>
                <a:gd name="connsiteY142" fmla="*/ 2157 h 10000"/>
                <a:gd name="connsiteX143" fmla="*/ 1497 w 10000"/>
                <a:gd name="connsiteY143" fmla="*/ 2250 h 10000"/>
                <a:gd name="connsiteX144" fmla="*/ 1807 w 10000"/>
                <a:gd name="connsiteY144" fmla="*/ 2054 h 10000"/>
                <a:gd name="connsiteX145" fmla="*/ 1870 w 10000"/>
                <a:gd name="connsiteY145" fmla="*/ 2250 h 10000"/>
                <a:gd name="connsiteX146" fmla="*/ 1860 w 10000"/>
                <a:gd name="connsiteY146" fmla="*/ 2002 h 10000"/>
                <a:gd name="connsiteX147" fmla="*/ 1778 w 10000"/>
                <a:gd name="connsiteY147" fmla="*/ 1786 h 10000"/>
                <a:gd name="connsiteX148" fmla="*/ 1763 w 10000"/>
                <a:gd name="connsiteY148" fmla="*/ 1703 h 10000"/>
                <a:gd name="connsiteX149" fmla="*/ 1823 w 10000"/>
                <a:gd name="connsiteY149" fmla="*/ 1786 h 10000"/>
                <a:gd name="connsiteX150" fmla="*/ 2034 w 10000"/>
                <a:gd name="connsiteY150" fmla="*/ 1951 h 10000"/>
                <a:gd name="connsiteX151" fmla="*/ 2270 w 10000"/>
                <a:gd name="connsiteY151" fmla="*/ 2126 h 10000"/>
                <a:gd name="connsiteX152" fmla="*/ 2384 w 10000"/>
                <a:gd name="connsiteY152" fmla="*/ 2250 h 10000"/>
                <a:gd name="connsiteX153" fmla="*/ 2421 w 10000"/>
                <a:gd name="connsiteY153" fmla="*/ 2074 h 10000"/>
                <a:gd name="connsiteX154" fmla="*/ 2368 w 10000"/>
                <a:gd name="connsiteY154" fmla="*/ 2033 h 10000"/>
                <a:gd name="connsiteX155" fmla="*/ 2299 w 10000"/>
                <a:gd name="connsiteY155" fmla="*/ 1930 h 10000"/>
                <a:gd name="connsiteX156" fmla="*/ 2254 w 10000"/>
                <a:gd name="connsiteY156" fmla="*/ 1734 h 10000"/>
                <a:gd name="connsiteX157" fmla="*/ 2185 w 10000"/>
                <a:gd name="connsiteY157" fmla="*/ 1486 h 10000"/>
                <a:gd name="connsiteX158" fmla="*/ 2210 w 10000"/>
                <a:gd name="connsiteY158" fmla="*/ 1434 h 10000"/>
                <a:gd name="connsiteX159" fmla="*/ 2232 w 10000"/>
                <a:gd name="connsiteY159" fmla="*/ 1455 h 10000"/>
                <a:gd name="connsiteX160" fmla="*/ 2292 w 10000"/>
                <a:gd name="connsiteY160" fmla="*/ 1115 h 10000"/>
                <a:gd name="connsiteX161" fmla="*/ 2443 w 10000"/>
                <a:gd name="connsiteY161" fmla="*/ 1135 h 10000"/>
                <a:gd name="connsiteX162" fmla="*/ 2488 w 10000"/>
                <a:gd name="connsiteY162" fmla="*/ 1311 h 10000"/>
                <a:gd name="connsiteX163" fmla="*/ 2519 w 10000"/>
                <a:gd name="connsiteY163" fmla="*/ 1538 h 10000"/>
                <a:gd name="connsiteX164" fmla="*/ 2573 w 10000"/>
                <a:gd name="connsiteY164" fmla="*/ 1734 h 10000"/>
                <a:gd name="connsiteX165" fmla="*/ 2670 w 10000"/>
                <a:gd name="connsiteY165" fmla="*/ 2157 h 10000"/>
                <a:gd name="connsiteX166" fmla="*/ 2481 w 10000"/>
                <a:gd name="connsiteY166" fmla="*/ 2673 h 10000"/>
                <a:gd name="connsiteX167" fmla="*/ 2557 w 10000"/>
                <a:gd name="connsiteY167" fmla="*/ 2746 h 10000"/>
                <a:gd name="connsiteX168" fmla="*/ 2655 w 10000"/>
                <a:gd name="connsiteY168" fmla="*/ 2818 h 10000"/>
                <a:gd name="connsiteX169" fmla="*/ 2784 w 10000"/>
                <a:gd name="connsiteY169" fmla="*/ 2622 h 10000"/>
                <a:gd name="connsiteX170" fmla="*/ 2790 w 10000"/>
                <a:gd name="connsiteY170" fmla="*/ 2404 h 10000"/>
                <a:gd name="connsiteX171" fmla="*/ 2746 w 10000"/>
                <a:gd name="connsiteY171" fmla="*/ 2301 h 10000"/>
                <a:gd name="connsiteX172" fmla="*/ 2919 w 10000"/>
                <a:gd name="connsiteY172" fmla="*/ 2250 h 10000"/>
                <a:gd name="connsiteX173" fmla="*/ 2989 w 10000"/>
                <a:gd name="connsiteY173" fmla="*/ 2497 h 10000"/>
                <a:gd name="connsiteX174" fmla="*/ 2989 w 10000"/>
                <a:gd name="connsiteY174" fmla="*/ 2425 h 10000"/>
                <a:gd name="connsiteX175" fmla="*/ 2973 w 10000"/>
                <a:gd name="connsiteY175" fmla="*/ 2353 h 10000"/>
                <a:gd name="connsiteX176" fmla="*/ 2967 w 10000"/>
                <a:gd name="connsiteY176" fmla="*/ 2178 h 10000"/>
                <a:gd name="connsiteX177" fmla="*/ 2800 w 10000"/>
                <a:gd name="connsiteY177" fmla="*/ 1930 h 10000"/>
                <a:gd name="connsiteX178" fmla="*/ 2670 w 10000"/>
                <a:gd name="connsiteY178" fmla="*/ 2002 h 10000"/>
                <a:gd name="connsiteX179" fmla="*/ 2617 w 10000"/>
                <a:gd name="connsiteY179" fmla="*/ 1683 h 10000"/>
                <a:gd name="connsiteX180" fmla="*/ 2563 w 10000"/>
                <a:gd name="connsiteY180" fmla="*/ 1507 h 10000"/>
                <a:gd name="connsiteX181" fmla="*/ 2617 w 10000"/>
                <a:gd name="connsiteY181" fmla="*/ 1331 h 10000"/>
                <a:gd name="connsiteX182" fmla="*/ 2611 w 10000"/>
                <a:gd name="connsiteY182" fmla="*/ 1166 h 10000"/>
                <a:gd name="connsiteX183" fmla="*/ 2588 w 10000"/>
                <a:gd name="connsiteY183" fmla="*/ 1115 h 10000"/>
                <a:gd name="connsiteX184" fmla="*/ 2626 w 10000"/>
                <a:gd name="connsiteY184" fmla="*/ 1115 h 10000"/>
                <a:gd name="connsiteX185" fmla="*/ 2670 w 10000"/>
                <a:gd name="connsiteY185" fmla="*/ 1455 h 10000"/>
                <a:gd name="connsiteX186" fmla="*/ 2891 w 10000"/>
                <a:gd name="connsiteY186" fmla="*/ 1662 h 10000"/>
                <a:gd name="connsiteX187" fmla="*/ 2724 w 10000"/>
                <a:gd name="connsiteY187" fmla="*/ 1383 h 10000"/>
                <a:gd name="connsiteX188" fmla="*/ 3049 w 10000"/>
                <a:gd name="connsiteY188" fmla="*/ 1383 h 10000"/>
                <a:gd name="connsiteX189" fmla="*/ 3102 w 10000"/>
                <a:gd name="connsiteY189" fmla="*/ 1362 h 10000"/>
                <a:gd name="connsiteX190" fmla="*/ 2897 w 10000"/>
                <a:gd name="connsiteY190" fmla="*/ 1115 h 10000"/>
                <a:gd name="connsiteX191" fmla="*/ 2951 w 10000"/>
                <a:gd name="connsiteY191" fmla="*/ 888 h 10000"/>
                <a:gd name="connsiteX192" fmla="*/ 3178 w 10000"/>
                <a:gd name="connsiteY192" fmla="*/ 888 h 10000"/>
                <a:gd name="connsiteX193" fmla="*/ 3156 w 10000"/>
                <a:gd name="connsiteY193" fmla="*/ 713 h 10000"/>
                <a:gd name="connsiteX194" fmla="*/ 3231 w 10000"/>
                <a:gd name="connsiteY194" fmla="*/ 589 h 10000"/>
                <a:gd name="connsiteX195" fmla="*/ 3276 w 10000"/>
                <a:gd name="connsiteY195" fmla="*/ 548 h 10000"/>
                <a:gd name="connsiteX196" fmla="*/ 3443 w 10000"/>
                <a:gd name="connsiteY196" fmla="*/ 423 h 10000"/>
                <a:gd name="connsiteX197" fmla="*/ 3487 w 10000"/>
                <a:gd name="connsiteY197" fmla="*/ 371 h 10000"/>
                <a:gd name="connsiteX198" fmla="*/ 3480 w 10000"/>
                <a:gd name="connsiteY198" fmla="*/ 444 h 10000"/>
                <a:gd name="connsiteX199" fmla="*/ 3660 w 10000"/>
                <a:gd name="connsiteY199" fmla="*/ 371 h 10000"/>
                <a:gd name="connsiteX200" fmla="*/ 3805 w 10000"/>
                <a:gd name="connsiteY200" fmla="*/ 248 h 10000"/>
                <a:gd name="connsiteX201" fmla="*/ 3827 w 10000"/>
                <a:gd name="connsiteY201" fmla="*/ 0 h 10000"/>
                <a:gd name="connsiteX202" fmla="*/ 3988 w 10000"/>
                <a:gd name="connsiteY202" fmla="*/ 21 h 10000"/>
                <a:gd name="connsiteX203" fmla="*/ 3978 w 10000"/>
                <a:gd name="connsiteY203" fmla="*/ 93 h 10000"/>
                <a:gd name="connsiteX204" fmla="*/ 3988 w 10000"/>
                <a:gd name="connsiteY204" fmla="*/ 176 h 10000"/>
                <a:gd name="connsiteX205" fmla="*/ 4085 w 10000"/>
                <a:gd name="connsiteY205" fmla="*/ 248 h 10000"/>
                <a:gd name="connsiteX206" fmla="*/ 4379 w 10000"/>
                <a:gd name="connsiteY206" fmla="*/ 268 h 10000"/>
                <a:gd name="connsiteX207" fmla="*/ 4539 w 10000"/>
                <a:gd name="connsiteY207" fmla="*/ 392 h 10000"/>
                <a:gd name="connsiteX208" fmla="*/ 4486 w 10000"/>
                <a:gd name="connsiteY208" fmla="*/ 795 h 10000"/>
                <a:gd name="connsiteX209" fmla="*/ 4426 w 10000"/>
                <a:gd name="connsiteY209" fmla="*/ 919 h 10000"/>
                <a:gd name="connsiteX210" fmla="*/ 4356 w 10000"/>
                <a:gd name="connsiteY210" fmla="*/ 1043 h 10000"/>
                <a:gd name="connsiteX211" fmla="*/ 4372 w 10000"/>
                <a:gd name="connsiteY211" fmla="*/ 1115 h 10000"/>
                <a:gd name="connsiteX212" fmla="*/ 4583 w 10000"/>
                <a:gd name="connsiteY212" fmla="*/ 919 h 10000"/>
                <a:gd name="connsiteX213" fmla="*/ 5060 w 10000"/>
                <a:gd name="connsiteY213" fmla="*/ 991 h 10000"/>
                <a:gd name="connsiteX214" fmla="*/ 5108 w 10000"/>
                <a:gd name="connsiteY214" fmla="*/ 1063 h 10000"/>
                <a:gd name="connsiteX215" fmla="*/ 5212 w 10000"/>
                <a:gd name="connsiteY215" fmla="*/ 1187 h 10000"/>
                <a:gd name="connsiteX216" fmla="*/ 5357 w 10000"/>
                <a:gd name="connsiteY216" fmla="*/ 919 h 10000"/>
                <a:gd name="connsiteX217" fmla="*/ 5577 w 10000"/>
                <a:gd name="connsiteY217" fmla="*/ 1063 h 10000"/>
                <a:gd name="connsiteX218" fmla="*/ 5643 w 10000"/>
                <a:gd name="connsiteY218" fmla="*/ 1115 h 10000"/>
                <a:gd name="connsiteX219" fmla="*/ 5697 w 10000"/>
                <a:gd name="connsiteY219" fmla="*/ 1166 h 10000"/>
                <a:gd name="connsiteX220" fmla="*/ 5908 w 10000"/>
                <a:gd name="connsiteY220" fmla="*/ 1631 h 10000"/>
                <a:gd name="connsiteX221" fmla="*/ 5984 w 10000"/>
                <a:gd name="connsiteY221" fmla="*/ 1611 h 10000"/>
                <a:gd name="connsiteX222" fmla="*/ 5977 w 10000"/>
                <a:gd name="connsiteY222" fmla="*/ 1507 h 10000"/>
                <a:gd name="connsiteX223" fmla="*/ 5984 w 10000"/>
                <a:gd name="connsiteY223" fmla="*/ 1383 h 10000"/>
                <a:gd name="connsiteX224" fmla="*/ 6091 w 10000"/>
                <a:gd name="connsiteY224" fmla="*/ 1486 h 10000"/>
                <a:gd name="connsiteX225" fmla="*/ 6264 w 10000"/>
                <a:gd name="connsiteY225" fmla="*/ 1507 h 10000"/>
                <a:gd name="connsiteX226" fmla="*/ 6409 w 10000"/>
                <a:gd name="connsiteY226" fmla="*/ 1455 h 10000"/>
                <a:gd name="connsiteX227" fmla="*/ 6340 w 10000"/>
                <a:gd name="connsiteY227" fmla="*/ 1362 h 10000"/>
                <a:gd name="connsiteX228" fmla="*/ 6431 w 10000"/>
                <a:gd name="connsiteY228" fmla="*/ 1084 h 10000"/>
                <a:gd name="connsiteX229" fmla="*/ 6687 w 10000"/>
                <a:gd name="connsiteY229" fmla="*/ 1207 h 10000"/>
                <a:gd name="connsiteX230" fmla="*/ 6945 w 10000"/>
                <a:gd name="connsiteY230" fmla="*/ 1331 h 10000"/>
                <a:gd name="connsiteX231" fmla="*/ 6967 w 10000"/>
                <a:gd name="connsiteY231" fmla="*/ 1362 h 10000"/>
                <a:gd name="connsiteX232" fmla="*/ 7194 w 10000"/>
                <a:gd name="connsiteY232" fmla="*/ 1611 h 10000"/>
                <a:gd name="connsiteX233" fmla="*/ 7367 w 10000"/>
                <a:gd name="connsiteY233" fmla="*/ 1507 h 10000"/>
                <a:gd name="connsiteX234" fmla="*/ 7582 w 10000"/>
                <a:gd name="connsiteY234" fmla="*/ 1538 h 10000"/>
                <a:gd name="connsiteX235" fmla="*/ 7657 w 10000"/>
                <a:gd name="connsiteY235" fmla="*/ 1611 h 10000"/>
                <a:gd name="connsiteX236" fmla="*/ 7928 w 10000"/>
                <a:gd name="connsiteY236" fmla="*/ 1930 h 10000"/>
                <a:gd name="connsiteX237" fmla="*/ 8231 w 10000"/>
                <a:gd name="connsiteY237" fmla="*/ 1879 h 10000"/>
                <a:gd name="connsiteX238" fmla="*/ 8339 w 10000"/>
                <a:gd name="connsiteY238" fmla="*/ 2033 h 10000"/>
                <a:gd name="connsiteX239" fmla="*/ 8490 w 10000"/>
                <a:gd name="connsiteY239" fmla="*/ 2157 h 10000"/>
                <a:gd name="connsiteX240" fmla="*/ 8519 w 10000"/>
                <a:gd name="connsiteY240" fmla="*/ 2105 h 10000"/>
                <a:gd name="connsiteX241" fmla="*/ 8497 w 10000"/>
                <a:gd name="connsiteY241" fmla="*/ 2074 h 10000"/>
                <a:gd name="connsiteX242" fmla="*/ 8383 w 10000"/>
                <a:gd name="connsiteY242" fmla="*/ 1930 h 10000"/>
                <a:gd name="connsiteX243" fmla="*/ 8465 w 10000"/>
                <a:gd name="connsiteY243" fmla="*/ 1755 h 10000"/>
                <a:gd name="connsiteX244" fmla="*/ 8664 w 10000"/>
                <a:gd name="connsiteY244" fmla="*/ 1910 h 10000"/>
                <a:gd name="connsiteX245" fmla="*/ 8950 w 10000"/>
                <a:gd name="connsiteY245" fmla="*/ 1982 h 10000"/>
                <a:gd name="connsiteX246" fmla="*/ 9206 w 10000"/>
                <a:gd name="connsiteY246" fmla="*/ 2260 h 10000"/>
                <a:gd name="connsiteX247" fmla="*/ 9344 w 10000"/>
                <a:gd name="connsiteY247" fmla="*/ 2332 h 10000"/>
                <a:gd name="connsiteX248" fmla="*/ 9451 w 10000"/>
                <a:gd name="connsiteY248" fmla="*/ 2446 h 10000"/>
                <a:gd name="connsiteX249" fmla="*/ 9574 w 10000"/>
                <a:gd name="connsiteY249" fmla="*/ 2632 h 10000"/>
                <a:gd name="connsiteX250" fmla="*/ 9631 w 10000"/>
                <a:gd name="connsiteY250" fmla="*/ 2756 h 10000"/>
                <a:gd name="connsiteX251" fmla="*/ 9726 w 10000"/>
                <a:gd name="connsiteY251" fmla="*/ 2787 h 10000"/>
                <a:gd name="connsiteX252" fmla="*/ 9590 w 10000"/>
                <a:gd name="connsiteY252" fmla="*/ 2570 h 10000"/>
                <a:gd name="connsiteX253" fmla="*/ 9915 w 10000"/>
                <a:gd name="connsiteY253" fmla="*/ 2756 h 10000"/>
                <a:gd name="connsiteX254" fmla="*/ 10000 w 10000"/>
                <a:gd name="connsiteY254" fmla="*/ 3014 h 10000"/>
                <a:gd name="connsiteX255" fmla="*/ 9934 w 10000"/>
                <a:gd name="connsiteY255" fmla="*/ 2941 h 10000"/>
                <a:gd name="connsiteX256" fmla="*/ 9874 w 10000"/>
                <a:gd name="connsiteY256" fmla="*/ 2952 h 10000"/>
                <a:gd name="connsiteX257" fmla="*/ 10000 w 10000"/>
                <a:gd name="connsiteY257" fmla="*/ 3292 h 10000"/>
                <a:gd name="connsiteX258" fmla="*/ 9845 w 10000"/>
                <a:gd name="connsiteY258" fmla="*/ 3220 h 10000"/>
                <a:gd name="connsiteX259" fmla="*/ 9745 w 10000"/>
                <a:gd name="connsiteY259" fmla="*/ 3075 h 10000"/>
                <a:gd name="connsiteX260" fmla="*/ 9641 w 10000"/>
                <a:gd name="connsiteY260" fmla="*/ 2972 h 10000"/>
                <a:gd name="connsiteX261" fmla="*/ 9555 w 10000"/>
                <a:gd name="connsiteY261" fmla="*/ 3003 h 10000"/>
                <a:gd name="connsiteX262" fmla="*/ 9470 w 10000"/>
                <a:gd name="connsiteY262" fmla="*/ 2787 h 10000"/>
                <a:gd name="connsiteX263" fmla="*/ 9366 w 10000"/>
                <a:gd name="connsiteY263" fmla="*/ 2725 h 10000"/>
                <a:gd name="connsiteX264" fmla="*/ 9461 w 10000"/>
                <a:gd name="connsiteY264" fmla="*/ 2972 h 10000"/>
                <a:gd name="connsiteX265" fmla="*/ 9470 w 10000"/>
                <a:gd name="connsiteY265" fmla="*/ 3230 h 10000"/>
                <a:gd name="connsiteX266" fmla="*/ 9288 w 10000"/>
                <a:gd name="connsiteY266" fmla="*/ 3065 h 10000"/>
                <a:gd name="connsiteX267" fmla="*/ 9262 w 10000"/>
                <a:gd name="connsiteY267" fmla="*/ 3230 h 10000"/>
                <a:gd name="connsiteX268" fmla="*/ 9363 w 10000"/>
                <a:gd name="connsiteY268" fmla="*/ 3230 h 10000"/>
                <a:gd name="connsiteX269" fmla="*/ 9451 w 10000"/>
                <a:gd name="connsiteY269" fmla="*/ 3354 h 10000"/>
                <a:gd name="connsiteX270" fmla="*/ 9659 w 10000"/>
                <a:gd name="connsiteY270" fmla="*/ 3685 h 10000"/>
                <a:gd name="connsiteX271" fmla="*/ 9735 w 10000"/>
                <a:gd name="connsiteY271" fmla="*/ 3839 h 10000"/>
                <a:gd name="connsiteX272" fmla="*/ 9552 w 10000"/>
                <a:gd name="connsiteY272" fmla="*/ 3757 h 10000"/>
                <a:gd name="connsiteX273" fmla="*/ 9451 w 10000"/>
                <a:gd name="connsiteY273" fmla="*/ 4025 h 10000"/>
                <a:gd name="connsiteX274" fmla="*/ 9385 w 10000"/>
                <a:gd name="connsiteY274" fmla="*/ 4283 h 10000"/>
                <a:gd name="connsiteX275" fmla="*/ 9376 w 10000"/>
                <a:gd name="connsiteY275" fmla="*/ 4499 h 10000"/>
                <a:gd name="connsiteX276" fmla="*/ 9335 w 10000"/>
                <a:gd name="connsiteY276" fmla="*/ 4303 h 10000"/>
                <a:gd name="connsiteX277" fmla="*/ 9149 w 10000"/>
                <a:gd name="connsiteY277" fmla="*/ 4314 h 10000"/>
                <a:gd name="connsiteX278" fmla="*/ 9155 w 10000"/>
                <a:gd name="connsiteY278" fmla="*/ 4531 h 10000"/>
                <a:gd name="connsiteX279" fmla="*/ 9061 w 10000"/>
                <a:gd name="connsiteY279" fmla="*/ 4365 h 10000"/>
                <a:gd name="connsiteX280" fmla="*/ 9054 w 10000"/>
                <a:gd name="connsiteY280" fmla="*/ 4521 h 10000"/>
                <a:gd name="connsiteX281" fmla="*/ 8998 w 10000"/>
                <a:gd name="connsiteY281" fmla="*/ 4458 h 10000"/>
                <a:gd name="connsiteX282" fmla="*/ 8966 w 10000"/>
                <a:gd name="connsiteY282" fmla="*/ 4562 h 10000"/>
                <a:gd name="connsiteX283" fmla="*/ 9007 w 10000"/>
                <a:gd name="connsiteY283" fmla="*/ 4686 h 10000"/>
                <a:gd name="connsiteX284" fmla="*/ 9004 w 10000"/>
                <a:gd name="connsiteY284" fmla="*/ 4995 h 10000"/>
                <a:gd name="connsiteX285" fmla="*/ 9073 w 10000"/>
                <a:gd name="connsiteY285" fmla="*/ 5211 h 10000"/>
                <a:gd name="connsiteX286" fmla="*/ 9130 w 10000"/>
                <a:gd name="connsiteY286" fmla="*/ 5150 h 10000"/>
                <a:gd name="connsiteX287" fmla="*/ 9158 w 10000"/>
                <a:gd name="connsiteY287" fmla="*/ 5211 h 10000"/>
                <a:gd name="connsiteX288" fmla="*/ 9231 w 10000"/>
                <a:gd name="connsiteY288" fmla="*/ 5428 h 10000"/>
                <a:gd name="connsiteX289" fmla="*/ 9215 w 10000"/>
                <a:gd name="connsiteY289" fmla="*/ 5604 h 10000"/>
                <a:gd name="connsiteX290" fmla="*/ 9221 w 10000"/>
                <a:gd name="connsiteY290" fmla="*/ 5769 h 10000"/>
                <a:gd name="connsiteX291" fmla="*/ 9269 w 10000"/>
                <a:gd name="connsiteY291" fmla="*/ 5883 h 10000"/>
                <a:gd name="connsiteX292" fmla="*/ 9344 w 10000"/>
                <a:gd name="connsiteY292" fmla="*/ 6068 h 10000"/>
                <a:gd name="connsiteX293" fmla="*/ 9269 w 10000"/>
                <a:gd name="connsiteY293" fmla="*/ 6068 h 10000"/>
                <a:gd name="connsiteX294" fmla="*/ 9253 w 10000"/>
                <a:gd name="connsiteY294" fmla="*/ 6223 h 10000"/>
                <a:gd name="connsiteX295" fmla="*/ 9319 w 10000"/>
                <a:gd name="connsiteY295" fmla="*/ 6408 h 10000"/>
                <a:gd name="connsiteX296" fmla="*/ 9250 w 10000"/>
                <a:gd name="connsiteY296" fmla="*/ 6502 h 10000"/>
                <a:gd name="connsiteX297" fmla="*/ 9297 w 10000"/>
                <a:gd name="connsiteY297" fmla="*/ 6729 h 10000"/>
                <a:gd name="connsiteX298" fmla="*/ 9281 w 10000"/>
                <a:gd name="connsiteY298" fmla="*/ 7069 h 10000"/>
                <a:gd name="connsiteX299" fmla="*/ 9061 w 10000"/>
                <a:gd name="connsiteY299" fmla="*/ 6408 h 10000"/>
                <a:gd name="connsiteX300" fmla="*/ 8824 w 10000"/>
                <a:gd name="connsiteY300" fmla="*/ 5759 h 10000"/>
                <a:gd name="connsiteX301" fmla="*/ 8771 w 10000"/>
                <a:gd name="connsiteY301" fmla="*/ 5459 h 10000"/>
                <a:gd name="connsiteX302" fmla="*/ 8768 w 10000"/>
                <a:gd name="connsiteY302" fmla="*/ 5211 h 10000"/>
                <a:gd name="connsiteX303" fmla="*/ 8692 w 10000"/>
                <a:gd name="connsiteY303" fmla="*/ 5047 h 10000"/>
                <a:gd name="connsiteX304" fmla="*/ 8771 w 10000"/>
                <a:gd name="connsiteY304" fmla="*/ 5088 h 10000"/>
                <a:gd name="connsiteX305" fmla="*/ 8809 w 10000"/>
                <a:gd name="connsiteY305" fmla="*/ 5108 h 10000"/>
                <a:gd name="connsiteX306" fmla="*/ 8809 w 10000"/>
                <a:gd name="connsiteY306" fmla="*/ 4840 h 10000"/>
                <a:gd name="connsiteX307" fmla="*/ 8827 w 10000"/>
                <a:gd name="connsiteY307" fmla="*/ 4437 h 10000"/>
                <a:gd name="connsiteX308" fmla="*/ 8853 w 10000"/>
                <a:gd name="connsiteY308" fmla="*/ 4252 h 10000"/>
                <a:gd name="connsiteX309" fmla="*/ 8909 w 10000"/>
                <a:gd name="connsiteY309" fmla="*/ 4221 h 10000"/>
                <a:gd name="connsiteX310" fmla="*/ 8786 w 10000"/>
                <a:gd name="connsiteY310" fmla="*/ 3901 h 10000"/>
                <a:gd name="connsiteX311" fmla="*/ 8853 w 10000"/>
                <a:gd name="connsiteY311" fmla="*/ 3839 h 10000"/>
                <a:gd name="connsiteX312" fmla="*/ 8739 w 10000"/>
                <a:gd name="connsiteY312" fmla="*/ 3788 h 10000"/>
                <a:gd name="connsiteX313" fmla="*/ 8755 w 10000"/>
                <a:gd name="connsiteY313" fmla="*/ 3984 h 10000"/>
                <a:gd name="connsiteX314" fmla="*/ 8692 w 10000"/>
                <a:gd name="connsiteY314" fmla="*/ 4303 h 10000"/>
                <a:gd name="connsiteX315" fmla="*/ 8604 w 10000"/>
                <a:gd name="connsiteY315" fmla="*/ 4210 h 10000"/>
                <a:gd name="connsiteX316" fmla="*/ 8550 w 10000"/>
                <a:gd name="connsiteY316" fmla="*/ 4056 h 10000"/>
                <a:gd name="connsiteX317" fmla="*/ 8481 w 10000"/>
                <a:gd name="connsiteY317" fmla="*/ 4138 h 10000"/>
                <a:gd name="connsiteX318" fmla="*/ 8389 w 10000"/>
                <a:gd name="connsiteY318" fmla="*/ 4107 h 10000"/>
                <a:gd name="connsiteX319" fmla="*/ 8352 w 10000"/>
                <a:gd name="connsiteY319" fmla="*/ 4406 h 10000"/>
                <a:gd name="connsiteX320" fmla="*/ 8481 w 10000"/>
                <a:gd name="connsiteY320" fmla="*/ 4655 h 10000"/>
                <a:gd name="connsiteX321" fmla="*/ 8405 w 10000"/>
                <a:gd name="connsiteY321" fmla="*/ 4830 h 10000"/>
                <a:gd name="connsiteX322" fmla="*/ 8225 w 10000"/>
                <a:gd name="connsiteY322" fmla="*/ 4799 h 10000"/>
                <a:gd name="connsiteX323" fmla="*/ 8209 w 10000"/>
                <a:gd name="connsiteY323" fmla="*/ 4655 h 10000"/>
                <a:gd name="connsiteX324" fmla="*/ 8102 w 10000"/>
                <a:gd name="connsiteY324" fmla="*/ 4634 h 10000"/>
                <a:gd name="connsiteX325" fmla="*/ 7641 w 10000"/>
                <a:gd name="connsiteY325" fmla="*/ 4779 h 10000"/>
                <a:gd name="connsiteX326" fmla="*/ 7610 w 10000"/>
                <a:gd name="connsiteY326" fmla="*/ 5005 h 10000"/>
                <a:gd name="connsiteX327" fmla="*/ 7550 w 10000"/>
                <a:gd name="connsiteY327" fmla="*/ 5666 h 10000"/>
                <a:gd name="connsiteX328" fmla="*/ 7496 w 10000"/>
                <a:gd name="connsiteY328" fmla="*/ 5965 h 10000"/>
                <a:gd name="connsiteX329" fmla="*/ 7701 w 10000"/>
                <a:gd name="connsiteY329" fmla="*/ 6161 h 10000"/>
                <a:gd name="connsiteX330" fmla="*/ 7745 w 10000"/>
                <a:gd name="connsiteY330" fmla="*/ 6243 h 10000"/>
                <a:gd name="connsiteX331" fmla="*/ 7771 w 10000"/>
                <a:gd name="connsiteY331" fmla="*/ 6285 h 10000"/>
                <a:gd name="connsiteX332" fmla="*/ 7793 w 10000"/>
                <a:gd name="connsiteY332" fmla="*/ 6068 h 10000"/>
                <a:gd name="connsiteX333" fmla="*/ 7912 w 10000"/>
                <a:gd name="connsiteY333" fmla="*/ 6089 h 10000"/>
                <a:gd name="connsiteX334" fmla="*/ 8004 w 10000"/>
                <a:gd name="connsiteY334" fmla="*/ 6367 h 10000"/>
                <a:gd name="connsiteX335" fmla="*/ 8064 w 10000"/>
                <a:gd name="connsiteY335" fmla="*/ 6616 h 10000"/>
                <a:gd name="connsiteX336" fmla="*/ 8111 w 10000"/>
                <a:gd name="connsiteY336" fmla="*/ 6781 h 10000"/>
                <a:gd name="connsiteX337" fmla="*/ 8048 w 10000"/>
                <a:gd name="connsiteY337" fmla="*/ 6491 h 10000"/>
                <a:gd name="connsiteX338" fmla="*/ 8124 w 10000"/>
                <a:gd name="connsiteY338" fmla="*/ 6336 h 10000"/>
                <a:gd name="connsiteX339" fmla="*/ 8177 w 10000"/>
                <a:gd name="connsiteY339" fmla="*/ 6512 h 10000"/>
                <a:gd name="connsiteX340" fmla="*/ 8300 w 10000"/>
                <a:gd name="connsiteY340" fmla="*/ 6987 h 10000"/>
                <a:gd name="connsiteX341" fmla="*/ 8361 w 10000"/>
                <a:gd name="connsiteY341" fmla="*/ 7152 h 10000"/>
                <a:gd name="connsiteX342" fmla="*/ 8490 w 10000"/>
                <a:gd name="connsiteY342" fmla="*/ 7482 h 10000"/>
                <a:gd name="connsiteX343" fmla="*/ 8604 w 10000"/>
                <a:gd name="connsiteY343" fmla="*/ 7854 h 10000"/>
                <a:gd name="connsiteX344" fmla="*/ 8474 w 10000"/>
                <a:gd name="connsiteY344" fmla="*/ 7647 h 10000"/>
                <a:gd name="connsiteX345" fmla="*/ 8443 w 10000"/>
                <a:gd name="connsiteY345" fmla="*/ 7678 h 10000"/>
                <a:gd name="connsiteX346" fmla="*/ 8512 w 10000"/>
                <a:gd name="connsiteY346" fmla="*/ 8050 h 10000"/>
                <a:gd name="connsiteX347" fmla="*/ 8588 w 10000"/>
                <a:gd name="connsiteY347" fmla="*/ 8266 h 10000"/>
                <a:gd name="connsiteX348" fmla="*/ 8642 w 10000"/>
                <a:gd name="connsiteY348" fmla="*/ 8472 h 10000"/>
                <a:gd name="connsiteX349" fmla="*/ 8566 w 10000"/>
                <a:gd name="connsiteY349" fmla="*/ 8421 h 10000"/>
                <a:gd name="connsiteX350" fmla="*/ 8556 w 10000"/>
                <a:gd name="connsiteY350" fmla="*/ 8669 h 10000"/>
                <a:gd name="connsiteX351" fmla="*/ 8497 w 10000"/>
                <a:gd name="connsiteY351" fmla="*/ 8493 h 10000"/>
                <a:gd name="connsiteX352" fmla="*/ 8481 w 10000"/>
                <a:gd name="connsiteY352" fmla="*/ 8421 h 10000"/>
                <a:gd name="connsiteX353" fmla="*/ 8361 w 10000"/>
                <a:gd name="connsiteY353" fmla="*/ 7751 h 10000"/>
                <a:gd name="connsiteX354" fmla="*/ 8322 w 10000"/>
                <a:gd name="connsiteY354" fmla="*/ 7524 h 10000"/>
                <a:gd name="connsiteX355" fmla="*/ 8291 w 10000"/>
                <a:gd name="connsiteY355" fmla="*/ 7378 h 10000"/>
                <a:gd name="connsiteX356" fmla="*/ 8275 w 10000"/>
                <a:gd name="connsiteY356" fmla="*/ 7306 h 10000"/>
                <a:gd name="connsiteX357" fmla="*/ 8139 w 10000"/>
                <a:gd name="connsiteY357" fmla="*/ 6863 h 10000"/>
                <a:gd name="connsiteX358" fmla="*/ 8199 w 10000"/>
                <a:gd name="connsiteY358" fmla="*/ 7451 h 10000"/>
                <a:gd name="connsiteX359" fmla="*/ 8247 w 10000"/>
                <a:gd name="connsiteY359" fmla="*/ 7998 h 10000"/>
                <a:gd name="connsiteX360" fmla="*/ 8177 w 10000"/>
                <a:gd name="connsiteY360" fmla="*/ 9133 h 10000"/>
                <a:gd name="connsiteX361" fmla="*/ 8124 w 10000"/>
                <a:gd name="connsiteY361" fmla="*/ 9484 h 10000"/>
                <a:gd name="connsiteX362" fmla="*/ 7972 w 10000"/>
                <a:gd name="connsiteY362" fmla="*/ 9432 h 10000"/>
                <a:gd name="connsiteX363" fmla="*/ 7897 w 10000"/>
                <a:gd name="connsiteY363" fmla="*/ 9660 h 10000"/>
                <a:gd name="connsiteX364" fmla="*/ 7868 w 10000"/>
                <a:gd name="connsiteY364" fmla="*/ 9588 h 10000"/>
                <a:gd name="connsiteX365" fmla="*/ 7884 w 10000"/>
                <a:gd name="connsiteY365" fmla="*/ 9536 h 10000"/>
                <a:gd name="connsiteX366" fmla="*/ 7897 w 10000"/>
                <a:gd name="connsiteY366" fmla="*/ 9380 h 10000"/>
                <a:gd name="connsiteX367" fmla="*/ 7884 w 10000"/>
                <a:gd name="connsiteY367" fmla="*/ 9236 h 10000"/>
                <a:gd name="connsiteX368" fmla="*/ 7793 w 10000"/>
                <a:gd name="connsiteY368" fmla="*/ 8865 h 10000"/>
                <a:gd name="connsiteX369" fmla="*/ 7831 w 10000"/>
                <a:gd name="connsiteY369" fmla="*/ 8741 h 10000"/>
                <a:gd name="connsiteX370" fmla="*/ 7928 w 10000"/>
                <a:gd name="connsiteY370" fmla="*/ 8844 h 10000"/>
                <a:gd name="connsiteX371" fmla="*/ 7912 w 10000"/>
                <a:gd name="connsiteY371" fmla="*/ 8318 h 10000"/>
                <a:gd name="connsiteX372" fmla="*/ 7906 w 10000"/>
                <a:gd name="connsiteY372" fmla="*/ 8019 h 10000"/>
                <a:gd name="connsiteX373" fmla="*/ 7846 w 10000"/>
                <a:gd name="connsiteY373" fmla="*/ 7802 h 10000"/>
                <a:gd name="connsiteX374" fmla="*/ 7723 w 10000"/>
                <a:gd name="connsiteY374" fmla="*/ 8050 h 10000"/>
                <a:gd name="connsiteX375" fmla="*/ 7619 w 10000"/>
                <a:gd name="connsiteY375" fmla="*/ 8019 h 10000"/>
                <a:gd name="connsiteX376" fmla="*/ 7528 w 10000"/>
                <a:gd name="connsiteY376" fmla="*/ 7699 h 10000"/>
                <a:gd name="connsiteX377" fmla="*/ 7355 w 10000"/>
                <a:gd name="connsiteY377" fmla="*/ 7482 h 10000"/>
                <a:gd name="connsiteX378" fmla="*/ 7279 w 10000"/>
                <a:gd name="connsiteY378" fmla="*/ 7482 h 10000"/>
                <a:gd name="connsiteX379" fmla="*/ 7080 w 10000"/>
                <a:gd name="connsiteY379" fmla="*/ 6781 h 10000"/>
                <a:gd name="connsiteX380" fmla="*/ 6901 w 10000"/>
                <a:gd name="connsiteY380" fmla="*/ 6460 h 10000"/>
                <a:gd name="connsiteX381" fmla="*/ 6724 w 10000"/>
                <a:gd name="connsiteY381" fmla="*/ 6336 h 10000"/>
                <a:gd name="connsiteX382" fmla="*/ 6583 w 10000"/>
                <a:gd name="connsiteY382" fmla="*/ 6408 h 10000"/>
                <a:gd name="connsiteX383" fmla="*/ 6567 w 10000"/>
                <a:gd name="connsiteY383" fmla="*/ 6585 h 10000"/>
                <a:gd name="connsiteX384" fmla="*/ 6664 w 10000"/>
                <a:gd name="connsiteY384" fmla="*/ 6760 h 10000"/>
                <a:gd name="connsiteX385" fmla="*/ 6636 w 10000"/>
                <a:gd name="connsiteY385" fmla="*/ 6935 h 10000"/>
                <a:gd name="connsiteX386" fmla="*/ 6636 w 10000"/>
                <a:gd name="connsiteY386" fmla="*/ 7399 h 10000"/>
                <a:gd name="connsiteX387" fmla="*/ 6560 w 10000"/>
                <a:gd name="connsiteY387" fmla="*/ 7482 h 10000"/>
                <a:gd name="connsiteX388" fmla="*/ 6485 w 10000"/>
                <a:gd name="connsiteY388" fmla="*/ 7378 h 10000"/>
                <a:gd name="connsiteX389" fmla="*/ 6400 w 10000"/>
                <a:gd name="connsiteY389" fmla="*/ 7399 h 10000"/>
                <a:gd name="connsiteX390" fmla="*/ 6334 w 10000"/>
                <a:gd name="connsiteY390" fmla="*/ 7275 h 10000"/>
                <a:gd name="connsiteX391" fmla="*/ 6258 w 10000"/>
                <a:gd name="connsiteY391" fmla="*/ 7358 h 10000"/>
                <a:gd name="connsiteX392" fmla="*/ 6220 w 10000"/>
                <a:gd name="connsiteY392" fmla="*/ 7524 h 10000"/>
                <a:gd name="connsiteX393" fmla="*/ 6081 w 10000"/>
                <a:gd name="connsiteY393" fmla="*/ 7606 h 10000"/>
                <a:gd name="connsiteX394" fmla="*/ 5892 w 10000"/>
                <a:gd name="connsiteY394" fmla="*/ 7575 h 10000"/>
                <a:gd name="connsiteX395" fmla="*/ 5855 w 10000"/>
                <a:gd name="connsiteY395" fmla="*/ 7327 h 10000"/>
                <a:gd name="connsiteX396" fmla="*/ 5643 w 10000"/>
                <a:gd name="connsiteY396" fmla="*/ 7255 h 10000"/>
                <a:gd name="connsiteX397" fmla="*/ 5539 w 10000"/>
                <a:gd name="connsiteY397" fmla="*/ 7358 h 10000"/>
                <a:gd name="connsiteX398" fmla="*/ 5416 w 10000"/>
                <a:gd name="connsiteY398" fmla="*/ 7203 h 10000"/>
                <a:gd name="connsiteX399" fmla="*/ 5372 w 10000"/>
                <a:gd name="connsiteY399"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972 w 10000"/>
                <a:gd name="connsiteY8" fmla="*/ 7152 h 10000"/>
                <a:gd name="connsiteX9" fmla="*/ 3887 w 10000"/>
                <a:gd name="connsiteY9" fmla="*/ 6956 h 10000"/>
                <a:gd name="connsiteX10" fmla="*/ 3843 w 10000"/>
                <a:gd name="connsiteY10" fmla="*/ 7183 h 10000"/>
                <a:gd name="connsiteX11" fmla="*/ 3584 w 10000"/>
                <a:gd name="connsiteY11" fmla="*/ 6388 h 10000"/>
                <a:gd name="connsiteX12" fmla="*/ 3471 w 10000"/>
                <a:gd name="connsiteY12" fmla="*/ 6212 h 10000"/>
                <a:gd name="connsiteX13" fmla="*/ 3496 w 10000"/>
                <a:gd name="connsiteY13" fmla="*/ 5965 h 10000"/>
                <a:gd name="connsiteX14" fmla="*/ 3291 w 10000"/>
                <a:gd name="connsiteY14" fmla="*/ 6367 h 10000"/>
                <a:gd name="connsiteX15" fmla="*/ 3244 w 10000"/>
                <a:gd name="connsiteY15" fmla="*/ 6161 h 10000"/>
                <a:gd name="connsiteX16" fmla="*/ 3093 w 10000"/>
                <a:gd name="connsiteY16" fmla="*/ 6161 h 10000"/>
                <a:gd name="connsiteX17" fmla="*/ 3080 w 10000"/>
                <a:gd name="connsiteY17" fmla="*/ 5944 h 10000"/>
                <a:gd name="connsiteX18" fmla="*/ 2995 w 10000"/>
                <a:gd name="connsiteY18" fmla="*/ 5821 h 10000"/>
                <a:gd name="connsiteX19" fmla="*/ 2897 w 10000"/>
                <a:gd name="connsiteY19" fmla="*/ 5790 h 10000"/>
                <a:gd name="connsiteX20" fmla="*/ 2828 w 10000"/>
                <a:gd name="connsiteY20" fmla="*/ 5996 h 10000"/>
                <a:gd name="connsiteX21" fmla="*/ 2633 w 10000"/>
                <a:gd name="connsiteY21" fmla="*/ 6120 h 10000"/>
                <a:gd name="connsiteX22" fmla="*/ 2412 w 10000"/>
                <a:gd name="connsiteY22" fmla="*/ 6212 h 10000"/>
                <a:gd name="connsiteX23" fmla="*/ 2443 w 10000"/>
                <a:gd name="connsiteY23" fmla="*/ 6408 h 10000"/>
                <a:gd name="connsiteX24" fmla="*/ 2525 w 10000"/>
                <a:gd name="connsiteY24" fmla="*/ 6512 h 10000"/>
                <a:gd name="connsiteX25" fmla="*/ 2428 w 10000"/>
                <a:gd name="connsiteY25" fmla="*/ 6512 h 10000"/>
                <a:gd name="connsiteX26" fmla="*/ 2406 w 10000"/>
                <a:gd name="connsiteY26" fmla="*/ 6832 h 10000"/>
                <a:gd name="connsiteX27" fmla="*/ 2535 w 10000"/>
                <a:gd name="connsiteY27" fmla="*/ 6987 h 10000"/>
                <a:gd name="connsiteX28" fmla="*/ 2497 w 10000"/>
                <a:gd name="connsiteY28" fmla="*/ 7183 h 10000"/>
                <a:gd name="connsiteX29" fmla="*/ 2384 w 10000"/>
                <a:gd name="connsiteY29" fmla="*/ 7183 h 10000"/>
                <a:gd name="connsiteX30" fmla="*/ 2308 w 10000"/>
                <a:gd name="connsiteY30" fmla="*/ 7028 h 10000"/>
                <a:gd name="connsiteX31" fmla="*/ 2147 w 10000"/>
                <a:gd name="connsiteY31" fmla="*/ 7131 h 10000"/>
                <a:gd name="connsiteX32" fmla="*/ 2109 w 10000"/>
                <a:gd name="connsiteY32" fmla="*/ 7203 h 10000"/>
                <a:gd name="connsiteX33" fmla="*/ 1983 w 10000"/>
                <a:gd name="connsiteY33" fmla="*/ 7028 h 10000"/>
                <a:gd name="connsiteX34" fmla="*/ 1854 w 10000"/>
                <a:gd name="connsiteY34" fmla="*/ 6884 h 10000"/>
                <a:gd name="connsiteX35" fmla="*/ 1741 w 10000"/>
                <a:gd name="connsiteY35" fmla="*/ 6863 h 10000"/>
                <a:gd name="connsiteX36" fmla="*/ 1610 w 10000"/>
                <a:gd name="connsiteY36" fmla="*/ 7183 h 10000"/>
                <a:gd name="connsiteX37" fmla="*/ 1655 w 10000"/>
                <a:gd name="connsiteY37" fmla="*/ 7430 h 10000"/>
                <a:gd name="connsiteX38" fmla="*/ 1604 w 10000"/>
                <a:gd name="connsiteY38" fmla="*/ 7430 h 10000"/>
                <a:gd name="connsiteX39" fmla="*/ 1551 w 10000"/>
                <a:gd name="connsiteY39" fmla="*/ 7255 h 10000"/>
                <a:gd name="connsiteX40" fmla="*/ 1513 w 10000"/>
                <a:gd name="connsiteY40" fmla="*/ 7430 h 10000"/>
                <a:gd name="connsiteX41" fmla="*/ 1519 w 10000"/>
                <a:gd name="connsiteY41" fmla="*/ 7854 h 10000"/>
                <a:gd name="connsiteX42" fmla="*/ 1604 w 10000"/>
                <a:gd name="connsiteY42" fmla="*/ 8070 h 10000"/>
                <a:gd name="connsiteX43" fmla="*/ 1648 w 10000"/>
                <a:gd name="connsiteY43" fmla="*/ 8019 h 10000"/>
                <a:gd name="connsiteX44" fmla="*/ 1741 w 10000"/>
                <a:gd name="connsiteY44" fmla="*/ 8493 h 10000"/>
                <a:gd name="connsiteX45" fmla="*/ 1610 w 10000"/>
                <a:gd name="connsiteY45" fmla="*/ 8669 h 10000"/>
                <a:gd name="connsiteX46" fmla="*/ 1595 w 10000"/>
                <a:gd name="connsiteY46" fmla="*/ 9009 h 10000"/>
                <a:gd name="connsiteX47" fmla="*/ 1664 w 10000"/>
                <a:gd name="connsiteY47" fmla="*/ 9236 h 10000"/>
                <a:gd name="connsiteX48" fmla="*/ 1664 w 10000"/>
                <a:gd name="connsiteY48" fmla="*/ 9484 h 10000"/>
                <a:gd name="connsiteX49" fmla="*/ 1769 w 10000"/>
                <a:gd name="connsiteY49" fmla="*/ 9835 h 10000"/>
                <a:gd name="connsiteX50" fmla="*/ 1703 w 10000"/>
                <a:gd name="connsiteY50" fmla="*/ 10000 h 10000"/>
                <a:gd name="connsiteX51" fmla="*/ 1604 w 10000"/>
                <a:gd name="connsiteY51" fmla="*/ 9753 h 10000"/>
                <a:gd name="connsiteX52" fmla="*/ 1465 w 10000"/>
                <a:gd name="connsiteY52" fmla="*/ 9505 h 10000"/>
                <a:gd name="connsiteX53" fmla="*/ 1406 w 10000"/>
                <a:gd name="connsiteY53" fmla="*/ 9588 h 10000"/>
                <a:gd name="connsiteX54" fmla="*/ 1308 w 10000"/>
                <a:gd name="connsiteY54" fmla="*/ 9380 h 10000"/>
                <a:gd name="connsiteX55" fmla="*/ 1097 w 10000"/>
                <a:gd name="connsiteY55" fmla="*/ 9339 h 10000"/>
                <a:gd name="connsiteX56" fmla="*/ 848 w 10000"/>
                <a:gd name="connsiteY56" fmla="*/ 8813 h 10000"/>
                <a:gd name="connsiteX57" fmla="*/ 914 w 10000"/>
                <a:gd name="connsiteY57" fmla="*/ 8721 h 10000"/>
                <a:gd name="connsiteX58" fmla="*/ 961 w 10000"/>
                <a:gd name="connsiteY58" fmla="*/ 8493 h 10000"/>
                <a:gd name="connsiteX59" fmla="*/ 908 w 10000"/>
                <a:gd name="connsiteY59" fmla="*/ 8390 h 10000"/>
                <a:gd name="connsiteX60" fmla="*/ 1021 w 10000"/>
                <a:gd name="connsiteY60" fmla="*/ 8245 h 10000"/>
                <a:gd name="connsiteX61" fmla="*/ 945 w 10000"/>
                <a:gd name="connsiteY61" fmla="*/ 8194 h 10000"/>
                <a:gd name="connsiteX62" fmla="*/ 958 w 10000"/>
                <a:gd name="connsiteY62" fmla="*/ 8091 h 10000"/>
                <a:gd name="connsiteX63" fmla="*/ 1005 w 10000"/>
                <a:gd name="connsiteY63" fmla="*/ 8111 h 10000"/>
                <a:gd name="connsiteX64" fmla="*/ 1059 w 10000"/>
                <a:gd name="connsiteY64" fmla="*/ 8019 h 10000"/>
                <a:gd name="connsiteX65" fmla="*/ 1034 w 10000"/>
                <a:gd name="connsiteY65" fmla="*/ 7864 h 10000"/>
                <a:gd name="connsiteX66" fmla="*/ 1043 w 10000"/>
                <a:gd name="connsiteY66" fmla="*/ 7503 h 10000"/>
                <a:gd name="connsiteX67" fmla="*/ 930 w 10000"/>
                <a:gd name="connsiteY67" fmla="*/ 7440 h 10000"/>
                <a:gd name="connsiteX68" fmla="*/ 832 w 10000"/>
                <a:gd name="connsiteY68" fmla="*/ 7286 h 10000"/>
                <a:gd name="connsiteX69" fmla="*/ 700 w 10000"/>
                <a:gd name="connsiteY69" fmla="*/ 7275 h 10000"/>
                <a:gd name="connsiteX70" fmla="*/ 684 w 10000"/>
                <a:gd name="connsiteY70" fmla="*/ 7090 h 10000"/>
                <a:gd name="connsiteX71" fmla="*/ 596 w 10000"/>
                <a:gd name="connsiteY71" fmla="*/ 6945 h 10000"/>
                <a:gd name="connsiteX72" fmla="*/ 615 w 10000"/>
                <a:gd name="connsiteY72" fmla="*/ 6822 h 10000"/>
                <a:gd name="connsiteX73" fmla="*/ 561 w 10000"/>
                <a:gd name="connsiteY73" fmla="*/ 6698 h 10000"/>
                <a:gd name="connsiteX74" fmla="*/ 457 w 10000"/>
                <a:gd name="connsiteY74" fmla="*/ 6698 h 10000"/>
                <a:gd name="connsiteX75" fmla="*/ 425 w 10000"/>
                <a:gd name="connsiteY75" fmla="*/ 6791 h 10000"/>
                <a:gd name="connsiteX76" fmla="*/ 400 w 10000"/>
                <a:gd name="connsiteY76" fmla="*/ 6750 h 10000"/>
                <a:gd name="connsiteX77" fmla="*/ 378 w 10000"/>
                <a:gd name="connsiteY77" fmla="*/ 6439 h 10000"/>
                <a:gd name="connsiteX78" fmla="*/ 419 w 10000"/>
                <a:gd name="connsiteY78" fmla="*/ 6470 h 10000"/>
                <a:gd name="connsiteX79" fmla="*/ 466 w 10000"/>
                <a:gd name="connsiteY79" fmla="*/ 6347 h 10000"/>
                <a:gd name="connsiteX80" fmla="*/ 400 w 10000"/>
                <a:gd name="connsiteY80" fmla="*/ 6233 h 10000"/>
                <a:gd name="connsiteX81" fmla="*/ 315 w 10000"/>
                <a:gd name="connsiteY81" fmla="*/ 6017 h 10000"/>
                <a:gd name="connsiteX82" fmla="*/ 334 w 10000"/>
                <a:gd name="connsiteY82" fmla="*/ 5821 h 10000"/>
                <a:gd name="connsiteX83" fmla="*/ 274 w 10000"/>
                <a:gd name="connsiteY83" fmla="*/ 5697 h 10000"/>
                <a:gd name="connsiteX84" fmla="*/ 227 w 10000"/>
                <a:gd name="connsiteY84" fmla="*/ 5728 h 10000"/>
                <a:gd name="connsiteX85" fmla="*/ 202 w 10000"/>
                <a:gd name="connsiteY85" fmla="*/ 5604 h 10000"/>
                <a:gd name="connsiteX86" fmla="*/ 164 w 10000"/>
                <a:gd name="connsiteY86" fmla="*/ 5645 h 10000"/>
                <a:gd name="connsiteX87" fmla="*/ 117 w 10000"/>
                <a:gd name="connsiteY87" fmla="*/ 5604 h 10000"/>
                <a:gd name="connsiteX88" fmla="*/ 69 w 10000"/>
                <a:gd name="connsiteY88" fmla="*/ 5181 h 10000"/>
                <a:gd name="connsiteX89" fmla="*/ 85 w 10000"/>
                <a:gd name="connsiteY89" fmla="*/ 5057 h 10000"/>
                <a:gd name="connsiteX90" fmla="*/ 41 w 10000"/>
                <a:gd name="connsiteY90" fmla="*/ 4892 h 10000"/>
                <a:gd name="connsiteX91" fmla="*/ 66 w 10000"/>
                <a:gd name="connsiteY91" fmla="*/ 4655 h 10000"/>
                <a:gd name="connsiteX92" fmla="*/ 211 w 10000"/>
                <a:gd name="connsiteY92" fmla="*/ 4510 h 10000"/>
                <a:gd name="connsiteX93" fmla="*/ 129 w 10000"/>
                <a:gd name="connsiteY93" fmla="*/ 4406 h 10000"/>
                <a:gd name="connsiteX94" fmla="*/ 82 w 10000"/>
                <a:gd name="connsiteY94" fmla="*/ 4283 h 10000"/>
                <a:gd name="connsiteX95" fmla="*/ 205 w 10000"/>
                <a:gd name="connsiteY95" fmla="*/ 3912 h 10000"/>
                <a:gd name="connsiteX96" fmla="*/ 249 w 10000"/>
                <a:gd name="connsiteY96" fmla="*/ 3664 h 10000"/>
                <a:gd name="connsiteX97" fmla="*/ 151 w 10000"/>
                <a:gd name="connsiteY97" fmla="*/ 3488 h 10000"/>
                <a:gd name="connsiteX98" fmla="*/ 189 w 10000"/>
                <a:gd name="connsiteY98" fmla="*/ 3344 h 10000"/>
                <a:gd name="connsiteX99" fmla="*/ 113 w 10000"/>
                <a:gd name="connsiteY99" fmla="*/ 3148 h 10000"/>
                <a:gd name="connsiteX100" fmla="*/ 113 w 10000"/>
                <a:gd name="connsiteY100" fmla="*/ 2972 h 10000"/>
                <a:gd name="connsiteX101" fmla="*/ 60 w 10000"/>
                <a:gd name="connsiteY101" fmla="*/ 2622 h 10000"/>
                <a:gd name="connsiteX102" fmla="*/ 98 w 10000"/>
                <a:gd name="connsiteY102" fmla="*/ 2404 h 10000"/>
                <a:gd name="connsiteX103" fmla="*/ 38 w 10000"/>
                <a:gd name="connsiteY103" fmla="*/ 2301 h 10000"/>
                <a:gd name="connsiteX104" fmla="*/ 0 w 10000"/>
                <a:gd name="connsiteY104" fmla="*/ 2178 h 10000"/>
                <a:gd name="connsiteX105" fmla="*/ 54 w 10000"/>
                <a:gd name="connsiteY105" fmla="*/ 1951 h 10000"/>
                <a:gd name="connsiteX106" fmla="*/ 120 w 10000"/>
                <a:gd name="connsiteY106" fmla="*/ 1910 h 10000"/>
                <a:gd name="connsiteX107" fmla="*/ 195 w 10000"/>
                <a:gd name="connsiteY107" fmla="*/ 1858 h 10000"/>
                <a:gd name="connsiteX108" fmla="*/ 309 w 10000"/>
                <a:gd name="connsiteY108" fmla="*/ 1951 h 10000"/>
                <a:gd name="connsiteX109" fmla="*/ 482 w 10000"/>
                <a:gd name="connsiteY109" fmla="*/ 2054 h 10000"/>
                <a:gd name="connsiteX110" fmla="*/ 633 w 10000"/>
                <a:gd name="connsiteY110" fmla="*/ 2229 h 10000"/>
                <a:gd name="connsiteX111" fmla="*/ 756 w 10000"/>
                <a:gd name="connsiteY111" fmla="*/ 2373 h 10000"/>
                <a:gd name="connsiteX112" fmla="*/ 725 w 10000"/>
                <a:gd name="connsiteY112" fmla="*/ 2777 h 10000"/>
                <a:gd name="connsiteX113" fmla="*/ 362 w 10000"/>
                <a:gd name="connsiteY113" fmla="*/ 2673 h 10000"/>
                <a:gd name="connsiteX114" fmla="*/ 243 w 10000"/>
                <a:gd name="connsiteY114" fmla="*/ 2550 h 10000"/>
                <a:gd name="connsiteX115" fmla="*/ 287 w 10000"/>
                <a:gd name="connsiteY115" fmla="*/ 2622 h 10000"/>
                <a:gd name="connsiteX116" fmla="*/ 331 w 10000"/>
                <a:gd name="connsiteY116" fmla="*/ 2797 h 10000"/>
                <a:gd name="connsiteX117" fmla="*/ 400 w 10000"/>
                <a:gd name="connsiteY117" fmla="*/ 2921 h 10000"/>
                <a:gd name="connsiteX118" fmla="*/ 416 w 10000"/>
                <a:gd name="connsiteY118" fmla="*/ 3189 h 10000"/>
                <a:gd name="connsiteX119" fmla="*/ 507 w 10000"/>
                <a:gd name="connsiteY119" fmla="*/ 3313 h 10000"/>
                <a:gd name="connsiteX120" fmla="*/ 583 w 10000"/>
                <a:gd name="connsiteY120" fmla="*/ 3436 h 10000"/>
                <a:gd name="connsiteX121" fmla="*/ 605 w 10000"/>
                <a:gd name="connsiteY121" fmla="*/ 3467 h 10000"/>
                <a:gd name="connsiteX122" fmla="*/ 649 w 10000"/>
                <a:gd name="connsiteY122" fmla="*/ 3436 h 10000"/>
                <a:gd name="connsiteX123" fmla="*/ 633 w 10000"/>
                <a:gd name="connsiteY123" fmla="*/ 3364 h 10000"/>
                <a:gd name="connsiteX124" fmla="*/ 545 w 10000"/>
                <a:gd name="connsiteY124" fmla="*/ 3189 h 10000"/>
                <a:gd name="connsiteX125" fmla="*/ 801 w 10000"/>
                <a:gd name="connsiteY125" fmla="*/ 3344 h 10000"/>
                <a:gd name="connsiteX126" fmla="*/ 810 w 10000"/>
                <a:gd name="connsiteY126" fmla="*/ 3271 h 10000"/>
                <a:gd name="connsiteX127" fmla="*/ 785 w 10000"/>
                <a:gd name="connsiteY127" fmla="*/ 3220 h 10000"/>
                <a:gd name="connsiteX128" fmla="*/ 741 w 10000"/>
                <a:gd name="connsiteY128" fmla="*/ 2993 h 10000"/>
                <a:gd name="connsiteX129" fmla="*/ 870 w 10000"/>
                <a:gd name="connsiteY129" fmla="*/ 2777 h 10000"/>
                <a:gd name="connsiteX130" fmla="*/ 968 w 10000"/>
                <a:gd name="connsiteY130" fmla="*/ 2921 h 10000"/>
                <a:gd name="connsiteX131" fmla="*/ 999 w 10000"/>
                <a:gd name="connsiteY131" fmla="*/ 2725 h 10000"/>
                <a:gd name="connsiteX132" fmla="*/ 952 w 10000"/>
                <a:gd name="connsiteY132" fmla="*/ 2653 h 10000"/>
                <a:gd name="connsiteX133" fmla="*/ 936 w 10000"/>
                <a:gd name="connsiteY133" fmla="*/ 2281 h 10000"/>
                <a:gd name="connsiteX134" fmla="*/ 914 w 10000"/>
                <a:gd name="connsiteY134" fmla="*/ 2229 h 10000"/>
                <a:gd name="connsiteX135" fmla="*/ 1037 w 10000"/>
                <a:gd name="connsiteY135" fmla="*/ 2250 h 10000"/>
                <a:gd name="connsiteX136" fmla="*/ 1087 w 10000"/>
                <a:gd name="connsiteY136" fmla="*/ 2404 h 10000"/>
                <a:gd name="connsiteX137" fmla="*/ 1021 w 10000"/>
                <a:gd name="connsiteY137" fmla="*/ 2529 h 10000"/>
                <a:gd name="connsiteX138" fmla="*/ 1135 w 10000"/>
                <a:gd name="connsiteY138" fmla="*/ 2694 h 10000"/>
                <a:gd name="connsiteX139" fmla="*/ 1226 w 10000"/>
                <a:gd name="connsiteY139" fmla="*/ 2529 h 10000"/>
                <a:gd name="connsiteX140" fmla="*/ 1339 w 10000"/>
                <a:gd name="connsiteY140" fmla="*/ 2301 h 10000"/>
                <a:gd name="connsiteX141" fmla="*/ 1459 w 10000"/>
                <a:gd name="connsiteY141" fmla="*/ 2157 h 10000"/>
                <a:gd name="connsiteX142" fmla="*/ 1497 w 10000"/>
                <a:gd name="connsiteY142" fmla="*/ 2250 h 10000"/>
                <a:gd name="connsiteX143" fmla="*/ 1807 w 10000"/>
                <a:gd name="connsiteY143" fmla="*/ 2054 h 10000"/>
                <a:gd name="connsiteX144" fmla="*/ 1870 w 10000"/>
                <a:gd name="connsiteY144" fmla="*/ 2250 h 10000"/>
                <a:gd name="connsiteX145" fmla="*/ 1860 w 10000"/>
                <a:gd name="connsiteY145" fmla="*/ 2002 h 10000"/>
                <a:gd name="connsiteX146" fmla="*/ 1778 w 10000"/>
                <a:gd name="connsiteY146" fmla="*/ 1786 h 10000"/>
                <a:gd name="connsiteX147" fmla="*/ 1763 w 10000"/>
                <a:gd name="connsiteY147" fmla="*/ 1703 h 10000"/>
                <a:gd name="connsiteX148" fmla="*/ 1823 w 10000"/>
                <a:gd name="connsiteY148" fmla="*/ 1786 h 10000"/>
                <a:gd name="connsiteX149" fmla="*/ 2034 w 10000"/>
                <a:gd name="connsiteY149" fmla="*/ 1951 h 10000"/>
                <a:gd name="connsiteX150" fmla="*/ 2270 w 10000"/>
                <a:gd name="connsiteY150" fmla="*/ 2126 h 10000"/>
                <a:gd name="connsiteX151" fmla="*/ 2384 w 10000"/>
                <a:gd name="connsiteY151" fmla="*/ 2250 h 10000"/>
                <a:gd name="connsiteX152" fmla="*/ 2421 w 10000"/>
                <a:gd name="connsiteY152" fmla="*/ 2074 h 10000"/>
                <a:gd name="connsiteX153" fmla="*/ 2368 w 10000"/>
                <a:gd name="connsiteY153" fmla="*/ 2033 h 10000"/>
                <a:gd name="connsiteX154" fmla="*/ 2299 w 10000"/>
                <a:gd name="connsiteY154" fmla="*/ 1930 h 10000"/>
                <a:gd name="connsiteX155" fmla="*/ 2254 w 10000"/>
                <a:gd name="connsiteY155" fmla="*/ 1734 h 10000"/>
                <a:gd name="connsiteX156" fmla="*/ 2185 w 10000"/>
                <a:gd name="connsiteY156" fmla="*/ 1486 h 10000"/>
                <a:gd name="connsiteX157" fmla="*/ 2210 w 10000"/>
                <a:gd name="connsiteY157" fmla="*/ 1434 h 10000"/>
                <a:gd name="connsiteX158" fmla="*/ 2232 w 10000"/>
                <a:gd name="connsiteY158" fmla="*/ 1455 h 10000"/>
                <a:gd name="connsiteX159" fmla="*/ 2292 w 10000"/>
                <a:gd name="connsiteY159" fmla="*/ 1115 h 10000"/>
                <a:gd name="connsiteX160" fmla="*/ 2443 w 10000"/>
                <a:gd name="connsiteY160" fmla="*/ 1135 h 10000"/>
                <a:gd name="connsiteX161" fmla="*/ 2488 w 10000"/>
                <a:gd name="connsiteY161" fmla="*/ 1311 h 10000"/>
                <a:gd name="connsiteX162" fmla="*/ 2519 w 10000"/>
                <a:gd name="connsiteY162" fmla="*/ 1538 h 10000"/>
                <a:gd name="connsiteX163" fmla="*/ 2573 w 10000"/>
                <a:gd name="connsiteY163" fmla="*/ 1734 h 10000"/>
                <a:gd name="connsiteX164" fmla="*/ 2670 w 10000"/>
                <a:gd name="connsiteY164" fmla="*/ 2157 h 10000"/>
                <a:gd name="connsiteX165" fmla="*/ 2481 w 10000"/>
                <a:gd name="connsiteY165" fmla="*/ 2673 h 10000"/>
                <a:gd name="connsiteX166" fmla="*/ 2557 w 10000"/>
                <a:gd name="connsiteY166" fmla="*/ 2746 h 10000"/>
                <a:gd name="connsiteX167" fmla="*/ 2655 w 10000"/>
                <a:gd name="connsiteY167" fmla="*/ 2818 h 10000"/>
                <a:gd name="connsiteX168" fmla="*/ 2784 w 10000"/>
                <a:gd name="connsiteY168" fmla="*/ 2622 h 10000"/>
                <a:gd name="connsiteX169" fmla="*/ 2790 w 10000"/>
                <a:gd name="connsiteY169" fmla="*/ 2404 h 10000"/>
                <a:gd name="connsiteX170" fmla="*/ 2746 w 10000"/>
                <a:gd name="connsiteY170" fmla="*/ 2301 h 10000"/>
                <a:gd name="connsiteX171" fmla="*/ 2919 w 10000"/>
                <a:gd name="connsiteY171" fmla="*/ 2250 h 10000"/>
                <a:gd name="connsiteX172" fmla="*/ 2989 w 10000"/>
                <a:gd name="connsiteY172" fmla="*/ 2497 h 10000"/>
                <a:gd name="connsiteX173" fmla="*/ 2989 w 10000"/>
                <a:gd name="connsiteY173" fmla="*/ 2425 h 10000"/>
                <a:gd name="connsiteX174" fmla="*/ 2973 w 10000"/>
                <a:gd name="connsiteY174" fmla="*/ 2353 h 10000"/>
                <a:gd name="connsiteX175" fmla="*/ 2967 w 10000"/>
                <a:gd name="connsiteY175" fmla="*/ 2178 h 10000"/>
                <a:gd name="connsiteX176" fmla="*/ 2800 w 10000"/>
                <a:gd name="connsiteY176" fmla="*/ 1930 h 10000"/>
                <a:gd name="connsiteX177" fmla="*/ 2670 w 10000"/>
                <a:gd name="connsiteY177" fmla="*/ 2002 h 10000"/>
                <a:gd name="connsiteX178" fmla="*/ 2617 w 10000"/>
                <a:gd name="connsiteY178" fmla="*/ 1683 h 10000"/>
                <a:gd name="connsiteX179" fmla="*/ 2563 w 10000"/>
                <a:gd name="connsiteY179" fmla="*/ 1507 h 10000"/>
                <a:gd name="connsiteX180" fmla="*/ 2617 w 10000"/>
                <a:gd name="connsiteY180" fmla="*/ 1331 h 10000"/>
                <a:gd name="connsiteX181" fmla="*/ 2611 w 10000"/>
                <a:gd name="connsiteY181" fmla="*/ 1166 h 10000"/>
                <a:gd name="connsiteX182" fmla="*/ 2588 w 10000"/>
                <a:gd name="connsiteY182" fmla="*/ 1115 h 10000"/>
                <a:gd name="connsiteX183" fmla="*/ 2626 w 10000"/>
                <a:gd name="connsiteY183" fmla="*/ 1115 h 10000"/>
                <a:gd name="connsiteX184" fmla="*/ 2670 w 10000"/>
                <a:gd name="connsiteY184" fmla="*/ 1455 h 10000"/>
                <a:gd name="connsiteX185" fmla="*/ 2891 w 10000"/>
                <a:gd name="connsiteY185" fmla="*/ 1662 h 10000"/>
                <a:gd name="connsiteX186" fmla="*/ 2724 w 10000"/>
                <a:gd name="connsiteY186" fmla="*/ 1383 h 10000"/>
                <a:gd name="connsiteX187" fmla="*/ 3049 w 10000"/>
                <a:gd name="connsiteY187" fmla="*/ 1383 h 10000"/>
                <a:gd name="connsiteX188" fmla="*/ 3102 w 10000"/>
                <a:gd name="connsiteY188" fmla="*/ 1362 h 10000"/>
                <a:gd name="connsiteX189" fmla="*/ 2897 w 10000"/>
                <a:gd name="connsiteY189" fmla="*/ 1115 h 10000"/>
                <a:gd name="connsiteX190" fmla="*/ 2951 w 10000"/>
                <a:gd name="connsiteY190" fmla="*/ 888 h 10000"/>
                <a:gd name="connsiteX191" fmla="*/ 3178 w 10000"/>
                <a:gd name="connsiteY191" fmla="*/ 888 h 10000"/>
                <a:gd name="connsiteX192" fmla="*/ 3156 w 10000"/>
                <a:gd name="connsiteY192" fmla="*/ 713 h 10000"/>
                <a:gd name="connsiteX193" fmla="*/ 3231 w 10000"/>
                <a:gd name="connsiteY193" fmla="*/ 589 h 10000"/>
                <a:gd name="connsiteX194" fmla="*/ 3276 w 10000"/>
                <a:gd name="connsiteY194" fmla="*/ 548 h 10000"/>
                <a:gd name="connsiteX195" fmla="*/ 3443 w 10000"/>
                <a:gd name="connsiteY195" fmla="*/ 423 h 10000"/>
                <a:gd name="connsiteX196" fmla="*/ 3487 w 10000"/>
                <a:gd name="connsiteY196" fmla="*/ 371 h 10000"/>
                <a:gd name="connsiteX197" fmla="*/ 3480 w 10000"/>
                <a:gd name="connsiteY197" fmla="*/ 444 h 10000"/>
                <a:gd name="connsiteX198" fmla="*/ 3660 w 10000"/>
                <a:gd name="connsiteY198" fmla="*/ 371 h 10000"/>
                <a:gd name="connsiteX199" fmla="*/ 3805 w 10000"/>
                <a:gd name="connsiteY199" fmla="*/ 248 h 10000"/>
                <a:gd name="connsiteX200" fmla="*/ 3827 w 10000"/>
                <a:gd name="connsiteY200" fmla="*/ 0 h 10000"/>
                <a:gd name="connsiteX201" fmla="*/ 3988 w 10000"/>
                <a:gd name="connsiteY201" fmla="*/ 21 h 10000"/>
                <a:gd name="connsiteX202" fmla="*/ 3978 w 10000"/>
                <a:gd name="connsiteY202" fmla="*/ 93 h 10000"/>
                <a:gd name="connsiteX203" fmla="*/ 3988 w 10000"/>
                <a:gd name="connsiteY203" fmla="*/ 176 h 10000"/>
                <a:gd name="connsiteX204" fmla="*/ 4085 w 10000"/>
                <a:gd name="connsiteY204" fmla="*/ 248 h 10000"/>
                <a:gd name="connsiteX205" fmla="*/ 4379 w 10000"/>
                <a:gd name="connsiteY205" fmla="*/ 268 h 10000"/>
                <a:gd name="connsiteX206" fmla="*/ 4539 w 10000"/>
                <a:gd name="connsiteY206" fmla="*/ 392 h 10000"/>
                <a:gd name="connsiteX207" fmla="*/ 4486 w 10000"/>
                <a:gd name="connsiteY207" fmla="*/ 795 h 10000"/>
                <a:gd name="connsiteX208" fmla="*/ 4426 w 10000"/>
                <a:gd name="connsiteY208" fmla="*/ 919 h 10000"/>
                <a:gd name="connsiteX209" fmla="*/ 4356 w 10000"/>
                <a:gd name="connsiteY209" fmla="*/ 1043 h 10000"/>
                <a:gd name="connsiteX210" fmla="*/ 4372 w 10000"/>
                <a:gd name="connsiteY210" fmla="*/ 1115 h 10000"/>
                <a:gd name="connsiteX211" fmla="*/ 4583 w 10000"/>
                <a:gd name="connsiteY211" fmla="*/ 919 h 10000"/>
                <a:gd name="connsiteX212" fmla="*/ 5060 w 10000"/>
                <a:gd name="connsiteY212" fmla="*/ 991 h 10000"/>
                <a:gd name="connsiteX213" fmla="*/ 5108 w 10000"/>
                <a:gd name="connsiteY213" fmla="*/ 1063 h 10000"/>
                <a:gd name="connsiteX214" fmla="*/ 5212 w 10000"/>
                <a:gd name="connsiteY214" fmla="*/ 1187 h 10000"/>
                <a:gd name="connsiteX215" fmla="*/ 5357 w 10000"/>
                <a:gd name="connsiteY215" fmla="*/ 919 h 10000"/>
                <a:gd name="connsiteX216" fmla="*/ 5577 w 10000"/>
                <a:gd name="connsiteY216" fmla="*/ 1063 h 10000"/>
                <a:gd name="connsiteX217" fmla="*/ 5643 w 10000"/>
                <a:gd name="connsiteY217" fmla="*/ 1115 h 10000"/>
                <a:gd name="connsiteX218" fmla="*/ 5697 w 10000"/>
                <a:gd name="connsiteY218" fmla="*/ 1166 h 10000"/>
                <a:gd name="connsiteX219" fmla="*/ 5908 w 10000"/>
                <a:gd name="connsiteY219" fmla="*/ 1631 h 10000"/>
                <a:gd name="connsiteX220" fmla="*/ 5984 w 10000"/>
                <a:gd name="connsiteY220" fmla="*/ 1611 h 10000"/>
                <a:gd name="connsiteX221" fmla="*/ 5977 w 10000"/>
                <a:gd name="connsiteY221" fmla="*/ 1507 h 10000"/>
                <a:gd name="connsiteX222" fmla="*/ 5984 w 10000"/>
                <a:gd name="connsiteY222" fmla="*/ 1383 h 10000"/>
                <a:gd name="connsiteX223" fmla="*/ 6091 w 10000"/>
                <a:gd name="connsiteY223" fmla="*/ 1486 h 10000"/>
                <a:gd name="connsiteX224" fmla="*/ 6264 w 10000"/>
                <a:gd name="connsiteY224" fmla="*/ 1507 h 10000"/>
                <a:gd name="connsiteX225" fmla="*/ 6409 w 10000"/>
                <a:gd name="connsiteY225" fmla="*/ 1455 h 10000"/>
                <a:gd name="connsiteX226" fmla="*/ 6340 w 10000"/>
                <a:gd name="connsiteY226" fmla="*/ 1362 h 10000"/>
                <a:gd name="connsiteX227" fmla="*/ 6431 w 10000"/>
                <a:gd name="connsiteY227" fmla="*/ 1084 h 10000"/>
                <a:gd name="connsiteX228" fmla="*/ 6687 w 10000"/>
                <a:gd name="connsiteY228" fmla="*/ 1207 h 10000"/>
                <a:gd name="connsiteX229" fmla="*/ 6945 w 10000"/>
                <a:gd name="connsiteY229" fmla="*/ 1331 h 10000"/>
                <a:gd name="connsiteX230" fmla="*/ 6967 w 10000"/>
                <a:gd name="connsiteY230" fmla="*/ 1362 h 10000"/>
                <a:gd name="connsiteX231" fmla="*/ 7194 w 10000"/>
                <a:gd name="connsiteY231" fmla="*/ 1611 h 10000"/>
                <a:gd name="connsiteX232" fmla="*/ 7367 w 10000"/>
                <a:gd name="connsiteY232" fmla="*/ 1507 h 10000"/>
                <a:gd name="connsiteX233" fmla="*/ 7582 w 10000"/>
                <a:gd name="connsiteY233" fmla="*/ 1538 h 10000"/>
                <a:gd name="connsiteX234" fmla="*/ 7657 w 10000"/>
                <a:gd name="connsiteY234" fmla="*/ 1611 h 10000"/>
                <a:gd name="connsiteX235" fmla="*/ 7928 w 10000"/>
                <a:gd name="connsiteY235" fmla="*/ 1930 h 10000"/>
                <a:gd name="connsiteX236" fmla="*/ 8231 w 10000"/>
                <a:gd name="connsiteY236" fmla="*/ 1879 h 10000"/>
                <a:gd name="connsiteX237" fmla="*/ 8339 w 10000"/>
                <a:gd name="connsiteY237" fmla="*/ 2033 h 10000"/>
                <a:gd name="connsiteX238" fmla="*/ 8490 w 10000"/>
                <a:gd name="connsiteY238" fmla="*/ 2157 h 10000"/>
                <a:gd name="connsiteX239" fmla="*/ 8519 w 10000"/>
                <a:gd name="connsiteY239" fmla="*/ 2105 h 10000"/>
                <a:gd name="connsiteX240" fmla="*/ 8497 w 10000"/>
                <a:gd name="connsiteY240" fmla="*/ 2074 h 10000"/>
                <a:gd name="connsiteX241" fmla="*/ 8383 w 10000"/>
                <a:gd name="connsiteY241" fmla="*/ 1930 h 10000"/>
                <a:gd name="connsiteX242" fmla="*/ 8465 w 10000"/>
                <a:gd name="connsiteY242" fmla="*/ 1755 h 10000"/>
                <a:gd name="connsiteX243" fmla="*/ 8664 w 10000"/>
                <a:gd name="connsiteY243" fmla="*/ 1910 h 10000"/>
                <a:gd name="connsiteX244" fmla="*/ 8950 w 10000"/>
                <a:gd name="connsiteY244" fmla="*/ 1982 h 10000"/>
                <a:gd name="connsiteX245" fmla="*/ 9206 w 10000"/>
                <a:gd name="connsiteY245" fmla="*/ 2260 h 10000"/>
                <a:gd name="connsiteX246" fmla="*/ 9344 w 10000"/>
                <a:gd name="connsiteY246" fmla="*/ 2332 h 10000"/>
                <a:gd name="connsiteX247" fmla="*/ 9451 w 10000"/>
                <a:gd name="connsiteY247" fmla="*/ 2446 h 10000"/>
                <a:gd name="connsiteX248" fmla="*/ 9574 w 10000"/>
                <a:gd name="connsiteY248" fmla="*/ 2632 h 10000"/>
                <a:gd name="connsiteX249" fmla="*/ 9631 w 10000"/>
                <a:gd name="connsiteY249" fmla="*/ 2756 h 10000"/>
                <a:gd name="connsiteX250" fmla="*/ 9726 w 10000"/>
                <a:gd name="connsiteY250" fmla="*/ 2787 h 10000"/>
                <a:gd name="connsiteX251" fmla="*/ 9590 w 10000"/>
                <a:gd name="connsiteY251" fmla="*/ 2570 h 10000"/>
                <a:gd name="connsiteX252" fmla="*/ 9915 w 10000"/>
                <a:gd name="connsiteY252" fmla="*/ 2756 h 10000"/>
                <a:gd name="connsiteX253" fmla="*/ 10000 w 10000"/>
                <a:gd name="connsiteY253" fmla="*/ 3014 h 10000"/>
                <a:gd name="connsiteX254" fmla="*/ 9934 w 10000"/>
                <a:gd name="connsiteY254" fmla="*/ 2941 h 10000"/>
                <a:gd name="connsiteX255" fmla="*/ 9874 w 10000"/>
                <a:gd name="connsiteY255" fmla="*/ 2952 h 10000"/>
                <a:gd name="connsiteX256" fmla="*/ 10000 w 10000"/>
                <a:gd name="connsiteY256" fmla="*/ 3292 h 10000"/>
                <a:gd name="connsiteX257" fmla="*/ 9845 w 10000"/>
                <a:gd name="connsiteY257" fmla="*/ 3220 h 10000"/>
                <a:gd name="connsiteX258" fmla="*/ 9745 w 10000"/>
                <a:gd name="connsiteY258" fmla="*/ 3075 h 10000"/>
                <a:gd name="connsiteX259" fmla="*/ 9641 w 10000"/>
                <a:gd name="connsiteY259" fmla="*/ 2972 h 10000"/>
                <a:gd name="connsiteX260" fmla="*/ 9555 w 10000"/>
                <a:gd name="connsiteY260" fmla="*/ 3003 h 10000"/>
                <a:gd name="connsiteX261" fmla="*/ 9470 w 10000"/>
                <a:gd name="connsiteY261" fmla="*/ 2787 h 10000"/>
                <a:gd name="connsiteX262" fmla="*/ 9366 w 10000"/>
                <a:gd name="connsiteY262" fmla="*/ 2725 h 10000"/>
                <a:gd name="connsiteX263" fmla="*/ 9461 w 10000"/>
                <a:gd name="connsiteY263" fmla="*/ 2972 h 10000"/>
                <a:gd name="connsiteX264" fmla="*/ 9470 w 10000"/>
                <a:gd name="connsiteY264" fmla="*/ 3230 h 10000"/>
                <a:gd name="connsiteX265" fmla="*/ 9288 w 10000"/>
                <a:gd name="connsiteY265" fmla="*/ 3065 h 10000"/>
                <a:gd name="connsiteX266" fmla="*/ 9262 w 10000"/>
                <a:gd name="connsiteY266" fmla="*/ 3230 h 10000"/>
                <a:gd name="connsiteX267" fmla="*/ 9363 w 10000"/>
                <a:gd name="connsiteY267" fmla="*/ 3230 h 10000"/>
                <a:gd name="connsiteX268" fmla="*/ 9451 w 10000"/>
                <a:gd name="connsiteY268" fmla="*/ 3354 h 10000"/>
                <a:gd name="connsiteX269" fmla="*/ 9659 w 10000"/>
                <a:gd name="connsiteY269" fmla="*/ 3685 h 10000"/>
                <a:gd name="connsiteX270" fmla="*/ 9735 w 10000"/>
                <a:gd name="connsiteY270" fmla="*/ 3839 h 10000"/>
                <a:gd name="connsiteX271" fmla="*/ 9552 w 10000"/>
                <a:gd name="connsiteY271" fmla="*/ 3757 h 10000"/>
                <a:gd name="connsiteX272" fmla="*/ 9451 w 10000"/>
                <a:gd name="connsiteY272" fmla="*/ 4025 h 10000"/>
                <a:gd name="connsiteX273" fmla="*/ 9385 w 10000"/>
                <a:gd name="connsiteY273" fmla="*/ 4283 h 10000"/>
                <a:gd name="connsiteX274" fmla="*/ 9376 w 10000"/>
                <a:gd name="connsiteY274" fmla="*/ 4499 h 10000"/>
                <a:gd name="connsiteX275" fmla="*/ 9335 w 10000"/>
                <a:gd name="connsiteY275" fmla="*/ 4303 h 10000"/>
                <a:gd name="connsiteX276" fmla="*/ 9149 w 10000"/>
                <a:gd name="connsiteY276" fmla="*/ 4314 h 10000"/>
                <a:gd name="connsiteX277" fmla="*/ 9155 w 10000"/>
                <a:gd name="connsiteY277" fmla="*/ 4531 h 10000"/>
                <a:gd name="connsiteX278" fmla="*/ 9061 w 10000"/>
                <a:gd name="connsiteY278" fmla="*/ 4365 h 10000"/>
                <a:gd name="connsiteX279" fmla="*/ 9054 w 10000"/>
                <a:gd name="connsiteY279" fmla="*/ 4521 h 10000"/>
                <a:gd name="connsiteX280" fmla="*/ 8998 w 10000"/>
                <a:gd name="connsiteY280" fmla="*/ 4458 h 10000"/>
                <a:gd name="connsiteX281" fmla="*/ 8966 w 10000"/>
                <a:gd name="connsiteY281" fmla="*/ 4562 h 10000"/>
                <a:gd name="connsiteX282" fmla="*/ 9007 w 10000"/>
                <a:gd name="connsiteY282" fmla="*/ 4686 h 10000"/>
                <a:gd name="connsiteX283" fmla="*/ 9004 w 10000"/>
                <a:gd name="connsiteY283" fmla="*/ 4995 h 10000"/>
                <a:gd name="connsiteX284" fmla="*/ 9073 w 10000"/>
                <a:gd name="connsiteY284" fmla="*/ 5211 h 10000"/>
                <a:gd name="connsiteX285" fmla="*/ 9130 w 10000"/>
                <a:gd name="connsiteY285" fmla="*/ 5150 h 10000"/>
                <a:gd name="connsiteX286" fmla="*/ 9158 w 10000"/>
                <a:gd name="connsiteY286" fmla="*/ 5211 h 10000"/>
                <a:gd name="connsiteX287" fmla="*/ 9231 w 10000"/>
                <a:gd name="connsiteY287" fmla="*/ 5428 h 10000"/>
                <a:gd name="connsiteX288" fmla="*/ 9215 w 10000"/>
                <a:gd name="connsiteY288" fmla="*/ 5604 h 10000"/>
                <a:gd name="connsiteX289" fmla="*/ 9221 w 10000"/>
                <a:gd name="connsiteY289" fmla="*/ 5769 h 10000"/>
                <a:gd name="connsiteX290" fmla="*/ 9269 w 10000"/>
                <a:gd name="connsiteY290" fmla="*/ 5883 h 10000"/>
                <a:gd name="connsiteX291" fmla="*/ 9344 w 10000"/>
                <a:gd name="connsiteY291" fmla="*/ 6068 h 10000"/>
                <a:gd name="connsiteX292" fmla="*/ 9269 w 10000"/>
                <a:gd name="connsiteY292" fmla="*/ 6068 h 10000"/>
                <a:gd name="connsiteX293" fmla="*/ 9253 w 10000"/>
                <a:gd name="connsiteY293" fmla="*/ 6223 h 10000"/>
                <a:gd name="connsiteX294" fmla="*/ 9319 w 10000"/>
                <a:gd name="connsiteY294" fmla="*/ 6408 h 10000"/>
                <a:gd name="connsiteX295" fmla="*/ 9250 w 10000"/>
                <a:gd name="connsiteY295" fmla="*/ 6502 h 10000"/>
                <a:gd name="connsiteX296" fmla="*/ 9297 w 10000"/>
                <a:gd name="connsiteY296" fmla="*/ 6729 h 10000"/>
                <a:gd name="connsiteX297" fmla="*/ 9281 w 10000"/>
                <a:gd name="connsiteY297" fmla="*/ 7069 h 10000"/>
                <a:gd name="connsiteX298" fmla="*/ 9061 w 10000"/>
                <a:gd name="connsiteY298" fmla="*/ 6408 h 10000"/>
                <a:gd name="connsiteX299" fmla="*/ 8824 w 10000"/>
                <a:gd name="connsiteY299" fmla="*/ 5759 h 10000"/>
                <a:gd name="connsiteX300" fmla="*/ 8771 w 10000"/>
                <a:gd name="connsiteY300" fmla="*/ 5459 h 10000"/>
                <a:gd name="connsiteX301" fmla="*/ 8768 w 10000"/>
                <a:gd name="connsiteY301" fmla="*/ 5211 h 10000"/>
                <a:gd name="connsiteX302" fmla="*/ 8692 w 10000"/>
                <a:gd name="connsiteY302" fmla="*/ 5047 h 10000"/>
                <a:gd name="connsiteX303" fmla="*/ 8771 w 10000"/>
                <a:gd name="connsiteY303" fmla="*/ 5088 h 10000"/>
                <a:gd name="connsiteX304" fmla="*/ 8809 w 10000"/>
                <a:gd name="connsiteY304" fmla="*/ 5108 h 10000"/>
                <a:gd name="connsiteX305" fmla="*/ 8809 w 10000"/>
                <a:gd name="connsiteY305" fmla="*/ 4840 h 10000"/>
                <a:gd name="connsiteX306" fmla="*/ 8827 w 10000"/>
                <a:gd name="connsiteY306" fmla="*/ 4437 h 10000"/>
                <a:gd name="connsiteX307" fmla="*/ 8853 w 10000"/>
                <a:gd name="connsiteY307" fmla="*/ 4252 h 10000"/>
                <a:gd name="connsiteX308" fmla="*/ 8909 w 10000"/>
                <a:gd name="connsiteY308" fmla="*/ 4221 h 10000"/>
                <a:gd name="connsiteX309" fmla="*/ 8786 w 10000"/>
                <a:gd name="connsiteY309" fmla="*/ 3901 h 10000"/>
                <a:gd name="connsiteX310" fmla="*/ 8853 w 10000"/>
                <a:gd name="connsiteY310" fmla="*/ 3839 h 10000"/>
                <a:gd name="connsiteX311" fmla="*/ 8739 w 10000"/>
                <a:gd name="connsiteY311" fmla="*/ 3788 h 10000"/>
                <a:gd name="connsiteX312" fmla="*/ 8755 w 10000"/>
                <a:gd name="connsiteY312" fmla="*/ 3984 h 10000"/>
                <a:gd name="connsiteX313" fmla="*/ 8692 w 10000"/>
                <a:gd name="connsiteY313" fmla="*/ 4303 h 10000"/>
                <a:gd name="connsiteX314" fmla="*/ 8604 w 10000"/>
                <a:gd name="connsiteY314" fmla="*/ 4210 h 10000"/>
                <a:gd name="connsiteX315" fmla="*/ 8550 w 10000"/>
                <a:gd name="connsiteY315" fmla="*/ 4056 h 10000"/>
                <a:gd name="connsiteX316" fmla="*/ 8481 w 10000"/>
                <a:gd name="connsiteY316" fmla="*/ 4138 h 10000"/>
                <a:gd name="connsiteX317" fmla="*/ 8389 w 10000"/>
                <a:gd name="connsiteY317" fmla="*/ 4107 h 10000"/>
                <a:gd name="connsiteX318" fmla="*/ 8352 w 10000"/>
                <a:gd name="connsiteY318" fmla="*/ 4406 h 10000"/>
                <a:gd name="connsiteX319" fmla="*/ 8481 w 10000"/>
                <a:gd name="connsiteY319" fmla="*/ 4655 h 10000"/>
                <a:gd name="connsiteX320" fmla="*/ 8405 w 10000"/>
                <a:gd name="connsiteY320" fmla="*/ 4830 h 10000"/>
                <a:gd name="connsiteX321" fmla="*/ 8225 w 10000"/>
                <a:gd name="connsiteY321" fmla="*/ 4799 h 10000"/>
                <a:gd name="connsiteX322" fmla="*/ 8209 w 10000"/>
                <a:gd name="connsiteY322" fmla="*/ 4655 h 10000"/>
                <a:gd name="connsiteX323" fmla="*/ 8102 w 10000"/>
                <a:gd name="connsiteY323" fmla="*/ 4634 h 10000"/>
                <a:gd name="connsiteX324" fmla="*/ 7641 w 10000"/>
                <a:gd name="connsiteY324" fmla="*/ 4779 h 10000"/>
                <a:gd name="connsiteX325" fmla="*/ 7610 w 10000"/>
                <a:gd name="connsiteY325" fmla="*/ 5005 h 10000"/>
                <a:gd name="connsiteX326" fmla="*/ 7550 w 10000"/>
                <a:gd name="connsiteY326" fmla="*/ 5666 h 10000"/>
                <a:gd name="connsiteX327" fmla="*/ 7496 w 10000"/>
                <a:gd name="connsiteY327" fmla="*/ 5965 h 10000"/>
                <a:gd name="connsiteX328" fmla="*/ 7701 w 10000"/>
                <a:gd name="connsiteY328" fmla="*/ 6161 h 10000"/>
                <a:gd name="connsiteX329" fmla="*/ 7745 w 10000"/>
                <a:gd name="connsiteY329" fmla="*/ 6243 h 10000"/>
                <a:gd name="connsiteX330" fmla="*/ 7771 w 10000"/>
                <a:gd name="connsiteY330" fmla="*/ 6285 h 10000"/>
                <a:gd name="connsiteX331" fmla="*/ 7793 w 10000"/>
                <a:gd name="connsiteY331" fmla="*/ 6068 h 10000"/>
                <a:gd name="connsiteX332" fmla="*/ 7912 w 10000"/>
                <a:gd name="connsiteY332" fmla="*/ 6089 h 10000"/>
                <a:gd name="connsiteX333" fmla="*/ 8004 w 10000"/>
                <a:gd name="connsiteY333" fmla="*/ 6367 h 10000"/>
                <a:gd name="connsiteX334" fmla="*/ 8064 w 10000"/>
                <a:gd name="connsiteY334" fmla="*/ 6616 h 10000"/>
                <a:gd name="connsiteX335" fmla="*/ 8111 w 10000"/>
                <a:gd name="connsiteY335" fmla="*/ 6781 h 10000"/>
                <a:gd name="connsiteX336" fmla="*/ 8048 w 10000"/>
                <a:gd name="connsiteY336" fmla="*/ 6491 h 10000"/>
                <a:gd name="connsiteX337" fmla="*/ 8124 w 10000"/>
                <a:gd name="connsiteY337" fmla="*/ 6336 h 10000"/>
                <a:gd name="connsiteX338" fmla="*/ 8177 w 10000"/>
                <a:gd name="connsiteY338" fmla="*/ 6512 h 10000"/>
                <a:gd name="connsiteX339" fmla="*/ 8300 w 10000"/>
                <a:gd name="connsiteY339" fmla="*/ 6987 h 10000"/>
                <a:gd name="connsiteX340" fmla="*/ 8361 w 10000"/>
                <a:gd name="connsiteY340" fmla="*/ 7152 h 10000"/>
                <a:gd name="connsiteX341" fmla="*/ 8490 w 10000"/>
                <a:gd name="connsiteY341" fmla="*/ 7482 h 10000"/>
                <a:gd name="connsiteX342" fmla="*/ 8604 w 10000"/>
                <a:gd name="connsiteY342" fmla="*/ 7854 h 10000"/>
                <a:gd name="connsiteX343" fmla="*/ 8474 w 10000"/>
                <a:gd name="connsiteY343" fmla="*/ 7647 h 10000"/>
                <a:gd name="connsiteX344" fmla="*/ 8443 w 10000"/>
                <a:gd name="connsiteY344" fmla="*/ 7678 h 10000"/>
                <a:gd name="connsiteX345" fmla="*/ 8512 w 10000"/>
                <a:gd name="connsiteY345" fmla="*/ 8050 h 10000"/>
                <a:gd name="connsiteX346" fmla="*/ 8588 w 10000"/>
                <a:gd name="connsiteY346" fmla="*/ 8266 h 10000"/>
                <a:gd name="connsiteX347" fmla="*/ 8642 w 10000"/>
                <a:gd name="connsiteY347" fmla="*/ 8472 h 10000"/>
                <a:gd name="connsiteX348" fmla="*/ 8566 w 10000"/>
                <a:gd name="connsiteY348" fmla="*/ 8421 h 10000"/>
                <a:gd name="connsiteX349" fmla="*/ 8556 w 10000"/>
                <a:gd name="connsiteY349" fmla="*/ 8669 h 10000"/>
                <a:gd name="connsiteX350" fmla="*/ 8497 w 10000"/>
                <a:gd name="connsiteY350" fmla="*/ 8493 h 10000"/>
                <a:gd name="connsiteX351" fmla="*/ 8481 w 10000"/>
                <a:gd name="connsiteY351" fmla="*/ 8421 h 10000"/>
                <a:gd name="connsiteX352" fmla="*/ 8361 w 10000"/>
                <a:gd name="connsiteY352" fmla="*/ 7751 h 10000"/>
                <a:gd name="connsiteX353" fmla="*/ 8322 w 10000"/>
                <a:gd name="connsiteY353" fmla="*/ 7524 h 10000"/>
                <a:gd name="connsiteX354" fmla="*/ 8291 w 10000"/>
                <a:gd name="connsiteY354" fmla="*/ 7378 h 10000"/>
                <a:gd name="connsiteX355" fmla="*/ 8275 w 10000"/>
                <a:gd name="connsiteY355" fmla="*/ 7306 h 10000"/>
                <a:gd name="connsiteX356" fmla="*/ 8139 w 10000"/>
                <a:gd name="connsiteY356" fmla="*/ 6863 h 10000"/>
                <a:gd name="connsiteX357" fmla="*/ 8199 w 10000"/>
                <a:gd name="connsiteY357" fmla="*/ 7451 h 10000"/>
                <a:gd name="connsiteX358" fmla="*/ 8247 w 10000"/>
                <a:gd name="connsiteY358" fmla="*/ 7998 h 10000"/>
                <a:gd name="connsiteX359" fmla="*/ 8177 w 10000"/>
                <a:gd name="connsiteY359" fmla="*/ 9133 h 10000"/>
                <a:gd name="connsiteX360" fmla="*/ 8124 w 10000"/>
                <a:gd name="connsiteY360" fmla="*/ 9484 h 10000"/>
                <a:gd name="connsiteX361" fmla="*/ 7972 w 10000"/>
                <a:gd name="connsiteY361" fmla="*/ 9432 h 10000"/>
                <a:gd name="connsiteX362" fmla="*/ 7897 w 10000"/>
                <a:gd name="connsiteY362" fmla="*/ 9660 h 10000"/>
                <a:gd name="connsiteX363" fmla="*/ 7868 w 10000"/>
                <a:gd name="connsiteY363" fmla="*/ 9588 h 10000"/>
                <a:gd name="connsiteX364" fmla="*/ 7884 w 10000"/>
                <a:gd name="connsiteY364" fmla="*/ 9536 h 10000"/>
                <a:gd name="connsiteX365" fmla="*/ 7897 w 10000"/>
                <a:gd name="connsiteY365" fmla="*/ 9380 h 10000"/>
                <a:gd name="connsiteX366" fmla="*/ 7884 w 10000"/>
                <a:gd name="connsiteY366" fmla="*/ 9236 h 10000"/>
                <a:gd name="connsiteX367" fmla="*/ 7793 w 10000"/>
                <a:gd name="connsiteY367" fmla="*/ 8865 h 10000"/>
                <a:gd name="connsiteX368" fmla="*/ 7831 w 10000"/>
                <a:gd name="connsiteY368" fmla="*/ 8741 h 10000"/>
                <a:gd name="connsiteX369" fmla="*/ 7928 w 10000"/>
                <a:gd name="connsiteY369" fmla="*/ 8844 h 10000"/>
                <a:gd name="connsiteX370" fmla="*/ 7912 w 10000"/>
                <a:gd name="connsiteY370" fmla="*/ 8318 h 10000"/>
                <a:gd name="connsiteX371" fmla="*/ 7906 w 10000"/>
                <a:gd name="connsiteY371" fmla="*/ 8019 h 10000"/>
                <a:gd name="connsiteX372" fmla="*/ 7846 w 10000"/>
                <a:gd name="connsiteY372" fmla="*/ 7802 h 10000"/>
                <a:gd name="connsiteX373" fmla="*/ 7723 w 10000"/>
                <a:gd name="connsiteY373" fmla="*/ 8050 h 10000"/>
                <a:gd name="connsiteX374" fmla="*/ 7619 w 10000"/>
                <a:gd name="connsiteY374" fmla="*/ 8019 h 10000"/>
                <a:gd name="connsiteX375" fmla="*/ 7528 w 10000"/>
                <a:gd name="connsiteY375" fmla="*/ 7699 h 10000"/>
                <a:gd name="connsiteX376" fmla="*/ 7355 w 10000"/>
                <a:gd name="connsiteY376" fmla="*/ 7482 h 10000"/>
                <a:gd name="connsiteX377" fmla="*/ 7279 w 10000"/>
                <a:gd name="connsiteY377" fmla="*/ 7482 h 10000"/>
                <a:gd name="connsiteX378" fmla="*/ 7080 w 10000"/>
                <a:gd name="connsiteY378" fmla="*/ 6781 h 10000"/>
                <a:gd name="connsiteX379" fmla="*/ 6901 w 10000"/>
                <a:gd name="connsiteY379" fmla="*/ 6460 h 10000"/>
                <a:gd name="connsiteX380" fmla="*/ 6724 w 10000"/>
                <a:gd name="connsiteY380" fmla="*/ 6336 h 10000"/>
                <a:gd name="connsiteX381" fmla="*/ 6583 w 10000"/>
                <a:gd name="connsiteY381" fmla="*/ 6408 h 10000"/>
                <a:gd name="connsiteX382" fmla="*/ 6567 w 10000"/>
                <a:gd name="connsiteY382" fmla="*/ 6585 h 10000"/>
                <a:gd name="connsiteX383" fmla="*/ 6664 w 10000"/>
                <a:gd name="connsiteY383" fmla="*/ 6760 h 10000"/>
                <a:gd name="connsiteX384" fmla="*/ 6636 w 10000"/>
                <a:gd name="connsiteY384" fmla="*/ 6935 h 10000"/>
                <a:gd name="connsiteX385" fmla="*/ 6636 w 10000"/>
                <a:gd name="connsiteY385" fmla="*/ 7399 h 10000"/>
                <a:gd name="connsiteX386" fmla="*/ 6560 w 10000"/>
                <a:gd name="connsiteY386" fmla="*/ 7482 h 10000"/>
                <a:gd name="connsiteX387" fmla="*/ 6485 w 10000"/>
                <a:gd name="connsiteY387" fmla="*/ 7378 h 10000"/>
                <a:gd name="connsiteX388" fmla="*/ 6400 w 10000"/>
                <a:gd name="connsiteY388" fmla="*/ 7399 h 10000"/>
                <a:gd name="connsiteX389" fmla="*/ 6334 w 10000"/>
                <a:gd name="connsiteY389" fmla="*/ 7275 h 10000"/>
                <a:gd name="connsiteX390" fmla="*/ 6258 w 10000"/>
                <a:gd name="connsiteY390" fmla="*/ 7358 h 10000"/>
                <a:gd name="connsiteX391" fmla="*/ 6220 w 10000"/>
                <a:gd name="connsiteY391" fmla="*/ 7524 h 10000"/>
                <a:gd name="connsiteX392" fmla="*/ 6081 w 10000"/>
                <a:gd name="connsiteY392" fmla="*/ 7606 h 10000"/>
                <a:gd name="connsiteX393" fmla="*/ 5892 w 10000"/>
                <a:gd name="connsiteY393" fmla="*/ 7575 h 10000"/>
                <a:gd name="connsiteX394" fmla="*/ 5855 w 10000"/>
                <a:gd name="connsiteY394" fmla="*/ 7327 h 10000"/>
                <a:gd name="connsiteX395" fmla="*/ 5643 w 10000"/>
                <a:gd name="connsiteY395" fmla="*/ 7255 h 10000"/>
                <a:gd name="connsiteX396" fmla="*/ 5539 w 10000"/>
                <a:gd name="connsiteY396" fmla="*/ 7358 h 10000"/>
                <a:gd name="connsiteX397" fmla="*/ 5416 w 10000"/>
                <a:gd name="connsiteY397" fmla="*/ 7203 h 10000"/>
                <a:gd name="connsiteX398" fmla="*/ 5372 w 10000"/>
                <a:gd name="connsiteY398"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972 w 10000"/>
                <a:gd name="connsiteY8" fmla="*/ 7152 h 10000"/>
                <a:gd name="connsiteX9" fmla="*/ 3887 w 10000"/>
                <a:gd name="connsiteY9" fmla="*/ 6956 h 10000"/>
                <a:gd name="connsiteX10" fmla="*/ 3584 w 10000"/>
                <a:gd name="connsiteY10" fmla="*/ 6388 h 10000"/>
                <a:gd name="connsiteX11" fmla="*/ 3471 w 10000"/>
                <a:gd name="connsiteY11" fmla="*/ 6212 h 10000"/>
                <a:gd name="connsiteX12" fmla="*/ 3496 w 10000"/>
                <a:gd name="connsiteY12" fmla="*/ 5965 h 10000"/>
                <a:gd name="connsiteX13" fmla="*/ 3291 w 10000"/>
                <a:gd name="connsiteY13" fmla="*/ 6367 h 10000"/>
                <a:gd name="connsiteX14" fmla="*/ 3244 w 10000"/>
                <a:gd name="connsiteY14" fmla="*/ 6161 h 10000"/>
                <a:gd name="connsiteX15" fmla="*/ 3093 w 10000"/>
                <a:gd name="connsiteY15" fmla="*/ 6161 h 10000"/>
                <a:gd name="connsiteX16" fmla="*/ 3080 w 10000"/>
                <a:gd name="connsiteY16" fmla="*/ 5944 h 10000"/>
                <a:gd name="connsiteX17" fmla="*/ 2995 w 10000"/>
                <a:gd name="connsiteY17" fmla="*/ 5821 h 10000"/>
                <a:gd name="connsiteX18" fmla="*/ 2897 w 10000"/>
                <a:gd name="connsiteY18" fmla="*/ 5790 h 10000"/>
                <a:gd name="connsiteX19" fmla="*/ 2828 w 10000"/>
                <a:gd name="connsiteY19" fmla="*/ 5996 h 10000"/>
                <a:gd name="connsiteX20" fmla="*/ 2633 w 10000"/>
                <a:gd name="connsiteY20" fmla="*/ 6120 h 10000"/>
                <a:gd name="connsiteX21" fmla="*/ 2412 w 10000"/>
                <a:gd name="connsiteY21" fmla="*/ 6212 h 10000"/>
                <a:gd name="connsiteX22" fmla="*/ 2443 w 10000"/>
                <a:gd name="connsiteY22" fmla="*/ 6408 h 10000"/>
                <a:gd name="connsiteX23" fmla="*/ 2525 w 10000"/>
                <a:gd name="connsiteY23" fmla="*/ 6512 h 10000"/>
                <a:gd name="connsiteX24" fmla="*/ 2428 w 10000"/>
                <a:gd name="connsiteY24" fmla="*/ 6512 h 10000"/>
                <a:gd name="connsiteX25" fmla="*/ 2406 w 10000"/>
                <a:gd name="connsiteY25" fmla="*/ 6832 h 10000"/>
                <a:gd name="connsiteX26" fmla="*/ 2535 w 10000"/>
                <a:gd name="connsiteY26" fmla="*/ 6987 h 10000"/>
                <a:gd name="connsiteX27" fmla="*/ 2497 w 10000"/>
                <a:gd name="connsiteY27" fmla="*/ 7183 h 10000"/>
                <a:gd name="connsiteX28" fmla="*/ 2384 w 10000"/>
                <a:gd name="connsiteY28" fmla="*/ 7183 h 10000"/>
                <a:gd name="connsiteX29" fmla="*/ 2308 w 10000"/>
                <a:gd name="connsiteY29" fmla="*/ 7028 h 10000"/>
                <a:gd name="connsiteX30" fmla="*/ 2147 w 10000"/>
                <a:gd name="connsiteY30" fmla="*/ 7131 h 10000"/>
                <a:gd name="connsiteX31" fmla="*/ 2109 w 10000"/>
                <a:gd name="connsiteY31" fmla="*/ 7203 h 10000"/>
                <a:gd name="connsiteX32" fmla="*/ 1983 w 10000"/>
                <a:gd name="connsiteY32" fmla="*/ 7028 h 10000"/>
                <a:gd name="connsiteX33" fmla="*/ 1854 w 10000"/>
                <a:gd name="connsiteY33" fmla="*/ 6884 h 10000"/>
                <a:gd name="connsiteX34" fmla="*/ 1741 w 10000"/>
                <a:gd name="connsiteY34" fmla="*/ 6863 h 10000"/>
                <a:gd name="connsiteX35" fmla="*/ 1610 w 10000"/>
                <a:gd name="connsiteY35" fmla="*/ 7183 h 10000"/>
                <a:gd name="connsiteX36" fmla="*/ 1655 w 10000"/>
                <a:gd name="connsiteY36" fmla="*/ 7430 h 10000"/>
                <a:gd name="connsiteX37" fmla="*/ 1604 w 10000"/>
                <a:gd name="connsiteY37" fmla="*/ 7430 h 10000"/>
                <a:gd name="connsiteX38" fmla="*/ 1551 w 10000"/>
                <a:gd name="connsiteY38" fmla="*/ 7255 h 10000"/>
                <a:gd name="connsiteX39" fmla="*/ 1513 w 10000"/>
                <a:gd name="connsiteY39" fmla="*/ 7430 h 10000"/>
                <a:gd name="connsiteX40" fmla="*/ 1519 w 10000"/>
                <a:gd name="connsiteY40" fmla="*/ 7854 h 10000"/>
                <a:gd name="connsiteX41" fmla="*/ 1604 w 10000"/>
                <a:gd name="connsiteY41" fmla="*/ 8070 h 10000"/>
                <a:gd name="connsiteX42" fmla="*/ 1648 w 10000"/>
                <a:gd name="connsiteY42" fmla="*/ 8019 h 10000"/>
                <a:gd name="connsiteX43" fmla="*/ 1741 w 10000"/>
                <a:gd name="connsiteY43" fmla="*/ 8493 h 10000"/>
                <a:gd name="connsiteX44" fmla="*/ 1610 w 10000"/>
                <a:gd name="connsiteY44" fmla="*/ 8669 h 10000"/>
                <a:gd name="connsiteX45" fmla="*/ 1595 w 10000"/>
                <a:gd name="connsiteY45" fmla="*/ 9009 h 10000"/>
                <a:gd name="connsiteX46" fmla="*/ 1664 w 10000"/>
                <a:gd name="connsiteY46" fmla="*/ 9236 h 10000"/>
                <a:gd name="connsiteX47" fmla="*/ 1664 w 10000"/>
                <a:gd name="connsiteY47" fmla="*/ 9484 h 10000"/>
                <a:gd name="connsiteX48" fmla="*/ 1769 w 10000"/>
                <a:gd name="connsiteY48" fmla="*/ 9835 h 10000"/>
                <a:gd name="connsiteX49" fmla="*/ 1703 w 10000"/>
                <a:gd name="connsiteY49" fmla="*/ 10000 h 10000"/>
                <a:gd name="connsiteX50" fmla="*/ 1604 w 10000"/>
                <a:gd name="connsiteY50" fmla="*/ 9753 h 10000"/>
                <a:gd name="connsiteX51" fmla="*/ 1465 w 10000"/>
                <a:gd name="connsiteY51" fmla="*/ 9505 h 10000"/>
                <a:gd name="connsiteX52" fmla="*/ 1406 w 10000"/>
                <a:gd name="connsiteY52" fmla="*/ 9588 h 10000"/>
                <a:gd name="connsiteX53" fmla="*/ 1308 w 10000"/>
                <a:gd name="connsiteY53" fmla="*/ 9380 h 10000"/>
                <a:gd name="connsiteX54" fmla="*/ 1097 w 10000"/>
                <a:gd name="connsiteY54" fmla="*/ 9339 h 10000"/>
                <a:gd name="connsiteX55" fmla="*/ 848 w 10000"/>
                <a:gd name="connsiteY55" fmla="*/ 8813 h 10000"/>
                <a:gd name="connsiteX56" fmla="*/ 914 w 10000"/>
                <a:gd name="connsiteY56" fmla="*/ 8721 h 10000"/>
                <a:gd name="connsiteX57" fmla="*/ 961 w 10000"/>
                <a:gd name="connsiteY57" fmla="*/ 8493 h 10000"/>
                <a:gd name="connsiteX58" fmla="*/ 908 w 10000"/>
                <a:gd name="connsiteY58" fmla="*/ 8390 h 10000"/>
                <a:gd name="connsiteX59" fmla="*/ 1021 w 10000"/>
                <a:gd name="connsiteY59" fmla="*/ 8245 h 10000"/>
                <a:gd name="connsiteX60" fmla="*/ 945 w 10000"/>
                <a:gd name="connsiteY60" fmla="*/ 8194 h 10000"/>
                <a:gd name="connsiteX61" fmla="*/ 958 w 10000"/>
                <a:gd name="connsiteY61" fmla="*/ 8091 h 10000"/>
                <a:gd name="connsiteX62" fmla="*/ 1005 w 10000"/>
                <a:gd name="connsiteY62" fmla="*/ 8111 h 10000"/>
                <a:gd name="connsiteX63" fmla="*/ 1059 w 10000"/>
                <a:gd name="connsiteY63" fmla="*/ 8019 h 10000"/>
                <a:gd name="connsiteX64" fmla="*/ 1034 w 10000"/>
                <a:gd name="connsiteY64" fmla="*/ 7864 h 10000"/>
                <a:gd name="connsiteX65" fmla="*/ 1043 w 10000"/>
                <a:gd name="connsiteY65" fmla="*/ 7503 h 10000"/>
                <a:gd name="connsiteX66" fmla="*/ 930 w 10000"/>
                <a:gd name="connsiteY66" fmla="*/ 7440 h 10000"/>
                <a:gd name="connsiteX67" fmla="*/ 832 w 10000"/>
                <a:gd name="connsiteY67" fmla="*/ 7286 h 10000"/>
                <a:gd name="connsiteX68" fmla="*/ 700 w 10000"/>
                <a:gd name="connsiteY68" fmla="*/ 7275 h 10000"/>
                <a:gd name="connsiteX69" fmla="*/ 684 w 10000"/>
                <a:gd name="connsiteY69" fmla="*/ 7090 h 10000"/>
                <a:gd name="connsiteX70" fmla="*/ 596 w 10000"/>
                <a:gd name="connsiteY70" fmla="*/ 6945 h 10000"/>
                <a:gd name="connsiteX71" fmla="*/ 615 w 10000"/>
                <a:gd name="connsiteY71" fmla="*/ 6822 h 10000"/>
                <a:gd name="connsiteX72" fmla="*/ 561 w 10000"/>
                <a:gd name="connsiteY72" fmla="*/ 6698 h 10000"/>
                <a:gd name="connsiteX73" fmla="*/ 457 w 10000"/>
                <a:gd name="connsiteY73" fmla="*/ 6698 h 10000"/>
                <a:gd name="connsiteX74" fmla="*/ 425 w 10000"/>
                <a:gd name="connsiteY74" fmla="*/ 6791 h 10000"/>
                <a:gd name="connsiteX75" fmla="*/ 400 w 10000"/>
                <a:gd name="connsiteY75" fmla="*/ 6750 h 10000"/>
                <a:gd name="connsiteX76" fmla="*/ 378 w 10000"/>
                <a:gd name="connsiteY76" fmla="*/ 6439 h 10000"/>
                <a:gd name="connsiteX77" fmla="*/ 419 w 10000"/>
                <a:gd name="connsiteY77" fmla="*/ 6470 h 10000"/>
                <a:gd name="connsiteX78" fmla="*/ 466 w 10000"/>
                <a:gd name="connsiteY78" fmla="*/ 6347 h 10000"/>
                <a:gd name="connsiteX79" fmla="*/ 400 w 10000"/>
                <a:gd name="connsiteY79" fmla="*/ 6233 h 10000"/>
                <a:gd name="connsiteX80" fmla="*/ 315 w 10000"/>
                <a:gd name="connsiteY80" fmla="*/ 6017 h 10000"/>
                <a:gd name="connsiteX81" fmla="*/ 334 w 10000"/>
                <a:gd name="connsiteY81" fmla="*/ 5821 h 10000"/>
                <a:gd name="connsiteX82" fmla="*/ 274 w 10000"/>
                <a:gd name="connsiteY82" fmla="*/ 5697 h 10000"/>
                <a:gd name="connsiteX83" fmla="*/ 227 w 10000"/>
                <a:gd name="connsiteY83" fmla="*/ 5728 h 10000"/>
                <a:gd name="connsiteX84" fmla="*/ 202 w 10000"/>
                <a:gd name="connsiteY84" fmla="*/ 5604 h 10000"/>
                <a:gd name="connsiteX85" fmla="*/ 164 w 10000"/>
                <a:gd name="connsiteY85" fmla="*/ 5645 h 10000"/>
                <a:gd name="connsiteX86" fmla="*/ 117 w 10000"/>
                <a:gd name="connsiteY86" fmla="*/ 5604 h 10000"/>
                <a:gd name="connsiteX87" fmla="*/ 69 w 10000"/>
                <a:gd name="connsiteY87" fmla="*/ 5181 h 10000"/>
                <a:gd name="connsiteX88" fmla="*/ 85 w 10000"/>
                <a:gd name="connsiteY88" fmla="*/ 5057 h 10000"/>
                <a:gd name="connsiteX89" fmla="*/ 41 w 10000"/>
                <a:gd name="connsiteY89" fmla="*/ 4892 h 10000"/>
                <a:gd name="connsiteX90" fmla="*/ 66 w 10000"/>
                <a:gd name="connsiteY90" fmla="*/ 4655 h 10000"/>
                <a:gd name="connsiteX91" fmla="*/ 211 w 10000"/>
                <a:gd name="connsiteY91" fmla="*/ 4510 h 10000"/>
                <a:gd name="connsiteX92" fmla="*/ 129 w 10000"/>
                <a:gd name="connsiteY92" fmla="*/ 4406 h 10000"/>
                <a:gd name="connsiteX93" fmla="*/ 82 w 10000"/>
                <a:gd name="connsiteY93" fmla="*/ 4283 h 10000"/>
                <a:gd name="connsiteX94" fmla="*/ 205 w 10000"/>
                <a:gd name="connsiteY94" fmla="*/ 3912 h 10000"/>
                <a:gd name="connsiteX95" fmla="*/ 249 w 10000"/>
                <a:gd name="connsiteY95" fmla="*/ 3664 h 10000"/>
                <a:gd name="connsiteX96" fmla="*/ 151 w 10000"/>
                <a:gd name="connsiteY96" fmla="*/ 3488 h 10000"/>
                <a:gd name="connsiteX97" fmla="*/ 189 w 10000"/>
                <a:gd name="connsiteY97" fmla="*/ 3344 h 10000"/>
                <a:gd name="connsiteX98" fmla="*/ 113 w 10000"/>
                <a:gd name="connsiteY98" fmla="*/ 3148 h 10000"/>
                <a:gd name="connsiteX99" fmla="*/ 113 w 10000"/>
                <a:gd name="connsiteY99" fmla="*/ 2972 h 10000"/>
                <a:gd name="connsiteX100" fmla="*/ 60 w 10000"/>
                <a:gd name="connsiteY100" fmla="*/ 2622 h 10000"/>
                <a:gd name="connsiteX101" fmla="*/ 98 w 10000"/>
                <a:gd name="connsiteY101" fmla="*/ 2404 h 10000"/>
                <a:gd name="connsiteX102" fmla="*/ 38 w 10000"/>
                <a:gd name="connsiteY102" fmla="*/ 2301 h 10000"/>
                <a:gd name="connsiteX103" fmla="*/ 0 w 10000"/>
                <a:gd name="connsiteY103" fmla="*/ 2178 h 10000"/>
                <a:gd name="connsiteX104" fmla="*/ 54 w 10000"/>
                <a:gd name="connsiteY104" fmla="*/ 1951 h 10000"/>
                <a:gd name="connsiteX105" fmla="*/ 120 w 10000"/>
                <a:gd name="connsiteY105" fmla="*/ 1910 h 10000"/>
                <a:gd name="connsiteX106" fmla="*/ 195 w 10000"/>
                <a:gd name="connsiteY106" fmla="*/ 1858 h 10000"/>
                <a:gd name="connsiteX107" fmla="*/ 309 w 10000"/>
                <a:gd name="connsiteY107" fmla="*/ 1951 h 10000"/>
                <a:gd name="connsiteX108" fmla="*/ 482 w 10000"/>
                <a:gd name="connsiteY108" fmla="*/ 2054 h 10000"/>
                <a:gd name="connsiteX109" fmla="*/ 633 w 10000"/>
                <a:gd name="connsiteY109" fmla="*/ 2229 h 10000"/>
                <a:gd name="connsiteX110" fmla="*/ 756 w 10000"/>
                <a:gd name="connsiteY110" fmla="*/ 2373 h 10000"/>
                <a:gd name="connsiteX111" fmla="*/ 725 w 10000"/>
                <a:gd name="connsiteY111" fmla="*/ 2777 h 10000"/>
                <a:gd name="connsiteX112" fmla="*/ 362 w 10000"/>
                <a:gd name="connsiteY112" fmla="*/ 2673 h 10000"/>
                <a:gd name="connsiteX113" fmla="*/ 243 w 10000"/>
                <a:gd name="connsiteY113" fmla="*/ 2550 h 10000"/>
                <a:gd name="connsiteX114" fmla="*/ 287 w 10000"/>
                <a:gd name="connsiteY114" fmla="*/ 2622 h 10000"/>
                <a:gd name="connsiteX115" fmla="*/ 331 w 10000"/>
                <a:gd name="connsiteY115" fmla="*/ 2797 h 10000"/>
                <a:gd name="connsiteX116" fmla="*/ 400 w 10000"/>
                <a:gd name="connsiteY116" fmla="*/ 2921 h 10000"/>
                <a:gd name="connsiteX117" fmla="*/ 416 w 10000"/>
                <a:gd name="connsiteY117" fmla="*/ 3189 h 10000"/>
                <a:gd name="connsiteX118" fmla="*/ 507 w 10000"/>
                <a:gd name="connsiteY118" fmla="*/ 3313 h 10000"/>
                <a:gd name="connsiteX119" fmla="*/ 583 w 10000"/>
                <a:gd name="connsiteY119" fmla="*/ 3436 h 10000"/>
                <a:gd name="connsiteX120" fmla="*/ 605 w 10000"/>
                <a:gd name="connsiteY120" fmla="*/ 3467 h 10000"/>
                <a:gd name="connsiteX121" fmla="*/ 649 w 10000"/>
                <a:gd name="connsiteY121" fmla="*/ 3436 h 10000"/>
                <a:gd name="connsiteX122" fmla="*/ 633 w 10000"/>
                <a:gd name="connsiteY122" fmla="*/ 3364 h 10000"/>
                <a:gd name="connsiteX123" fmla="*/ 545 w 10000"/>
                <a:gd name="connsiteY123" fmla="*/ 3189 h 10000"/>
                <a:gd name="connsiteX124" fmla="*/ 801 w 10000"/>
                <a:gd name="connsiteY124" fmla="*/ 3344 h 10000"/>
                <a:gd name="connsiteX125" fmla="*/ 810 w 10000"/>
                <a:gd name="connsiteY125" fmla="*/ 3271 h 10000"/>
                <a:gd name="connsiteX126" fmla="*/ 785 w 10000"/>
                <a:gd name="connsiteY126" fmla="*/ 3220 h 10000"/>
                <a:gd name="connsiteX127" fmla="*/ 741 w 10000"/>
                <a:gd name="connsiteY127" fmla="*/ 2993 h 10000"/>
                <a:gd name="connsiteX128" fmla="*/ 870 w 10000"/>
                <a:gd name="connsiteY128" fmla="*/ 2777 h 10000"/>
                <a:gd name="connsiteX129" fmla="*/ 968 w 10000"/>
                <a:gd name="connsiteY129" fmla="*/ 2921 h 10000"/>
                <a:gd name="connsiteX130" fmla="*/ 999 w 10000"/>
                <a:gd name="connsiteY130" fmla="*/ 2725 h 10000"/>
                <a:gd name="connsiteX131" fmla="*/ 952 w 10000"/>
                <a:gd name="connsiteY131" fmla="*/ 2653 h 10000"/>
                <a:gd name="connsiteX132" fmla="*/ 936 w 10000"/>
                <a:gd name="connsiteY132" fmla="*/ 2281 h 10000"/>
                <a:gd name="connsiteX133" fmla="*/ 914 w 10000"/>
                <a:gd name="connsiteY133" fmla="*/ 2229 h 10000"/>
                <a:gd name="connsiteX134" fmla="*/ 1037 w 10000"/>
                <a:gd name="connsiteY134" fmla="*/ 2250 h 10000"/>
                <a:gd name="connsiteX135" fmla="*/ 1087 w 10000"/>
                <a:gd name="connsiteY135" fmla="*/ 2404 h 10000"/>
                <a:gd name="connsiteX136" fmla="*/ 1021 w 10000"/>
                <a:gd name="connsiteY136" fmla="*/ 2529 h 10000"/>
                <a:gd name="connsiteX137" fmla="*/ 1135 w 10000"/>
                <a:gd name="connsiteY137" fmla="*/ 2694 h 10000"/>
                <a:gd name="connsiteX138" fmla="*/ 1226 w 10000"/>
                <a:gd name="connsiteY138" fmla="*/ 2529 h 10000"/>
                <a:gd name="connsiteX139" fmla="*/ 1339 w 10000"/>
                <a:gd name="connsiteY139" fmla="*/ 2301 h 10000"/>
                <a:gd name="connsiteX140" fmla="*/ 1459 w 10000"/>
                <a:gd name="connsiteY140" fmla="*/ 2157 h 10000"/>
                <a:gd name="connsiteX141" fmla="*/ 1497 w 10000"/>
                <a:gd name="connsiteY141" fmla="*/ 2250 h 10000"/>
                <a:gd name="connsiteX142" fmla="*/ 1807 w 10000"/>
                <a:gd name="connsiteY142" fmla="*/ 2054 h 10000"/>
                <a:gd name="connsiteX143" fmla="*/ 1870 w 10000"/>
                <a:gd name="connsiteY143" fmla="*/ 2250 h 10000"/>
                <a:gd name="connsiteX144" fmla="*/ 1860 w 10000"/>
                <a:gd name="connsiteY144" fmla="*/ 2002 h 10000"/>
                <a:gd name="connsiteX145" fmla="*/ 1778 w 10000"/>
                <a:gd name="connsiteY145" fmla="*/ 1786 h 10000"/>
                <a:gd name="connsiteX146" fmla="*/ 1763 w 10000"/>
                <a:gd name="connsiteY146" fmla="*/ 1703 h 10000"/>
                <a:gd name="connsiteX147" fmla="*/ 1823 w 10000"/>
                <a:gd name="connsiteY147" fmla="*/ 1786 h 10000"/>
                <a:gd name="connsiteX148" fmla="*/ 2034 w 10000"/>
                <a:gd name="connsiteY148" fmla="*/ 1951 h 10000"/>
                <a:gd name="connsiteX149" fmla="*/ 2270 w 10000"/>
                <a:gd name="connsiteY149" fmla="*/ 2126 h 10000"/>
                <a:gd name="connsiteX150" fmla="*/ 2384 w 10000"/>
                <a:gd name="connsiteY150" fmla="*/ 2250 h 10000"/>
                <a:gd name="connsiteX151" fmla="*/ 2421 w 10000"/>
                <a:gd name="connsiteY151" fmla="*/ 2074 h 10000"/>
                <a:gd name="connsiteX152" fmla="*/ 2368 w 10000"/>
                <a:gd name="connsiteY152" fmla="*/ 2033 h 10000"/>
                <a:gd name="connsiteX153" fmla="*/ 2299 w 10000"/>
                <a:gd name="connsiteY153" fmla="*/ 1930 h 10000"/>
                <a:gd name="connsiteX154" fmla="*/ 2254 w 10000"/>
                <a:gd name="connsiteY154" fmla="*/ 1734 h 10000"/>
                <a:gd name="connsiteX155" fmla="*/ 2185 w 10000"/>
                <a:gd name="connsiteY155" fmla="*/ 1486 h 10000"/>
                <a:gd name="connsiteX156" fmla="*/ 2210 w 10000"/>
                <a:gd name="connsiteY156" fmla="*/ 1434 h 10000"/>
                <a:gd name="connsiteX157" fmla="*/ 2232 w 10000"/>
                <a:gd name="connsiteY157" fmla="*/ 1455 h 10000"/>
                <a:gd name="connsiteX158" fmla="*/ 2292 w 10000"/>
                <a:gd name="connsiteY158" fmla="*/ 1115 h 10000"/>
                <a:gd name="connsiteX159" fmla="*/ 2443 w 10000"/>
                <a:gd name="connsiteY159" fmla="*/ 1135 h 10000"/>
                <a:gd name="connsiteX160" fmla="*/ 2488 w 10000"/>
                <a:gd name="connsiteY160" fmla="*/ 1311 h 10000"/>
                <a:gd name="connsiteX161" fmla="*/ 2519 w 10000"/>
                <a:gd name="connsiteY161" fmla="*/ 1538 h 10000"/>
                <a:gd name="connsiteX162" fmla="*/ 2573 w 10000"/>
                <a:gd name="connsiteY162" fmla="*/ 1734 h 10000"/>
                <a:gd name="connsiteX163" fmla="*/ 2670 w 10000"/>
                <a:gd name="connsiteY163" fmla="*/ 2157 h 10000"/>
                <a:gd name="connsiteX164" fmla="*/ 2481 w 10000"/>
                <a:gd name="connsiteY164" fmla="*/ 2673 h 10000"/>
                <a:gd name="connsiteX165" fmla="*/ 2557 w 10000"/>
                <a:gd name="connsiteY165" fmla="*/ 2746 h 10000"/>
                <a:gd name="connsiteX166" fmla="*/ 2655 w 10000"/>
                <a:gd name="connsiteY166" fmla="*/ 2818 h 10000"/>
                <a:gd name="connsiteX167" fmla="*/ 2784 w 10000"/>
                <a:gd name="connsiteY167" fmla="*/ 2622 h 10000"/>
                <a:gd name="connsiteX168" fmla="*/ 2790 w 10000"/>
                <a:gd name="connsiteY168" fmla="*/ 2404 h 10000"/>
                <a:gd name="connsiteX169" fmla="*/ 2746 w 10000"/>
                <a:gd name="connsiteY169" fmla="*/ 2301 h 10000"/>
                <a:gd name="connsiteX170" fmla="*/ 2919 w 10000"/>
                <a:gd name="connsiteY170" fmla="*/ 2250 h 10000"/>
                <a:gd name="connsiteX171" fmla="*/ 2989 w 10000"/>
                <a:gd name="connsiteY171" fmla="*/ 2497 h 10000"/>
                <a:gd name="connsiteX172" fmla="*/ 2989 w 10000"/>
                <a:gd name="connsiteY172" fmla="*/ 2425 h 10000"/>
                <a:gd name="connsiteX173" fmla="*/ 2973 w 10000"/>
                <a:gd name="connsiteY173" fmla="*/ 2353 h 10000"/>
                <a:gd name="connsiteX174" fmla="*/ 2967 w 10000"/>
                <a:gd name="connsiteY174" fmla="*/ 2178 h 10000"/>
                <a:gd name="connsiteX175" fmla="*/ 2800 w 10000"/>
                <a:gd name="connsiteY175" fmla="*/ 1930 h 10000"/>
                <a:gd name="connsiteX176" fmla="*/ 2670 w 10000"/>
                <a:gd name="connsiteY176" fmla="*/ 2002 h 10000"/>
                <a:gd name="connsiteX177" fmla="*/ 2617 w 10000"/>
                <a:gd name="connsiteY177" fmla="*/ 1683 h 10000"/>
                <a:gd name="connsiteX178" fmla="*/ 2563 w 10000"/>
                <a:gd name="connsiteY178" fmla="*/ 1507 h 10000"/>
                <a:gd name="connsiteX179" fmla="*/ 2617 w 10000"/>
                <a:gd name="connsiteY179" fmla="*/ 1331 h 10000"/>
                <a:gd name="connsiteX180" fmla="*/ 2611 w 10000"/>
                <a:gd name="connsiteY180" fmla="*/ 1166 h 10000"/>
                <a:gd name="connsiteX181" fmla="*/ 2588 w 10000"/>
                <a:gd name="connsiteY181" fmla="*/ 1115 h 10000"/>
                <a:gd name="connsiteX182" fmla="*/ 2626 w 10000"/>
                <a:gd name="connsiteY182" fmla="*/ 1115 h 10000"/>
                <a:gd name="connsiteX183" fmla="*/ 2670 w 10000"/>
                <a:gd name="connsiteY183" fmla="*/ 1455 h 10000"/>
                <a:gd name="connsiteX184" fmla="*/ 2891 w 10000"/>
                <a:gd name="connsiteY184" fmla="*/ 1662 h 10000"/>
                <a:gd name="connsiteX185" fmla="*/ 2724 w 10000"/>
                <a:gd name="connsiteY185" fmla="*/ 1383 h 10000"/>
                <a:gd name="connsiteX186" fmla="*/ 3049 w 10000"/>
                <a:gd name="connsiteY186" fmla="*/ 1383 h 10000"/>
                <a:gd name="connsiteX187" fmla="*/ 3102 w 10000"/>
                <a:gd name="connsiteY187" fmla="*/ 1362 h 10000"/>
                <a:gd name="connsiteX188" fmla="*/ 2897 w 10000"/>
                <a:gd name="connsiteY188" fmla="*/ 1115 h 10000"/>
                <a:gd name="connsiteX189" fmla="*/ 2951 w 10000"/>
                <a:gd name="connsiteY189" fmla="*/ 888 h 10000"/>
                <a:gd name="connsiteX190" fmla="*/ 3178 w 10000"/>
                <a:gd name="connsiteY190" fmla="*/ 888 h 10000"/>
                <a:gd name="connsiteX191" fmla="*/ 3156 w 10000"/>
                <a:gd name="connsiteY191" fmla="*/ 713 h 10000"/>
                <a:gd name="connsiteX192" fmla="*/ 3231 w 10000"/>
                <a:gd name="connsiteY192" fmla="*/ 589 h 10000"/>
                <a:gd name="connsiteX193" fmla="*/ 3276 w 10000"/>
                <a:gd name="connsiteY193" fmla="*/ 548 h 10000"/>
                <a:gd name="connsiteX194" fmla="*/ 3443 w 10000"/>
                <a:gd name="connsiteY194" fmla="*/ 423 h 10000"/>
                <a:gd name="connsiteX195" fmla="*/ 3487 w 10000"/>
                <a:gd name="connsiteY195" fmla="*/ 371 h 10000"/>
                <a:gd name="connsiteX196" fmla="*/ 3480 w 10000"/>
                <a:gd name="connsiteY196" fmla="*/ 444 h 10000"/>
                <a:gd name="connsiteX197" fmla="*/ 3660 w 10000"/>
                <a:gd name="connsiteY197" fmla="*/ 371 h 10000"/>
                <a:gd name="connsiteX198" fmla="*/ 3805 w 10000"/>
                <a:gd name="connsiteY198" fmla="*/ 248 h 10000"/>
                <a:gd name="connsiteX199" fmla="*/ 3827 w 10000"/>
                <a:gd name="connsiteY199" fmla="*/ 0 h 10000"/>
                <a:gd name="connsiteX200" fmla="*/ 3988 w 10000"/>
                <a:gd name="connsiteY200" fmla="*/ 21 h 10000"/>
                <a:gd name="connsiteX201" fmla="*/ 3978 w 10000"/>
                <a:gd name="connsiteY201" fmla="*/ 93 h 10000"/>
                <a:gd name="connsiteX202" fmla="*/ 3988 w 10000"/>
                <a:gd name="connsiteY202" fmla="*/ 176 h 10000"/>
                <a:gd name="connsiteX203" fmla="*/ 4085 w 10000"/>
                <a:gd name="connsiteY203" fmla="*/ 248 h 10000"/>
                <a:gd name="connsiteX204" fmla="*/ 4379 w 10000"/>
                <a:gd name="connsiteY204" fmla="*/ 268 h 10000"/>
                <a:gd name="connsiteX205" fmla="*/ 4539 w 10000"/>
                <a:gd name="connsiteY205" fmla="*/ 392 h 10000"/>
                <a:gd name="connsiteX206" fmla="*/ 4486 w 10000"/>
                <a:gd name="connsiteY206" fmla="*/ 795 h 10000"/>
                <a:gd name="connsiteX207" fmla="*/ 4426 w 10000"/>
                <a:gd name="connsiteY207" fmla="*/ 919 h 10000"/>
                <a:gd name="connsiteX208" fmla="*/ 4356 w 10000"/>
                <a:gd name="connsiteY208" fmla="*/ 1043 h 10000"/>
                <a:gd name="connsiteX209" fmla="*/ 4372 w 10000"/>
                <a:gd name="connsiteY209" fmla="*/ 1115 h 10000"/>
                <a:gd name="connsiteX210" fmla="*/ 4583 w 10000"/>
                <a:gd name="connsiteY210" fmla="*/ 919 h 10000"/>
                <a:gd name="connsiteX211" fmla="*/ 5060 w 10000"/>
                <a:gd name="connsiteY211" fmla="*/ 991 h 10000"/>
                <a:gd name="connsiteX212" fmla="*/ 5108 w 10000"/>
                <a:gd name="connsiteY212" fmla="*/ 1063 h 10000"/>
                <a:gd name="connsiteX213" fmla="*/ 5212 w 10000"/>
                <a:gd name="connsiteY213" fmla="*/ 1187 h 10000"/>
                <a:gd name="connsiteX214" fmla="*/ 5357 w 10000"/>
                <a:gd name="connsiteY214" fmla="*/ 919 h 10000"/>
                <a:gd name="connsiteX215" fmla="*/ 5577 w 10000"/>
                <a:gd name="connsiteY215" fmla="*/ 1063 h 10000"/>
                <a:gd name="connsiteX216" fmla="*/ 5643 w 10000"/>
                <a:gd name="connsiteY216" fmla="*/ 1115 h 10000"/>
                <a:gd name="connsiteX217" fmla="*/ 5697 w 10000"/>
                <a:gd name="connsiteY217" fmla="*/ 1166 h 10000"/>
                <a:gd name="connsiteX218" fmla="*/ 5908 w 10000"/>
                <a:gd name="connsiteY218" fmla="*/ 1631 h 10000"/>
                <a:gd name="connsiteX219" fmla="*/ 5984 w 10000"/>
                <a:gd name="connsiteY219" fmla="*/ 1611 h 10000"/>
                <a:gd name="connsiteX220" fmla="*/ 5977 w 10000"/>
                <a:gd name="connsiteY220" fmla="*/ 1507 h 10000"/>
                <a:gd name="connsiteX221" fmla="*/ 5984 w 10000"/>
                <a:gd name="connsiteY221" fmla="*/ 1383 h 10000"/>
                <a:gd name="connsiteX222" fmla="*/ 6091 w 10000"/>
                <a:gd name="connsiteY222" fmla="*/ 1486 h 10000"/>
                <a:gd name="connsiteX223" fmla="*/ 6264 w 10000"/>
                <a:gd name="connsiteY223" fmla="*/ 1507 h 10000"/>
                <a:gd name="connsiteX224" fmla="*/ 6409 w 10000"/>
                <a:gd name="connsiteY224" fmla="*/ 1455 h 10000"/>
                <a:gd name="connsiteX225" fmla="*/ 6340 w 10000"/>
                <a:gd name="connsiteY225" fmla="*/ 1362 h 10000"/>
                <a:gd name="connsiteX226" fmla="*/ 6431 w 10000"/>
                <a:gd name="connsiteY226" fmla="*/ 1084 h 10000"/>
                <a:gd name="connsiteX227" fmla="*/ 6687 w 10000"/>
                <a:gd name="connsiteY227" fmla="*/ 1207 h 10000"/>
                <a:gd name="connsiteX228" fmla="*/ 6945 w 10000"/>
                <a:gd name="connsiteY228" fmla="*/ 1331 h 10000"/>
                <a:gd name="connsiteX229" fmla="*/ 6967 w 10000"/>
                <a:gd name="connsiteY229" fmla="*/ 1362 h 10000"/>
                <a:gd name="connsiteX230" fmla="*/ 7194 w 10000"/>
                <a:gd name="connsiteY230" fmla="*/ 1611 h 10000"/>
                <a:gd name="connsiteX231" fmla="*/ 7367 w 10000"/>
                <a:gd name="connsiteY231" fmla="*/ 1507 h 10000"/>
                <a:gd name="connsiteX232" fmla="*/ 7582 w 10000"/>
                <a:gd name="connsiteY232" fmla="*/ 1538 h 10000"/>
                <a:gd name="connsiteX233" fmla="*/ 7657 w 10000"/>
                <a:gd name="connsiteY233" fmla="*/ 1611 h 10000"/>
                <a:gd name="connsiteX234" fmla="*/ 7928 w 10000"/>
                <a:gd name="connsiteY234" fmla="*/ 1930 h 10000"/>
                <a:gd name="connsiteX235" fmla="*/ 8231 w 10000"/>
                <a:gd name="connsiteY235" fmla="*/ 1879 h 10000"/>
                <a:gd name="connsiteX236" fmla="*/ 8339 w 10000"/>
                <a:gd name="connsiteY236" fmla="*/ 2033 h 10000"/>
                <a:gd name="connsiteX237" fmla="*/ 8490 w 10000"/>
                <a:gd name="connsiteY237" fmla="*/ 2157 h 10000"/>
                <a:gd name="connsiteX238" fmla="*/ 8519 w 10000"/>
                <a:gd name="connsiteY238" fmla="*/ 2105 h 10000"/>
                <a:gd name="connsiteX239" fmla="*/ 8497 w 10000"/>
                <a:gd name="connsiteY239" fmla="*/ 2074 h 10000"/>
                <a:gd name="connsiteX240" fmla="*/ 8383 w 10000"/>
                <a:gd name="connsiteY240" fmla="*/ 1930 h 10000"/>
                <a:gd name="connsiteX241" fmla="*/ 8465 w 10000"/>
                <a:gd name="connsiteY241" fmla="*/ 1755 h 10000"/>
                <a:gd name="connsiteX242" fmla="*/ 8664 w 10000"/>
                <a:gd name="connsiteY242" fmla="*/ 1910 h 10000"/>
                <a:gd name="connsiteX243" fmla="*/ 8950 w 10000"/>
                <a:gd name="connsiteY243" fmla="*/ 1982 h 10000"/>
                <a:gd name="connsiteX244" fmla="*/ 9206 w 10000"/>
                <a:gd name="connsiteY244" fmla="*/ 2260 h 10000"/>
                <a:gd name="connsiteX245" fmla="*/ 9344 w 10000"/>
                <a:gd name="connsiteY245" fmla="*/ 2332 h 10000"/>
                <a:gd name="connsiteX246" fmla="*/ 9451 w 10000"/>
                <a:gd name="connsiteY246" fmla="*/ 2446 h 10000"/>
                <a:gd name="connsiteX247" fmla="*/ 9574 w 10000"/>
                <a:gd name="connsiteY247" fmla="*/ 2632 h 10000"/>
                <a:gd name="connsiteX248" fmla="*/ 9631 w 10000"/>
                <a:gd name="connsiteY248" fmla="*/ 2756 h 10000"/>
                <a:gd name="connsiteX249" fmla="*/ 9726 w 10000"/>
                <a:gd name="connsiteY249" fmla="*/ 2787 h 10000"/>
                <a:gd name="connsiteX250" fmla="*/ 9590 w 10000"/>
                <a:gd name="connsiteY250" fmla="*/ 2570 h 10000"/>
                <a:gd name="connsiteX251" fmla="*/ 9915 w 10000"/>
                <a:gd name="connsiteY251" fmla="*/ 2756 h 10000"/>
                <a:gd name="connsiteX252" fmla="*/ 10000 w 10000"/>
                <a:gd name="connsiteY252" fmla="*/ 3014 h 10000"/>
                <a:gd name="connsiteX253" fmla="*/ 9934 w 10000"/>
                <a:gd name="connsiteY253" fmla="*/ 2941 h 10000"/>
                <a:gd name="connsiteX254" fmla="*/ 9874 w 10000"/>
                <a:gd name="connsiteY254" fmla="*/ 2952 h 10000"/>
                <a:gd name="connsiteX255" fmla="*/ 10000 w 10000"/>
                <a:gd name="connsiteY255" fmla="*/ 3292 h 10000"/>
                <a:gd name="connsiteX256" fmla="*/ 9845 w 10000"/>
                <a:gd name="connsiteY256" fmla="*/ 3220 h 10000"/>
                <a:gd name="connsiteX257" fmla="*/ 9745 w 10000"/>
                <a:gd name="connsiteY257" fmla="*/ 3075 h 10000"/>
                <a:gd name="connsiteX258" fmla="*/ 9641 w 10000"/>
                <a:gd name="connsiteY258" fmla="*/ 2972 h 10000"/>
                <a:gd name="connsiteX259" fmla="*/ 9555 w 10000"/>
                <a:gd name="connsiteY259" fmla="*/ 3003 h 10000"/>
                <a:gd name="connsiteX260" fmla="*/ 9470 w 10000"/>
                <a:gd name="connsiteY260" fmla="*/ 2787 h 10000"/>
                <a:gd name="connsiteX261" fmla="*/ 9366 w 10000"/>
                <a:gd name="connsiteY261" fmla="*/ 2725 h 10000"/>
                <a:gd name="connsiteX262" fmla="*/ 9461 w 10000"/>
                <a:gd name="connsiteY262" fmla="*/ 2972 h 10000"/>
                <a:gd name="connsiteX263" fmla="*/ 9470 w 10000"/>
                <a:gd name="connsiteY263" fmla="*/ 3230 h 10000"/>
                <a:gd name="connsiteX264" fmla="*/ 9288 w 10000"/>
                <a:gd name="connsiteY264" fmla="*/ 3065 h 10000"/>
                <a:gd name="connsiteX265" fmla="*/ 9262 w 10000"/>
                <a:gd name="connsiteY265" fmla="*/ 3230 h 10000"/>
                <a:gd name="connsiteX266" fmla="*/ 9363 w 10000"/>
                <a:gd name="connsiteY266" fmla="*/ 3230 h 10000"/>
                <a:gd name="connsiteX267" fmla="*/ 9451 w 10000"/>
                <a:gd name="connsiteY267" fmla="*/ 3354 h 10000"/>
                <a:gd name="connsiteX268" fmla="*/ 9659 w 10000"/>
                <a:gd name="connsiteY268" fmla="*/ 3685 h 10000"/>
                <a:gd name="connsiteX269" fmla="*/ 9735 w 10000"/>
                <a:gd name="connsiteY269" fmla="*/ 3839 h 10000"/>
                <a:gd name="connsiteX270" fmla="*/ 9552 w 10000"/>
                <a:gd name="connsiteY270" fmla="*/ 3757 h 10000"/>
                <a:gd name="connsiteX271" fmla="*/ 9451 w 10000"/>
                <a:gd name="connsiteY271" fmla="*/ 4025 h 10000"/>
                <a:gd name="connsiteX272" fmla="*/ 9385 w 10000"/>
                <a:gd name="connsiteY272" fmla="*/ 4283 h 10000"/>
                <a:gd name="connsiteX273" fmla="*/ 9376 w 10000"/>
                <a:gd name="connsiteY273" fmla="*/ 4499 h 10000"/>
                <a:gd name="connsiteX274" fmla="*/ 9335 w 10000"/>
                <a:gd name="connsiteY274" fmla="*/ 4303 h 10000"/>
                <a:gd name="connsiteX275" fmla="*/ 9149 w 10000"/>
                <a:gd name="connsiteY275" fmla="*/ 4314 h 10000"/>
                <a:gd name="connsiteX276" fmla="*/ 9155 w 10000"/>
                <a:gd name="connsiteY276" fmla="*/ 4531 h 10000"/>
                <a:gd name="connsiteX277" fmla="*/ 9061 w 10000"/>
                <a:gd name="connsiteY277" fmla="*/ 4365 h 10000"/>
                <a:gd name="connsiteX278" fmla="*/ 9054 w 10000"/>
                <a:gd name="connsiteY278" fmla="*/ 4521 h 10000"/>
                <a:gd name="connsiteX279" fmla="*/ 8998 w 10000"/>
                <a:gd name="connsiteY279" fmla="*/ 4458 h 10000"/>
                <a:gd name="connsiteX280" fmla="*/ 8966 w 10000"/>
                <a:gd name="connsiteY280" fmla="*/ 4562 h 10000"/>
                <a:gd name="connsiteX281" fmla="*/ 9007 w 10000"/>
                <a:gd name="connsiteY281" fmla="*/ 4686 h 10000"/>
                <a:gd name="connsiteX282" fmla="*/ 9004 w 10000"/>
                <a:gd name="connsiteY282" fmla="*/ 4995 h 10000"/>
                <a:gd name="connsiteX283" fmla="*/ 9073 w 10000"/>
                <a:gd name="connsiteY283" fmla="*/ 5211 h 10000"/>
                <a:gd name="connsiteX284" fmla="*/ 9130 w 10000"/>
                <a:gd name="connsiteY284" fmla="*/ 5150 h 10000"/>
                <a:gd name="connsiteX285" fmla="*/ 9158 w 10000"/>
                <a:gd name="connsiteY285" fmla="*/ 5211 h 10000"/>
                <a:gd name="connsiteX286" fmla="*/ 9231 w 10000"/>
                <a:gd name="connsiteY286" fmla="*/ 5428 h 10000"/>
                <a:gd name="connsiteX287" fmla="*/ 9215 w 10000"/>
                <a:gd name="connsiteY287" fmla="*/ 5604 h 10000"/>
                <a:gd name="connsiteX288" fmla="*/ 9221 w 10000"/>
                <a:gd name="connsiteY288" fmla="*/ 5769 h 10000"/>
                <a:gd name="connsiteX289" fmla="*/ 9269 w 10000"/>
                <a:gd name="connsiteY289" fmla="*/ 5883 h 10000"/>
                <a:gd name="connsiteX290" fmla="*/ 9344 w 10000"/>
                <a:gd name="connsiteY290" fmla="*/ 6068 h 10000"/>
                <a:gd name="connsiteX291" fmla="*/ 9269 w 10000"/>
                <a:gd name="connsiteY291" fmla="*/ 6068 h 10000"/>
                <a:gd name="connsiteX292" fmla="*/ 9253 w 10000"/>
                <a:gd name="connsiteY292" fmla="*/ 6223 h 10000"/>
                <a:gd name="connsiteX293" fmla="*/ 9319 w 10000"/>
                <a:gd name="connsiteY293" fmla="*/ 6408 h 10000"/>
                <a:gd name="connsiteX294" fmla="*/ 9250 w 10000"/>
                <a:gd name="connsiteY294" fmla="*/ 6502 h 10000"/>
                <a:gd name="connsiteX295" fmla="*/ 9297 w 10000"/>
                <a:gd name="connsiteY295" fmla="*/ 6729 h 10000"/>
                <a:gd name="connsiteX296" fmla="*/ 9281 w 10000"/>
                <a:gd name="connsiteY296" fmla="*/ 7069 h 10000"/>
                <a:gd name="connsiteX297" fmla="*/ 9061 w 10000"/>
                <a:gd name="connsiteY297" fmla="*/ 6408 h 10000"/>
                <a:gd name="connsiteX298" fmla="*/ 8824 w 10000"/>
                <a:gd name="connsiteY298" fmla="*/ 5759 h 10000"/>
                <a:gd name="connsiteX299" fmla="*/ 8771 w 10000"/>
                <a:gd name="connsiteY299" fmla="*/ 5459 h 10000"/>
                <a:gd name="connsiteX300" fmla="*/ 8768 w 10000"/>
                <a:gd name="connsiteY300" fmla="*/ 5211 h 10000"/>
                <a:gd name="connsiteX301" fmla="*/ 8692 w 10000"/>
                <a:gd name="connsiteY301" fmla="*/ 5047 h 10000"/>
                <a:gd name="connsiteX302" fmla="*/ 8771 w 10000"/>
                <a:gd name="connsiteY302" fmla="*/ 5088 h 10000"/>
                <a:gd name="connsiteX303" fmla="*/ 8809 w 10000"/>
                <a:gd name="connsiteY303" fmla="*/ 5108 h 10000"/>
                <a:gd name="connsiteX304" fmla="*/ 8809 w 10000"/>
                <a:gd name="connsiteY304" fmla="*/ 4840 h 10000"/>
                <a:gd name="connsiteX305" fmla="*/ 8827 w 10000"/>
                <a:gd name="connsiteY305" fmla="*/ 4437 h 10000"/>
                <a:gd name="connsiteX306" fmla="*/ 8853 w 10000"/>
                <a:gd name="connsiteY306" fmla="*/ 4252 h 10000"/>
                <a:gd name="connsiteX307" fmla="*/ 8909 w 10000"/>
                <a:gd name="connsiteY307" fmla="*/ 4221 h 10000"/>
                <a:gd name="connsiteX308" fmla="*/ 8786 w 10000"/>
                <a:gd name="connsiteY308" fmla="*/ 3901 h 10000"/>
                <a:gd name="connsiteX309" fmla="*/ 8853 w 10000"/>
                <a:gd name="connsiteY309" fmla="*/ 3839 h 10000"/>
                <a:gd name="connsiteX310" fmla="*/ 8739 w 10000"/>
                <a:gd name="connsiteY310" fmla="*/ 3788 h 10000"/>
                <a:gd name="connsiteX311" fmla="*/ 8755 w 10000"/>
                <a:gd name="connsiteY311" fmla="*/ 3984 h 10000"/>
                <a:gd name="connsiteX312" fmla="*/ 8692 w 10000"/>
                <a:gd name="connsiteY312" fmla="*/ 4303 h 10000"/>
                <a:gd name="connsiteX313" fmla="*/ 8604 w 10000"/>
                <a:gd name="connsiteY313" fmla="*/ 4210 h 10000"/>
                <a:gd name="connsiteX314" fmla="*/ 8550 w 10000"/>
                <a:gd name="connsiteY314" fmla="*/ 4056 h 10000"/>
                <a:gd name="connsiteX315" fmla="*/ 8481 w 10000"/>
                <a:gd name="connsiteY315" fmla="*/ 4138 h 10000"/>
                <a:gd name="connsiteX316" fmla="*/ 8389 w 10000"/>
                <a:gd name="connsiteY316" fmla="*/ 4107 h 10000"/>
                <a:gd name="connsiteX317" fmla="*/ 8352 w 10000"/>
                <a:gd name="connsiteY317" fmla="*/ 4406 h 10000"/>
                <a:gd name="connsiteX318" fmla="*/ 8481 w 10000"/>
                <a:gd name="connsiteY318" fmla="*/ 4655 h 10000"/>
                <a:gd name="connsiteX319" fmla="*/ 8405 w 10000"/>
                <a:gd name="connsiteY319" fmla="*/ 4830 h 10000"/>
                <a:gd name="connsiteX320" fmla="*/ 8225 w 10000"/>
                <a:gd name="connsiteY320" fmla="*/ 4799 h 10000"/>
                <a:gd name="connsiteX321" fmla="*/ 8209 w 10000"/>
                <a:gd name="connsiteY321" fmla="*/ 4655 h 10000"/>
                <a:gd name="connsiteX322" fmla="*/ 8102 w 10000"/>
                <a:gd name="connsiteY322" fmla="*/ 4634 h 10000"/>
                <a:gd name="connsiteX323" fmla="*/ 7641 w 10000"/>
                <a:gd name="connsiteY323" fmla="*/ 4779 h 10000"/>
                <a:gd name="connsiteX324" fmla="*/ 7610 w 10000"/>
                <a:gd name="connsiteY324" fmla="*/ 5005 h 10000"/>
                <a:gd name="connsiteX325" fmla="*/ 7550 w 10000"/>
                <a:gd name="connsiteY325" fmla="*/ 5666 h 10000"/>
                <a:gd name="connsiteX326" fmla="*/ 7496 w 10000"/>
                <a:gd name="connsiteY326" fmla="*/ 5965 h 10000"/>
                <a:gd name="connsiteX327" fmla="*/ 7701 w 10000"/>
                <a:gd name="connsiteY327" fmla="*/ 6161 h 10000"/>
                <a:gd name="connsiteX328" fmla="*/ 7745 w 10000"/>
                <a:gd name="connsiteY328" fmla="*/ 6243 h 10000"/>
                <a:gd name="connsiteX329" fmla="*/ 7771 w 10000"/>
                <a:gd name="connsiteY329" fmla="*/ 6285 h 10000"/>
                <a:gd name="connsiteX330" fmla="*/ 7793 w 10000"/>
                <a:gd name="connsiteY330" fmla="*/ 6068 h 10000"/>
                <a:gd name="connsiteX331" fmla="*/ 7912 w 10000"/>
                <a:gd name="connsiteY331" fmla="*/ 6089 h 10000"/>
                <a:gd name="connsiteX332" fmla="*/ 8004 w 10000"/>
                <a:gd name="connsiteY332" fmla="*/ 6367 h 10000"/>
                <a:gd name="connsiteX333" fmla="*/ 8064 w 10000"/>
                <a:gd name="connsiteY333" fmla="*/ 6616 h 10000"/>
                <a:gd name="connsiteX334" fmla="*/ 8111 w 10000"/>
                <a:gd name="connsiteY334" fmla="*/ 6781 h 10000"/>
                <a:gd name="connsiteX335" fmla="*/ 8048 w 10000"/>
                <a:gd name="connsiteY335" fmla="*/ 6491 h 10000"/>
                <a:gd name="connsiteX336" fmla="*/ 8124 w 10000"/>
                <a:gd name="connsiteY336" fmla="*/ 6336 h 10000"/>
                <a:gd name="connsiteX337" fmla="*/ 8177 w 10000"/>
                <a:gd name="connsiteY337" fmla="*/ 6512 h 10000"/>
                <a:gd name="connsiteX338" fmla="*/ 8300 w 10000"/>
                <a:gd name="connsiteY338" fmla="*/ 6987 h 10000"/>
                <a:gd name="connsiteX339" fmla="*/ 8361 w 10000"/>
                <a:gd name="connsiteY339" fmla="*/ 7152 h 10000"/>
                <a:gd name="connsiteX340" fmla="*/ 8490 w 10000"/>
                <a:gd name="connsiteY340" fmla="*/ 7482 h 10000"/>
                <a:gd name="connsiteX341" fmla="*/ 8604 w 10000"/>
                <a:gd name="connsiteY341" fmla="*/ 7854 h 10000"/>
                <a:gd name="connsiteX342" fmla="*/ 8474 w 10000"/>
                <a:gd name="connsiteY342" fmla="*/ 7647 h 10000"/>
                <a:gd name="connsiteX343" fmla="*/ 8443 w 10000"/>
                <a:gd name="connsiteY343" fmla="*/ 7678 h 10000"/>
                <a:gd name="connsiteX344" fmla="*/ 8512 w 10000"/>
                <a:gd name="connsiteY344" fmla="*/ 8050 h 10000"/>
                <a:gd name="connsiteX345" fmla="*/ 8588 w 10000"/>
                <a:gd name="connsiteY345" fmla="*/ 8266 h 10000"/>
                <a:gd name="connsiteX346" fmla="*/ 8642 w 10000"/>
                <a:gd name="connsiteY346" fmla="*/ 8472 h 10000"/>
                <a:gd name="connsiteX347" fmla="*/ 8566 w 10000"/>
                <a:gd name="connsiteY347" fmla="*/ 8421 h 10000"/>
                <a:gd name="connsiteX348" fmla="*/ 8556 w 10000"/>
                <a:gd name="connsiteY348" fmla="*/ 8669 h 10000"/>
                <a:gd name="connsiteX349" fmla="*/ 8497 w 10000"/>
                <a:gd name="connsiteY349" fmla="*/ 8493 h 10000"/>
                <a:gd name="connsiteX350" fmla="*/ 8481 w 10000"/>
                <a:gd name="connsiteY350" fmla="*/ 8421 h 10000"/>
                <a:gd name="connsiteX351" fmla="*/ 8361 w 10000"/>
                <a:gd name="connsiteY351" fmla="*/ 7751 h 10000"/>
                <a:gd name="connsiteX352" fmla="*/ 8322 w 10000"/>
                <a:gd name="connsiteY352" fmla="*/ 7524 h 10000"/>
                <a:gd name="connsiteX353" fmla="*/ 8291 w 10000"/>
                <a:gd name="connsiteY353" fmla="*/ 7378 h 10000"/>
                <a:gd name="connsiteX354" fmla="*/ 8275 w 10000"/>
                <a:gd name="connsiteY354" fmla="*/ 7306 h 10000"/>
                <a:gd name="connsiteX355" fmla="*/ 8139 w 10000"/>
                <a:gd name="connsiteY355" fmla="*/ 6863 h 10000"/>
                <a:gd name="connsiteX356" fmla="*/ 8199 w 10000"/>
                <a:gd name="connsiteY356" fmla="*/ 7451 h 10000"/>
                <a:gd name="connsiteX357" fmla="*/ 8247 w 10000"/>
                <a:gd name="connsiteY357" fmla="*/ 7998 h 10000"/>
                <a:gd name="connsiteX358" fmla="*/ 8177 w 10000"/>
                <a:gd name="connsiteY358" fmla="*/ 9133 h 10000"/>
                <a:gd name="connsiteX359" fmla="*/ 8124 w 10000"/>
                <a:gd name="connsiteY359" fmla="*/ 9484 h 10000"/>
                <a:gd name="connsiteX360" fmla="*/ 7972 w 10000"/>
                <a:gd name="connsiteY360" fmla="*/ 9432 h 10000"/>
                <a:gd name="connsiteX361" fmla="*/ 7897 w 10000"/>
                <a:gd name="connsiteY361" fmla="*/ 9660 h 10000"/>
                <a:gd name="connsiteX362" fmla="*/ 7868 w 10000"/>
                <a:gd name="connsiteY362" fmla="*/ 9588 h 10000"/>
                <a:gd name="connsiteX363" fmla="*/ 7884 w 10000"/>
                <a:gd name="connsiteY363" fmla="*/ 9536 h 10000"/>
                <a:gd name="connsiteX364" fmla="*/ 7897 w 10000"/>
                <a:gd name="connsiteY364" fmla="*/ 9380 h 10000"/>
                <a:gd name="connsiteX365" fmla="*/ 7884 w 10000"/>
                <a:gd name="connsiteY365" fmla="*/ 9236 h 10000"/>
                <a:gd name="connsiteX366" fmla="*/ 7793 w 10000"/>
                <a:gd name="connsiteY366" fmla="*/ 8865 h 10000"/>
                <a:gd name="connsiteX367" fmla="*/ 7831 w 10000"/>
                <a:gd name="connsiteY367" fmla="*/ 8741 h 10000"/>
                <a:gd name="connsiteX368" fmla="*/ 7928 w 10000"/>
                <a:gd name="connsiteY368" fmla="*/ 8844 h 10000"/>
                <a:gd name="connsiteX369" fmla="*/ 7912 w 10000"/>
                <a:gd name="connsiteY369" fmla="*/ 8318 h 10000"/>
                <a:gd name="connsiteX370" fmla="*/ 7906 w 10000"/>
                <a:gd name="connsiteY370" fmla="*/ 8019 h 10000"/>
                <a:gd name="connsiteX371" fmla="*/ 7846 w 10000"/>
                <a:gd name="connsiteY371" fmla="*/ 7802 h 10000"/>
                <a:gd name="connsiteX372" fmla="*/ 7723 w 10000"/>
                <a:gd name="connsiteY372" fmla="*/ 8050 h 10000"/>
                <a:gd name="connsiteX373" fmla="*/ 7619 w 10000"/>
                <a:gd name="connsiteY373" fmla="*/ 8019 h 10000"/>
                <a:gd name="connsiteX374" fmla="*/ 7528 w 10000"/>
                <a:gd name="connsiteY374" fmla="*/ 7699 h 10000"/>
                <a:gd name="connsiteX375" fmla="*/ 7355 w 10000"/>
                <a:gd name="connsiteY375" fmla="*/ 7482 h 10000"/>
                <a:gd name="connsiteX376" fmla="*/ 7279 w 10000"/>
                <a:gd name="connsiteY376" fmla="*/ 7482 h 10000"/>
                <a:gd name="connsiteX377" fmla="*/ 7080 w 10000"/>
                <a:gd name="connsiteY377" fmla="*/ 6781 h 10000"/>
                <a:gd name="connsiteX378" fmla="*/ 6901 w 10000"/>
                <a:gd name="connsiteY378" fmla="*/ 6460 h 10000"/>
                <a:gd name="connsiteX379" fmla="*/ 6724 w 10000"/>
                <a:gd name="connsiteY379" fmla="*/ 6336 h 10000"/>
                <a:gd name="connsiteX380" fmla="*/ 6583 w 10000"/>
                <a:gd name="connsiteY380" fmla="*/ 6408 h 10000"/>
                <a:gd name="connsiteX381" fmla="*/ 6567 w 10000"/>
                <a:gd name="connsiteY381" fmla="*/ 6585 h 10000"/>
                <a:gd name="connsiteX382" fmla="*/ 6664 w 10000"/>
                <a:gd name="connsiteY382" fmla="*/ 6760 h 10000"/>
                <a:gd name="connsiteX383" fmla="*/ 6636 w 10000"/>
                <a:gd name="connsiteY383" fmla="*/ 6935 h 10000"/>
                <a:gd name="connsiteX384" fmla="*/ 6636 w 10000"/>
                <a:gd name="connsiteY384" fmla="*/ 7399 h 10000"/>
                <a:gd name="connsiteX385" fmla="*/ 6560 w 10000"/>
                <a:gd name="connsiteY385" fmla="*/ 7482 h 10000"/>
                <a:gd name="connsiteX386" fmla="*/ 6485 w 10000"/>
                <a:gd name="connsiteY386" fmla="*/ 7378 h 10000"/>
                <a:gd name="connsiteX387" fmla="*/ 6400 w 10000"/>
                <a:gd name="connsiteY387" fmla="*/ 7399 h 10000"/>
                <a:gd name="connsiteX388" fmla="*/ 6334 w 10000"/>
                <a:gd name="connsiteY388" fmla="*/ 7275 h 10000"/>
                <a:gd name="connsiteX389" fmla="*/ 6258 w 10000"/>
                <a:gd name="connsiteY389" fmla="*/ 7358 h 10000"/>
                <a:gd name="connsiteX390" fmla="*/ 6220 w 10000"/>
                <a:gd name="connsiteY390" fmla="*/ 7524 h 10000"/>
                <a:gd name="connsiteX391" fmla="*/ 6081 w 10000"/>
                <a:gd name="connsiteY391" fmla="*/ 7606 h 10000"/>
                <a:gd name="connsiteX392" fmla="*/ 5892 w 10000"/>
                <a:gd name="connsiteY392" fmla="*/ 7575 h 10000"/>
                <a:gd name="connsiteX393" fmla="*/ 5855 w 10000"/>
                <a:gd name="connsiteY393" fmla="*/ 7327 h 10000"/>
                <a:gd name="connsiteX394" fmla="*/ 5643 w 10000"/>
                <a:gd name="connsiteY394" fmla="*/ 7255 h 10000"/>
                <a:gd name="connsiteX395" fmla="*/ 5539 w 10000"/>
                <a:gd name="connsiteY395" fmla="*/ 7358 h 10000"/>
                <a:gd name="connsiteX396" fmla="*/ 5416 w 10000"/>
                <a:gd name="connsiteY396" fmla="*/ 7203 h 10000"/>
                <a:gd name="connsiteX397" fmla="*/ 5372 w 10000"/>
                <a:gd name="connsiteY397"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972 w 10000"/>
                <a:gd name="connsiteY8" fmla="*/ 7152 h 10000"/>
                <a:gd name="connsiteX9" fmla="*/ 3584 w 10000"/>
                <a:gd name="connsiteY9" fmla="*/ 6388 h 10000"/>
                <a:gd name="connsiteX10" fmla="*/ 3471 w 10000"/>
                <a:gd name="connsiteY10" fmla="*/ 6212 h 10000"/>
                <a:gd name="connsiteX11" fmla="*/ 3496 w 10000"/>
                <a:gd name="connsiteY11" fmla="*/ 5965 h 10000"/>
                <a:gd name="connsiteX12" fmla="*/ 3291 w 10000"/>
                <a:gd name="connsiteY12" fmla="*/ 6367 h 10000"/>
                <a:gd name="connsiteX13" fmla="*/ 3244 w 10000"/>
                <a:gd name="connsiteY13" fmla="*/ 6161 h 10000"/>
                <a:gd name="connsiteX14" fmla="*/ 3093 w 10000"/>
                <a:gd name="connsiteY14" fmla="*/ 6161 h 10000"/>
                <a:gd name="connsiteX15" fmla="*/ 3080 w 10000"/>
                <a:gd name="connsiteY15" fmla="*/ 5944 h 10000"/>
                <a:gd name="connsiteX16" fmla="*/ 2995 w 10000"/>
                <a:gd name="connsiteY16" fmla="*/ 5821 h 10000"/>
                <a:gd name="connsiteX17" fmla="*/ 2897 w 10000"/>
                <a:gd name="connsiteY17" fmla="*/ 5790 h 10000"/>
                <a:gd name="connsiteX18" fmla="*/ 2828 w 10000"/>
                <a:gd name="connsiteY18" fmla="*/ 5996 h 10000"/>
                <a:gd name="connsiteX19" fmla="*/ 2633 w 10000"/>
                <a:gd name="connsiteY19" fmla="*/ 6120 h 10000"/>
                <a:gd name="connsiteX20" fmla="*/ 2412 w 10000"/>
                <a:gd name="connsiteY20" fmla="*/ 6212 h 10000"/>
                <a:gd name="connsiteX21" fmla="*/ 2443 w 10000"/>
                <a:gd name="connsiteY21" fmla="*/ 6408 h 10000"/>
                <a:gd name="connsiteX22" fmla="*/ 2525 w 10000"/>
                <a:gd name="connsiteY22" fmla="*/ 6512 h 10000"/>
                <a:gd name="connsiteX23" fmla="*/ 2428 w 10000"/>
                <a:gd name="connsiteY23" fmla="*/ 6512 h 10000"/>
                <a:gd name="connsiteX24" fmla="*/ 2406 w 10000"/>
                <a:gd name="connsiteY24" fmla="*/ 6832 h 10000"/>
                <a:gd name="connsiteX25" fmla="*/ 2535 w 10000"/>
                <a:gd name="connsiteY25" fmla="*/ 6987 h 10000"/>
                <a:gd name="connsiteX26" fmla="*/ 2497 w 10000"/>
                <a:gd name="connsiteY26" fmla="*/ 7183 h 10000"/>
                <a:gd name="connsiteX27" fmla="*/ 2384 w 10000"/>
                <a:gd name="connsiteY27" fmla="*/ 7183 h 10000"/>
                <a:gd name="connsiteX28" fmla="*/ 2308 w 10000"/>
                <a:gd name="connsiteY28" fmla="*/ 7028 h 10000"/>
                <a:gd name="connsiteX29" fmla="*/ 2147 w 10000"/>
                <a:gd name="connsiteY29" fmla="*/ 7131 h 10000"/>
                <a:gd name="connsiteX30" fmla="*/ 2109 w 10000"/>
                <a:gd name="connsiteY30" fmla="*/ 7203 h 10000"/>
                <a:gd name="connsiteX31" fmla="*/ 1983 w 10000"/>
                <a:gd name="connsiteY31" fmla="*/ 7028 h 10000"/>
                <a:gd name="connsiteX32" fmla="*/ 1854 w 10000"/>
                <a:gd name="connsiteY32" fmla="*/ 6884 h 10000"/>
                <a:gd name="connsiteX33" fmla="*/ 1741 w 10000"/>
                <a:gd name="connsiteY33" fmla="*/ 6863 h 10000"/>
                <a:gd name="connsiteX34" fmla="*/ 1610 w 10000"/>
                <a:gd name="connsiteY34" fmla="*/ 7183 h 10000"/>
                <a:gd name="connsiteX35" fmla="*/ 1655 w 10000"/>
                <a:gd name="connsiteY35" fmla="*/ 7430 h 10000"/>
                <a:gd name="connsiteX36" fmla="*/ 1604 w 10000"/>
                <a:gd name="connsiteY36" fmla="*/ 7430 h 10000"/>
                <a:gd name="connsiteX37" fmla="*/ 1551 w 10000"/>
                <a:gd name="connsiteY37" fmla="*/ 7255 h 10000"/>
                <a:gd name="connsiteX38" fmla="*/ 1513 w 10000"/>
                <a:gd name="connsiteY38" fmla="*/ 7430 h 10000"/>
                <a:gd name="connsiteX39" fmla="*/ 1519 w 10000"/>
                <a:gd name="connsiteY39" fmla="*/ 7854 h 10000"/>
                <a:gd name="connsiteX40" fmla="*/ 1604 w 10000"/>
                <a:gd name="connsiteY40" fmla="*/ 8070 h 10000"/>
                <a:gd name="connsiteX41" fmla="*/ 1648 w 10000"/>
                <a:gd name="connsiteY41" fmla="*/ 8019 h 10000"/>
                <a:gd name="connsiteX42" fmla="*/ 1741 w 10000"/>
                <a:gd name="connsiteY42" fmla="*/ 8493 h 10000"/>
                <a:gd name="connsiteX43" fmla="*/ 1610 w 10000"/>
                <a:gd name="connsiteY43" fmla="*/ 8669 h 10000"/>
                <a:gd name="connsiteX44" fmla="*/ 1595 w 10000"/>
                <a:gd name="connsiteY44" fmla="*/ 9009 h 10000"/>
                <a:gd name="connsiteX45" fmla="*/ 1664 w 10000"/>
                <a:gd name="connsiteY45" fmla="*/ 9236 h 10000"/>
                <a:gd name="connsiteX46" fmla="*/ 1664 w 10000"/>
                <a:gd name="connsiteY46" fmla="*/ 9484 h 10000"/>
                <a:gd name="connsiteX47" fmla="*/ 1769 w 10000"/>
                <a:gd name="connsiteY47" fmla="*/ 9835 h 10000"/>
                <a:gd name="connsiteX48" fmla="*/ 1703 w 10000"/>
                <a:gd name="connsiteY48" fmla="*/ 10000 h 10000"/>
                <a:gd name="connsiteX49" fmla="*/ 1604 w 10000"/>
                <a:gd name="connsiteY49" fmla="*/ 9753 h 10000"/>
                <a:gd name="connsiteX50" fmla="*/ 1465 w 10000"/>
                <a:gd name="connsiteY50" fmla="*/ 9505 h 10000"/>
                <a:gd name="connsiteX51" fmla="*/ 1406 w 10000"/>
                <a:gd name="connsiteY51" fmla="*/ 9588 h 10000"/>
                <a:gd name="connsiteX52" fmla="*/ 1308 w 10000"/>
                <a:gd name="connsiteY52" fmla="*/ 9380 h 10000"/>
                <a:gd name="connsiteX53" fmla="*/ 1097 w 10000"/>
                <a:gd name="connsiteY53" fmla="*/ 9339 h 10000"/>
                <a:gd name="connsiteX54" fmla="*/ 848 w 10000"/>
                <a:gd name="connsiteY54" fmla="*/ 8813 h 10000"/>
                <a:gd name="connsiteX55" fmla="*/ 914 w 10000"/>
                <a:gd name="connsiteY55" fmla="*/ 8721 h 10000"/>
                <a:gd name="connsiteX56" fmla="*/ 961 w 10000"/>
                <a:gd name="connsiteY56" fmla="*/ 8493 h 10000"/>
                <a:gd name="connsiteX57" fmla="*/ 908 w 10000"/>
                <a:gd name="connsiteY57" fmla="*/ 8390 h 10000"/>
                <a:gd name="connsiteX58" fmla="*/ 1021 w 10000"/>
                <a:gd name="connsiteY58" fmla="*/ 8245 h 10000"/>
                <a:gd name="connsiteX59" fmla="*/ 945 w 10000"/>
                <a:gd name="connsiteY59" fmla="*/ 8194 h 10000"/>
                <a:gd name="connsiteX60" fmla="*/ 958 w 10000"/>
                <a:gd name="connsiteY60" fmla="*/ 8091 h 10000"/>
                <a:gd name="connsiteX61" fmla="*/ 1005 w 10000"/>
                <a:gd name="connsiteY61" fmla="*/ 8111 h 10000"/>
                <a:gd name="connsiteX62" fmla="*/ 1059 w 10000"/>
                <a:gd name="connsiteY62" fmla="*/ 8019 h 10000"/>
                <a:gd name="connsiteX63" fmla="*/ 1034 w 10000"/>
                <a:gd name="connsiteY63" fmla="*/ 7864 h 10000"/>
                <a:gd name="connsiteX64" fmla="*/ 1043 w 10000"/>
                <a:gd name="connsiteY64" fmla="*/ 7503 h 10000"/>
                <a:gd name="connsiteX65" fmla="*/ 930 w 10000"/>
                <a:gd name="connsiteY65" fmla="*/ 7440 h 10000"/>
                <a:gd name="connsiteX66" fmla="*/ 832 w 10000"/>
                <a:gd name="connsiteY66" fmla="*/ 7286 h 10000"/>
                <a:gd name="connsiteX67" fmla="*/ 700 w 10000"/>
                <a:gd name="connsiteY67" fmla="*/ 7275 h 10000"/>
                <a:gd name="connsiteX68" fmla="*/ 684 w 10000"/>
                <a:gd name="connsiteY68" fmla="*/ 7090 h 10000"/>
                <a:gd name="connsiteX69" fmla="*/ 596 w 10000"/>
                <a:gd name="connsiteY69" fmla="*/ 6945 h 10000"/>
                <a:gd name="connsiteX70" fmla="*/ 615 w 10000"/>
                <a:gd name="connsiteY70" fmla="*/ 6822 h 10000"/>
                <a:gd name="connsiteX71" fmla="*/ 561 w 10000"/>
                <a:gd name="connsiteY71" fmla="*/ 6698 h 10000"/>
                <a:gd name="connsiteX72" fmla="*/ 457 w 10000"/>
                <a:gd name="connsiteY72" fmla="*/ 6698 h 10000"/>
                <a:gd name="connsiteX73" fmla="*/ 425 w 10000"/>
                <a:gd name="connsiteY73" fmla="*/ 6791 h 10000"/>
                <a:gd name="connsiteX74" fmla="*/ 400 w 10000"/>
                <a:gd name="connsiteY74" fmla="*/ 6750 h 10000"/>
                <a:gd name="connsiteX75" fmla="*/ 378 w 10000"/>
                <a:gd name="connsiteY75" fmla="*/ 6439 h 10000"/>
                <a:gd name="connsiteX76" fmla="*/ 419 w 10000"/>
                <a:gd name="connsiteY76" fmla="*/ 6470 h 10000"/>
                <a:gd name="connsiteX77" fmla="*/ 466 w 10000"/>
                <a:gd name="connsiteY77" fmla="*/ 6347 h 10000"/>
                <a:gd name="connsiteX78" fmla="*/ 400 w 10000"/>
                <a:gd name="connsiteY78" fmla="*/ 6233 h 10000"/>
                <a:gd name="connsiteX79" fmla="*/ 315 w 10000"/>
                <a:gd name="connsiteY79" fmla="*/ 6017 h 10000"/>
                <a:gd name="connsiteX80" fmla="*/ 334 w 10000"/>
                <a:gd name="connsiteY80" fmla="*/ 5821 h 10000"/>
                <a:gd name="connsiteX81" fmla="*/ 274 w 10000"/>
                <a:gd name="connsiteY81" fmla="*/ 5697 h 10000"/>
                <a:gd name="connsiteX82" fmla="*/ 227 w 10000"/>
                <a:gd name="connsiteY82" fmla="*/ 5728 h 10000"/>
                <a:gd name="connsiteX83" fmla="*/ 202 w 10000"/>
                <a:gd name="connsiteY83" fmla="*/ 5604 h 10000"/>
                <a:gd name="connsiteX84" fmla="*/ 164 w 10000"/>
                <a:gd name="connsiteY84" fmla="*/ 5645 h 10000"/>
                <a:gd name="connsiteX85" fmla="*/ 117 w 10000"/>
                <a:gd name="connsiteY85" fmla="*/ 5604 h 10000"/>
                <a:gd name="connsiteX86" fmla="*/ 69 w 10000"/>
                <a:gd name="connsiteY86" fmla="*/ 5181 h 10000"/>
                <a:gd name="connsiteX87" fmla="*/ 85 w 10000"/>
                <a:gd name="connsiteY87" fmla="*/ 5057 h 10000"/>
                <a:gd name="connsiteX88" fmla="*/ 41 w 10000"/>
                <a:gd name="connsiteY88" fmla="*/ 4892 h 10000"/>
                <a:gd name="connsiteX89" fmla="*/ 66 w 10000"/>
                <a:gd name="connsiteY89" fmla="*/ 4655 h 10000"/>
                <a:gd name="connsiteX90" fmla="*/ 211 w 10000"/>
                <a:gd name="connsiteY90" fmla="*/ 4510 h 10000"/>
                <a:gd name="connsiteX91" fmla="*/ 129 w 10000"/>
                <a:gd name="connsiteY91" fmla="*/ 4406 h 10000"/>
                <a:gd name="connsiteX92" fmla="*/ 82 w 10000"/>
                <a:gd name="connsiteY92" fmla="*/ 4283 h 10000"/>
                <a:gd name="connsiteX93" fmla="*/ 205 w 10000"/>
                <a:gd name="connsiteY93" fmla="*/ 3912 h 10000"/>
                <a:gd name="connsiteX94" fmla="*/ 249 w 10000"/>
                <a:gd name="connsiteY94" fmla="*/ 3664 h 10000"/>
                <a:gd name="connsiteX95" fmla="*/ 151 w 10000"/>
                <a:gd name="connsiteY95" fmla="*/ 3488 h 10000"/>
                <a:gd name="connsiteX96" fmla="*/ 189 w 10000"/>
                <a:gd name="connsiteY96" fmla="*/ 3344 h 10000"/>
                <a:gd name="connsiteX97" fmla="*/ 113 w 10000"/>
                <a:gd name="connsiteY97" fmla="*/ 3148 h 10000"/>
                <a:gd name="connsiteX98" fmla="*/ 113 w 10000"/>
                <a:gd name="connsiteY98" fmla="*/ 2972 h 10000"/>
                <a:gd name="connsiteX99" fmla="*/ 60 w 10000"/>
                <a:gd name="connsiteY99" fmla="*/ 2622 h 10000"/>
                <a:gd name="connsiteX100" fmla="*/ 98 w 10000"/>
                <a:gd name="connsiteY100" fmla="*/ 2404 h 10000"/>
                <a:gd name="connsiteX101" fmla="*/ 38 w 10000"/>
                <a:gd name="connsiteY101" fmla="*/ 2301 h 10000"/>
                <a:gd name="connsiteX102" fmla="*/ 0 w 10000"/>
                <a:gd name="connsiteY102" fmla="*/ 2178 h 10000"/>
                <a:gd name="connsiteX103" fmla="*/ 54 w 10000"/>
                <a:gd name="connsiteY103" fmla="*/ 1951 h 10000"/>
                <a:gd name="connsiteX104" fmla="*/ 120 w 10000"/>
                <a:gd name="connsiteY104" fmla="*/ 1910 h 10000"/>
                <a:gd name="connsiteX105" fmla="*/ 195 w 10000"/>
                <a:gd name="connsiteY105" fmla="*/ 1858 h 10000"/>
                <a:gd name="connsiteX106" fmla="*/ 309 w 10000"/>
                <a:gd name="connsiteY106" fmla="*/ 1951 h 10000"/>
                <a:gd name="connsiteX107" fmla="*/ 482 w 10000"/>
                <a:gd name="connsiteY107" fmla="*/ 2054 h 10000"/>
                <a:gd name="connsiteX108" fmla="*/ 633 w 10000"/>
                <a:gd name="connsiteY108" fmla="*/ 2229 h 10000"/>
                <a:gd name="connsiteX109" fmla="*/ 756 w 10000"/>
                <a:gd name="connsiteY109" fmla="*/ 2373 h 10000"/>
                <a:gd name="connsiteX110" fmla="*/ 725 w 10000"/>
                <a:gd name="connsiteY110" fmla="*/ 2777 h 10000"/>
                <a:gd name="connsiteX111" fmla="*/ 362 w 10000"/>
                <a:gd name="connsiteY111" fmla="*/ 2673 h 10000"/>
                <a:gd name="connsiteX112" fmla="*/ 243 w 10000"/>
                <a:gd name="connsiteY112" fmla="*/ 2550 h 10000"/>
                <a:gd name="connsiteX113" fmla="*/ 287 w 10000"/>
                <a:gd name="connsiteY113" fmla="*/ 2622 h 10000"/>
                <a:gd name="connsiteX114" fmla="*/ 331 w 10000"/>
                <a:gd name="connsiteY114" fmla="*/ 2797 h 10000"/>
                <a:gd name="connsiteX115" fmla="*/ 400 w 10000"/>
                <a:gd name="connsiteY115" fmla="*/ 2921 h 10000"/>
                <a:gd name="connsiteX116" fmla="*/ 416 w 10000"/>
                <a:gd name="connsiteY116" fmla="*/ 3189 h 10000"/>
                <a:gd name="connsiteX117" fmla="*/ 507 w 10000"/>
                <a:gd name="connsiteY117" fmla="*/ 3313 h 10000"/>
                <a:gd name="connsiteX118" fmla="*/ 583 w 10000"/>
                <a:gd name="connsiteY118" fmla="*/ 3436 h 10000"/>
                <a:gd name="connsiteX119" fmla="*/ 605 w 10000"/>
                <a:gd name="connsiteY119" fmla="*/ 3467 h 10000"/>
                <a:gd name="connsiteX120" fmla="*/ 649 w 10000"/>
                <a:gd name="connsiteY120" fmla="*/ 3436 h 10000"/>
                <a:gd name="connsiteX121" fmla="*/ 633 w 10000"/>
                <a:gd name="connsiteY121" fmla="*/ 3364 h 10000"/>
                <a:gd name="connsiteX122" fmla="*/ 545 w 10000"/>
                <a:gd name="connsiteY122" fmla="*/ 3189 h 10000"/>
                <a:gd name="connsiteX123" fmla="*/ 801 w 10000"/>
                <a:gd name="connsiteY123" fmla="*/ 3344 h 10000"/>
                <a:gd name="connsiteX124" fmla="*/ 810 w 10000"/>
                <a:gd name="connsiteY124" fmla="*/ 3271 h 10000"/>
                <a:gd name="connsiteX125" fmla="*/ 785 w 10000"/>
                <a:gd name="connsiteY125" fmla="*/ 3220 h 10000"/>
                <a:gd name="connsiteX126" fmla="*/ 741 w 10000"/>
                <a:gd name="connsiteY126" fmla="*/ 2993 h 10000"/>
                <a:gd name="connsiteX127" fmla="*/ 870 w 10000"/>
                <a:gd name="connsiteY127" fmla="*/ 2777 h 10000"/>
                <a:gd name="connsiteX128" fmla="*/ 968 w 10000"/>
                <a:gd name="connsiteY128" fmla="*/ 2921 h 10000"/>
                <a:gd name="connsiteX129" fmla="*/ 999 w 10000"/>
                <a:gd name="connsiteY129" fmla="*/ 2725 h 10000"/>
                <a:gd name="connsiteX130" fmla="*/ 952 w 10000"/>
                <a:gd name="connsiteY130" fmla="*/ 2653 h 10000"/>
                <a:gd name="connsiteX131" fmla="*/ 936 w 10000"/>
                <a:gd name="connsiteY131" fmla="*/ 2281 h 10000"/>
                <a:gd name="connsiteX132" fmla="*/ 914 w 10000"/>
                <a:gd name="connsiteY132" fmla="*/ 2229 h 10000"/>
                <a:gd name="connsiteX133" fmla="*/ 1037 w 10000"/>
                <a:gd name="connsiteY133" fmla="*/ 2250 h 10000"/>
                <a:gd name="connsiteX134" fmla="*/ 1087 w 10000"/>
                <a:gd name="connsiteY134" fmla="*/ 2404 h 10000"/>
                <a:gd name="connsiteX135" fmla="*/ 1021 w 10000"/>
                <a:gd name="connsiteY135" fmla="*/ 2529 h 10000"/>
                <a:gd name="connsiteX136" fmla="*/ 1135 w 10000"/>
                <a:gd name="connsiteY136" fmla="*/ 2694 h 10000"/>
                <a:gd name="connsiteX137" fmla="*/ 1226 w 10000"/>
                <a:gd name="connsiteY137" fmla="*/ 2529 h 10000"/>
                <a:gd name="connsiteX138" fmla="*/ 1339 w 10000"/>
                <a:gd name="connsiteY138" fmla="*/ 2301 h 10000"/>
                <a:gd name="connsiteX139" fmla="*/ 1459 w 10000"/>
                <a:gd name="connsiteY139" fmla="*/ 2157 h 10000"/>
                <a:gd name="connsiteX140" fmla="*/ 1497 w 10000"/>
                <a:gd name="connsiteY140" fmla="*/ 2250 h 10000"/>
                <a:gd name="connsiteX141" fmla="*/ 1807 w 10000"/>
                <a:gd name="connsiteY141" fmla="*/ 2054 h 10000"/>
                <a:gd name="connsiteX142" fmla="*/ 1870 w 10000"/>
                <a:gd name="connsiteY142" fmla="*/ 2250 h 10000"/>
                <a:gd name="connsiteX143" fmla="*/ 1860 w 10000"/>
                <a:gd name="connsiteY143" fmla="*/ 2002 h 10000"/>
                <a:gd name="connsiteX144" fmla="*/ 1778 w 10000"/>
                <a:gd name="connsiteY144" fmla="*/ 1786 h 10000"/>
                <a:gd name="connsiteX145" fmla="*/ 1763 w 10000"/>
                <a:gd name="connsiteY145" fmla="*/ 1703 h 10000"/>
                <a:gd name="connsiteX146" fmla="*/ 1823 w 10000"/>
                <a:gd name="connsiteY146" fmla="*/ 1786 h 10000"/>
                <a:gd name="connsiteX147" fmla="*/ 2034 w 10000"/>
                <a:gd name="connsiteY147" fmla="*/ 1951 h 10000"/>
                <a:gd name="connsiteX148" fmla="*/ 2270 w 10000"/>
                <a:gd name="connsiteY148" fmla="*/ 2126 h 10000"/>
                <a:gd name="connsiteX149" fmla="*/ 2384 w 10000"/>
                <a:gd name="connsiteY149" fmla="*/ 2250 h 10000"/>
                <a:gd name="connsiteX150" fmla="*/ 2421 w 10000"/>
                <a:gd name="connsiteY150" fmla="*/ 2074 h 10000"/>
                <a:gd name="connsiteX151" fmla="*/ 2368 w 10000"/>
                <a:gd name="connsiteY151" fmla="*/ 2033 h 10000"/>
                <a:gd name="connsiteX152" fmla="*/ 2299 w 10000"/>
                <a:gd name="connsiteY152" fmla="*/ 1930 h 10000"/>
                <a:gd name="connsiteX153" fmla="*/ 2254 w 10000"/>
                <a:gd name="connsiteY153" fmla="*/ 1734 h 10000"/>
                <a:gd name="connsiteX154" fmla="*/ 2185 w 10000"/>
                <a:gd name="connsiteY154" fmla="*/ 1486 h 10000"/>
                <a:gd name="connsiteX155" fmla="*/ 2210 w 10000"/>
                <a:gd name="connsiteY155" fmla="*/ 1434 h 10000"/>
                <a:gd name="connsiteX156" fmla="*/ 2232 w 10000"/>
                <a:gd name="connsiteY156" fmla="*/ 1455 h 10000"/>
                <a:gd name="connsiteX157" fmla="*/ 2292 w 10000"/>
                <a:gd name="connsiteY157" fmla="*/ 1115 h 10000"/>
                <a:gd name="connsiteX158" fmla="*/ 2443 w 10000"/>
                <a:gd name="connsiteY158" fmla="*/ 1135 h 10000"/>
                <a:gd name="connsiteX159" fmla="*/ 2488 w 10000"/>
                <a:gd name="connsiteY159" fmla="*/ 1311 h 10000"/>
                <a:gd name="connsiteX160" fmla="*/ 2519 w 10000"/>
                <a:gd name="connsiteY160" fmla="*/ 1538 h 10000"/>
                <a:gd name="connsiteX161" fmla="*/ 2573 w 10000"/>
                <a:gd name="connsiteY161" fmla="*/ 1734 h 10000"/>
                <a:gd name="connsiteX162" fmla="*/ 2670 w 10000"/>
                <a:gd name="connsiteY162" fmla="*/ 2157 h 10000"/>
                <a:gd name="connsiteX163" fmla="*/ 2481 w 10000"/>
                <a:gd name="connsiteY163" fmla="*/ 2673 h 10000"/>
                <a:gd name="connsiteX164" fmla="*/ 2557 w 10000"/>
                <a:gd name="connsiteY164" fmla="*/ 2746 h 10000"/>
                <a:gd name="connsiteX165" fmla="*/ 2655 w 10000"/>
                <a:gd name="connsiteY165" fmla="*/ 2818 h 10000"/>
                <a:gd name="connsiteX166" fmla="*/ 2784 w 10000"/>
                <a:gd name="connsiteY166" fmla="*/ 2622 h 10000"/>
                <a:gd name="connsiteX167" fmla="*/ 2790 w 10000"/>
                <a:gd name="connsiteY167" fmla="*/ 2404 h 10000"/>
                <a:gd name="connsiteX168" fmla="*/ 2746 w 10000"/>
                <a:gd name="connsiteY168" fmla="*/ 2301 h 10000"/>
                <a:gd name="connsiteX169" fmla="*/ 2919 w 10000"/>
                <a:gd name="connsiteY169" fmla="*/ 2250 h 10000"/>
                <a:gd name="connsiteX170" fmla="*/ 2989 w 10000"/>
                <a:gd name="connsiteY170" fmla="*/ 2497 h 10000"/>
                <a:gd name="connsiteX171" fmla="*/ 2989 w 10000"/>
                <a:gd name="connsiteY171" fmla="*/ 2425 h 10000"/>
                <a:gd name="connsiteX172" fmla="*/ 2973 w 10000"/>
                <a:gd name="connsiteY172" fmla="*/ 2353 h 10000"/>
                <a:gd name="connsiteX173" fmla="*/ 2967 w 10000"/>
                <a:gd name="connsiteY173" fmla="*/ 2178 h 10000"/>
                <a:gd name="connsiteX174" fmla="*/ 2800 w 10000"/>
                <a:gd name="connsiteY174" fmla="*/ 1930 h 10000"/>
                <a:gd name="connsiteX175" fmla="*/ 2670 w 10000"/>
                <a:gd name="connsiteY175" fmla="*/ 2002 h 10000"/>
                <a:gd name="connsiteX176" fmla="*/ 2617 w 10000"/>
                <a:gd name="connsiteY176" fmla="*/ 1683 h 10000"/>
                <a:gd name="connsiteX177" fmla="*/ 2563 w 10000"/>
                <a:gd name="connsiteY177" fmla="*/ 1507 h 10000"/>
                <a:gd name="connsiteX178" fmla="*/ 2617 w 10000"/>
                <a:gd name="connsiteY178" fmla="*/ 1331 h 10000"/>
                <a:gd name="connsiteX179" fmla="*/ 2611 w 10000"/>
                <a:gd name="connsiteY179" fmla="*/ 1166 h 10000"/>
                <a:gd name="connsiteX180" fmla="*/ 2588 w 10000"/>
                <a:gd name="connsiteY180" fmla="*/ 1115 h 10000"/>
                <a:gd name="connsiteX181" fmla="*/ 2626 w 10000"/>
                <a:gd name="connsiteY181" fmla="*/ 1115 h 10000"/>
                <a:gd name="connsiteX182" fmla="*/ 2670 w 10000"/>
                <a:gd name="connsiteY182" fmla="*/ 1455 h 10000"/>
                <a:gd name="connsiteX183" fmla="*/ 2891 w 10000"/>
                <a:gd name="connsiteY183" fmla="*/ 1662 h 10000"/>
                <a:gd name="connsiteX184" fmla="*/ 2724 w 10000"/>
                <a:gd name="connsiteY184" fmla="*/ 1383 h 10000"/>
                <a:gd name="connsiteX185" fmla="*/ 3049 w 10000"/>
                <a:gd name="connsiteY185" fmla="*/ 1383 h 10000"/>
                <a:gd name="connsiteX186" fmla="*/ 3102 w 10000"/>
                <a:gd name="connsiteY186" fmla="*/ 1362 h 10000"/>
                <a:gd name="connsiteX187" fmla="*/ 2897 w 10000"/>
                <a:gd name="connsiteY187" fmla="*/ 1115 h 10000"/>
                <a:gd name="connsiteX188" fmla="*/ 2951 w 10000"/>
                <a:gd name="connsiteY188" fmla="*/ 888 h 10000"/>
                <a:gd name="connsiteX189" fmla="*/ 3178 w 10000"/>
                <a:gd name="connsiteY189" fmla="*/ 888 h 10000"/>
                <a:gd name="connsiteX190" fmla="*/ 3156 w 10000"/>
                <a:gd name="connsiteY190" fmla="*/ 713 h 10000"/>
                <a:gd name="connsiteX191" fmla="*/ 3231 w 10000"/>
                <a:gd name="connsiteY191" fmla="*/ 589 h 10000"/>
                <a:gd name="connsiteX192" fmla="*/ 3276 w 10000"/>
                <a:gd name="connsiteY192" fmla="*/ 548 h 10000"/>
                <a:gd name="connsiteX193" fmla="*/ 3443 w 10000"/>
                <a:gd name="connsiteY193" fmla="*/ 423 h 10000"/>
                <a:gd name="connsiteX194" fmla="*/ 3487 w 10000"/>
                <a:gd name="connsiteY194" fmla="*/ 371 h 10000"/>
                <a:gd name="connsiteX195" fmla="*/ 3480 w 10000"/>
                <a:gd name="connsiteY195" fmla="*/ 444 h 10000"/>
                <a:gd name="connsiteX196" fmla="*/ 3660 w 10000"/>
                <a:gd name="connsiteY196" fmla="*/ 371 h 10000"/>
                <a:gd name="connsiteX197" fmla="*/ 3805 w 10000"/>
                <a:gd name="connsiteY197" fmla="*/ 248 h 10000"/>
                <a:gd name="connsiteX198" fmla="*/ 3827 w 10000"/>
                <a:gd name="connsiteY198" fmla="*/ 0 h 10000"/>
                <a:gd name="connsiteX199" fmla="*/ 3988 w 10000"/>
                <a:gd name="connsiteY199" fmla="*/ 21 h 10000"/>
                <a:gd name="connsiteX200" fmla="*/ 3978 w 10000"/>
                <a:gd name="connsiteY200" fmla="*/ 93 h 10000"/>
                <a:gd name="connsiteX201" fmla="*/ 3988 w 10000"/>
                <a:gd name="connsiteY201" fmla="*/ 176 h 10000"/>
                <a:gd name="connsiteX202" fmla="*/ 4085 w 10000"/>
                <a:gd name="connsiteY202" fmla="*/ 248 h 10000"/>
                <a:gd name="connsiteX203" fmla="*/ 4379 w 10000"/>
                <a:gd name="connsiteY203" fmla="*/ 268 h 10000"/>
                <a:gd name="connsiteX204" fmla="*/ 4539 w 10000"/>
                <a:gd name="connsiteY204" fmla="*/ 392 h 10000"/>
                <a:gd name="connsiteX205" fmla="*/ 4486 w 10000"/>
                <a:gd name="connsiteY205" fmla="*/ 795 h 10000"/>
                <a:gd name="connsiteX206" fmla="*/ 4426 w 10000"/>
                <a:gd name="connsiteY206" fmla="*/ 919 h 10000"/>
                <a:gd name="connsiteX207" fmla="*/ 4356 w 10000"/>
                <a:gd name="connsiteY207" fmla="*/ 1043 h 10000"/>
                <a:gd name="connsiteX208" fmla="*/ 4372 w 10000"/>
                <a:gd name="connsiteY208" fmla="*/ 1115 h 10000"/>
                <a:gd name="connsiteX209" fmla="*/ 4583 w 10000"/>
                <a:gd name="connsiteY209" fmla="*/ 919 h 10000"/>
                <a:gd name="connsiteX210" fmla="*/ 5060 w 10000"/>
                <a:gd name="connsiteY210" fmla="*/ 991 h 10000"/>
                <a:gd name="connsiteX211" fmla="*/ 5108 w 10000"/>
                <a:gd name="connsiteY211" fmla="*/ 1063 h 10000"/>
                <a:gd name="connsiteX212" fmla="*/ 5212 w 10000"/>
                <a:gd name="connsiteY212" fmla="*/ 1187 h 10000"/>
                <a:gd name="connsiteX213" fmla="*/ 5357 w 10000"/>
                <a:gd name="connsiteY213" fmla="*/ 919 h 10000"/>
                <a:gd name="connsiteX214" fmla="*/ 5577 w 10000"/>
                <a:gd name="connsiteY214" fmla="*/ 1063 h 10000"/>
                <a:gd name="connsiteX215" fmla="*/ 5643 w 10000"/>
                <a:gd name="connsiteY215" fmla="*/ 1115 h 10000"/>
                <a:gd name="connsiteX216" fmla="*/ 5697 w 10000"/>
                <a:gd name="connsiteY216" fmla="*/ 1166 h 10000"/>
                <a:gd name="connsiteX217" fmla="*/ 5908 w 10000"/>
                <a:gd name="connsiteY217" fmla="*/ 1631 h 10000"/>
                <a:gd name="connsiteX218" fmla="*/ 5984 w 10000"/>
                <a:gd name="connsiteY218" fmla="*/ 1611 h 10000"/>
                <a:gd name="connsiteX219" fmla="*/ 5977 w 10000"/>
                <a:gd name="connsiteY219" fmla="*/ 1507 h 10000"/>
                <a:gd name="connsiteX220" fmla="*/ 5984 w 10000"/>
                <a:gd name="connsiteY220" fmla="*/ 1383 h 10000"/>
                <a:gd name="connsiteX221" fmla="*/ 6091 w 10000"/>
                <a:gd name="connsiteY221" fmla="*/ 1486 h 10000"/>
                <a:gd name="connsiteX222" fmla="*/ 6264 w 10000"/>
                <a:gd name="connsiteY222" fmla="*/ 1507 h 10000"/>
                <a:gd name="connsiteX223" fmla="*/ 6409 w 10000"/>
                <a:gd name="connsiteY223" fmla="*/ 1455 h 10000"/>
                <a:gd name="connsiteX224" fmla="*/ 6340 w 10000"/>
                <a:gd name="connsiteY224" fmla="*/ 1362 h 10000"/>
                <a:gd name="connsiteX225" fmla="*/ 6431 w 10000"/>
                <a:gd name="connsiteY225" fmla="*/ 1084 h 10000"/>
                <a:gd name="connsiteX226" fmla="*/ 6687 w 10000"/>
                <a:gd name="connsiteY226" fmla="*/ 1207 h 10000"/>
                <a:gd name="connsiteX227" fmla="*/ 6945 w 10000"/>
                <a:gd name="connsiteY227" fmla="*/ 1331 h 10000"/>
                <a:gd name="connsiteX228" fmla="*/ 6967 w 10000"/>
                <a:gd name="connsiteY228" fmla="*/ 1362 h 10000"/>
                <a:gd name="connsiteX229" fmla="*/ 7194 w 10000"/>
                <a:gd name="connsiteY229" fmla="*/ 1611 h 10000"/>
                <a:gd name="connsiteX230" fmla="*/ 7367 w 10000"/>
                <a:gd name="connsiteY230" fmla="*/ 1507 h 10000"/>
                <a:gd name="connsiteX231" fmla="*/ 7582 w 10000"/>
                <a:gd name="connsiteY231" fmla="*/ 1538 h 10000"/>
                <a:gd name="connsiteX232" fmla="*/ 7657 w 10000"/>
                <a:gd name="connsiteY232" fmla="*/ 1611 h 10000"/>
                <a:gd name="connsiteX233" fmla="*/ 7928 w 10000"/>
                <a:gd name="connsiteY233" fmla="*/ 1930 h 10000"/>
                <a:gd name="connsiteX234" fmla="*/ 8231 w 10000"/>
                <a:gd name="connsiteY234" fmla="*/ 1879 h 10000"/>
                <a:gd name="connsiteX235" fmla="*/ 8339 w 10000"/>
                <a:gd name="connsiteY235" fmla="*/ 2033 h 10000"/>
                <a:gd name="connsiteX236" fmla="*/ 8490 w 10000"/>
                <a:gd name="connsiteY236" fmla="*/ 2157 h 10000"/>
                <a:gd name="connsiteX237" fmla="*/ 8519 w 10000"/>
                <a:gd name="connsiteY237" fmla="*/ 2105 h 10000"/>
                <a:gd name="connsiteX238" fmla="*/ 8497 w 10000"/>
                <a:gd name="connsiteY238" fmla="*/ 2074 h 10000"/>
                <a:gd name="connsiteX239" fmla="*/ 8383 w 10000"/>
                <a:gd name="connsiteY239" fmla="*/ 1930 h 10000"/>
                <a:gd name="connsiteX240" fmla="*/ 8465 w 10000"/>
                <a:gd name="connsiteY240" fmla="*/ 1755 h 10000"/>
                <a:gd name="connsiteX241" fmla="*/ 8664 w 10000"/>
                <a:gd name="connsiteY241" fmla="*/ 1910 h 10000"/>
                <a:gd name="connsiteX242" fmla="*/ 8950 w 10000"/>
                <a:gd name="connsiteY242" fmla="*/ 1982 h 10000"/>
                <a:gd name="connsiteX243" fmla="*/ 9206 w 10000"/>
                <a:gd name="connsiteY243" fmla="*/ 2260 h 10000"/>
                <a:gd name="connsiteX244" fmla="*/ 9344 w 10000"/>
                <a:gd name="connsiteY244" fmla="*/ 2332 h 10000"/>
                <a:gd name="connsiteX245" fmla="*/ 9451 w 10000"/>
                <a:gd name="connsiteY245" fmla="*/ 2446 h 10000"/>
                <a:gd name="connsiteX246" fmla="*/ 9574 w 10000"/>
                <a:gd name="connsiteY246" fmla="*/ 2632 h 10000"/>
                <a:gd name="connsiteX247" fmla="*/ 9631 w 10000"/>
                <a:gd name="connsiteY247" fmla="*/ 2756 h 10000"/>
                <a:gd name="connsiteX248" fmla="*/ 9726 w 10000"/>
                <a:gd name="connsiteY248" fmla="*/ 2787 h 10000"/>
                <a:gd name="connsiteX249" fmla="*/ 9590 w 10000"/>
                <a:gd name="connsiteY249" fmla="*/ 2570 h 10000"/>
                <a:gd name="connsiteX250" fmla="*/ 9915 w 10000"/>
                <a:gd name="connsiteY250" fmla="*/ 2756 h 10000"/>
                <a:gd name="connsiteX251" fmla="*/ 10000 w 10000"/>
                <a:gd name="connsiteY251" fmla="*/ 3014 h 10000"/>
                <a:gd name="connsiteX252" fmla="*/ 9934 w 10000"/>
                <a:gd name="connsiteY252" fmla="*/ 2941 h 10000"/>
                <a:gd name="connsiteX253" fmla="*/ 9874 w 10000"/>
                <a:gd name="connsiteY253" fmla="*/ 2952 h 10000"/>
                <a:gd name="connsiteX254" fmla="*/ 10000 w 10000"/>
                <a:gd name="connsiteY254" fmla="*/ 3292 h 10000"/>
                <a:gd name="connsiteX255" fmla="*/ 9845 w 10000"/>
                <a:gd name="connsiteY255" fmla="*/ 3220 h 10000"/>
                <a:gd name="connsiteX256" fmla="*/ 9745 w 10000"/>
                <a:gd name="connsiteY256" fmla="*/ 3075 h 10000"/>
                <a:gd name="connsiteX257" fmla="*/ 9641 w 10000"/>
                <a:gd name="connsiteY257" fmla="*/ 2972 h 10000"/>
                <a:gd name="connsiteX258" fmla="*/ 9555 w 10000"/>
                <a:gd name="connsiteY258" fmla="*/ 3003 h 10000"/>
                <a:gd name="connsiteX259" fmla="*/ 9470 w 10000"/>
                <a:gd name="connsiteY259" fmla="*/ 2787 h 10000"/>
                <a:gd name="connsiteX260" fmla="*/ 9366 w 10000"/>
                <a:gd name="connsiteY260" fmla="*/ 2725 h 10000"/>
                <a:gd name="connsiteX261" fmla="*/ 9461 w 10000"/>
                <a:gd name="connsiteY261" fmla="*/ 2972 h 10000"/>
                <a:gd name="connsiteX262" fmla="*/ 9470 w 10000"/>
                <a:gd name="connsiteY262" fmla="*/ 3230 h 10000"/>
                <a:gd name="connsiteX263" fmla="*/ 9288 w 10000"/>
                <a:gd name="connsiteY263" fmla="*/ 3065 h 10000"/>
                <a:gd name="connsiteX264" fmla="*/ 9262 w 10000"/>
                <a:gd name="connsiteY264" fmla="*/ 3230 h 10000"/>
                <a:gd name="connsiteX265" fmla="*/ 9363 w 10000"/>
                <a:gd name="connsiteY265" fmla="*/ 3230 h 10000"/>
                <a:gd name="connsiteX266" fmla="*/ 9451 w 10000"/>
                <a:gd name="connsiteY266" fmla="*/ 3354 h 10000"/>
                <a:gd name="connsiteX267" fmla="*/ 9659 w 10000"/>
                <a:gd name="connsiteY267" fmla="*/ 3685 h 10000"/>
                <a:gd name="connsiteX268" fmla="*/ 9735 w 10000"/>
                <a:gd name="connsiteY268" fmla="*/ 3839 h 10000"/>
                <a:gd name="connsiteX269" fmla="*/ 9552 w 10000"/>
                <a:gd name="connsiteY269" fmla="*/ 3757 h 10000"/>
                <a:gd name="connsiteX270" fmla="*/ 9451 w 10000"/>
                <a:gd name="connsiteY270" fmla="*/ 4025 h 10000"/>
                <a:gd name="connsiteX271" fmla="*/ 9385 w 10000"/>
                <a:gd name="connsiteY271" fmla="*/ 4283 h 10000"/>
                <a:gd name="connsiteX272" fmla="*/ 9376 w 10000"/>
                <a:gd name="connsiteY272" fmla="*/ 4499 h 10000"/>
                <a:gd name="connsiteX273" fmla="*/ 9335 w 10000"/>
                <a:gd name="connsiteY273" fmla="*/ 4303 h 10000"/>
                <a:gd name="connsiteX274" fmla="*/ 9149 w 10000"/>
                <a:gd name="connsiteY274" fmla="*/ 4314 h 10000"/>
                <a:gd name="connsiteX275" fmla="*/ 9155 w 10000"/>
                <a:gd name="connsiteY275" fmla="*/ 4531 h 10000"/>
                <a:gd name="connsiteX276" fmla="*/ 9061 w 10000"/>
                <a:gd name="connsiteY276" fmla="*/ 4365 h 10000"/>
                <a:gd name="connsiteX277" fmla="*/ 9054 w 10000"/>
                <a:gd name="connsiteY277" fmla="*/ 4521 h 10000"/>
                <a:gd name="connsiteX278" fmla="*/ 8998 w 10000"/>
                <a:gd name="connsiteY278" fmla="*/ 4458 h 10000"/>
                <a:gd name="connsiteX279" fmla="*/ 8966 w 10000"/>
                <a:gd name="connsiteY279" fmla="*/ 4562 h 10000"/>
                <a:gd name="connsiteX280" fmla="*/ 9007 w 10000"/>
                <a:gd name="connsiteY280" fmla="*/ 4686 h 10000"/>
                <a:gd name="connsiteX281" fmla="*/ 9004 w 10000"/>
                <a:gd name="connsiteY281" fmla="*/ 4995 h 10000"/>
                <a:gd name="connsiteX282" fmla="*/ 9073 w 10000"/>
                <a:gd name="connsiteY282" fmla="*/ 5211 h 10000"/>
                <a:gd name="connsiteX283" fmla="*/ 9130 w 10000"/>
                <a:gd name="connsiteY283" fmla="*/ 5150 h 10000"/>
                <a:gd name="connsiteX284" fmla="*/ 9158 w 10000"/>
                <a:gd name="connsiteY284" fmla="*/ 5211 h 10000"/>
                <a:gd name="connsiteX285" fmla="*/ 9231 w 10000"/>
                <a:gd name="connsiteY285" fmla="*/ 5428 h 10000"/>
                <a:gd name="connsiteX286" fmla="*/ 9215 w 10000"/>
                <a:gd name="connsiteY286" fmla="*/ 5604 h 10000"/>
                <a:gd name="connsiteX287" fmla="*/ 9221 w 10000"/>
                <a:gd name="connsiteY287" fmla="*/ 5769 h 10000"/>
                <a:gd name="connsiteX288" fmla="*/ 9269 w 10000"/>
                <a:gd name="connsiteY288" fmla="*/ 5883 h 10000"/>
                <a:gd name="connsiteX289" fmla="*/ 9344 w 10000"/>
                <a:gd name="connsiteY289" fmla="*/ 6068 h 10000"/>
                <a:gd name="connsiteX290" fmla="*/ 9269 w 10000"/>
                <a:gd name="connsiteY290" fmla="*/ 6068 h 10000"/>
                <a:gd name="connsiteX291" fmla="*/ 9253 w 10000"/>
                <a:gd name="connsiteY291" fmla="*/ 6223 h 10000"/>
                <a:gd name="connsiteX292" fmla="*/ 9319 w 10000"/>
                <a:gd name="connsiteY292" fmla="*/ 6408 h 10000"/>
                <a:gd name="connsiteX293" fmla="*/ 9250 w 10000"/>
                <a:gd name="connsiteY293" fmla="*/ 6502 h 10000"/>
                <a:gd name="connsiteX294" fmla="*/ 9297 w 10000"/>
                <a:gd name="connsiteY294" fmla="*/ 6729 h 10000"/>
                <a:gd name="connsiteX295" fmla="*/ 9281 w 10000"/>
                <a:gd name="connsiteY295" fmla="*/ 7069 h 10000"/>
                <a:gd name="connsiteX296" fmla="*/ 9061 w 10000"/>
                <a:gd name="connsiteY296" fmla="*/ 6408 h 10000"/>
                <a:gd name="connsiteX297" fmla="*/ 8824 w 10000"/>
                <a:gd name="connsiteY297" fmla="*/ 5759 h 10000"/>
                <a:gd name="connsiteX298" fmla="*/ 8771 w 10000"/>
                <a:gd name="connsiteY298" fmla="*/ 5459 h 10000"/>
                <a:gd name="connsiteX299" fmla="*/ 8768 w 10000"/>
                <a:gd name="connsiteY299" fmla="*/ 5211 h 10000"/>
                <a:gd name="connsiteX300" fmla="*/ 8692 w 10000"/>
                <a:gd name="connsiteY300" fmla="*/ 5047 h 10000"/>
                <a:gd name="connsiteX301" fmla="*/ 8771 w 10000"/>
                <a:gd name="connsiteY301" fmla="*/ 5088 h 10000"/>
                <a:gd name="connsiteX302" fmla="*/ 8809 w 10000"/>
                <a:gd name="connsiteY302" fmla="*/ 5108 h 10000"/>
                <a:gd name="connsiteX303" fmla="*/ 8809 w 10000"/>
                <a:gd name="connsiteY303" fmla="*/ 4840 h 10000"/>
                <a:gd name="connsiteX304" fmla="*/ 8827 w 10000"/>
                <a:gd name="connsiteY304" fmla="*/ 4437 h 10000"/>
                <a:gd name="connsiteX305" fmla="*/ 8853 w 10000"/>
                <a:gd name="connsiteY305" fmla="*/ 4252 h 10000"/>
                <a:gd name="connsiteX306" fmla="*/ 8909 w 10000"/>
                <a:gd name="connsiteY306" fmla="*/ 4221 h 10000"/>
                <a:gd name="connsiteX307" fmla="*/ 8786 w 10000"/>
                <a:gd name="connsiteY307" fmla="*/ 3901 h 10000"/>
                <a:gd name="connsiteX308" fmla="*/ 8853 w 10000"/>
                <a:gd name="connsiteY308" fmla="*/ 3839 h 10000"/>
                <a:gd name="connsiteX309" fmla="*/ 8739 w 10000"/>
                <a:gd name="connsiteY309" fmla="*/ 3788 h 10000"/>
                <a:gd name="connsiteX310" fmla="*/ 8755 w 10000"/>
                <a:gd name="connsiteY310" fmla="*/ 3984 h 10000"/>
                <a:gd name="connsiteX311" fmla="*/ 8692 w 10000"/>
                <a:gd name="connsiteY311" fmla="*/ 4303 h 10000"/>
                <a:gd name="connsiteX312" fmla="*/ 8604 w 10000"/>
                <a:gd name="connsiteY312" fmla="*/ 4210 h 10000"/>
                <a:gd name="connsiteX313" fmla="*/ 8550 w 10000"/>
                <a:gd name="connsiteY313" fmla="*/ 4056 h 10000"/>
                <a:gd name="connsiteX314" fmla="*/ 8481 w 10000"/>
                <a:gd name="connsiteY314" fmla="*/ 4138 h 10000"/>
                <a:gd name="connsiteX315" fmla="*/ 8389 w 10000"/>
                <a:gd name="connsiteY315" fmla="*/ 4107 h 10000"/>
                <a:gd name="connsiteX316" fmla="*/ 8352 w 10000"/>
                <a:gd name="connsiteY316" fmla="*/ 4406 h 10000"/>
                <a:gd name="connsiteX317" fmla="*/ 8481 w 10000"/>
                <a:gd name="connsiteY317" fmla="*/ 4655 h 10000"/>
                <a:gd name="connsiteX318" fmla="*/ 8405 w 10000"/>
                <a:gd name="connsiteY318" fmla="*/ 4830 h 10000"/>
                <a:gd name="connsiteX319" fmla="*/ 8225 w 10000"/>
                <a:gd name="connsiteY319" fmla="*/ 4799 h 10000"/>
                <a:gd name="connsiteX320" fmla="*/ 8209 w 10000"/>
                <a:gd name="connsiteY320" fmla="*/ 4655 h 10000"/>
                <a:gd name="connsiteX321" fmla="*/ 8102 w 10000"/>
                <a:gd name="connsiteY321" fmla="*/ 4634 h 10000"/>
                <a:gd name="connsiteX322" fmla="*/ 7641 w 10000"/>
                <a:gd name="connsiteY322" fmla="*/ 4779 h 10000"/>
                <a:gd name="connsiteX323" fmla="*/ 7610 w 10000"/>
                <a:gd name="connsiteY323" fmla="*/ 5005 h 10000"/>
                <a:gd name="connsiteX324" fmla="*/ 7550 w 10000"/>
                <a:gd name="connsiteY324" fmla="*/ 5666 h 10000"/>
                <a:gd name="connsiteX325" fmla="*/ 7496 w 10000"/>
                <a:gd name="connsiteY325" fmla="*/ 5965 h 10000"/>
                <a:gd name="connsiteX326" fmla="*/ 7701 w 10000"/>
                <a:gd name="connsiteY326" fmla="*/ 6161 h 10000"/>
                <a:gd name="connsiteX327" fmla="*/ 7745 w 10000"/>
                <a:gd name="connsiteY327" fmla="*/ 6243 h 10000"/>
                <a:gd name="connsiteX328" fmla="*/ 7771 w 10000"/>
                <a:gd name="connsiteY328" fmla="*/ 6285 h 10000"/>
                <a:gd name="connsiteX329" fmla="*/ 7793 w 10000"/>
                <a:gd name="connsiteY329" fmla="*/ 6068 h 10000"/>
                <a:gd name="connsiteX330" fmla="*/ 7912 w 10000"/>
                <a:gd name="connsiteY330" fmla="*/ 6089 h 10000"/>
                <a:gd name="connsiteX331" fmla="*/ 8004 w 10000"/>
                <a:gd name="connsiteY331" fmla="*/ 6367 h 10000"/>
                <a:gd name="connsiteX332" fmla="*/ 8064 w 10000"/>
                <a:gd name="connsiteY332" fmla="*/ 6616 h 10000"/>
                <a:gd name="connsiteX333" fmla="*/ 8111 w 10000"/>
                <a:gd name="connsiteY333" fmla="*/ 6781 h 10000"/>
                <a:gd name="connsiteX334" fmla="*/ 8048 w 10000"/>
                <a:gd name="connsiteY334" fmla="*/ 6491 h 10000"/>
                <a:gd name="connsiteX335" fmla="*/ 8124 w 10000"/>
                <a:gd name="connsiteY335" fmla="*/ 6336 h 10000"/>
                <a:gd name="connsiteX336" fmla="*/ 8177 w 10000"/>
                <a:gd name="connsiteY336" fmla="*/ 6512 h 10000"/>
                <a:gd name="connsiteX337" fmla="*/ 8300 w 10000"/>
                <a:gd name="connsiteY337" fmla="*/ 6987 h 10000"/>
                <a:gd name="connsiteX338" fmla="*/ 8361 w 10000"/>
                <a:gd name="connsiteY338" fmla="*/ 7152 h 10000"/>
                <a:gd name="connsiteX339" fmla="*/ 8490 w 10000"/>
                <a:gd name="connsiteY339" fmla="*/ 7482 h 10000"/>
                <a:gd name="connsiteX340" fmla="*/ 8604 w 10000"/>
                <a:gd name="connsiteY340" fmla="*/ 7854 h 10000"/>
                <a:gd name="connsiteX341" fmla="*/ 8474 w 10000"/>
                <a:gd name="connsiteY341" fmla="*/ 7647 h 10000"/>
                <a:gd name="connsiteX342" fmla="*/ 8443 w 10000"/>
                <a:gd name="connsiteY342" fmla="*/ 7678 h 10000"/>
                <a:gd name="connsiteX343" fmla="*/ 8512 w 10000"/>
                <a:gd name="connsiteY343" fmla="*/ 8050 h 10000"/>
                <a:gd name="connsiteX344" fmla="*/ 8588 w 10000"/>
                <a:gd name="connsiteY344" fmla="*/ 8266 h 10000"/>
                <a:gd name="connsiteX345" fmla="*/ 8642 w 10000"/>
                <a:gd name="connsiteY345" fmla="*/ 8472 h 10000"/>
                <a:gd name="connsiteX346" fmla="*/ 8566 w 10000"/>
                <a:gd name="connsiteY346" fmla="*/ 8421 h 10000"/>
                <a:gd name="connsiteX347" fmla="*/ 8556 w 10000"/>
                <a:gd name="connsiteY347" fmla="*/ 8669 h 10000"/>
                <a:gd name="connsiteX348" fmla="*/ 8497 w 10000"/>
                <a:gd name="connsiteY348" fmla="*/ 8493 h 10000"/>
                <a:gd name="connsiteX349" fmla="*/ 8481 w 10000"/>
                <a:gd name="connsiteY349" fmla="*/ 8421 h 10000"/>
                <a:gd name="connsiteX350" fmla="*/ 8361 w 10000"/>
                <a:gd name="connsiteY350" fmla="*/ 7751 h 10000"/>
                <a:gd name="connsiteX351" fmla="*/ 8322 w 10000"/>
                <a:gd name="connsiteY351" fmla="*/ 7524 h 10000"/>
                <a:gd name="connsiteX352" fmla="*/ 8291 w 10000"/>
                <a:gd name="connsiteY352" fmla="*/ 7378 h 10000"/>
                <a:gd name="connsiteX353" fmla="*/ 8275 w 10000"/>
                <a:gd name="connsiteY353" fmla="*/ 7306 h 10000"/>
                <a:gd name="connsiteX354" fmla="*/ 8139 w 10000"/>
                <a:gd name="connsiteY354" fmla="*/ 6863 h 10000"/>
                <a:gd name="connsiteX355" fmla="*/ 8199 w 10000"/>
                <a:gd name="connsiteY355" fmla="*/ 7451 h 10000"/>
                <a:gd name="connsiteX356" fmla="*/ 8247 w 10000"/>
                <a:gd name="connsiteY356" fmla="*/ 7998 h 10000"/>
                <a:gd name="connsiteX357" fmla="*/ 8177 w 10000"/>
                <a:gd name="connsiteY357" fmla="*/ 9133 h 10000"/>
                <a:gd name="connsiteX358" fmla="*/ 8124 w 10000"/>
                <a:gd name="connsiteY358" fmla="*/ 9484 h 10000"/>
                <a:gd name="connsiteX359" fmla="*/ 7972 w 10000"/>
                <a:gd name="connsiteY359" fmla="*/ 9432 h 10000"/>
                <a:gd name="connsiteX360" fmla="*/ 7897 w 10000"/>
                <a:gd name="connsiteY360" fmla="*/ 9660 h 10000"/>
                <a:gd name="connsiteX361" fmla="*/ 7868 w 10000"/>
                <a:gd name="connsiteY361" fmla="*/ 9588 h 10000"/>
                <a:gd name="connsiteX362" fmla="*/ 7884 w 10000"/>
                <a:gd name="connsiteY362" fmla="*/ 9536 h 10000"/>
                <a:gd name="connsiteX363" fmla="*/ 7897 w 10000"/>
                <a:gd name="connsiteY363" fmla="*/ 9380 h 10000"/>
                <a:gd name="connsiteX364" fmla="*/ 7884 w 10000"/>
                <a:gd name="connsiteY364" fmla="*/ 9236 h 10000"/>
                <a:gd name="connsiteX365" fmla="*/ 7793 w 10000"/>
                <a:gd name="connsiteY365" fmla="*/ 8865 h 10000"/>
                <a:gd name="connsiteX366" fmla="*/ 7831 w 10000"/>
                <a:gd name="connsiteY366" fmla="*/ 8741 h 10000"/>
                <a:gd name="connsiteX367" fmla="*/ 7928 w 10000"/>
                <a:gd name="connsiteY367" fmla="*/ 8844 h 10000"/>
                <a:gd name="connsiteX368" fmla="*/ 7912 w 10000"/>
                <a:gd name="connsiteY368" fmla="*/ 8318 h 10000"/>
                <a:gd name="connsiteX369" fmla="*/ 7906 w 10000"/>
                <a:gd name="connsiteY369" fmla="*/ 8019 h 10000"/>
                <a:gd name="connsiteX370" fmla="*/ 7846 w 10000"/>
                <a:gd name="connsiteY370" fmla="*/ 7802 h 10000"/>
                <a:gd name="connsiteX371" fmla="*/ 7723 w 10000"/>
                <a:gd name="connsiteY371" fmla="*/ 8050 h 10000"/>
                <a:gd name="connsiteX372" fmla="*/ 7619 w 10000"/>
                <a:gd name="connsiteY372" fmla="*/ 8019 h 10000"/>
                <a:gd name="connsiteX373" fmla="*/ 7528 w 10000"/>
                <a:gd name="connsiteY373" fmla="*/ 7699 h 10000"/>
                <a:gd name="connsiteX374" fmla="*/ 7355 w 10000"/>
                <a:gd name="connsiteY374" fmla="*/ 7482 h 10000"/>
                <a:gd name="connsiteX375" fmla="*/ 7279 w 10000"/>
                <a:gd name="connsiteY375" fmla="*/ 7482 h 10000"/>
                <a:gd name="connsiteX376" fmla="*/ 7080 w 10000"/>
                <a:gd name="connsiteY376" fmla="*/ 6781 h 10000"/>
                <a:gd name="connsiteX377" fmla="*/ 6901 w 10000"/>
                <a:gd name="connsiteY377" fmla="*/ 6460 h 10000"/>
                <a:gd name="connsiteX378" fmla="*/ 6724 w 10000"/>
                <a:gd name="connsiteY378" fmla="*/ 6336 h 10000"/>
                <a:gd name="connsiteX379" fmla="*/ 6583 w 10000"/>
                <a:gd name="connsiteY379" fmla="*/ 6408 h 10000"/>
                <a:gd name="connsiteX380" fmla="*/ 6567 w 10000"/>
                <a:gd name="connsiteY380" fmla="*/ 6585 h 10000"/>
                <a:gd name="connsiteX381" fmla="*/ 6664 w 10000"/>
                <a:gd name="connsiteY381" fmla="*/ 6760 h 10000"/>
                <a:gd name="connsiteX382" fmla="*/ 6636 w 10000"/>
                <a:gd name="connsiteY382" fmla="*/ 6935 h 10000"/>
                <a:gd name="connsiteX383" fmla="*/ 6636 w 10000"/>
                <a:gd name="connsiteY383" fmla="*/ 7399 h 10000"/>
                <a:gd name="connsiteX384" fmla="*/ 6560 w 10000"/>
                <a:gd name="connsiteY384" fmla="*/ 7482 h 10000"/>
                <a:gd name="connsiteX385" fmla="*/ 6485 w 10000"/>
                <a:gd name="connsiteY385" fmla="*/ 7378 h 10000"/>
                <a:gd name="connsiteX386" fmla="*/ 6400 w 10000"/>
                <a:gd name="connsiteY386" fmla="*/ 7399 h 10000"/>
                <a:gd name="connsiteX387" fmla="*/ 6334 w 10000"/>
                <a:gd name="connsiteY387" fmla="*/ 7275 h 10000"/>
                <a:gd name="connsiteX388" fmla="*/ 6258 w 10000"/>
                <a:gd name="connsiteY388" fmla="*/ 7358 h 10000"/>
                <a:gd name="connsiteX389" fmla="*/ 6220 w 10000"/>
                <a:gd name="connsiteY389" fmla="*/ 7524 h 10000"/>
                <a:gd name="connsiteX390" fmla="*/ 6081 w 10000"/>
                <a:gd name="connsiteY390" fmla="*/ 7606 h 10000"/>
                <a:gd name="connsiteX391" fmla="*/ 5892 w 10000"/>
                <a:gd name="connsiteY391" fmla="*/ 7575 h 10000"/>
                <a:gd name="connsiteX392" fmla="*/ 5855 w 10000"/>
                <a:gd name="connsiteY392" fmla="*/ 7327 h 10000"/>
                <a:gd name="connsiteX393" fmla="*/ 5643 w 10000"/>
                <a:gd name="connsiteY393" fmla="*/ 7255 h 10000"/>
                <a:gd name="connsiteX394" fmla="*/ 5539 w 10000"/>
                <a:gd name="connsiteY394" fmla="*/ 7358 h 10000"/>
                <a:gd name="connsiteX395" fmla="*/ 5416 w 10000"/>
                <a:gd name="connsiteY395" fmla="*/ 7203 h 10000"/>
                <a:gd name="connsiteX396" fmla="*/ 5372 w 10000"/>
                <a:gd name="connsiteY396"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2384 w 10000"/>
                <a:gd name="connsiteY26" fmla="*/ 7183 h 10000"/>
                <a:gd name="connsiteX27" fmla="*/ 2308 w 10000"/>
                <a:gd name="connsiteY27" fmla="*/ 7028 h 10000"/>
                <a:gd name="connsiteX28" fmla="*/ 2147 w 10000"/>
                <a:gd name="connsiteY28" fmla="*/ 7131 h 10000"/>
                <a:gd name="connsiteX29" fmla="*/ 2109 w 10000"/>
                <a:gd name="connsiteY29" fmla="*/ 7203 h 10000"/>
                <a:gd name="connsiteX30" fmla="*/ 1983 w 10000"/>
                <a:gd name="connsiteY30" fmla="*/ 7028 h 10000"/>
                <a:gd name="connsiteX31" fmla="*/ 1854 w 10000"/>
                <a:gd name="connsiteY31" fmla="*/ 6884 h 10000"/>
                <a:gd name="connsiteX32" fmla="*/ 1741 w 10000"/>
                <a:gd name="connsiteY32" fmla="*/ 6863 h 10000"/>
                <a:gd name="connsiteX33" fmla="*/ 1610 w 10000"/>
                <a:gd name="connsiteY33" fmla="*/ 7183 h 10000"/>
                <a:gd name="connsiteX34" fmla="*/ 1655 w 10000"/>
                <a:gd name="connsiteY34" fmla="*/ 7430 h 10000"/>
                <a:gd name="connsiteX35" fmla="*/ 1604 w 10000"/>
                <a:gd name="connsiteY35" fmla="*/ 7430 h 10000"/>
                <a:gd name="connsiteX36" fmla="*/ 1551 w 10000"/>
                <a:gd name="connsiteY36" fmla="*/ 7255 h 10000"/>
                <a:gd name="connsiteX37" fmla="*/ 1513 w 10000"/>
                <a:gd name="connsiteY37" fmla="*/ 7430 h 10000"/>
                <a:gd name="connsiteX38" fmla="*/ 1519 w 10000"/>
                <a:gd name="connsiteY38" fmla="*/ 7854 h 10000"/>
                <a:gd name="connsiteX39" fmla="*/ 1604 w 10000"/>
                <a:gd name="connsiteY39" fmla="*/ 8070 h 10000"/>
                <a:gd name="connsiteX40" fmla="*/ 1648 w 10000"/>
                <a:gd name="connsiteY40" fmla="*/ 8019 h 10000"/>
                <a:gd name="connsiteX41" fmla="*/ 1741 w 10000"/>
                <a:gd name="connsiteY41" fmla="*/ 8493 h 10000"/>
                <a:gd name="connsiteX42" fmla="*/ 1610 w 10000"/>
                <a:gd name="connsiteY42" fmla="*/ 8669 h 10000"/>
                <a:gd name="connsiteX43" fmla="*/ 1595 w 10000"/>
                <a:gd name="connsiteY43" fmla="*/ 9009 h 10000"/>
                <a:gd name="connsiteX44" fmla="*/ 1664 w 10000"/>
                <a:gd name="connsiteY44" fmla="*/ 9236 h 10000"/>
                <a:gd name="connsiteX45" fmla="*/ 1664 w 10000"/>
                <a:gd name="connsiteY45" fmla="*/ 9484 h 10000"/>
                <a:gd name="connsiteX46" fmla="*/ 1769 w 10000"/>
                <a:gd name="connsiteY46" fmla="*/ 9835 h 10000"/>
                <a:gd name="connsiteX47" fmla="*/ 1703 w 10000"/>
                <a:gd name="connsiteY47" fmla="*/ 10000 h 10000"/>
                <a:gd name="connsiteX48" fmla="*/ 1604 w 10000"/>
                <a:gd name="connsiteY48" fmla="*/ 9753 h 10000"/>
                <a:gd name="connsiteX49" fmla="*/ 1465 w 10000"/>
                <a:gd name="connsiteY49" fmla="*/ 9505 h 10000"/>
                <a:gd name="connsiteX50" fmla="*/ 1406 w 10000"/>
                <a:gd name="connsiteY50" fmla="*/ 9588 h 10000"/>
                <a:gd name="connsiteX51" fmla="*/ 1308 w 10000"/>
                <a:gd name="connsiteY51" fmla="*/ 9380 h 10000"/>
                <a:gd name="connsiteX52" fmla="*/ 1097 w 10000"/>
                <a:gd name="connsiteY52" fmla="*/ 9339 h 10000"/>
                <a:gd name="connsiteX53" fmla="*/ 848 w 10000"/>
                <a:gd name="connsiteY53" fmla="*/ 8813 h 10000"/>
                <a:gd name="connsiteX54" fmla="*/ 914 w 10000"/>
                <a:gd name="connsiteY54" fmla="*/ 8721 h 10000"/>
                <a:gd name="connsiteX55" fmla="*/ 961 w 10000"/>
                <a:gd name="connsiteY55" fmla="*/ 8493 h 10000"/>
                <a:gd name="connsiteX56" fmla="*/ 908 w 10000"/>
                <a:gd name="connsiteY56" fmla="*/ 8390 h 10000"/>
                <a:gd name="connsiteX57" fmla="*/ 1021 w 10000"/>
                <a:gd name="connsiteY57" fmla="*/ 8245 h 10000"/>
                <a:gd name="connsiteX58" fmla="*/ 945 w 10000"/>
                <a:gd name="connsiteY58" fmla="*/ 8194 h 10000"/>
                <a:gd name="connsiteX59" fmla="*/ 958 w 10000"/>
                <a:gd name="connsiteY59" fmla="*/ 8091 h 10000"/>
                <a:gd name="connsiteX60" fmla="*/ 1005 w 10000"/>
                <a:gd name="connsiteY60" fmla="*/ 8111 h 10000"/>
                <a:gd name="connsiteX61" fmla="*/ 1059 w 10000"/>
                <a:gd name="connsiteY61" fmla="*/ 8019 h 10000"/>
                <a:gd name="connsiteX62" fmla="*/ 1034 w 10000"/>
                <a:gd name="connsiteY62" fmla="*/ 7864 h 10000"/>
                <a:gd name="connsiteX63" fmla="*/ 1043 w 10000"/>
                <a:gd name="connsiteY63" fmla="*/ 7503 h 10000"/>
                <a:gd name="connsiteX64" fmla="*/ 930 w 10000"/>
                <a:gd name="connsiteY64" fmla="*/ 7440 h 10000"/>
                <a:gd name="connsiteX65" fmla="*/ 832 w 10000"/>
                <a:gd name="connsiteY65" fmla="*/ 7286 h 10000"/>
                <a:gd name="connsiteX66" fmla="*/ 700 w 10000"/>
                <a:gd name="connsiteY66" fmla="*/ 7275 h 10000"/>
                <a:gd name="connsiteX67" fmla="*/ 684 w 10000"/>
                <a:gd name="connsiteY67" fmla="*/ 7090 h 10000"/>
                <a:gd name="connsiteX68" fmla="*/ 596 w 10000"/>
                <a:gd name="connsiteY68" fmla="*/ 6945 h 10000"/>
                <a:gd name="connsiteX69" fmla="*/ 615 w 10000"/>
                <a:gd name="connsiteY69" fmla="*/ 6822 h 10000"/>
                <a:gd name="connsiteX70" fmla="*/ 561 w 10000"/>
                <a:gd name="connsiteY70" fmla="*/ 6698 h 10000"/>
                <a:gd name="connsiteX71" fmla="*/ 457 w 10000"/>
                <a:gd name="connsiteY71" fmla="*/ 6698 h 10000"/>
                <a:gd name="connsiteX72" fmla="*/ 425 w 10000"/>
                <a:gd name="connsiteY72" fmla="*/ 6791 h 10000"/>
                <a:gd name="connsiteX73" fmla="*/ 400 w 10000"/>
                <a:gd name="connsiteY73" fmla="*/ 6750 h 10000"/>
                <a:gd name="connsiteX74" fmla="*/ 378 w 10000"/>
                <a:gd name="connsiteY74" fmla="*/ 6439 h 10000"/>
                <a:gd name="connsiteX75" fmla="*/ 419 w 10000"/>
                <a:gd name="connsiteY75" fmla="*/ 6470 h 10000"/>
                <a:gd name="connsiteX76" fmla="*/ 466 w 10000"/>
                <a:gd name="connsiteY76" fmla="*/ 6347 h 10000"/>
                <a:gd name="connsiteX77" fmla="*/ 400 w 10000"/>
                <a:gd name="connsiteY77" fmla="*/ 6233 h 10000"/>
                <a:gd name="connsiteX78" fmla="*/ 315 w 10000"/>
                <a:gd name="connsiteY78" fmla="*/ 6017 h 10000"/>
                <a:gd name="connsiteX79" fmla="*/ 334 w 10000"/>
                <a:gd name="connsiteY79" fmla="*/ 5821 h 10000"/>
                <a:gd name="connsiteX80" fmla="*/ 274 w 10000"/>
                <a:gd name="connsiteY80" fmla="*/ 5697 h 10000"/>
                <a:gd name="connsiteX81" fmla="*/ 227 w 10000"/>
                <a:gd name="connsiteY81" fmla="*/ 5728 h 10000"/>
                <a:gd name="connsiteX82" fmla="*/ 202 w 10000"/>
                <a:gd name="connsiteY82" fmla="*/ 5604 h 10000"/>
                <a:gd name="connsiteX83" fmla="*/ 164 w 10000"/>
                <a:gd name="connsiteY83" fmla="*/ 5645 h 10000"/>
                <a:gd name="connsiteX84" fmla="*/ 117 w 10000"/>
                <a:gd name="connsiteY84" fmla="*/ 5604 h 10000"/>
                <a:gd name="connsiteX85" fmla="*/ 69 w 10000"/>
                <a:gd name="connsiteY85" fmla="*/ 5181 h 10000"/>
                <a:gd name="connsiteX86" fmla="*/ 85 w 10000"/>
                <a:gd name="connsiteY86" fmla="*/ 5057 h 10000"/>
                <a:gd name="connsiteX87" fmla="*/ 41 w 10000"/>
                <a:gd name="connsiteY87" fmla="*/ 4892 h 10000"/>
                <a:gd name="connsiteX88" fmla="*/ 66 w 10000"/>
                <a:gd name="connsiteY88" fmla="*/ 4655 h 10000"/>
                <a:gd name="connsiteX89" fmla="*/ 211 w 10000"/>
                <a:gd name="connsiteY89" fmla="*/ 4510 h 10000"/>
                <a:gd name="connsiteX90" fmla="*/ 129 w 10000"/>
                <a:gd name="connsiteY90" fmla="*/ 4406 h 10000"/>
                <a:gd name="connsiteX91" fmla="*/ 82 w 10000"/>
                <a:gd name="connsiteY91" fmla="*/ 4283 h 10000"/>
                <a:gd name="connsiteX92" fmla="*/ 205 w 10000"/>
                <a:gd name="connsiteY92" fmla="*/ 3912 h 10000"/>
                <a:gd name="connsiteX93" fmla="*/ 249 w 10000"/>
                <a:gd name="connsiteY93" fmla="*/ 3664 h 10000"/>
                <a:gd name="connsiteX94" fmla="*/ 151 w 10000"/>
                <a:gd name="connsiteY94" fmla="*/ 3488 h 10000"/>
                <a:gd name="connsiteX95" fmla="*/ 189 w 10000"/>
                <a:gd name="connsiteY95" fmla="*/ 3344 h 10000"/>
                <a:gd name="connsiteX96" fmla="*/ 113 w 10000"/>
                <a:gd name="connsiteY96" fmla="*/ 3148 h 10000"/>
                <a:gd name="connsiteX97" fmla="*/ 113 w 10000"/>
                <a:gd name="connsiteY97" fmla="*/ 2972 h 10000"/>
                <a:gd name="connsiteX98" fmla="*/ 60 w 10000"/>
                <a:gd name="connsiteY98" fmla="*/ 2622 h 10000"/>
                <a:gd name="connsiteX99" fmla="*/ 98 w 10000"/>
                <a:gd name="connsiteY99" fmla="*/ 2404 h 10000"/>
                <a:gd name="connsiteX100" fmla="*/ 38 w 10000"/>
                <a:gd name="connsiteY100" fmla="*/ 2301 h 10000"/>
                <a:gd name="connsiteX101" fmla="*/ 0 w 10000"/>
                <a:gd name="connsiteY101" fmla="*/ 2178 h 10000"/>
                <a:gd name="connsiteX102" fmla="*/ 54 w 10000"/>
                <a:gd name="connsiteY102" fmla="*/ 1951 h 10000"/>
                <a:gd name="connsiteX103" fmla="*/ 120 w 10000"/>
                <a:gd name="connsiteY103" fmla="*/ 1910 h 10000"/>
                <a:gd name="connsiteX104" fmla="*/ 195 w 10000"/>
                <a:gd name="connsiteY104" fmla="*/ 1858 h 10000"/>
                <a:gd name="connsiteX105" fmla="*/ 309 w 10000"/>
                <a:gd name="connsiteY105" fmla="*/ 1951 h 10000"/>
                <a:gd name="connsiteX106" fmla="*/ 482 w 10000"/>
                <a:gd name="connsiteY106" fmla="*/ 2054 h 10000"/>
                <a:gd name="connsiteX107" fmla="*/ 633 w 10000"/>
                <a:gd name="connsiteY107" fmla="*/ 2229 h 10000"/>
                <a:gd name="connsiteX108" fmla="*/ 756 w 10000"/>
                <a:gd name="connsiteY108" fmla="*/ 2373 h 10000"/>
                <a:gd name="connsiteX109" fmla="*/ 725 w 10000"/>
                <a:gd name="connsiteY109" fmla="*/ 2777 h 10000"/>
                <a:gd name="connsiteX110" fmla="*/ 362 w 10000"/>
                <a:gd name="connsiteY110" fmla="*/ 2673 h 10000"/>
                <a:gd name="connsiteX111" fmla="*/ 243 w 10000"/>
                <a:gd name="connsiteY111" fmla="*/ 2550 h 10000"/>
                <a:gd name="connsiteX112" fmla="*/ 287 w 10000"/>
                <a:gd name="connsiteY112" fmla="*/ 2622 h 10000"/>
                <a:gd name="connsiteX113" fmla="*/ 331 w 10000"/>
                <a:gd name="connsiteY113" fmla="*/ 2797 h 10000"/>
                <a:gd name="connsiteX114" fmla="*/ 400 w 10000"/>
                <a:gd name="connsiteY114" fmla="*/ 2921 h 10000"/>
                <a:gd name="connsiteX115" fmla="*/ 416 w 10000"/>
                <a:gd name="connsiteY115" fmla="*/ 3189 h 10000"/>
                <a:gd name="connsiteX116" fmla="*/ 507 w 10000"/>
                <a:gd name="connsiteY116" fmla="*/ 3313 h 10000"/>
                <a:gd name="connsiteX117" fmla="*/ 583 w 10000"/>
                <a:gd name="connsiteY117" fmla="*/ 3436 h 10000"/>
                <a:gd name="connsiteX118" fmla="*/ 605 w 10000"/>
                <a:gd name="connsiteY118" fmla="*/ 3467 h 10000"/>
                <a:gd name="connsiteX119" fmla="*/ 649 w 10000"/>
                <a:gd name="connsiteY119" fmla="*/ 3436 h 10000"/>
                <a:gd name="connsiteX120" fmla="*/ 633 w 10000"/>
                <a:gd name="connsiteY120" fmla="*/ 3364 h 10000"/>
                <a:gd name="connsiteX121" fmla="*/ 545 w 10000"/>
                <a:gd name="connsiteY121" fmla="*/ 3189 h 10000"/>
                <a:gd name="connsiteX122" fmla="*/ 801 w 10000"/>
                <a:gd name="connsiteY122" fmla="*/ 3344 h 10000"/>
                <a:gd name="connsiteX123" fmla="*/ 810 w 10000"/>
                <a:gd name="connsiteY123" fmla="*/ 3271 h 10000"/>
                <a:gd name="connsiteX124" fmla="*/ 785 w 10000"/>
                <a:gd name="connsiteY124" fmla="*/ 3220 h 10000"/>
                <a:gd name="connsiteX125" fmla="*/ 741 w 10000"/>
                <a:gd name="connsiteY125" fmla="*/ 2993 h 10000"/>
                <a:gd name="connsiteX126" fmla="*/ 870 w 10000"/>
                <a:gd name="connsiteY126" fmla="*/ 2777 h 10000"/>
                <a:gd name="connsiteX127" fmla="*/ 968 w 10000"/>
                <a:gd name="connsiteY127" fmla="*/ 2921 h 10000"/>
                <a:gd name="connsiteX128" fmla="*/ 999 w 10000"/>
                <a:gd name="connsiteY128" fmla="*/ 2725 h 10000"/>
                <a:gd name="connsiteX129" fmla="*/ 952 w 10000"/>
                <a:gd name="connsiteY129" fmla="*/ 2653 h 10000"/>
                <a:gd name="connsiteX130" fmla="*/ 936 w 10000"/>
                <a:gd name="connsiteY130" fmla="*/ 2281 h 10000"/>
                <a:gd name="connsiteX131" fmla="*/ 914 w 10000"/>
                <a:gd name="connsiteY131" fmla="*/ 2229 h 10000"/>
                <a:gd name="connsiteX132" fmla="*/ 1037 w 10000"/>
                <a:gd name="connsiteY132" fmla="*/ 2250 h 10000"/>
                <a:gd name="connsiteX133" fmla="*/ 1087 w 10000"/>
                <a:gd name="connsiteY133" fmla="*/ 2404 h 10000"/>
                <a:gd name="connsiteX134" fmla="*/ 1021 w 10000"/>
                <a:gd name="connsiteY134" fmla="*/ 2529 h 10000"/>
                <a:gd name="connsiteX135" fmla="*/ 1135 w 10000"/>
                <a:gd name="connsiteY135" fmla="*/ 2694 h 10000"/>
                <a:gd name="connsiteX136" fmla="*/ 1226 w 10000"/>
                <a:gd name="connsiteY136" fmla="*/ 2529 h 10000"/>
                <a:gd name="connsiteX137" fmla="*/ 1339 w 10000"/>
                <a:gd name="connsiteY137" fmla="*/ 2301 h 10000"/>
                <a:gd name="connsiteX138" fmla="*/ 1459 w 10000"/>
                <a:gd name="connsiteY138" fmla="*/ 2157 h 10000"/>
                <a:gd name="connsiteX139" fmla="*/ 1497 w 10000"/>
                <a:gd name="connsiteY139" fmla="*/ 2250 h 10000"/>
                <a:gd name="connsiteX140" fmla="*/ 1807 w 10000"/>
                <a:gd name="connsiteY140" fmla="*/ 2054 h 10000"/>
                <a:gd name="connsiteX141" fmla="*/ 1870 w 10000"/>
                <a:gd name="connsiteY141" fmla="*/ 2250 h 10000"/>
                <a:gd name="connsiteX142" fmla="*/ 1860 w 10000"/>
                <a:gd name="connsiteY142" fmla="*/ 2002 h 10000"/>
                <a:gd name="connsiteX143" fmla="*/ 1778 w 10000"/>
                <a:gd name="connsiteY143" fmla="*/ 1786 h 10000"/>
                <a:gd name="connsiteX144" fmla="*/ 1763 w 10000"/>
                <a:gd name="connsiteY144" fmla="*/ 1703 h 10000"/>
                <a:gd name="connsiteX145" fmla="*/ 1823 w 10000"/>
                <a:gd name="connsiteY145" fmla="*/ 1786 h 10000"/>
                <a:gd name="connsiteX146" fmla="*/ 2034 w 10000"/>
                <a:gd name="connsiteY146" fmla="*/ 1951 h 10000"/>
                <a:gd name="connsiteX147" fmla="*/ 2270 w 10000"/>
                <a:gd name="connsiteY147" fmla="*/ 2126 h 10000"/>
                <a:gd name="connsiteX148" fmla="*/ 2384 w 10000"/>
                <a:gd name="connsiteY148" fmla="*/ 2250 h 10000"/>
                <a:gd name="connsiteX149" fmla="*/ 2421 w 10000"/>
                <a:gd name="connsiteY149" fmla="*/ 2074 h 10000"/>
                <a:gd name="connsiteX150" fmla="*/ 2368 w 10000"/>
                <a:gd name="connsiteY150" fmla="*/ 2033 h 10000"/>
                <a:gd name="connsiteX151" fmla="*/ 2299 w 10000"/>
                <a:gd name="connsiteY151" fmla="*/ 1930 h 10000"/>
                <a:gd name="connsiteX152" fmla="*/ 2254 w 10000"/>
                <a:gd name="connsiteY152" fmla="*/ 1734 h 10000"/>
                <a:gd name="connsiteX153" fmla="*/ 2185 w 10000"/>
                <a:gd name="connsiteY153" fmla="*/ 1486 h 10000"/>
                <a:gd name="connsiteX154" fmla="*/ 2210 w 10000"/>
                <a:gd name="connsiteY154" fmla="*/ 1434 h 10000"/>
                <a:gd name="connsiteX155" fmla="*/ 2232 w 10000"/>
                <a:gd name="connsiteY155" fmla="*/ 1455 h 10000"/>
                <a:gd name="connsiteX156" fmla="*/ 2292 w 10000"/>
                <a:gd name="connsiteY156" fmla="*/ 1115 h 10000"/>
                <a:gd name="connsiteX157" fmla="*/ 2443 w 10000"/>
                <a:gd name="connsiteY157" fmla="*/ 1135 h 10000"/>
                <a:gd name="connsiteX158" fmla="*/ 2488 w 10000"/>
                <a:gd name="connsiteY158" fmla="*/ 1311 h 10000"/>
                <a:gd name="connsiteX159" fmla="*/ 2519 w 10000"/>
                <a:gd name="connsiteY159" fmla="*/ 1538 h 10000"/>
                <a:gd name="connsiteX160" fmla="*/ 2573 w 10000"/>
                <a:gd name="connsiteY160" fmla="*/ 1734 h 10000"/>
                <a:gd name="connsiteX161" fmla="*/ 2670 w 10000"/>
                <a:gd name="connsiteY161" fmla="*/ 2157 h 10000"/>
                <a:gd name="connsiteX162" fmla="*/ 2481 w 10000"/>
                <a:gd name="connsiteY162" fmla="*/ 2673 h 10000"/>
                <a:gd name="connsiteX163" fmla="*/ 2557 w 10000"/>
                <a:gd name="connsiteY163" fmla="*/ 2746 h 10000"/>
                <a:gd name="connsiteX164" fmla="*/ 2655 w 10000"/>
                <a:gd name="connsiteY164" fmla="*/ 2818 h 10000"/>
                <a:gd name="connsiteX165" fmla="*/ 2784 w 10000"/>
                <a:gd name="connsiteY165" fmla="*/ 2622 h 10000"/>
                <a:gd name="connsiteX166" fmla="*/ 2790 w 10000"/>
                <a:gd name="connsiteY166" fmla="*/ 2404 h 10000"/>
                <a:gd name="connsiteX167" fmla="*/ 2746 w 10000"/>
                <a:gd name="connsiteY167" fmla="*/ 2301 h 10000"/>
                <a:gd name="connsiteX168" fmla="*/ 2919 w 10000"/>
                <a:gd name="connsiteY168" fmla="*/ 2250 h 10000"/>
                <a:gd name="connsiteX169" fmla="*/ 2989 w 10000"/>
                <a:gd name="connsiteY169" fmla="*/ 2497 h 10000"/>
                <a:gd name="connsiteX170" fmla="*/ 2989 w 10000"/>
                <a:gd name="connsiteY170" fmla="*/ 2425 h 10000"/>
                <a:gd name="connsiteX171" fmla="*/ 2973 w 10000"/>
                <a:gd name="connsiteY171" fmla="*/ 2353 h 10000"/>
                <a:gd name="connsiteX172" fmla="*/ 2967 w 10000"/>
                <a:gd name="connsiteY172" fmla="*/ 2178 h 10000"/>
                <a:gd name="connsiteX173" fmla="*/ 2800 w 10000"/>
                <a:gd name="connsiteY173" fmla="*/ 1930 h 10000"/>
                <a:gd name="connsiteX174" fmla="*/ 2670 w 10000"/>
                <a:gd name="connsiteY174" fmla="*/ 2002 h 10000"/>
                <a:gd name="connsiteX175" fmla="*/ 2617 w 10000"/>
                <a:gd name="connsiteY175" fmla="*/ 1683 h 10000"/>
                <a:gd name="connsiteX176" fmla="*/ 2563 w 10000"/>
                <a:gd name="connsiteY176" fmla="*/ 1507 h 10000"/>
                <a:gd name="connsiteX177" fmla="*/ 2617 w 10000"/>
                <a:gd name="connsiteY177" fmla="*/ 1331 h 10000"/>
                <a:gd name="connsiteX178" fmla="*/ 2611 w 10000"/>
                <a:gd name="connsiteY178" fmla="*/ 1166 h 10000"/>
                <a:gd name="connsiteX179" fmla="*/ 2588 w 10000"/>
                <a:gd name="connsiteY179" fmla="*/ 1115 h 10000"/>
                <a:gd name="connsiteX180" fmla="*/ 2626 w 10000"/>
                <a:gd name="connsiteY180" fmla="*/ 1115 h 10000"/>
                <a:gd name="connsiteX181" fmla="*/ 2670 w 10000"/>
                <a:gd name="connsiteY181" fmla="*/ 1455 h 10000"/>
                <a:gd name="connsiteX182" fmla="*/ 2891 w 10000"/>
                <a:gd name="connsiteY182" fmla="*/ 1662 h 10000"/>
                <a:gd name="connsiteX183" fmla="*/ 2724 w 10000"/>
                <a:gd name="connsiteY183" fmla="*/ 1383 h 10000"/>
                <a:gd name="connsiteX184" fmla="*/ 3049 w 10000"/>
                <a:gd name="connsiteY184" fmla="*/ 1383 h 10000"/>
                <a:gd name="connsiteX185" fmla="*/ 3102 w 10000"/>
                <a:gd name="connsiteY185" fmla="*/ 1362 h 10000"/>
                <a:gd name="connsiteX186" fmla="*/ 2897 w 10000"/>
                <a:gd name="connsiteY186" fmla="*/ 1115 h 10000"/>
                <a:gd name="connsiteX187" fmla="*/ 2951 w 10000"/>
                <a:gd name="connsiteY187" fmla="*/ 888 h 10000"/>
                <a:gd name="connsiteX188" fmla="*/ 3178 w 10000"/>
                <a:gd name="connsiteY188" fmla="*/ 888 h 10000"/>
                <a:gd name="connsiteX189" fmla="*/ 3156 w 10000"/>
                <a:gd name="connsiteY189" fmla="*/ 713 h 10000"/>
                <a:gd name="connsiteX190" fmla="*/ 3231 w 10000"/>
                <a:gd name="connsiteY190" fmla="*/ 589 h 10000"/>
                <a:gd name="connsiteX191" fmla="*/ 3276 w 10000"/>
                <a:gd name="connsiteY191" fmla="*/ 548 h 10000"/>
                <a:gd name="connsiteX192" fmla="*/ 3443 w 10000"/>
                <a:gd name="connsiteY192" fmla="*/ 423 h 10000"/>
                <a:gd name="connsiteX193" fmla="*/ 3487 w 10000"/>
                <a:gd name="connsiteY193" fmla="*/ 371 h 10000"/>
                <a:gd name="connsiteX194" fmla="*/ 3480 w 10000"/>
                <a:gd name="connsiteY194" fmla="*/ 444 h 10000"/>
                <a:gd name="connsiteX195" fmla="*/ 3660 w 10000"/>
                <a:gd name="connsiteY195" fmla="*/ 371 h 10000"/>
                <a:gd name="connsiteX196" fmla="*/ 3805 w 10000"/>
                <a:gd name="connsiteY196" fmla="*/ 248 h 10000"/>
                <a:gd name="connsiteX197" fmla="*/ 3827 w 10000"/>
                <a:gd name="connsiteY197" fmla="*/ 0 h 10000"/>
                <a:gd name="connsiteX198" fmla="*/ 3988 w 10000"/>
                <a:gd name="connsiteY198" fmla="*/ 21 h 10000"/>
                <a:gd name="connsiteX199" fmla="*/ 3978 w 10000"/>
                <a:gd name="connsiteY199" fmla="*/ 93 h 10000"/>
                <a:gd name="connsiteX200" fmla="*/ 3988 w 10000"/>
                <a:gd name="connsiteY200" fmla="*/ 176 h 10000"/>
                <a:gd name="connsiteX201" fmla="*/ 4085 w 10000"/>
                <a:gd name="connsiteY201" fmla="*/ 248 h 10000"/>
                <a:gd name="connsiteX202" fmla="*/ 4379 w 10000"/>
                <a:gd name="connsiteY202" fmla="*/ 268 h 10000"/>
                <a:gd name="connsiteX203" fmla="*/ 4539 w 10000"/>
                <a:gd name="connsiteY203" fmla="*/ 392 h 10000"/>
                <a:gd name="connsiteX204" fmla="*/ 4486 w 10000"/>
                <a:gd name="connsiteY204" fmla="*/ 795 h 10000"/>
                <a:gd name="connsiteX205" fmla="*/ 4426 w 10000"/>
                <a:gd name="connsiteY205" fmla="*/ 919 h 10000"/>
                <a:gd name="connsiteX206" fmla="*/ 4356 w 10000"/>
                <a:gd name="connsiteY206" fmla="*/ 1043 h 10000"/>
                <a:gd name="connsiteX207" fmla="*/ 4372 w 10000"/>
                <a:gd name="connsiteY207" fmla="*/ 1115 h 10000"/>
                <a:gd name="connsiteX208" fmla="*/ 4583 w 10000"/>
                <a:gd name="connsiteY208" fmla="*/ 919 h 10000"/>
                <a:gd name="connsiteX209" fmla="*/ 5060 w 10000"/>
                <a:gd name="connsiteY209" fmla="*/ 991 h 10000"/>
                <a:gd name="connsiteX210" fmla="*/ 5108 w 10000"/>
                <a:gd name="connsiteY210" fmla="*/ 1063 h 10000"/>
                <a:gd name="connsiteX211" fmla="*/ 5212 w 10000"/>
                <a:gd name="connsiteY211" fmla="*/ 1187 h 10000"/>
                <a:gd name="connsiteX212" fmla="*/ 5357 w 10000"/>
                <a:gd name="connsiteY212" fmla="*/ 919 h 10000"/>
                <a:gd name="connsiteX213" fmla="*/ 5577 w 10000"/>
                <a:gd name="connsiteY213" fmla="*/ 1063 h 10000"/>
                <a:gd name="connsiteX214" fmla="*/ 5643 w 10000"/>
                <a:gd name="connsiteY214" fmla="*/ 1115 h 10000"/>
                <a:gd name="connsiteX215" fmla="*/ 5697 w 10000"/>
                <a:gd name="connsiteY215" fmla="*/ 1166 h 10000"/>
                <a:gd name="connsiteX216" fmla="*/ 5908 w 10000"/>
                <a:gd name="connsiteY216" fmla="*/ 1631 h 10000"/>
                <a:gd name="connsiteX217" fmla="*/ 5984 w 10000"/>
                <a:gd name="connsiteY217" fmla="*/ 1611 h 10000"/>
                <a:gd name="connsiteX218" fmla="*/ 5977 w 10000"/>
                <a:gd name="connsiteY218" fmla="*/ 1507 h 10000"/>
                <a:gd name="connsiteX219" fmla="*/ 5984 w 10000"/>
                <a:gd name="connsiteY219" fmla="*/ 1383 h 10000"/>
                <a:gd name="connsiteX220" fmla="*/ 6091 w 10000"/>
                <a:gd name="connsiteY220" fmla="*/ 1486 h 10000"/>
                <a:gd name="connsiteX221" fmla="*/ 6264 w 10000"/>
                <a:gd name="connsiteY221" fmla="*/ 1507 h 10000"/>
                <a:gd name="connsiteX222" fmla="*/ 6409 w 10000"/>
                <a:gd name="connsiteY222" fmla="*/ 1455 h 10000"/>
                <a:gd name="connsiteX223" fmla="*/ 6340 w 10000"/>
                <a:gd name="connsiteY223" fmla="*/ 1362 h 10000"/>
                <a:gd name="connsiteX224" fmla="*/ 6431 w 10000"/>
                <a:gd name="connsiteY224" fmla="*/ 1084 h 10000"/>
                <a:gd name="connsiteX225" fmla="*/ 6687 w 10000"/>
                <a:gd name="connsiteY225" fmla="*/ 1207 h 10000"/>
                <a:gd name="connsiteX226" fmla="*/ 6945 w 10000"/>
                <a:gd name="connsiteY226" fmla="*/ 1331 h 10000"/>
                <a:gd name="connsiteX227" fmla="*/ 6967 w 10000"/>
                <a:gd name="connsiteY227" fmla="*/ 1362 h 10000"/>
                <a:gd name="connsiteX228" fmla="*/ 7194 w 10000"/>
                <a:gd name="connsiteY228" fmla="*/ 1611 h 10000"/>
                <a:gd name="connsiteX229" fmla="*/ 7367 w 10000"/>
                <a:gd name="connsiteY229" fmla="*/ 1507 h 10000"/>
                <a:gd name="connsiteX230" fmla="*/ 7582 w 10000"/>
                <a:gd name="connsiteY230" fmla="*/ 1538 h 10000"/>
                <a:gd name="connsiteX231" fmla="*/ 7657 w 10000"/>
                <a:gd name="connsiteY231" fmla="*/ 1611 h 10000"/>
                <a:gd name="connsiteX232" fmla="*/ 7928 w 10000"/>
                <a:gd name="connsiteY232" fmla="*/ 1930 h 10000"/>
                <a:gd name="connsiteX233" fmla="*/ 8231 w 10000"/>
                <a:gd name="connsiteY233" fmla="*/ 1879 h 10000"/>
                <a:gd name="connsiteX234" fmla="*/ 8339 w 10000"/>
                <a:gd name="connsiteY234" fmla="*/ 2033 h 10000"/>
                <a:gd name="connsiteX235" fmla="*/ 8490 w 10000"/>
                <a:gd name="connsiteY235" fmla="*/ 2157 h 10000"/>
                <a:gd name="connsiteX236" fmla="*/ 8519 w 10000"/>
                <a:gd name="connsiteY236" fmla="*/ 2105 h 10000"/>
                <a:gd name="connsiteX237" fmla="*/ 8497 w 10000"/>
                <a:gd name="connsiteY237" fmla="*/ 2074 h 10000"/>
                <a:gd name="connsiteX238" fmla="*/ 8383 w 10000"/>
                <a:gd name="connsiteY238" fmla="*/ 1930 h 10000"/>
                <a:gd name="connsiteX239" fmla="*/ 8465 w 10000"/>
                <a:gd name="connsiteY239" fmla="*/ 1755 h 10000"/>
                <a:gd name="connsiteX240" fmla="*/ 8664 w 10000"/>
                <a:gd name="connsiteY240" fmla="*/ 1910 h 10000"/>
                <a:gd name="connsiteX241" fmla="*/ 8950 w 10000"/>
                <a:gd name="connsiteY241" fmla="*/ 1982 h 10000"/>
                <a:gd name="connsiteX242" fmla="*/ 9206 w 10000"/>
                <a:gd name="connsiteY242" fmla="*/ 2260 h 10000"/>
                <a:gd name="connsiteX243" fmla="*/ 9344 w 10000"/>
                <a:gd name="connsiteY243" fmla="*/ 2332 h 10000"/>
                <a:gd name="connsiteX244" fmla="*/ 9451 w 10000"/>
                <a:gd name="connsiteY244" fmla="*/ 2446 h 10000"/>
                <a:gd name="connsiteX245" fmla="*/ 9574 w 10000"/>
                <a:gd name="connsiteY245" fmla="*/ 2632 h 10000"/>
                <a:gd name="connsiteX246" fmla="*/ 9631 w 10000"/>
                <a:gd name="connsiteY246" fmla="*/ 2756 h 10000"/>
                <a:gd name="connsiteX247" fmla="*/ 9726 w 10000"/>
                <a:gd name="connsiteY247" fmla="*/ 2787 h 10000"/>
                <a:gd name="connsiteX248" fmla="*/ 9590 w 10000"/>
                <a:gd name="connsiteY248" fmla="*/ 2570 h 10000"/>
                <a:gd name="connsiteX249" fmla="*/ 9915 w 10000"/>
                <a:gd name="connsiteY249" fmla="*/ 2756 h 10000"/>
                <a:gd name="connsiteX250" fmla="*/ 10000 w 10000"/>
                <a:gd name="connsiteY250" fmla="*/ 3014 h 10000"/>
                <a:gd name="connsiteX251" fmla="*/ 9934 w 10000"/>
                <a:gd name="connsiteY251" fmla="*/ 2941 h 10000"/>
                <a:gd name="connsiteX252" fmla="*/ 9874 w 10000"/>
                <a:gd name="connsiteY252" fmla="*/ 2952 h 10000"/>
                <a:gd name="connsiteX253" fmla="*/ 10000 w 10000"/>
                <a:gd name="connsiteY253" fmla="*/ 3292 h 10000"/>
                <a:gd name="connsiteX254" fmla="*/ 9845 w 10000"/>
                <a:gd name="connsiteY254" fmla="*/ 3220 h 10000"/>
                <a:gd name="connsiteX255" fmla="*/ 9745 w 10000"/>
                <a:gd name="connsiteY255" fmla="*/ 3075 h 10000"/>
                <a:gd name="connsiteX256" fmla="*/ 9641 w 10000"/>
                <a:gd name="connsiteY256" fmla="*/ 2972 h 10000"/>
                <a:gd name="connsiteX257" fmla="*/ 9555 w 10000"/>
                <a:gd name="connsiteY257" fmla="*/ 3003 h 10000"/>
                <a:gd name="connsiteX258" fmla="*/ 9470 w 10000"/>
                <a:gd name="connsiteY258" fmla="*/ 2787 h 10000"/>
                <a:gd name="connsiteX259" fmla="*/ 9366 w 10000"/>
                <a:gd name="connsiteY259" fmla="*/ 2725 h 10000"/>
                <a:gd name="connsiteX260" fmla="*/ 9461 w 10000"/>
                <a:gd name="connsiteY260" fmla="*/ 2972 h 10000"/>
                <a:gd name="connsiteX261" fmla="*/ 9470 w 10000"/>
                <a:gd name="connsiteY261" fmla="*/ 3230 h 10000"/>
                <a:gd name="connsiteX262" fmla="*/ 9288 w 10000"/>
                <a:gd name="connsiteY262" fmla="*/ 3065 h 10000"/>
                <a:gd name="connsiteX263" fmla="*/ 9262 w 10000"/>
                <a:gd name="connsiteY263" fmla="*/ 3230 h 10000"/>
                <a:gd name="connsiteX264" fmla="*/ 9363 w 10000"/>
                <a:gd name="connsiteY264" fmla="*/ 3230 h 10000"/>
                <a:gd name="connsiteX265" fmla="*/ 9451 w 10000"/>
                <a:gd name="connsiteY265" fmla="*/ 3354 h 10000"/>
                <a:gd name="connsiteX266" fmla="*/ 9659 w 10000"/>
                <a:gd name="connsiteY266" fmla="*/ 3685 h 10000"/>
                <a:gd name="connsiteX267" fmla="*/ 9735 w 10000"/>
                <a:gd name="connsiteY267" fmla="*/ 3839 h 10000"/>
                <a:gd name="connsiteX268" fmla="*/ 9552 w 10000"/>
                <a:gd name="connsiteY268" fmla="*/ 3757 h 10000"/>
                <a:gd name="connsiteX269" fmla="*/ 9451 w 10000"/>
                <a:gd name="connsiteY269" fmla="*/ 4025 h 10000"/>
                <a:gd name="connsiteX270" fmla="*/ 9385 w 10000"/>
                <a:gd name="connsiteY270" fmla="*/ 4283 h 10000"/>
                <a:gd name="connsiteX271" fmla="*/ 9376 w 10000"/>
                <a:gd name="connsiteY271" fmla="*/ 4499 h 10000"/>
                <a:gd name="connsiteX272" fmla="*/ 9335 w 10000"/>
                <a:gd name="connsiteY272" fmla="*/ 4303 h 10000"/>
                <a:gd name="connsiteX273" fmla="*/ 9149 w 10000"/>
                <a:gd name="connsiteY273" fmla="*/ 4314 h 10000"/>
                <a:gd name="connsiteX274" fmla="*/ 9155 w 10000"/>
                <a:gd name="connsiteY274" fmla="*/ 4531 h 10000"/>
                <a:gd name="connsiteX275" fmla="*/ 9061 w 10000"/>
                <a:gd name="connsiteY275" fmla="*/ 4365 h 10000"/>
                <a:gd name="connsiteX276" fmla="*/ 9054 w 10000"/>
                <a:gd name="connsiteY276" fmla="*/ 4521 h 10000"/>
                <a:gd name="connsiteX277" fmla="*/ 8998 w 10000"/>
                <a:gd name="connsiteY277" fmla="*/ 4458 h 10000"/>
                <a:gd name="connsiteX278" fmla="*/ 8966 w 10000"/>
                <a:gd name="connsiteY278" fmla="*/ 4562 h 10000"/>
                <a:gd name="connsiteX279" fmla="*/ 9007 w 10000"/>
                <a:gd name="connsiteY279" fmla="*/ 4686 h 10000"/>
                <a:gd name="connsiteX280" fmla="*/ 9004 w 10000"/>
                <a:gd name="connsiteY280" fmla="*/ 4995 h 10000"/>
                <a:gd name="connsiteX281" fmla="*/ 9073 w 10000"/>
                <a:gd name="connsiteY281" fmla="*/ 5211 h 10000"/>
                <a:gd name="connsiteX282" fmla="*/ 9130 w 10000"/>
                <a:gd name="connsiteY282" fmla="*/ 5150 h 10000"/>
                <a:gd name="connsiteX283" fmla="*/ 9158 w 10000"/>
                <a:gd name="connsiteY283" fmla="*/ 5211 h 10000"/>
                <a:gd name="connsiteX284" fmla="*/ 9231 w 10000"/>
                <a:gd name="connsiteY284" fmla="*/ 5428 h 10000"/>
                <a:gd name="connsiteX285" fmla="*/ 9215 w 10000"/>
                <a:gd name="connsiteY285" fmla="*/ 5604 h 10000"/>
                <a:gd name="connsiteX286" fmla="*/ 9221 w 10000"/>
                <a:gd name="connsiteY286" fmla="*/ 5769 h 10000"/>
                <a:gd name="connsiteX287" fmla="*/ 9269 w 10000"/>
                <a:gd name="connsiteY287" fmla="*/ 5883 h 10000"/>
                <a:gd name="connsiteX288" fmla="*/ 9344 w 10000"/>
                <a:gd name="connsiteY288" fmla="*/ 6068 h 10000"/>
                <a:gd name="connsiteX289" fmla="*/ 9269 w 10000"/>
                <a:gd name="connsiteY289" fmla="*/ 6068 h 10000"/>
                <a:gd name="connsiteX290" fmla="*/ 9253 w 10000"/>
                <a:gd name="connsiteY290" fmla="*/ 6223 h 10000"/>
                <a:gd name="connsiteX291" fmla="*/ 9319 w 10000"/>
                <a:gd name="connsiteY291" fmla="*/ 6408 h 10000"/>
                <a:gd name="connsiteX292" fmla="*/ 9250 w 10000"/>
                <a:gd name="connsiteY292" fmla="*/ 6502 h 10000"/>
                <a:gd name="connsiteX293" fmla="*/ 9297 w 10000"/>
                <a:gd name="connsiteY293" fmla="*/ 6729 h 10000"/>
                <a:gd name="connsiteX294" fmla="*/ 9281 w 10000"/>
                <a:gd name="connsiteY294" fmla="*/ 7069 h 10000"/>
                <a:gd name="connsiteX295" fmla="*/ 9061 w 10000"/>
                <a:gd name="connsiteY295" fmla="*/ 6408 h 10000"/>
                <a:gd name="connsiteX296" fmla="*/ 8824 w 10000"/>
                <a:gd name="connsiteY296" fmla="*/ 5759 h 10000"/>
                <a:gd name="connsiteX297" fmla="*/ 8771 w 10000"/>
                <a:gd name="connsiteY297" fmla="*/ 5459 h 10000"/>
                <a:gd name="connsiteX298" fmla="*/ 8768 w 10000"/>
                <a:gd name="connsiteY298" fmla="*/ 5211 h 10000"/>
                <a:gd name="connsiteX299" fmla="*/ 8692 w 10000"/>
                <a:gd name="connsiteY299" fmla="*/ 5047 h 10000"/>
                <a:gd name="connsiteX300" fmla="*/ 8771 w 10000"/>
                <a:gd name="connsiteY300" fmla="*/ 5088 h 10000"/>
                <a:gd name="connsiteX301" fmla="*/ 8809 w 10000"/>
                <a:gd name="connsiteY301" fmla="*/ 5108 h 10000"/>
                <a:gd name="connsiteX302" fmla="*/ 8809 w 10000"/>
                <a:gd name="connsiteY302" fmla="*/ 4840 h 10000"/>
                <a:gd name="connsiteX303" fmla="*/ 8827 w 10000"/>
                <a:gd name="connsiteY303" fmla="*/ 4437 h 10000"/>
                <a:gd name="connsiteX304" fmla="*/ 8853 w 10000"/>
                <a:gd name="connsiteY304" fmla="*/ 4252 h 10000"/>
                <a:gd name="connsiteX305" fmla="*/ 8909 w 10000"/>
                <a:gd name="connsiteY305" fmla="*/ 4221 h 10000"/>
                <a:gd name="connsiteX306" fmla="*/ 8786 w 10000"/>
                <a:gd name="connsiteY306" fmla="*/ 3901 h 10000"/>
                <a:gd name="connsiteX307" fmla="*/ 8853 w 10000"/>
                <a:gd name="connsiteY307" fmla="*/ 3839 h 10000"/>
                <a:gd name="connsiteX308" fmla="*/ 8739 w 10000"/>
                <a:gd name="connsiteY308" fmla="*/ 3788 h 10000"/>
                <a:gd name="connsiteX309" fmla="*/ 8755 w 10000"/>
                <a:gd name="connsiteY309" fmla="*/ 3984 h 10000"/>
                <a:gd name="connsiteX310" fmla="*/ 8692 w 10000"/>
                <a:gd name="connsiteY310" fmla="*/ 4303 h 10000"/>
                <a:gd name="connsiteX311" fmla="*/ 8604 w 10000"/>
                <a:gd name="connsiteY311" fmla="*/ 4210 h 10000"/>
                <a:gd name="connsiteX312" fmla="*/ 8550 w 10000"/>
                <a:gd name="connsiteY312" fmla="*/ 4056 h 10000"/>
                <a:gd name="connsiteX313" fmla="*/ 8481 w 10000"/>
                <a:gd name="connsiteY313" fmla="*/ 4138 h 10000"/>
                <a:gd name="connsiteX314" fmla="*/ 8389 w 10000"/>
                <a:gd name="connsiteY314" fmla="*/ 4107 h 10000"/>
                <a:gd name="connsiteX315" fmla="*/ 8352 w 10000"/>
                <a:gd name="connsiteY315" fmla="*/ 4406 h 10000"/>
                <a:gd name="connsiteX316" fmla="*/ 8481 w 10000"/>
                <a:gd name="connsiteY316" fmla="*/ 4655 h 10000"/>
                <a:gd name="connsiteX317" fmla="*/ 8405 w 10000"/>
                <a:gd name="connsiteY317" fmla="*/ 4830 h 10000"/>
                <a:gd name="connsiteX318" fmla="*/ 8225 w 10000"/>
                <a:gd name="connsiteY318" fmla="*/ 4799 h 10000"/>
                <a:gd name="connsiteX319" fmla="*/ 8209 w 10000"/>
                <a:gd name="connsiteY319" fmla="*/ 4655 h 10000"/>
                <a:gd name="connsiteX320" fmla="*/ 8102 w 10000"/>
                <a:gd name="connsiteY320" fmla="*/ 4634 h 10000"/>
                <a:gd name="connsiteX321" fmla="*/ 7641 w 10000"/>
                <a:gd name="connsiteY321" fmla="*/ 4779 h 10000"/>
                <a:gd name="connsiteX322" fmla="*/ 7610 w 10000"/>
                <a:gd name="connsiteY322" fmla="*/ 5005 h 10000"/>
                <a:gd name="connsiteX323" fmla="*/ 7550 w 10000"/>
                <a:gd name="connsiteY323" fmla="*/ 5666 h 10000"/>
                <a:gd name="connsiteX324" fmla="*/ 7496 w 10000"/>
                <a:gd name="connsiteY324" fmla="*/ 5965 h 10000"/>
                <a:gd name="connsiteX325" fmla="*/ 7701 w 10000"/>
                <a:gd name="connsiteY325" fmla="*/ 6161 h 10000"/>
                <a:gd name="connsiteX326" fmla="*/ 7745 w 10000"/>
                <a:gd name="connsiteY326" fmla="*/ 6243 h 10000"/>
                <a:gd name="connsiteX327" fmla="*/ 7771 w 10000"/>
                <a:gd name="connsiteY327" fmla="*/ 6285 h 10000"/>
                <a:gd name="connsiteX328" fmla="*/ 7793 w 10000"/>
                <a:gd name="connsiteY328" fmla="*/ 6068 h 10000"/>
                <a:gd name="connsiteX329" fmla="*/ 7912 w 10000"/>
                <a:gd name="connsiteY329" fmla="*/ 6089 h 10000"/>
                <a:gd name="connsiteX330" fmla="*/ 8004 w 10000"/>
                <a:gd name="connsiteY330" fmla="*/ 6367 h 10000"/>
                <a:gd name="connsiteX331" fmla="*/ 8064 w 10000"/>
                <a:gd name="connsiteY331" fmla="*/ 6616 h 10000"/>
                <a:gd name="connsiteX332" fmla="*/ 8111 w 10000"/>
                <a:gd name="connsiteY332" fmla="*/ 6781 h 10000"/>
                <a:gd name="connsiteX333" fmla="*/ 8048 w 10000"/>
                <a:gd name="connsiteY333" fmla="*/ 6491 h 10000"/>
                <a:gd name="connsiteX334" fmla="*/ 8124 w 10000"/>
                <a:gd name="connsiteY334" fmla="*/ 6336 h 10000"/>
                <a:gd name="connsiteX335" fmla="*/ 8177 w 10000"/>
                <a:gd name="connsiteY335" fmla="*/ 6512 h 10000"/>
                <a:gd name="connsiteX336" fmla="*/ 8300 w 10000"/>
                <a:gd name="connsiteY336" fmla="*/ 6987 h 10000"/>
                <a:gd name="connsiteX337" fmla="*/ 8361 w 10000"/>
                <a:gd name="connsiteY337" fmla="*/ 7152 h 10000"/>
                <a:gd name="connsiteX338" fmla="*/ 8490 w 10000"/>
                <a:gd name="connsiteY338" fmla="*/ 7482 h 10000"/>
                <a:gd name="connsiteX339" fmla="*/ 8604 w 10000"/>
                <a:gd name="connsiteY339" fmla="*/ 7854 h 10000"/>
                <a:gd name="connsiteX340" fmla="*/ 8474 w 10000"/>
                <a:gd name="connsiteY340" fmla="*/ 7647 h 10000"/>
                <a:gd name="connsiteX341" fmla="*/ 8443 w 10000"/>
                <a:gd name="connsiteY341" fmla="*/ 7678 h 10000"/>
                <a:gd name="connsiteX342" fmla="*/ 8512 w 10000"/>
                <a:gd name="connsiteY342" fmla="*/ 8050 h 10000"/>
                <a:gd name="connsiteX343" fmla="*/ 8588 w 10000"/>
                <a:gd name="connsiteY343" fmla="*/ 8266 h 10000"/>
                <a:gd name="connsiteX344" fmla="*/ 8642 w 10000"/>
                <a:gd name="connsiteY344" fmla="*/ 8472 h 10000"/>
                <a:gd name="connsiteX345" fmla="*/ 8566 w 10000"/>
                <a:gd name="connsiteY345" fmla="*/ 8421 h 10000"/>
                <a:gd name="connsiteX346" fmla="*/ 8556 w 10000"/>
                <a:gd name="connsiteY346" fmla="*/ 8669 h 10000"/>
                <a:gd name="connsiteX347" fmla="*/ 8497 w 10000"/>
                <a:gd name="connsiteY347" fmla="*/ 8493 h 10000"/>
                <a:gd name="connsiteX348" fmla="*/ 8481 w 10000"/>
                <a:gd name="connsiteY348" fmla="*/ 8421 h 10000"/>
                <a:gd name="connsiteX349" fmla="*/ 8361 w 10000"/>
                <a:gd name="connsiteY349" fmla="*/ 7751 h 10000"/>
                <a:gd name="connsiteX350" fmla="*/ 8322 w 10000"/>
                <a:gd name="connsiteY350" fmla="*/ 7524 h 10000"/>
                <a:gd name="connsiteX351" fmla="*/ 8291 w 10000"/>
                <a:gd name="connsiteY351" fmla="*/ 7378 h 10000"/>
                <a:gd name="connsiteX352" fmla="*/ 8275 w 10000"/>
                <a:gd name="connsiteY352" fmla="*/ 7306 h 10000"/>
                <a:gd name="connsiteX353" fmla="*/ 8139 w 10000"/>
                <a:gd name="connsiteY353" fmla="*/ 6863 h 10000"/>
                <a:gd name="connsiteX354" fmla="*/ 8199 w 10000"/>
                <a:gd name="connsiteY354" fmla="*/ 7451 h 10000"/>
                <a:gd name="connsiteX355" fmla="*/ 8247 w 10000"/>
                <a:gd name="connsiteY355" fmla="*/ 7998 h 10000"/>
                <a:gd name="connsiteX356" fmla="*/ 8177 w 10000"/>
                <a:gd name="connsiteY356" fmla="*/ 9133 h 10000"/>
                <a:gd name="connsiteX357" fmla="*/ 8124 w 10000"/>
                <a:gd name="connsiteY357" fmla="*/ 9484 h 10000"/>
                <a:gd name="connsiteX358" fmla="*/ 7972 w 10000"/>
                <a:gd name="connsiteY358" fmla="*/ 9432 h 10000"/>
                <a:gd name="connsiteX359" fmla="*/ 7897 w 10000"/>
                <a:gd name="connsiteY359" fmla="*/ 9660 h 10000"/>
                <a:gd name="connsiteX360" fmla="*/ 7868 w 10000"/>
                <a:gd name="connsiteY360" fmla="*/ 9588 h 10000"/>
                <a:gd name="connsiteX361" fmla="*/ 7884 w 10000"/>
                <a:gd name="connsiteY361" fmla="*/ 9536 h 10000"/>
                <a:gd name="connsiteX362" fmla="*/ 7897 w 10000"/>
                <a:gd name="connsiteY362" fmla="*/ 9380 h 10000"/>
                <a:gd name="connsiteX363" fmla="*/ 7884 w 10000"/>
                <a:gd name="connsiteY363" fmla="*/ 9236 h 10000"/>
                <a:gd name="connsiteX364" fmla="*/ 7793 w 10000"/>
                <a:gd name="connsiteY364" fmla="*/ 8865 h 10000"/>
                <a:gd name="connsiteX365" fmla="*/ 7831 w 10000"/>
                <a:gd name="connsiteY365" fmla="*/ 8741 h 10000"/>
                <a:gd name="connsiteX366" fmla="*/ 7928 w 10000"/>
                <a:gd name="connsiteY366" fmla="*/ 8844 h 10000"/>
                <a:gd name="connsiteX367" fmla="*/ 7912 w 10000"/>
                <a:gd name="connsiteY367" fmla="*/ 8318 h 10000"/>
                <a:gd name="connsiteX368" fmla="*/ 7906 w 10000"/>
                <a:gd name="connsiteY368" fmla="*/ 8019 h 10000"/>
                <a:gd name="connsiteX369" fmla="*/ 7846 w 10000"/>
                <a:gd name="connsiteY369" fmla="*/ 7802 h 10000"/>
                <a:gd name="connsiteX370" fmla="*/ 7723 w 10000"/>
                <a:gd name="connsiteY370" fmla="*/ 8050 h 10000"/>
                <a:gd name="connsiteX371" fmla="*/ 7619 w 10000"/>
                <a:gd name="connsiteY371" fmla="*/ 8019 h 10000"/>
                <a:gd name="connsiteX372" fmla="*/ 7528 w 10000"/>
                <a:gd name="connsiteY372" fmla="*/ 7699 h 10000"/>
                <a:gd name="connsiteX373" fmla="*/ 7355 w 10000"/>
                <a:gd name="connsiteY373" fmla="*/ 7482 h 10000"/>
                <a:gd name="connsiteX374" fmla="*/ 7279 w 10000"/>
                <a:gd name="connsiteY374" fmla="*/ 7482 h 10000"/>
                <a:gd name="connsiteX375" fmla="*/ 7080 w 10000"/>
                <a:gd name="connsiteY375" fmla="*/ 6781 h 10000"/>
                <a:gd name="connsiteX376" fmla="*/ 6901 w 10000"/>
                <a:gd name="connsiteY376" fmla="*/ 6460 h 10000"/>
                <a:gd name="connsiteX377" fmla="*/ 6724 w 10000"/>
                <a:gd name="connsiteY377" fmla="*/ 6336 h 10000"/>
                <a:gd name="connsiteX378" fmla="*/ 6583 w 10000"/>
                <a:gd name="connsiteY378" fmla="*/ 6408 h 10000"/>
                <a:gd name="connsiteX379" fmla="*/ 6567 w 10000"/>
                <a:gd name="connsiteY379" fmla="*/ 6585 h 10000"/>
                <a:gd name="connsiteX380" fmla="*/ 6664 w 10000"/>
                <a:gd name="connsiteY380" fmla="*/ 6760 h 10000"/>
                <a:gd name="connsiteX381" fmla="*/ 6636 w 10000"/>
                <a:gd name="connsiteY381" fmla="*/ 6935 h 10000"/>
                <a:gd name="connsiteX382" fmla="*/ 6636 w 10000"/>
                <a:gd name="connsiteY382" fmla="*/ 7399 h 10000"/>
                <a:gd name="connsiteX383" fmla="*/ 6560 w 10000"/>
                <a:gd name="connsiteY383" fmla="*/ 7482 h 10000"/>
                <a:gd name="connsiteX384" fmla="*/ 6485 w 10000"/>
                <a:gd name="connsiteY384" fmla="*/ 7378 h 10000"/>
                <a:gd name="connsiteX385" fmla="*/ 6400 w 10000"/>
                <a:gd name="connsiteY385" fmla="*/ 7399 h 10000"/>
                <a:gd name="connsiteX386" fmla="*/ 6334 w 10000"/>
                <a:gd name="connsiteY386" fmla="*/ 7275 h 10000"/>
                <a:gd name="connsiteX387" fmla="*/ 6258 w 10000"/>
                <a:gd name="connsiteY387" fmla="*/ 7358 h 10000"/>
                <a:gd name="connsiteX388" fmla="*/ 6220 w 10000"/>
                <a:gd name="connsiteY388" fmla="*/ 7524 h 10000"/>
                <a:gd name="connsiteX389" fmla="*/ 6081 w 10000"/>
                <a:gd name="connsiteY389" fmla="*/ 7606 h 10000"/>
                <a:gd name="connsiteX390" fmla="*/ 5892 w 10000"/>
                <a:gd name="connsiteY390" fmla="*/ 7575 h 10000"/>
                <a:gd name="connsiteX391" fmla="*/ 5855 w 10000"/>
                <a:gd name="connsiteY391" fmla="*/ 7327 h 10000"/>
                <a:gd name="connsiteX392" fmla="*/ 5643 w 10000"/>
                <a:gd name="connsiteY392" fmla="*/ 7255 h 10000"/>
                <a:gd name="connsiteX393" fmla="*/ 5539 w 10000"/>
                <a:gd name="connsiteY393" fmla="*/ 7358 h 10000"/>
                <a:gd name="connsiteX394" fmla="*/ 5416 w 10000"/>
                <a:gd name="connsiteY394" fmla="*/ 7203 h 10000"/>
                <a:gd name="connsiteX395" fmla="*/ 5372 w 10000"/>
                <a:gd name="connsiteY395"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2384 w 10000"/>
                <a:gd name="connsiteY26" fmla="*/ 7183 h 10000"/>
                <a:gd name="connsiteX27" fmla="*/ 2308 w 10000"/>
                <a:gd name="connsiteY27" fmla="*/ 7028 h 10000"/>
                <a:gd name="connsiteX28" fmla="*/ 2147 w 10000"/>
                <a:gd name="connsiteY28" fmla="*/ 7131 h 10000"/>
                <a:gd name="connsiteX29" fmla="*/ 2109 w 10000"/>
                <a:gd name="connsiteY29" fmla="*/ 7203 h 10000"/>
                <a:gd name="connsiteX30" fmla="*/ 1983 w 10000"/>
                <a:gd name="connsiteY30" fmla="*/ 7028 h 10000"/>
                <a:gd name="connsiteX31" fmla="*/ 1854 w 10000"/>
                <a:gd name="connsiteY31" fmla="*/ 6884 h 10000"/>
                <a:gd name="connsiteX32" fmla="*/ 1610 w 10000"/>
                <a:gd name="connsiteY32" fmla="*/ 7183 h 10000"/>
                <a:gd name="connsiteX33" fmla="*/ 1655 w 10000"/>
                <a:gd name="connsiteY33" fmla="*/ 7430 h 10000"/>
                <a:gd name="connsiteX34" fmla="*/ 1604 w 10000"/>
                <a:gd name="connsiteY34" fmla="*/ 7430 h 10000"/>
                <a:gd name="connsiteX35" fmla="*/ 1551 w 10000"/>
                <a:gd name="connsiteY35" fmla="*/ 7255 h 10000"/>
                <a:gd name="connsiteX36" fmla="*/ 1513 w 10000"/>
                <a:gd name="connsiteY36" fmla="*/ 7430 h 10000"/>
                <a:gd name="connsiteX37" fmla="*/ 1519 w 10000"/>
                <a:gd name="connsiteY37" fmla="*/ 7854 h 10000"/>
                <a:gd name="connsiteX38" fmla="*/ 1604 w 10000"/>
                <a:gd name="connsiteY38" fmla="*/ 8070 h 10000"/>
                <a:gd name="connsiteX39" fmla="*/ 1648 w 10000"/>
                <a:gd name="connsiteY39" fmla="*/ 8019 h 10000"/>
                <a:gd name="connsiteX40" fmla="*/ 1741 w 10000"/>
                <a:gd name="connsiteY40" fmla="*/ 8493 h 10000"/>
                <a:gd name="connsiteX41" fmla="*/ 1610 w 10000"/>
                <a:gd name="connsiteY41" fmla="*/ 8669 h 10000"/>
                <a:gd name="connsiteX42" fmla="*/ 1595 w 10000"/>
                <a:gd name="connsiteY42" fmla="*/ 9009 h 10000"/>
                <a:gd name="connsiteX43" fmla="*/ 1664 w 10000"/>
                <a:gd name="connsiteY43" fmla="*/ 9236 h 10000"/>
                <a:gd name="connsiteX44" fmla="*/ 1664 w 10000"/>
                <a:gd name="connsiteY44" fmla="*/ 9484 h 10000"/>
                <a:gd name="connsiteX45" fmla="*/ 1769 w 10000"/>
                <a:gd name="connsiteY45" fmla="*/ 9835 h 10000"/>
                <a:gd name="connsiteX46" fmla="*/ 1703 w 10000"/>
                <a:gd name="connsiteY46" fmla="*/ 10000 h 10000"/>
                <a:gd name="connsiteX47" fmla="*/ 1604 w 10000"/>
                <a:gd name="connsiteY47" fmla="*/ 9753 h 10000"/>
                <a:gd name="connsiteX48" fmla="*/ 1465 w 10000"/>
                <a:gd name="connsiteY48" fmla="*/ 9505 h 10000"/>
                <a:gd name="connsiteX49" fmla="*/ 1406 w 10000"/>
                <a:gd name="connsiteY49" fmla="*/ 9588 h 10000"/>
                <a:gd name="connsiteX50" fmla="*/ 1308 w 10000"/>
                <a:gd name="connsiteY50" fmla="*/ 9380 h 10000"/>
                <a:gd name="connsiteX51" fmla="*/ 1097 w 10000"/>
                <a:gd name="connsiteY51" fmla="*/ 9339 h 10000"/>
                <a:gd name="connsiteX52" fmla="*/ 848 w 10000"/>
                <a:gd name="connsiteY52" fmla="*/ 8813 h 10000"/>
                <a:gd name="connsiteX53" fmla="*/ 914 w 10000"/>
                <a:gd name="connsiteY53" fmla="*/ 8721 h 10000"/>
                <a:gd name="connsiteX54" fmla="*/ 961 w 10000"/>
                <a:gd name="connsiteY54" fmla="*/ 8493 h 10000"/>
                <a:gd name="connsiteX55" fmla="*/ 908 w 10000"/>
                <a:gd name="connsiteY55" fmla="*/ 8390 h 10000"/>
                <a:gd name="connsiteX56" fmla="*/ 1021 w 10000"/>
                <a:gd name="connsiteY56" fmla="*/ 8245 h 10000"/>
                <a:gd name="connsiteX57" fmla="*/ 945 w 10000"/>
                <a:gd name="connsiteY57" fmla="*/ 8194 h 10000"/>
                <a:gd name="connsiteX58" fmla="*/ 958 w 10000"/>
                <a:gd name="connsiteY58" fmla="*/ 8091 h 10000"/>
                <a:gd name="connsiteX59" fmla="*/ 1005 w 10000"/>
                <a:gd name="connsiteY59" fmla="*/ 8111 h 10000"/>
                <a:gd name="connsiteX60" fmla="*/ 1059 w 10000"/>
                <a:gd name="connsiteY60" fmla="*/ 8019 h 10000"/>
                <a:gd name="connsiteX61" fmla="*/ 1034 w 10000"/>
                <a:gd name="connsiteY61" fmla="*/ 7864 h 10000"/>
                <a:gd name="connsiteX62" fmla="*/ 1043 w 10000"/>
                <a:gd name="connsiteY62" fmla="*/ 7503 h 10000"/>
                <a:gd name="connsiteX63" fmla="*/ 930 w 10000"/>
                <a:gd name="connsiteY63" fmla="*/ 7440 h 10000"/>
                <a:gd name="connsiteX64" fmla="*/ 832 w 10000"/>
                <a:gd name="connsiteY64" fmla="*/ 7286 h 10000"/>
                <a:gd name="connsiteX65" fmla="*/ 700 w 10000"/>
                <a:gd name="connsiteY65" fmla="*/ 7275 h 10000"/>
                <a:gd name="connsiteX66" fmla="*/ 684 w 10000"/>
                <a:gd name="connsiteY66" fmla="*/ 7090 h 10000"/>
                <a:gd name="connsiteX67" fmla="*/ 596 w 10000"/>
                <a:gd name="connsiteY67" fmla="*/ 6945 h 10000"/>
                <a:gd name="connsiteX68" fmla="*/ 615 w 10000"/>
                <a:gd name="connsiteY68" fmla="*/ 6822 h 10000"/>
                <a:gd name="connsiteX69" fmla="*/ 561 w 10000"/>
                <a:gd name="connsiteY69" fmla="*/ 6698 h 10000"/>
                <a:gd name="connsiteX70" fmla="*/ 457 w 10000"/>
                <a:gd name="connsiteY70" fmla="*/ 6698 h 10000"/>
                <a:gd name="connsiteX71" fmla="*/ 425 w 10000"/>
                <a:gd name="connsiteY71" fmla="*/ 6791 h 10000"/>
                <a:gd name="connsiteX72" fmla="*/ 400 w 10000"/>
                <a:gd name="connsiteY72" fmla="*/ 6750 h 10000"/>
                <a:gd name="connsiteX73" fmla="*/ 378 w 10000"/>
                <a:gd name="connsiteY73" fmla="*/ 6439 h 10000"/>
                <a:gd name="connsiteX74" fmla="*/ 419 w 10000"/>
                <a:gd name="connsiteY74" fmla="*/ 6470 h 10000"/>
                <a:gd name="connsiteX75" fmla="*/ 466 w 10000"/>
                <a:gd name="connsiteY75" fmla="*/ 6347 h 10000"/>
                <a:gd name="connsiteX76" fmla="*/ 400 w 10000"/>
                <a:gd name="connsiteY76" fmla="*/ 6233 h 10000"/>
                <a:gd name="connsiteX77" fmla="*/ 315 w 10000"/>
                <a:gd name="connsiteY77" fmla="*/ 6017 h 10000"/>
                <a:gd name="connsiteX78" fmla="*/ 334 w 10000"/>
                <a:gd name="connsiteY78" fmla="*/ 5821 h 10000"/>
                <a:gd name="connsiteX79" fmla="*/ 274 w 10000"/>
                <a:gd name="connsiteY79" fmla="*/ 5697 h 10000"/>
                <a:gd name="connsiteX80" fmla="*/ 227 w 10000"/>
                <a:gd name="connsiteY80" fmla="*/ 5728 h 10000"/>
                <a:gd name="connsiteX81" fmla="*/ 202 w 10000"/>
                <a:gd name="connsiteY81" fmla="*/ 5604 h 10000"/>
                <a:gd name="connsiteX82" fmla="*/ 164 w 10000"/>
                <a:gd name="connsiteY82" fmla="*/ 5645 h 10000"/>
                <a:gd name="connsiteX83" fmla="*/ 117 w 10000"/>
                <a:gd name="connsiteY83" fmla="*/ 5604 h 10000"/>
                <a:gd name="connsiteX84" fmla="*/ 69 w 10000"/>
                <a:gd name="connsiteY84" fmla="*/ 5181 h 10000"/>
                <a:gd name="connsiteX85" fmla="*/ 85 w 10000"/>
                <a:gd name="connsiteY85" fmla="*/ 5057 h 10000"/>
                <a:gd name="connsiteX86" fmla="*/ 41 w 10000"/>
                <a:gd name="connsiteY86" fmla="*/ 4892 h 10000"/>
                <a:gd name="connsiteX87" fmla="*/ 66 w 10000"/>
                <a:gd name="connsiteY87" fmla="*/ 4655 h 10000"/>
                <a:gd name="connsiteX88" fmla="*/ 211 w 10000"/>
                <a:gd name="connsiteY88" fmla="*/ 4510 h 10000"/>
                <a:gd name="connsiteX89" fmla="*/ 129 w 10000"/>
                <a:gd name="connsiteY89" fmla="*/ 4406 h 10000"/>
                <a:gd name="connsiteX90" fmla="*/ 82 w 10000"/>
                <a:gd name="connsiteY90" fmla="*/ 4283 h 10000"/>
                <a:gd name="connsiteX91" fmla="*/ 205 w 10000"/>
                <a:gd name="connsiteY91" fmla="*/ 3912 h 10000"/>
                <a:gd name="connsiteX92" fmla="*/ 249 w 10000"/>
                <a:gd name="connsiteY92" fmla="*/ 3664 h 10000"/>
                <a:gd name="connsiteX93" fmla="*/ 151 w 10000"/>
                <a:gd name="connsiteY93" fmla="*/ 3488 h 10000"/>
                <a:gd name="connsiteX94" fmla="*/ 189 w 10000"/>
                <a:gd name="connsiteY94" fmla="*/ 3344 h 10000"/>
                <a:gd name="connsiteX95" fmla="*/ 113 w 10000"/>
                <a:gd name="connsiteY95" fmla="*/ 3148 h 10000"/>
                <a:gd name="connsiteX96" fmla="*/ 113 w 10000"/>
                <a:gd name="connsiteY96" fmla="*/ 2972 h 10000"/>
                <a:gd name="connsiteX97" fmla="*/ 60 w 10000"/>
                <a:gd name="connsiteY97" fmla="*/ 2622 h 10000"/>
                <a:gd name="connsiteX98" fmla="*/ 98 w 10000"/>
                <a:gd name="connsiteY98" fmla="*/ 2404 h 10000"/>
                <a:gd name="connsiteX99" fmla="*/ 38 w 10000"/>
                <a:gd name="connsiteY99" fmla="*/ 2301 h 10000"/>
                <a:gd name="connsiteX100" fmla="*/ 0 w 10000"/>
                <a:gd name="connsiteY100" fmla="*/ 2178 h 10000"/>
                <a:gd name="connsiteX101" fmla="*/ 54 w 10000"/>
                <a:gd name="connsiteY101" fmla="*/ 1951 h 10000"/>
                <a:gd name="connsiteX102" fmla="*/ 120 w 10000"/>
                <a:gd name="connsiteY102" fmla="*/ 1910 h 10000"/>
                <a:gd name="connsiteX103" fmla="*/ 195 w 10000"/>
                <a:gd name="connsiteY103" fmla="*/ 1858 h 10000"/>
                <a:gd name="connsiteX104" fmla="*/ 309 w 10000"/>
                <a:gd name="connsiteY104" fmla="*/ 1951 h 10000"/>
                <a:gd name="connsiteX105" fmla="*/ 482 w 10000"/>
                <a:gd name="connsiteY105" fmla="*/ 2054 h 10000"/>
                <a:gd name="connsiteX106" fmla="*/ 633 w 10000"/>
                <a:gd name="connsiteY106" fmla="*/ 2229 h 10000"/>
                <a:gd name="connsiteX107" fmla="*/ 756 w 10000"/>
                <a:gd name="connsiteY107" fmla="*/ 2373 h 10000"/>
                <a:gd name="connsiteX108" fmla="*/ 725 w 10000"/>
                <a:gd name="connsiteY108" fmla="*/ 2777 h 10000"/>
                <a:gd name="connsiteX109" fmla="*/ 362 w 10000"/>
                <a:gd name="connsiteY109" fmla="*/ 2673 h 10000"/>
                <a:gd name="connsiteX110" fmla="*/ 243 w 10000"/>
                <a:gd name="connsiteY110" fmla="*/ 2550 h 10000"/>
                <a:gd name="connsiteX111" fmla="*/ 287 w 10000"/>
                <a:gd name="connsiteY111" fmla="*/ 2622 h 10000"/>
                <a:gd name="connsiteX112" fmla="*/ 331 w 10000"/>
                <a:gd name="connsiteY112" fmla="*/ 2797 h 10000"/>
                <a:gd name="connsiteX113" fmla="*/ 400 w 10000"/>
                <a:gd name="connsiteY113" fmla="*/ 2921 h 10000"/>
                <a:gd name="connsiteX114" fmla="*/ 416 w 10000"/>
                <a:gd name="connsiteY114" fmla="*/ 3189 h 10000"/>
                <a:gd name="connsiteX115" fmla="*/ 507 w 10000"/>
                <a:gd name="connsiteY115" fmla="*/ 3313 h 10000"/>
                <a:gd name="connsiteX116" fmla="*/ 583 w 10000"/>
                <a:gd name="connsiteY116" fmla="*/ 3436 h 10000"/>
                <a:gd name="connsiteX117" fmla="*/ 605 w 10000"/>
                <a:gd name="connsiteY117" fmla="*/ 3467 h 10000"/>
                <a:gd name="connsiteX118" fmla="*/ 649 w 10000"/>
                <a:gd name="connsiteY118" fmla="*/ 3436 h 10000"/>
                <a:gd name="connsiteX119" fmla="*/ 633 w 10000"/>
                <a:gd name="connsiteY119" fmla="*/ 3364 h 10000"/>
                <a:gd name="connsiteX120" fmla="*/ 545 w 10000"/>
                <a:gd name="connsiteY120" fmla="*/ 3189 h 10000"/>
                <a:gd name="connsiteX121" fmla="*/ 801 w 10000"/>
                <a:gd name="connsiteY121" fmla="*/ 3344 h 10000"/>
                <a:gd name="connsiteX122" fmla="*/ 810 w 10000"/>
                <a:gd name="connsiteY122" fmla="*/ 3271 h 10000"/>
                <a:gd name="connsiteX123" fmla="*/ 785 w 10000"/>
                <a:gd name="connsiteY123" fmla="*/ 3220 h 10000"/>
                <a:gd name="connsiteX124" fmla="*/ 741 w 10000"/>
                <a:gd name="connsiteY124" fmla="*/ 2993 h 10000"/>
                <a:gd name="connsiteX125" fmla="*/ 870 w 10000"/>
                <a:gd name="connsiteY125" fmla="*/ 2777 h 10000"/>
                <a:gd name="connsiteX126" fmla="*/ 968 w 10000"/>
                <a:gd name="connsiteY126" fmla="*/ 2921 h 10000"/>
                <a:gd name="connsiteX127" fmla="*/ 999 w 10000"/>
                <a:gd name="connsiteY127" fmla="*/ 2725 h 10000"/>
                <a:gd name="connsiteX128" fmla="*/ 952 w 10000"/>
                <a:gd name="connsiteY128" fmla="*/ 2653 h 10000"/>
                <a:gd name="connsiteX129" fmla="*/ 936 w 10000"/>
                <a:gd name="connsiteY129" fmla="*/ 2281 h 10000"/>
                <a:gd name="connsiteX130" fmla="*/ 914 w 10000"/>
                <a:gd name="connsiteY130" fmla="*/ 2229 h 10000"/>
                <a:gd name="connsiteX131" fmla="*/ 1037 w 10000"/>
                <a:gd name="connsiteY131" fmla="*/ 2250 h 10000"/>
                <a:gd name="connsiteX132" fmla="*/ 1087 w 10000"/>
                <a:gd name="connsiteY132" fmla="*/ 2404 h 10000"/>
                <a:gd name="connsiteX133" fmla="*/ 1021 w 10000"/>
                <a:gd name="connsiteY133" fmla="*/ 2529 h 10000"/>
                <a:gd name="connsiteX134" fmla="*/ 1135 w 10000"/>
                <a:gd name="connsiteY134" fmla="*/ 2694 h 10000"/>
                <a:gd name="connsiteX135" fmla="*/ 1226 w 10000"/>
                <a:gd name="connsiteY135" fmla="*/ 2529 h 10000"/>
                <a:gd name="connsiteX136" fmla="*/ 1339 w 10000"/>
                <a:gd name="connsiteY136" fmla="*/ 2301 h 10000"/>
                <a:gd name="connsiteX137" fmla="*/ 1459 w 10000"/>
                <a:gd name="connsiteY137" fmla="*/ 2157 h 10000"/>
                <a:gd name="connsiteX138" fmla="*/ 1497 w 10000"/>
                <a:gd name="connsiteY138" fmla="*/ 2250 h 10000"/>
                <a:gd name="connsiteX139" fmla="*/ 1807 w 10000"/>
                <a:gd name="connsiteY139" fmla="*/ 2054 h 10000"/>
                <a:gd name="connsiteX140" fmla="*/ 1870 w 10000"/>
                <a:gd name="connsiteY140" fmla="*/ 2250 h 10000"/>
                <a:gd name="connsiteX141" fmla="*/ 1860 w 10000"/>
                <a:gd name="connsiteY141" fmla="*/ 2002 h 10000"/>
                <a:gd name="connsiteX142" fmla="*/ 1778 w 10000"/>
                <a:gd name="connsiteY142" fmla="*/ 1786 h 10000"/>
                <a:gd name="connsiteX143" fmla="*/ 1763 w 10000"/>
                <a:gd name="connsiteY143" fmla="*/ 1703 h 10000"/>
                <a:gd name="connsiteX144" fmla="*/ 1823 w 10000"/>
                <a:gd name="connsiteY144" fmla="*/ 1786 h 10000"/>
                <a:gd name="connsiteX145" fmla="*/ 2034 w 10000"/>
                <a:gd name="connsiteY145" fmla="*/ 1951 h 10000"/>
                <a:gd name="connsiteX146" fmla="*/ 2270 w 10000"/>
                <a:gd name="connsiteY146" fmla="*/ 2126 h 10000"/>
                <a:gd name="connsiteX147" fmla="*/ 2384 w 10000"/>
                <a:gd name="connsiteY147" fmla="*/ 2250 h 10000"/>
                <a:gd name="connsiteX148" fmla="*/ 2421 w 10000"/>
                <a:gd name="connsiteY148" fmla="*/ 2074 h 10000"/>
                <a:gd name="connsiteX149" fmla="*/ 2368 w 10000"/>
                <a:gd name="connsiteY149" fmla="*/ 2033 h 10000"/>
                <a:gd name="connsiteX150" fmla="*/ 2299 w 10000"/>
                <a:gd name="connsiteY150" fmla="*/ 1930 h 10000"/>
                <a:gd name="connsiteX151" fmla="*/ 2254 w 10000"/>
                <a:gd name="connsiteY151" fmla="*/ 1734 h 10000"/>
                <a:gd name="connsiteX152" fmla="*/ 2185 w 10000"/>
                <a:gd name="connsiteY152" fmla="*/ 1486 h 10000"/>
                <a:gd name="connsiteX153" fmla="*/ 2210 w 10000"/>
                <a:gd name="connsiteY153" fmla="*/ 1434 h 10000"/>
                <a:gd name="connsiteX154" fmla="*/ 2232 w 10000"/>
                <a:gd name="connsiteY154" fmla="*/ 1455 h 10000"/>
                <a:gd name="connsiteX155" fmla="*/ 2292 w 10000"/>
                <a:gd name="connsiteY155" fmla="*/ 1115 h 10000"/>
                <a:gd name="connsiteX156" fmla="*/ 2443 w 10000"/>
                <a:gd name="connsiteY156" fmla="*/ 1135 h 10000"/>
                <a:gd name="connsiteX157" fmla="*/ 2488 w 10000"/>
                <a:gd name="connsiteY157" fmla="*/ 1311 h 10000"/>
                <a:gd name="connsiteX158" fmla="*/ 2519 w 10000"/>
                <a:gd name="connsiteY158" fmla="*/ 1538 h 10000"/>
                <a:gd name="connsiteX159" fmla="*/ 2573 w 10000"/>
                <a:gd name="connsiteY159" fmla="*/ 1734 h 10000"/>
                <a:gd name="connsiteX160" fmla="*/ 2670 w 10000"/>
                <a:gd name="connsiteY160" fmla="*/ 2157 h 10000"/>
                <a:gd name="connsiteX161" fmla="*/ 2481 w 10000"/>
                <a:gd name="connsiteY161" fmla="*/ 2673 h 10000"/>
                <a:gd name="connsiteX162" fmla="*/ 2557 w 10000"/>
                <a:gd name="connsiteY162" fmla="*/ 2746 h 10000"/>
                <a:gd name="connsiteX163" fmla="*/ 2655 w 10000"/>
                <a:gd name="connsiteY163" fmla="*/ 2818 h 10000"/>
                <a:gd name="connsiteX164" fmla="*/ 2784 w 10000"/>
                <a:gd name="connsiteY164" fmla="*/ 2622 h 10000"/>
                <a:gd name="connsiteX165" fmla="*/ 2790 w 10000"/>
                <a:gd name="connsiteY165" fmla="*/ 2404 h 10000"/>
                <a:gd name="connsiteX166" fmla="*/ 2746 w 10000"/>
                <a:gd name="connsiteY166" fmla="*/ 2301 h 10000"/>
                <a:gd name="connsiteX167" fmla="*/ 2919 w 10000"/>
                <a:gd name="connsiteY167" fmla="*/ 2250 h 10000"/>
                <a:gd name="connsiteX168" fmla="*/ 2989 w 10000"/>
                <a:gd name="connsiteY168" fmla="*/ 2497 h 10000"/>
                <a:gd name="connsiteX169" fmla="*/ 2989 w 10000"/>
                <a:gd name="connsiteY169" fmla="*/ 2425 h 10000"/>
                <a:gd name="connsiteX170" fmla="*/ 2973 w 10000"/>
                <a:gd name="connsiteY170" fmla="*/ 2353 h 10000"/>
                <a:gd name="connsiteX171" fmla="*/ 2967 w 10000"/>
                <a:gd name="connsiteY171" fmla="*/ 2178 h 10000"/>
                <a:gd name="connsiteX172" fmla="*/ 2800 w 10000"/>
                <a:gd name="connsiteY172" fmla="*/ 1930 h 10000"/>
                <a:gd name="connsiteX173" fmla="*/ 2670 w 10000"/>
                <a:gd name="connsiteY173" fmla="*/ 2002 h 10000"/>
                <a:gd name="connsiteX174" fmla="*/ 2617 w 10000"/>
                <a:gd name="connsiteY174" fmla="*/ 1683 h 10000"/>
                <a:gd name="connsiteX175" fmla="*/ 2563 w 10000"/>
                <a:gd name="connsiteY175" fmla="*/ 1507 h 10000"/>
                <a:gd name="connsiteX176" fmla="*/ 2617 w 10000"/>
                <a:gd name="connsiteY176" fmla="*/ 1331 h 10000"/>
                <a:gd name="connsiteX177" fmla="*/ 2611 w 10000"/>
                <a:gd name="connsiteY177" fmla="*/ 1166 h 10000"/>
                <a:gd name="connsiteX178" fmla="*/ 2588 w 10000"/>
                <a:gd name="connsiteY178" fmla="*/ 1115 h 10000"/>
                <a:gd name="connsiteX179" fmla="*/ 2626 w 10000"/>
                <a:gd name="connsiteY179" fmla="*/ 1115 h 10000"/>
                <a:gd name="connsiteX180" fmla="*/ 2670 w 10000"/>
                <a:gd name="connsiteY180" fmla="*/ 1455 h 10000"/>
                <a:gd name="connsiteX181" fmla="*/ 2891 w 10000"/>
                <a:gd name="connsiteY181" fmla="*/ 1662 h 10000"/>
                <a:gd name="connsiteX182" fmla="*/ 2724 w 10000"/>
                <a:gd name="connsiteY182" fmla="*/ 1383 h 10000"/>
                <a:gd name="connsiteX183" fmla="*/ 3049 w 10000"/>
                <a:gd name="connsiteY183" fmla="*/ 1383 h 10000"/>
                <a:gd name="connsiteX184" fmla="*/ 3102 w 10000"/>
                <a:gd name="connsiteY184" fmla="*/ 1362 h 10000"/>
                <a:gd name="connsiteX185" fmla="*/ 2897 w 10000"/>
                <a:gd name="connsiteY185" fmla="*/ 1115 h 10000"/>
                <a:gd name="connsiteX186" fmla="*/ 2951 w 10000"/>
                <a:gd name="connsiteY186" fmla="*/ 888 h 10000"/>
                <a:gd name="connsiteX187" fmla="*/ 3178 w 10000"/>
                <a:gd name="connsiteY187" fmla="*/ 888 h 10000"/>
                <a:gd name="connsiteX188" fmla="*/ 3156 w 10000"/>
                <a:gd name="connsiteY188" fmla="*/ 713 h 10000"/>
                <a:gd name="connsiteX189" fmla="*/ 3231 w 10000"/>
                <a:gd name="connsiteY189" fmla="*/ 589 h 10000"/>
                <a:gd name="connsiteX190" fmla="*/ 3276 w 10000"/>
                <a:gd name="connsiteY190" fmla="*/ 548 h 10000"/>
                <a:gd name="connsiteX191" fmla="*/ 3443 w 10000"/>
                <a:gd name="connsiteY191" fmla="*/ 423 h 10000"/>
                <a:gd name="connsiteX192" fmla="*/ 3487 w 10000"/>
                <a:gd name="connsiteY192" fmla="*/ 371 h 10000"/>
                <a:gd name="connsiteX193" fmla="*/ 3480 w 10000"/>
                <a:gd name="connsiteY193" fmla="*/ 444 h 10000"/>
                <a:gd name="connsiteX194" fmla="*/ 3660 w 10000"/>
                <a:gd name="connsiteY194" fmla="*/ 371 h 10000"/>
                <a:gd name="connsiteX195" fmla="*/ 3805 w 10000"/>
                <a:gd name="connsiteY195" fmla="*/ 248 h 10000"/>
                <a:gd name="connsiteX196" fmla="*/ 3827 w 10000"/>
                <a:gd name="connsiteY196" fmla="*/ 0 h 10000"/>
                <a:gd name="connsiteX197" fmla="*/ 3988 w 10000"/>
                <a:gd name="connsiteY197" fmla="*/ 21 h 10000"/>
                <a:gd name="connsiteX198" fmla="*/ 3978 w 10000"/>
                <a:gd name="connsiteY198" fmla="*/ 93 h 10000"/>
                <a:gd name="connsiteX199" fmla="*/ 3988 w 10000"/>
                <a:gd name="connsiteY199" fmla="*/ 176 h 10000"/>
                <a:gd name="connsiteX200" fmla="*/ 4085 w 10000"/>
                <a:gd name="connsiteY200" fmla="*/ 248 h 10000"/>
                <a:gd name="connsiteX201" fmla="*/ 4379 w 10000"/>
                <a:gd name="connsiteY201" fmla="*/ 268 h 10000"/>
                <a:gd name="connsiteX202" fmla="*/ 4539 w 10000"/>
                <a:gd name="connsiteY202" fmla="*/ 392 h 10000"/>
                <a:gd name="connsiteX203" fmla="*/ 4486 w 10000"/>
                <a:gd name="connsiteY203" fmla="*/ 795 h 10000"/>
                <a:gd name="connsiteX204" fmla="*/ 4426 w 10000"/>
                <a:gd name="connsiteY204" fmla="*/ 919 h 10000"/>
                <a:gd name="connsiteX205" fmla="*/ 4356 w 10000"/>
                <a:gd name="connsiteY205" fmla="*/ 1043 h 10000"/>
                <a:gd name="connsiteX206" fmla="*/ 4372 w 10000"/>
                <a:gd name="connsiteY206" fmla="*/ 1115 h 10000"/>
                <a:gd name="connsiteX207" fmla="*/ 4583 w 10000"/>
                <a:gd name="connsiteY207" fmla="*/ 919 h 10000"/>
                <a:gd name="connsiteX208" fmla="*/ 5060 w 10000"/>
                <a:gd name="connsiteY208" fmla="*/ 991 h 10000"/>
                <a:gd name="connsiteX209" fmla="*/ 5108 w 10000"/>
                <a:gd name="connsiteY209" fmla="*/ 1063 h 10000"/>
                <a:gd name="connsiteX210" fmla="*/ 5212 w 10000"/>
                <a:gd name="connsiteY210" fmla="*/ 1187 h 10000"/>
                <a:gd name="connsiteX211" fmla="*/ 5357 w 10000"/>
                <a:gd name="connsiteY211" fmla="*/ 919 h 10000"/>
                <a:gd name="connsiteX212" fmla="*/ 5577 w 10000"/>
                <a:gd name="connsiteY212" fmla="*/ 1063 h 10000"/>
                <a:gd name="connsiteX213" fmla="*/ 5643 w 10000"/>
                <a:gd name="connsiteY213" fmla="*/ 1115 h 10000"/>
                <a:gd name="connsiteX214" fmla="*/ 5697 w 10000"/>
                <a:gd name="connsiteY214" fmla="*/ 1166 h 10000"/>
                <a:gd name="connsiteX215" fmla="*/ 5908 w 10000"/>
                <a:gd name="connsiteY215" fmla="*/ 1631 h 10000"/>
                <a:gd name="connsiteX216" fmla="*/ 5984 w 10000"/>
                <a:gd name="connsiteY216" fmla="*/ 1611 h 10000"/>
                <a:gd name="connsiteX217" fmla="*/ 5977 w 10000"/>
                <a:gd name="connsiteY217" fmla="*/ 1507 h 10000"/>
                <a:gd name="connsiteX218" fmla="*/ 5984 w 10000"/>
                <a:gd name="connsiteY218" fmla="*/ 1383 h 10000"/>
                <a:gd name="connsiteX219" fmla="*/ 6091 w 10000"/>
                <a:gd name="connsiteY219" fmla="*/ 1486 h 10000"/>
                <a:gd name="connsiteX220" fmla="*/ 6264 w 10000"/>
                <a:gd name="connsiteY220" fmla="*/ 1507 h 10000"/>
                <a:gd name="connsiteX221" fmla="*/ 6409 w 10000"/>
                <a:gd name="connsiteY221" fmla="*/ 1455 h 10000"/>
                <a:gd name="connsiteX222" fmla="*/ 6340 w 10000"/>
                <a:gd name="connsiteY222" fmla="*/ 1362 h 10000"/>
                <a:gd name="connsiteX223" fmla="*/ 6431 w 10000"/>
                <a:gd name="connsiteY223" fmla="*/ 1084 h 10000"/>
                <a:gd name="connsiteX224" fmla="*/ 6687 w 10000"/>
                <a:gd name="connsiteY224" fmla="*/ 1207 h 10000"/>
                <a:gd name="connsiteX225" fmla="*/ 6945 w 10000"/>
                <a:gd name="connsiteY225" fmla="*/ 1331 h 10000"/>
                <a:gd name="connsiteX226" fmla="*/ 6967 w 10000"/>
                <a:gd name="connsiteY226" fmla="*/ 1362 h 10000"/>
                <a:gd name="connsiteX227" fmla="*/ 7194 w 10000"/>
                <a:gd name="connsiteY227" fmla="*/ 1611 h 10000"/>
                <a:gd name="connsiteX228" fmla="*/ 7367 w 10000"/>
                <a:gd name="connsiteY228" fmla="*/ 1507 h 10000"/>
                <a:gd name="connsiteX229" fmla="*/ 7582 w 10000"/>
                <a:gd name="connsiteY229" fmla="*/ 1538 h 10000"/>
                <a:gd name="connsiteX230" fmla="*/ 7657 w 10000"/>
                <a:gd name="connsiteY230" fmla="*/ 1611 h 10000"/>
                <a:gd name="connsiteX231" fmla="*/ 7928 w 10000"/>
                <a:gd name="connsiteY231" fmla="*/ 1930 h 10000"/>
                <a:gd name="connsiteX232" fmla="*/ 8231 w 10000"/>
                <a:gd name="connsiteY232" fmla="*/ 1879 h 10000"/>
                <a:gd name="connsiteX233" fmla="*/ 8339 w 10000"/>
                <a:gd name="connsiteY233" fmla="*/ 2033 h 10000"/>
                <a:gd name="connsiteX234" fmla="*/ 8490 w 10000"/>
                <a:gd name="connsiteY234" fmla="*/ 2157 h 10000"/>
                <a:gd name="connsiteX235" fmla="*/ 8519 w 10000"/>
                <a:gd name="connsiteY235" fmla="*/ 2105 h 10000"/>
                <a:gd name="connsiteX236" fmla="*/ 8497 w 10000"/>
                <a:gd name="connsiteY236" fmla="*/ 2074 h 10000"/>
                <a:gd name="connsiteX237" fmla="*/ 8383 w 10000"/>
                <a:gd name="connsiteY237" fmla="*/ 1930 h 10000"/>
                <a:gd name="connsiteX238" fmla="*/ 8465 w 10000"/>
                <a:gd name="connsiteY238" fmla="*/ 1755 h 10000"/>
                <a:gd name="connsiteX239" fmla="*/ 8664 w 10000"/>
                <a:gd name="connsiteY239" fmla="*/ 1910 h 10000"/>
                <a:gd name="connsiteX240" fmla="*/ 8950 w 10000"/>
                <a:gd name="connsiteY240" fmla="*/ 1982 h 10000"/>
                <a:gd name="connsiteX241" fmla="*/ 9206 w 10000"/>
                <a:gd name="connsiteY241" fmla="*/ 2260 h 10000"/>
                <a:gd name="connsiteX242" fmla="*/ 9344 w 10000"/>
                <a:gd name="connsiteY242" fmla="*/ 2332 h 10000"/>
                <a:gd name="connsiteX243" fmla="*/ 9451 w 10000"/>
                <a:gd name="connsiteY243" fmla="*/ 2446 h 10000"/>
                <a:gd name="connsiteX244" fmla="*/ 9574 w 10000"/>
                <a:gd name="connsiteY244" fmla="*/ 2632 h 10000"/>
                <a:gd name="connsiteX245" fmla="*/ 9631 w 10000"/>
                <a:gd name="connsiteY245" fmla="*/ 2756 h 10000"/>
                <a:gd name="connsiteX246" fmla="*/ 9726 w 10000"/>
                <a:gd name="connsiteY246" fmla="*/ 2787 h 10000"/>
                <a:gd name="connsiteX247" fmla="*/ 9590 w 10000"/>
                <a:gd name="connsiteY247" fmla="*/ 2570 h 10000"/>
                <a:gd name="connsiteX248" fmla="*/ 9915 w 10000"/>
                <a:gd name="connsiteY248" fmla="*/ 2756 h 10000"/>
                <a:gd name="connsiteX249" fmla="*/ 10000 w 10000"/>
                <a:gd name="connsiteY249" fmla="*/ 3014 h 10000"/>
                <a:gd name="connsiteX250" fmla="*/ 9934 w 10000"/>
                <a:gd name="connsiteY250" fmla="*/ 2941 h 10000"/>
                <a:gd name="connsiteX251" fmla="*/ 9874 w 10000"/>
                <a:gd name="connsiteY251" fmla="*/ 2952 h 10000"/>
                <a:gd name="connsiteX252" fmla="*/ 10000 w 10000"/>
                <a:gd name="connsiteY252" fmla="*/ 3292 h 10000"/>
                <a:gd name="connsiteX253" fmla="*/ 9845 w 10000"/>
                <a:gd name="connsiteY253" fmla="*/ 3220 h 10000"/>
                <a:gd name="connsiteX254" fmla="*/ 9745 w 10000"/>
                <a:gd name="connsiteY254" fmla="*/ 3075 h 10000"/>
                <a:gd name="connsiteX255" fmla="*/ 9641 w 10000"/>
                <a:gd name="connsiteY255" fmla="*/ 2972 h 10000"/>
                <a:gd name="connsiteX256" fmla="*/ 9555 w 10000"/>
                <a:gd name="connsiteY256" fmla="*/ 3003 h 10000"/>
                <a:gd name="connsiteX257" fmla="*/ 9470 w 10000"/>
                <a:gd name="connsiteY257" fmla="*/ 2787 h 10000"/>
                <a:gd name="connsiteX258" fmla="*/ 9366 w 10000"/>
                <a:gd name="connsiteY258" fmla="*/ 2725 h 10000"/>
                <a:gd name="connsiteX259" fmla="*/ 9461 w 10000"/>
                <a:gd name="connsiteY259" fmla="*/ 2972 h 10000"/>
                <a:gd name="connsiteX260" fmla="*/ 9470 w 10000"/>
                <a:gd name="connsiteY260" fmla="*/ 3230 h 10000"/>
                <a:gd name="connsiteX261" fmla="*/ 9288 w 10000"/>
                <a:gd name="connsiteY261" fmla="*/ 3065 h 10000"/>
                <a:gd name="connsiteX262" fmla="*/ 9262 w 10000"/>
                <a:gd name="connsiteY262" fmla="*/ 3230 h 10000"/>
                <a:gd name="connsiteX263" fmla="*/ 9363 w 10000"/>
                <a:gd name="connsiteY263" fmla="*/ 3230 h 10000"/>
                <a:gd name="connsiteX264" fmla="*/ 9451 w 10000"/>
                <a:gd name="connsiteY264" fmla="*/ 3354 h 10000"/>
                <a:gd name="connsiteX265" fmla="*/ 9659 w 10000"/>
                <a:gd name="connsiteY265" fmla="*/ 3685 h 10000"/>
                <a:gd name="connsiteX266" fmla="*/ 9735 w 10000"/>
                <a:gd name="connsiteY266" fmla="*/ 3839 h 10000"/>
                <a:gd name="connsiteX267" fmla="*/ 9552 w 10000"/>
                <a:gd name="connsiteY267" fmla="*/ 3757 h 10000"/>
                <a:gd name="connsiteX268" fmla="*/ 9451 w 10000"/>
                <a:gd name="connsiteY268" fmla="*/ 4025 h 10000"/>
                <a:gd name="connsiteX269" fmla="*/ 9385 w 10000"/>
                <a:gd name="connsiteY269" fmla="*/ 4283 h 10000"/>
                <a:gd name="connsiteX270" fmla="*/ 9376 w 10000"/>
                <a:gd name="connsiteY270" fmla="*/ 4499 h 10000"/>
                <a:gd name="connsiteX271" fmla="*/ 9335 w 10000"/>
                <a:gd name="connsiteY271" fmla="*/ 4303 h 10000"/>
                <a:gd name="connsiteX272" fmla="*/ 9149 w 10000"/>
                <a:gd name="connsiteY272" fmla="*/ 4314 h 10000"/>
                <a:gd name="connsiteX273" fmla="*/ 9155 w 10000"/>
                <a:gd name="connsiteY273" fmla="*/ 4531 h 10000"/>
                <a:gd name="connsiteX274" fmla="*/ 9061 w 10000"/>
                <a:gd name="connsiteY274" fmla="*/ 4365 h 10000"/>
                <a:gd name="connsiteX275" fmla="*/ 9054 w 10000"/>
                <a:gd name="connsiteY275" fmla="*/ 4521 h 10000"/>
                <a:gd name="connsiteX276" fmla="*/ 8998 w 10000"/>
                <a:gd name="connsiteY276" fmla="*/ 4458 h 10000"/>
                <a:gd name="connsiteX277" fmla="*/ 8966 w 10000"/>
                <a:gd name="connsiteY277" fmla="*/ 4562 h 10000"/>
                <a:gd name="connsiteX278" fmla="*/ 9007 w 10000"/>
                <a:gd name="connsiteY278" fmla="*/ 4686 h 10000"/>
                <a:gd name="connsiteX279" fmla="*/ 9004 w 10000"/>
                <a:gd name="connsiteY279" fmla="*/ 4995 h 10000"/>
                <a:gd name="connsiteX280" fmla="*/ 9073 w 10000"/>
                <a:gd name="connsiteY280" fmla="*/ 5211 h 10000"/>
                <a:gd name="connsiteX281" fmla="*/ 9130 w 10000"/>
                <a:gd name="connsiteY281" fmla="*/ 5150 h 10000"/>
                <a:gd name="connsiteX282" fmla="*/ 9158 w 10000"/>
                <a:gd name="connsiteY282" fmla="*/ 5211 h 10000"/>
                <a:gd name="connsiteX283" fmla="*/ 9231 w 10000"/>
                <a:gd name="connsiteY283" fmla="*/ 5428 h 10000"/>
                <a:gd name="connsiteX284" fmla="*/ 9215 w 10000"/>
                <a:gd name="connsiteY284" fmla="*/ 5604 h 10000"/>
                <a:gd name="connsiteX285" fmla="*/ 9221 w 10000"/>
                <a:gd name="connsiteY285" fmla="*/ 5769 h 10000"/>
                <a:gd name="connsiteX286" fmla="*/ 9269 w 10000"/>
                <a:gd name="connsiteY286" fmla="*/ 5883 h 10000"/>
                <a:gd name="connsiteX287" fmla="*/ 9344 w 10000"/>
                <a:gd name="connsiteY287" fmla="*/ 6068 h 10000"/>
                <a:gd name="connsiteX288" fmla="*/ 9269 w 10000"/>
                <a:gd name="connsiteY288" fmla="*/ 6068 h 10000"/>
                <a:gd name="connsiteX289" fmla="*/ 9253 w 10000"/>
                <a:gd name="connsiteY289" fmla="*/ 6223 h 10000"/>
                <a:gd name="connsiteX290" fmla="*/ 9319 w 10000"/>
                <a:gd name="connsiteY290" fmla="*/ 6408 h 10000"/>
                <a:gd name="connsiteX291" fmla="*/ 9250 w 10000"/>
                <a:gd name="connsiteY291" fmla="*/ 6502 h 10000"/>
                <a:gd name="connsiteX292" fmla="*/ 9297 w 10000"/>
                <a:gd name="connsiteY292" fmla="*/ 6729 h 10000"/>
                <a:gd name="connsiteX293" fmla="*/ 9281 w 10000"/>
                <a:gd name="connsiteY293" fmla="*/ 7069 h 10000"/>
                <a:gd name="connsiteX294" fmla="*/ 9061 w 10000"/>
                <a:gd name="connsiteY294" fmla="*/ 6408 h 10000"/>
                <a:gd name="connsiteX295" fmla="*/ 8824 w 10000"/>
                <a:gd name="connsiteY295" fmla="*/ 5759 h 10000"/>
                <a:gd name="connsiteX296" fmla="*/ 8771 w 10000"/>
                <a:gd name="connsiteY296" fmla="*/ 5459 h 10000"/>
                <a:gd name="connsiteX297" fmla="*/ 8768 w 10000"/>
                <a:gd name="connsiteY297" fmla="*/ 5211 h 10000"/>
                <a:gd name="connsiteX298" fmla="*/ 8692 w 10000"/>
                <a:gd name="connsiteY298" fmla="*/ 5047 h 10000"/>
                <a:gd name="connsiteX299" fmla="*/ 8771 w 10000"/>
                <a:gd name="connsiteY299" fmla="*/ 5088 h 10000"/>
                <a:gd name="connsiteX300" fmla="*/ 8809 w 10000"/>
                <a:gd name="connsiteY300" fmla="*/ 5108 h 10000"/>
                <a:gd name="connsiteX301" fmla="*/ 8809 w 10000"/>
                <a:gd name="connsiteY301" fmla="*/ 4840 h 10000"/>
                <a:gd name="connsiteX302" fmla="*/ 8827 w 10000"/>
                <a:gd name="connsiteY302" fmla="*/ 4437 h 10000"/>
                <a:gd name="connsiteX303" fmla="*/ 8853 w 10000"/>
                <a:gd name="connsiteY303" fmla="*/ 4252 h 10000"/>
                <a:gd name="connsiteX304" fmla="*/ 8909 w 10000"/>
                <a:gd name="connsiteY304" fmla="*/ 4221 h 10000"/>
                <a:gd name="connsiteX305" fmla="*/ 8786 w 10000"/>
                <a:gd name="connsiteY305" fmla="*/ 3901 h 10000"/>
                <a:gd name="connsiteX306" fmla="*/ 8853 w 10000"/>
                <a:gd name="connsiteY306" fmla="*/ 3839 h 10000"/>
                <a:gd name="connsiteX307" fmla="*/ 8739 w 10000"/>
                <a:gd name="connsiteY307" fmla="*/ 3788 h 10000"/>
                <a:gd name="connsiteX308" fmla="*/ 8755 w 10000"/>
                <a:gd name="connsiteY308" fmla="*/ 3984 h 10000"/>
                <a:gd name="connsiteX309" fmla="*/ 8692 w 10000"/>
                <a:gd name="connsiteY309" fmla="*/ 4303 h 10000"/>
                <a:gd name="connsiteX310" fmla="*/ 8604 w 10000"/>
                <a:gd name="connsiteY310" fmla="*/ 4210 h 10000"/>
                <a:gd name="connsiteX311" fmla="*/ 8550 w 10000"/>
                <a:gd name="connsiteY311" fmla="*/ 4056 h 10000"/>
                <a:gd name="connsiteX312" fmla="*/ 8481 w 10000"/>
                <a:gd name="connsiteY312" fmla="*/ 4138 h 10000"/>
                <a:gd name="connsiteX313" fmla="*/ 8389 w 10000"/>
                <a:gd name="connsiteY313" fmla="*/ 4107 h 10000"/>
                <a:gd name="connsiteX314" fmla="*/ 8352 w 10000"/>
                <a:gd name="connsiteY314" fmla="*/ 4406 h 10000"/>
                <a:gd name="connsiteX315" fmla="*/ 8481 w 10000"/>
                <a:gd name="connsiteY315" fmla="*/ 4655 h 10000"/>
                <a:gd name="connsiteX316" fmla="*/ 8405 w 10000"/>
                <a:gd name="connsiteY316" fmla="*/ 4830 h 10000"/>
                <a:gd name="connsiteX317" fmla="*/ 8225 w 10000"/>
                <a:gd name="connsiteY317" fmla="*/ 4799 h 10000"/>
                <a:gd name="connsiteX318" fmla="*/ 8209 w 10000"/>
                <a:gd name="connsiteY318" fmla="*/ 4655 h 10000"/>
                <a:gd name="connsiteX319" fmla="*/ 8102 w 10000"/>
                <a:gd name="connsiteY319" fmla="*/ 4634 h 10000"/>
                <a:gd name="connsiteX320" fmla="*/ 7641 w 10000"/>
                <a:gd name="connsiteY320" fmla="*/ 4779 h 10000"/>
                <a:gd name="connsiteX321" fmla="*/ 7610 w 10000"/>
                <a:gd name="connsiteY321" fmla="*/ 5005 h 10000"/>
                <a:gd name="connsiteX322" fmla="*/ 7550 w 10000"/>
                <a:gd name="connsiteY322" fmla="*/ 5666 h 10000"/>
                <a:gd name="connsiteX323" fmla="*/ 7496 w 10000"/>
                <a:gd name="connsiteY323" fmla="*/ 5965 h 10000"/>
                <a:gd name="connsiteX324" fmla="*/ 7701 w 10000"/>
                <a:gd name="connsiteY324" fmla="*/ 6161 h 10000"/>
                <a:gd name="connsiteX325" fmla="*/ 7745 w 10000"/>
                <a:gd name="connsiteY325" fmla="*/ 6243 h 10000"/>
                <a:gd name="connsiteX326" fmla="*/ 7771 w 10000"/>
                <a:gd name="connsiteY326" fmla="*/ 6285 h 10000"/>
                <a:gd name="connsiteX327" fmla="*/ 7793 w 10000"/>
                <a:gd name="connsiteY327" fmla="*/ 6068 h 10000"/>
                <a:gd name="connsiteX328" fmla="*/ 7912 w 10000"/>
                <a:gd name="connsiteY328" fmla="*/ 6089 h 10000"/>
                <a:gd name="connsiteX329" fmla="*/ 8004 w 10000"/>
                <a:gd name="connsiteY329" fmla="*/ 6367 h 10000"/>
                <a:gd name="connsiteX330" fmla="*/ 8064 w 10000"/>
                <a:gd name="connsiteY330" fmla="*/ 6616 h 10000"/>
                <a:gd name="connsiteX331" fmla="*/ 8111 w 10000"/>
                <a:gd name="connsiteY331" fmla="*/ 6781 h 10000"/>
                <a:gd name="connsiteX332" fmla="*/ 8048 w 10000"/>
                <a:gd name="connsiteY332" fmla="*/ 6491 h 10000"/>
                <a:gd name="connsiteX333" fmla="*/ 8124 w 10000"/>
                <a:gd name="connsiteY333" fmla="*/ 6336 h 10000"/>
                <a:gd name="connsiteX334" fmla="*/ 8177 w 10000"/>
                <a:gd name="connsiteY334" fmla="*/ 6512 h 10000"/>
                <a:gd name="connsiteX335" fmla="*/ 8300 w 10000"/>
                <a:gd name="connsiteY335" fmla="*/ 6987 h 10000"/>
                <a:gd name="connsiteX336" fmla="*/ 8361 w 10000"/>
                <a:gd name="connsiteY336" fmla="*/ 7152 h 10000"/>
                <a:gd name="connsiteX337" fmla="*/ 8490 w 10000"/>
                <a:gd name="connsiteY337" fmla="*/ 7482 h 10000"/>
                <a:gd name="connsiteX338" fmla="*/ 8604 w 10000"/>
                <a:gd name="connsiteY338" fmla="*/ 7854 h 10000"/>
                <a:gd name="connsiteX339" fmla="*/ 8474 w 10000"/>
                <a:gd name="connsiteY339" fmla="*/ 7647 h 10000"/>
                <a:gd name="connsiteX340" fmla="*/ 8443 w 10000"/>
                <a:gd name="connsiteY340" fmla="*/ 7678 h 10000"/>
                <a:gd name="connsiteX341" fmla="*/ 8512 w 10000"/>
                <a:gd name="connsiteY341" fmla="*/ 8050 h 10000"/>
                <a:gd name="connsiteX342" fmla="*/ 8588 w 10000"/>
                <a:gd name="connsiteY342" fmla="*/ 8266 h 10000"/>
                <a:gd name="connsiteX343" fmla="*/ 8642 w 10000"/>
                <a:gd name="connsiteY343" fmla="*/ 8472 h 10000"/>
                <a:gd name="connsiteX344" fmla="*/ 8566 w 10000"/>
                <a:gd name="connsiteY344" fmla="*/ 8421 h 10000"/>
                <a:gd name="connsiteX345" fmla="*/ 8556 w 10000"/>
                <a:gd name="connsiteY345" fmla="*/ 8669 h 10000"/>
                <a:gd name="connsiteX346" fmla="*/ 8497 w 10000"/>
                <a:gd name="connsiteY346" fmla="*/ 8493 h 10000"/>
                <a:gd name="connsiteX347" fmla="*/ 8481 w 10000"/>
                <a:gd name="connsiteY347" fmla="*/ 8421 h 10000"/>
                <a:gd name="connsiteX348" fmla="*/ 8361 w 10000"/>
                <a:gd name="connsiteY348" fmla="*/ 7751 h 10000"/>
                <a:gd name="connsiteX349" fmla="*/ 8322 w 10000"/>
                <a:gd name="connsiteY349" fmla="*/ 7524 h 10000"/>
                <a:gd name="connsiteX350" fmla="*/ 8291 w 10000"/>
                <a:gd name="connsiteY350" fmla="*/ 7378 h 10000"/>
                <a:gd name="connsiteX351" fmla="*/ 8275 w 10000"/>
                <a:gd name="connsiteY351" fmla="*/ 7306 h 10000"/>
                <a:gd name="connsiteX352" fmla="*/ 8139 w 10000"/>
                <a:gd name="connsiteY352" fmla="*/ 6863 h 10000"/>
                <a:gd name="connsiteX353" fmla="*/ 8199 w 10000"/>
                <a:gd name="connsiteY353" fmla="*/ 7451 h 10000"/>
                <a:gd name="connsiteX354" fmla="*/ 8247 w 10000"/>
                <a:gd name="connsiteY354" fmla="*/ 7998 h 10000"/>
                <a:gd name="connsiteX355" fmla="*/ 8177 w 10000"/>
                <a:gd name="connsiteY355" fmla="*/ 9133 h 10000"/>
                <a:gd name="connsiteX356" fmla="*/ 8124 w 10000"/>
                <a:gd name="connsiteY356" fmla="*/ 9484 h 10000"/>
                <a:gd name="connsiteX357" fmla="*/ 7972 w 10000"/>
                <a:gd name="connsiteY357" fmla="*/ 9432 h 10000"/>
                <a:gd name="connsiteX358" fmla="*/ 7897 w 10000"/>
                <a:gd name="connsiteY358" fmla="*/ 9660 h 10000"/>
                <a:gd name="connsiteX359" fmla="*/ 7868 w 10000"/>
                <a:gd name="connsiteY359" fmla="*/ 9588 h 10000"/>
                <a:gd name="connsiteX360" fmla="*/ 7884 w 10000"/>
                <a:gd name="connsiteY360" fmla="*/ 9536 h 10000"/>
                <a:gd name="connsiteX361" fmla="*/ 7897 w 10000"/>
                <a:gd name="connsiteY361" fmla="*/ 9380 h 10000"/>
                <a:gd name="connsiteX362" fmla="*/ 7884 w 10000"/>
                <a:gd name="connsiteY362" fmla="*/ 9236 h 10000"/>
                <a:gd name="connsiteX363" fmla="*/ 7793 w 10000"/>
                <a:gd name="connsiteY363" fmla="*/ 8865 h 10000"/>
                <a:gd name="connsiteX364" fmla="*/ 7831 w 10000"/>
                <a:gd name="connsiteY364" fmla="*/ 8741 h 10000"/>
                <a:gd name="connsiteX365" fmla="*/ 7928 w 10000"/>
                <a:gd name="connsiteY365" fmla="*/ 8844 h 10000"/>
                <a:gd name="connsiteX366" fmla="*/ 7912 w 10000"/>
                <a:gd name="connsiteY366" fmla="*/ 8318 h 10000"/>
                <a:gd name="connsiteX367" fmla="*/ 7906 w 10000"/>
                <a:gd name="connsiteY367" fmla="*/ 8019 h 10000"/>
                <a:gd name="connsiteX368" fmla="*/ 7846 w 10000"/>
                <a:gd name="connsiteY368" fmla="*/ 7802 h 10000"/>
                <a:gd name="connsiteX369" fmla="*/ 7723 w 10000"/>
                <a:gd name="connsiteY369" fmla="*/ 8050 h 10000"/>
                <a:gd name="connsiteX370" fmla="*/ 7619 w 10000"/>
                <a:gd name="connsiteY370" fmla="*/ 8019 h 10000"/>
                <a:gd name="connsiteX371" fmla="*/ 7528 w 10000"/>
                <a:gd name="connsiteY371" fmla="*/ 7699 h 10000"/>
                <a:gd name="connsiteX372" fmla="*/ 7355 w 10000"/>
                <a:gd name="connsiteY372" fmla="*/ 7482 h 10000"/>
                <a:gd name="connsiteX373" fmla="*/ 7279 w 10000"/>
                <a:gd name="connsiteY373" fmla="*/ 7482 h 10000"/>
                <a:gd name="connsiteX374" fmla="*/ 7080 w 10000"/>
                <a:gd name="connsiteY374" fmla="*/ 6781 h 10000"/>
                <a:gd name="connsiteX375" fmla="*/ 6901 w 10000"/>
                <a:gd name="connsiteY375" fmla="*/ 6460 h 10000"/>
                <a:gd name="connsiteX376" fmla="*/ 6724 w 10000"/>
                <a:gd name="connsiteY376" fmla="*/ 6336 h 10000"/>
                <a:gd name="connsiteX377" fmla="*/ 6583 w 10000"/>
                <a:gd name="connsiteY377" fmla="*/ 6408 h 10000"/>
                <a:gd name="connsiteX378" fmla="*/ 6567 w 10000"/>
                <a:gd name="connsiteY378" fmla="*/ 6585 h 10000"/>
                <a:gd name="connsiteX379" fmla="*/ 6664 w 10000"/>
                <a:gd name="connsiteY379" fmla="*/ 6760 h 10000"/>
                <a:gd name="connsiteX380" fmla="*/ 6636 w 10000"/>
                <a:gd name="connsiteY380" fmla="*/ 6935 h 10000"/>
                <a:gd name="connsiteX381" fmla="*/ 6636 w 10000"/>
                <a:gd name="connsiteY381" fmla="*/ 7399 h 10000"/>
                <a:gd name="connsiteX382" fmla="*/ 6560 w 10000"/>
                <a:gd name="connsiteY382" fmla="*/ 7482 h 10000"/>
                <a:gd name="connsiteX383" fmla="*/ 6485 w 10000"/>
                <a:gd name="connsiteY383" fmla="*/ 7378 h 10000"/>
                <a:gd name="connsiteX384" fmla="*/ 6400 w 10000"/>
                <a:gd name="connsiteY384" fmla="*/ 7399 h 10000"/>
                <a:gd name="connsiteX385" fmla="*/ 6334 w 10000"/>
                <a:gd name="connsiteY385" fmla="*/ 7275 h 10000"/>
                <a:gd name="connsiteX386" fmla="*/ 6258 w 10000"/>
                <a:gd name="connsiteY386" fmla="*/ 7358 h 10000"/>
                <a:gd name="connsiteX387" fmla="*/ 6220 w 10000"/>
                <a:gd name="connsiteY387" fmla="*/ 7524 h 10000"/>
                <a:gd name="connsiteX388" fmla="*/ 6081 w 10000"/>
                <a:gd name="connsiteY388" fmla="*/ 7606 h 10000"/>
                <a:gd name="connsiteX389" fmla="*/ 5892 w 10000"/>
                <a:gd name="connsiteY389" fmla="*/ 7575 h 10000"/>
                <a:gd name="connsiteX390" fmla="*/ 5855 w 10000"/>
                <a:gd name="connsiteY390" fmla="*/ 7327 h 10000"/>
                <a:gd name="connsiteX391" fmla="*/ 5643 w 10000"/>
                <a:gd name="connsiteY391" fmla="*/ 7255 h 10000"/>
                <a:gd name="connsiteX392" fmla="*/ 5539 w 10000"/>
                <a:gd name="connsiteY392" fmla="*/ 7358 h 10000"/>
                <a:gd name="connsiteX393" fmla="*/ 5416 w 10000"/>
                <a:gd name="connsiteY393" fmla="*/ 7203 h 10000"/>
                <a:gd name="connsiteX394" fmla="*/ 5372 w 10000"/>
                <a:gd name="connsiteY394"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2384 w 10000"/>
                <a:gd name="connsiteY26" fmla="*/ 7183 h 10000"/>
                <a:gd name="connsiteX27" fmla="*/ 2308 w 10000"/>
                <a:gd name="connsiteY27" fmla="*/ 7028 h 10000"/>
                <a:gd name="connsiteX28" fmla="*/ 2147 w 10000"/>
                <a:gd name="connsiteY28" fmla="*/ 7131 h 10000"/>
                <a:gd name="connsiteX29" fmla="*/ 2109 w 10000"/>
                <a:gd name="connsiteY29" fmla="*/ 7203 h 10000"/>
                <a:gd name="connsiteX30" fmla="*/ 1983 w 10000"/>
                <a:gd name="connsiteY30" fmla="*/ 7028 h 10000"/>
                <a:gd name="connsiteX31" fmla="*/ 1610 w 10000"/>
                <a:gd name="connsiteY31" fmla="*/ 7183 h 10000"/>
                <a:gd name="connsiteX32" fmla="*/ 1655 w 10000"/>
                <a:gd name="connsiteY32" fmla="*/ 7430 h 10000"/>
                <a:gd name="connsiteX33" fmla="*/ 1604 w 10000"/>
                <a:gd name="connsiteY33" fmla="*/ 7430 h 10000"/>
                <a:gd name="connsiteX34" fmla="*/ 1551 w 10000"/>
                <a:gd name="connsiteY34" fmla="*/ 7255 h 10000"/>
                <a:gd name="connsiteX35" fmla="*/ 1513 w 10000"/>
                <a:gd name="connsiteY35" fmla="*/ 7430 h 10000"/>
                <a:gd name="connsiteX36" fmla="*/ 1519 w 10000"/>
                <a:gd name="connsiteY36" fmla="*/ 7854 h 10000"/>
                <a:gd name="connsiteX37" fmla="*/ 1604 w 10000"/>
                <a:gd name="connsiteY37" fmla="*/ 8070 h 10000"/>
                <a:gd name="connsiteX38" fmla="*/ 1648 w 10000"/>
                <a:gd name="connsiteY38" fmla="*/ 8019 h 10000"/>
                <a:gd name="connsiteX39" fmla="*/ 1741 w 10000"/>
                <a:gd name="connsiteY39" fmla="*/ 8493 h 10000"/>
                <a:gd name="connsiteX40" fmla="*/ 1610 w 10000"/>
                <a:gd name="connsiteY40" fmla="*/ 8669 h 10000"/>
                <a:gd name="connsiteX41" fmla="*/ 1595 w 10000"/>
                <a:gd name="connsiteY41" fmla="*/ 9009 h 10000"/>
                <a:gd name="connsiteX42" fmla="*/ 1664 w 10000"/>
                <a:gd name="connsiteY42" fmla="*/ 9236 h 10000"/>
                <a:gd name="connsiteX43" fmla="*/ 1664 w 10000"/>
                <a:gd name="connsiteY43" fmla="*/ 9484 h 10000"/>
                <a:gd name="connsiteX44" fmla="*/ 1769 w 10000"/>
                <a:gd name="connsiteY44" fmla="*/ 9835 h 10000"/>
                <a:gd name="connsiteX45" fmla="*/ 1703 w 10000"/>
                <a:gd name="connsiteY45" fmla="*/ 10000 h 10000"/>
                <a:gd name="connsiteX46" fmla="*/ 1604 w 10000"/>
                <a:gd name="connsiteY46" fmla="*/ 9753 h 10000"/>
                <a:gd name="connsiteX47" fmla="*/ 1465 w 10000"/>
                <a:gd name="connsiteY47" fmla="*/ 9505 h 10000"/>
                <a:gd name="connsiteX48" fmla="*/ 1406 w 10000"/>
                <a:gd name="connsiteY48" fmla="*/ 9588 h 10000"/>
                <a:gd name="connsiteX49" fmla="*/ 1308 w 10000"/>
                <a:gd name="connsiteY49" fmla="*/ 9380 h 10000"/>
                <a:gd name="connsiteX50" fmla="*/ 1097 w 10000"/>
                <a:gd name="connsiteY50" fmla="*/ 9339 h 10000"/>
                <a:gd name="connsiteX51" fmla="*/ 848 w 10000"/>
                <a:gd name="connsiteY51" fmla="*/ 8813 h 10000"/>
                <a:gd name="connsiteX52" fmla="*/ 914 w 10000"/>
                <a:gd name="connsiteY52" fmla="*/ 8721 h 10000"/>
                <a:gd name="connsiteX53" fmla="*/ 961 w 10000"/>
                <a:gd name="connsiteY53" fmla="*/ 8493 h 10000"/>
                <a:gd name="connsiteX54" fmla="*/ 908 w 10000"/>
                <a:gd name="connsiteY54" fmla="*/ 8390 h 10000"/>
                <a:gd name="connsiteX55" fmla="*/ 1021 w 10000"/>
                <a:gd name="connsiteY55" fmla="*/ 8245 h 10000"/>
                <a:gd name="connsiteX56" fmla="*/ 945 w 10000"/>
                <a:gd name="connsiteY56" fmla="*/ 8194 h 10000"/>
                <a:gd name="connsiteX57" fmla="*/ 958 w 10000"/>
                <a:gd name="connsiteY57" fmla="*/ 8091 h 10000"/>
                <a:gd name="connsiteX58" fmla="*/ 1005 w 10000"/>
                <a:gd name="connsiteY58" fmla="*/ 8111 h 10000"/>
                <a:gd name="connsiteX59" fmla="*/ 1059 w 10000"/>
                <a:gd name="connsiteY59" fmla="*/ 8019 h 10000"/>
                <a:gd name="connsiteX60" fmla="*/ 1034 w 10000"/>
                <a:gd name="connsiteY60" fmla="*/ 7864 h 10000"/>
                <a:gd name="connsiteX61" fmla="*/ 1043 w 10000"/>
                <a:gd name="connsiteY61" fmla="*/ 7503 h 10000"/>
                <a:gd name="connsiteX62" fmla="*/ 930 w 10000"/>
                <a:gd name="connsiteY62" fmla="*/ 7440 h 10000"/>
                <a:gd name="connsiteX63" fmla="*/ 832 w 10000"/>
                <a:gd name="connsiteY63" fmla="*/ 7286 h 10000"/>
                <a:gd name="connsiteX64" fmla="*/ 700 w 10000"/>
                <a:gd name="connsiteY64" fmla="*/ 7275 h 10000"/>
                <a:gd name="connsiteX65" fmla="*/ 684 w 10000"/>
                <a:gd name="connsiteY65" fmla="*/ 7090 h 10000"/>
                <a:gd name="connsiteX66" fmla="*/ 596 w 10000"/>
                <a:gd name="connsiteY66" fmla="*/ 6945 h 10000"/>
                <a:gd name="connsiteX67" fmla="*/ 615 w 10000"/>
                <a:gd name="connsiteY67" fmla="*/ 6822 h 10000"/>
                <a:gd name="connsiteX68" fmla="*/ 561 w 10000"/>
                <a:gd name="connsiteY68" fmla="*/ 6698 h 10000"/>
                <a:gd name="connsiteX69" fmla="*/ 457 w 10000"/>
                <a:gd name="connsiteY69" fmla="*/ 6698 h 10000"/>
                <a:gd name="connsiteX70" fmla="*/ 425 w 10000"/>
                <a:gd name="connsiteY70" fmla="*/ 6791 h 10000"/>
                <a:gd name="connsiteX71" fmla="*/ 400 w 10000"/>
                <a:gd name="connsiteY71" fmla="*/ 6750 h 10000"/>
                <a:gd name="connsiteX72" fmla="*/ 378 w 10000"/>
                <a:gd name="connsiteY72" fmla="*/ 6439 h 10000"/>
                <a:gd name="connsiteX73" fmla="*/ 419 w 10000"/>
                <a:gd name="connsiteY73" fmla="*/ 6470 h 10000"/>
                <a:gd name="connsiteX74" fmla="*/ 466 w 10000"/>
                <a:gd name="connsiteY74" fmla="*/ 6347 h 10000"/>
                <a:gd name="connsiteX75" fmla="*/ 400 w 10000"/>
                <a:gd name="connsiteY75" fmla="*/ 6233 h 10000"/>
                <a:gd name="connsiteX76" fmla="*/ 315 w 10000"/>
                <a:gd name="connsiteY76" fmla="*/ 6017 h 10000"/>
                <a:gd name="connsiteX77" fmla="*/ 334 w 10000"/>
                <a:gd name="connsiteY77" fmla="*/ 5821 h 10000"/>
                <a:gd name="connsiteX78" fmla="*/ 274 w 10000"/>
                <a:gd name="connsiteY78" fmla="*/ 5697 h 10000"/>
                <a:gd name="connsiteX79" fmla="*/ 227 w 10000"/>
                <a:gd name="connsiteY79" fmla="*/ 5728 h 10000"/>
                <a:gd name="connsiteX80" fmla="*/ 202 w 10000"/>
                <a:gd name="connsiteY80" fmla="*/ 5604 h 10000"/>
                <a:gd name="connsiteX81" fmla="*/ 164 w 10000"/>
                <a:gd name="connsiteY81" fmla="*/ 5645 h 10000"/>
                <a:gd name="connsiteX82" fmla="*/ 117 w 10000"/>
                <a:gd name="connsiteY82" fmla="*/ 5604 h 10000"/>
                <a:gd name="connsiteX83" fmla="*/ 69 w 10000"/>
                <a:gd name="connsiteY83" fmla="*/ 5181 h 10000"/>
                <a:gd name="connsiteX84" fmla="*/ 85 w 10000"/>
                <a:gd name="connsiteY84" fmla="*/ 5057 h 10000"/>
                <a:gd name="connsiteX85" fmla="*/ 41 w 10000"/>
                <a:gd name="connsiteY85" fmla="*/ 4892 h 10000"/>
                <a:gd name="connsiteX86" fmla="*/ 66 w 10000"/>
                <a:gd name="connsiteY86" fmla="*/ 4655 h 10000"/>
                <a:gd name="connsiteX87" fmla="*/ 211 w 10000"/>
                <a:gd name="connsiteY87" fmla="*/ 4510 h 10000"/>
                <a:gd name="connsiteX88" fmla="*/ 129 w 10000"/>
                <a:gd name="connsiteY88" fmla="*/ 4406 h 10000"/>
                <a:gd name="connsiteX89" fmla="*/ 82 w 10000"/>
                <a:gd name="connsiteY89" fmla="*/ 4283 h 10000"/>
                <a:gd name="connsiteX90" fmla="*/ 205 w 10000"/>
                <a:gd name="connsiteY90" fmla="*/ 3912 h 10000"/>
                <a:gd name="connsiteX91" fmla="*/ 249 w 10000"/>
                <a:gd name="connsiteY91" fmla="*/ 3664 h 10000"/>
                <a:gd name="connsiteX92" fmla="*/ 151 w 10000"/>
                <a:gd name="connsiteY92" fmla="*/ 3488 h 10000"/>
                <a:gd name="connsiteX93" fmla="*/ 189 w 10000"/>
                <a:gd name="connsiteY93" fmla="*/ 3344 h 10000"/>
                <a:gd name="connsiteX94" fmla="*/ 113 w 10000"/>
                <a:gd name="connsiteY94" fmla="*/ 3148 h 10000"/>
                <a:gd name="connsiteX95" fmla="*/ 113 w 10000"/>
                <a:gd name="connsiteY95" fmla="*/ 2972 h 10000"/>
                <a:gd name="connsiteX96" fmla="*/ 60 w 10000"/>
                <a:gd name="connsiteY96" fmla="*/ 2622 h 10000"/>
                <a:gd name="connsiteX97" fmla="*/ 98 w 10000"/>
                <a:gd name="connsiteY97" fmla="*/ 2404 h 10000"/>
                <a:gd name="connsiteX98" fmla="*/ 38 w 10000"/>
                <a:gd name="connsiteY98" fmla="*/ 2301 h 10000"/>
                <a:gd name="connsiteX99" fmla="*/ 0 w 10000"/>
                <a:gd name="connsiteY99" fmla="*/ 2178 h 10000"/>
                <a:gd name="connsiteX100" fmla="*/ 54 w 10000"/>
                <a:gd name="connsiteY100" fmla="*/ 1951 h 10000"/>
                <a:gd name="connsiteX101" fmla="*/ 120 w 10000"/>
                <a:gd name="connsiteY101" fmla="*/ 1910 h 10000"/>
                <a:gd name="connsiteX102" fmla="*/ 195 w 10000"/>
                <a:gd name="connsiteY102" fmla="*/ 1858 h 10000"/>
                <a:gd name="connsiteX103" fmla="*/ 309 w 10000"/>
                <a:gd name="connsiteY103" fmla="*/ 1951 h 10000"/>
                <a:gd name="connsiteX104" fmla="*/ 482 w 10000"/>
                <a:gd name="connsiteY104" fmla="*/ 2054 h 10000"/>
                <a:gd name="connsiteX105" fmla="*/ 633 w 10000"/>
                <a:gd name="connsiteY105" fmla="*/ 2229 h 10000"/>
                <a:gd name="connsiteX106" fmla="*/ 756 w 10000"/>
                <a:gd name="connsiteY106" fmla="*/ 2373 h 10000"/>
                <a:gd name="connsiteX107" fmla="*/ 725 w 10000"/>
                <a:gd name="connsiteY107" fmla="*/ 2777 h 10000"/>
                <a:gd name="connsiteX108" fmla="*/ 362 w 10000"/>
                <a:gd name="connsiteY108" fmla="*/ 2673 h 10000"/>
                <a:gd name="connsiteX109" fmla="*/ 243 w 10000"/>
                <a:gd name="connsiteY109" fmla="*/ 2550 h 10000"/>
                <a:gd name="connsiteX110" fmla="*/ 287 w 10000"/>
                <a:gd name="connsiteY110" fmla="*/ 2622 h 10000"/>
                <a:gd name="connsiteX111" fmla="*/ 331 w 10000"/>
                <a:gd name="connsiteY111" fmla="*/ 2797 h 10000"/>
                <a:gd name="connsiteX112" fmla="*/ 400 w 10000"/>
                <a:gd name="connsiteY112" fmla="*/ 2921 h 10000"/>
                <a:gd name="connsiteX113" fmla="*/ 416 w 10000"/>
                <a:gd name="connsiteY113" fmla="*/ 3189 h 10000"/>
                <a:gd name="connsiteX114" fmla="*/ 507 w 10000"/>
                <a:gd name="connsiteY114" fmla="*/ 3313 h 10000"/>
                <a:gd name="connsiteX115" fmla="*/ 583 w 10000"/>
                <a:gd name="connsiteY115" fmla="*/ 3436 h 10000"/>
                <a:gd name="connsiteX116" fmla="*/ 605 w 10000"/>
                <a:gd name="connsiteY116" fmla="*/ 3467 h 10000"/>
                <a:gd name="connsiteX117" fmla="*/ 649 w 10000"/>
                <a:gd name="connsiteY117" fmla="*/ 3436 h 10000"/>
                <a:gd name="connsiteX118" fmla="*/ 633 w 10000"/>
                <a:gd name="connsiteY118" fmla="*/ 3364 h 10000"/>
                <a:gd name="connsiteX119" fmla="*/ 545 w 10000"/>
                <a:gd name="connsiteY119" fmla="*/ 3189 h 10000"/>
                <a:gd name="connsiteX120" fmla="*/ 801 w 10000"/>
                <a:gd name="connsiteY120" fmla="*/ 3344 h 10000"/>
                <a:gd name="connsiteX121" fmla="*/ 810 w 10000"/>
                <a:gd name="connsiteY121" fmla="*/ 3271 h 10000"/>
                <a:gd name="connsiteX122" fmla="*/ 785 w 10000"/>
                <a:gd name="connsiteY122" fmla="*/ 3220 h 10000"/>
                <a:gd name="connsiteX123" fmla="*/ 741 w 10000"/>
                <a:gd name="connsiteY123" fmla="*/ 2993 h 10000"/>
                <a:gd name="connsiteX124" fmla="*/ 870 w 10000"/>
                <a:gd name="connsiteY124" fmla="*/ 2777 h 10000"/>
                <a:gd name="connsiteX125" fmla="*/ 968 w 10000"/>
                <a:gd name="connsiteY125" fmla="*/ 2921 h 10000"/>
                <a:gd name="connsiteX126" fmla="*/ 999 w 10000"/>
                <a:gd name="connsiteY126" fmla="*/ 2725 h 10000"/>
                <a:gd name="connsiteX127" fmla="*/ 952 w 10000"/>
                <a:gd name="connsiteY127" fmla="*/ 2653 h 10000"/>
                <a:gd name="connsiteX128" fmla="*/ 936 w 10000"/>
                <a:gd name="connsiteY128" fmla="*/ 2281 h 10000"/>
                <a:gd name="connsiteX129" fmla="*/ 914 w 10000"/>
                <a:gd name="connsiteY129" fmla="*/ 2229 h 10000"/>
                <a:gd name="connsiteX130" fmla="*/ 1037 w 10000"/>
                <a:gd name="connsiteY130" fmla="*/ 2250 h 10000"/>
                <a:gd name="connsiteX131" fmla="*/ 1087 w 10000"/>
                <a:gd name="connsiteY131" fmla="*/ 2404 h 10000"/>
                <a:gd name="connsiteX132" fmla="*/ 1021 w 10000"/>
                <a:gd name="connsiteY132" fmla="*/ 2529 h 10000"/>
                <a:gd name="connsiteX133" fmla="*/ 1135 w 10000"/>
                <a:gd name="connsiteY133" fmla="*/ 2694 h 10000"/>
                <a:gd name="connsiteX134" fmla="*/ 1226 w 10000"/>
                <a:gd name="connsiteY134" fmla="*/ 2529 h 10000"/>
                <a:gd name="connsiteX135" fmla="*/ 1339 w 10000"/>
                <a:gd name="connsiteY135" fmla="*/ 2301 h 10000"/>
                <a:gd name="connsiteX136" fmla="*/ 1459 w 10000"/>
                <a:gd name="connsiteY136" fmla="*/ 2157 h 10000"/>
                <a:gd name="connsiteX137" fmla="*/ 1497 w 10000"/>
                <a:gd name="connsiteY137" fmla="*/ 2250 h 10000"/>
                <a:gd name="connsiteX138" fmla="*/ 1807 w 10000"/>
                <a:gd name="connsiteY138" fmla="*/ 2054 h 10000"/>
                <a:gd name="connsiteX139" fmla="*/ 1870 w 10000"/>
                <a:gd name="connsiteY139" fmla="*/ 2250 h 10000"/>
                <a:gd name="connsiteX140" fmla="*/ 1860 w 10000"/>
                <a:gd name="connsiteY140" fmla="*/ 2002 h 10000"/>
                <a:gd name="connsiteX141" fmla="*/ 1778 w 10000"/>
                <a:gd name="connsiteY141" fmla="*/ 1786 h 10000"/>
                <a:gd name="connsiteX142" fmla="*/ 1763 w 10000"/>
                <a:gd name="connsiteY142" fmla="*/ 1703 h 10000"/>
                <a:gd name="connsiteX143" fmla="*/ 1823 w 10000"/>
                <a:gd name="connsiteY143" fmla="*/ 1786 h 10000"/>
                <a:gd name="connsiteX144" fmla="*/ 2034 w 10000"/>
                <a:gd name="connsiteY144" fmla="*/ 1951 h 10000"/>
                <a:gd name="connsiteX145" fmla="*/ 2270 w 10000"/>
                <a:gd name="connsiteY145" fmla="*/ 2126 h 10000"/>
                <a:gd name="connsiteX146" fmla="*/ 2384 w 10000"/>
                <a:gd name="connsiteY146" fmla="*/ 2250 h 10000"/>
                <a:gd name="connsiteX147" fmla="*/ 2421 w 10000"/>
                <a:gd name="connsiteY147" fmla="*/ 2074 h 10000"/>
                <a:gd name="connsiteX148" fmla="*/ 2368 w 10000"/>
                <a:gd name="connsiteY148" fmla="*/ 2033 h 10000"/>
                <a:gd name="connsiteX149" fmla="*/ 2299 w 10000"/>
                <a:gd name="connsiteY149" fmla="*/ 1930 h 10000"/>
                <a:gd name="connsiteX150" fmla="*/ 2254 w 10000"/>
                <a:gd name="connsiteY150" fmla="*/ 1734 h 10000"/>
                <a:gd name="connsiteX151" fmla="*/ 2185 w 10000"/>
                <a:gd name="connsiteY151" fmla="*/ 1486 h 10000"/>
                <a:gd name="connsiteX152" fmla="*/ 2210 w 10000"/>
                <a:gd name="connsiteY152" fmla="*/ 1434 h 10000"/>
                <a:gd name="connsiteX153" fmla="*/ 2232 w 10000"/>
                <a:gd name="connsiteY153" fmla="*/ 1455 h 10000"/>
                <a:gd name="connsiteX154" fmla="*/ 2292 w 10000"/>
                <a:gd name="connsiteY154" fmla="*/ 1115 h 10000"/>
                <a:gd name="connsiteX155" fmla="*/ 2443 w 10000"/>
                <a:gd name="connsiteY155" fmla="*/ 1135 h 10000"/>
                <a:gd name="connsiteX156" fmla="*/ 2488 w 10000"/>
                <a:gd name="connsiteY156" fmla="*/ 1311 h 10000"/>
                <a:gd name="connsiteX157" fmla="*/ 2519 w 10000"/>
                <a:gd name="connsiteY157" fmla="*/ 1538 h 10000"/>
                <a:gd name="connsiteX158" fmla="*/ 2573 w 10000"/>
                <a:gd name="connsiteY158" fmla="*/ 1734 h 10000"/>
                <a:gd name="connsiteX159" fmla="*/ 2670 w 10000"/>
                <a:gd name="connsiteY159" fmla="*/ 2157 h 10000"/>
                <a:gd name="connsiteX160" fmla="*/ 2481 w 10000"/>
                <a:gd name="connsiteY160" fmla="*/ 2673 h 10000"/>
                <a:gd name="connsiteX161" fmla="*/ 2557 w 10000"/>
                <a:gd name="connsiteY161" fmla="*/ 2746 h 10000"/>
                <a:gd name="connsiteX162" fmla="*/ 2655 w 10000"/>
                <a:gd name="connsiteY162" fmla="*/ 2818 h 10000"/>
                <a:gd name="connsiteX163" fmla="*/ 2784 w 10000"/>
                <a:gd name="connsiteY163" fmla="*/ 2622 h 10000"/>
                <a:gd name="connsiteX164" fmla="*/ 2790 w 10000"/>
                <a:gd name="connsiteY164" fmla="*/ 2404 h 10000"/>
                <a:gd name="connsiteX165" fmla="*/ 2746 w 10000"/>
                <a:gd name="connsiteY165" fmla="*/ 2301 h 10000"/>
                <a:gd name="connsiteX166" fmla="*/ 2919 w 10000"/>
                <a:gd name="connsiteY166" fmla="*/ 2250 h 10000"/>
                <a:gd name="connsiteX167" fmla="*/ 2989 w 10000"/>
                <a:gd name="connsiteY167" fmla="*/ 2497 h 10000"/>
                <a:gd name="connsiteX168" fmla="*/ 2989 w 10000"/>
                <a:gd name="connsiteY168" fmla="*/ 2425 h 10000"/>
                <a:gd name="connsiteX169" fmla="*/ 2973 w 10000"/>
                <a:gd name="connsiteY169" fmla="*/ 2353 h 10000"/>
                <a:gd name="connsiteX170" fmla="*/ 2967 w 10000"/>
                <a:gd name="connsiteY170" fmla="*/ 2178 h 10000"/>
                <a:gd name="connsiteX171" fmla="*/ 2800 w 10000"/>
                <a:gd name="connsiteY171" fmla="*/ 1930 h 10000"/>
                <a:gd name="connsiteX172" fmla="*/ 2670 w 10000"/>
                <a:gd name="connsiteY172" fmla="*/ 2002 h 10000"/>
                <a:gd name="connsiteX173" fmla="*/ 2617 w 10000"/>
                <a:gd name="connsiteY173" fmla="*/ 1683 h 10000"/>
                <a:gd name="connsiteX174" fmla="*/ 2563 w 10000"/>
                <a:gd name="connsiteY174" fmla="*/ 1507 h 10000"/>
                <a:gd name="connsiteX175" fmla="*/ 2617 w 10000"/>
                <a:gd name="connsiteY175" fmla="*/ 1331 h 10000"/>
                <a:gd name="connsiteX176" fmla="*/ 2611 w 10000"/>
                <a:gd name="connsiteY176" fmla="*/ 1166 h 10000"/>
                <a:gd name="connsiteX177" fmla="*/ 2588 w 10000"/>
                <a:gd name="connsiteY177" fmla="*/ 1115 h 10000"/>
                <a:gd name="connsiteX178" fmla="*/ 2626 w 10000"/>
                <a:gd name="connsiteY178" fmla="*/ 1115 h 10000"/>
                <a:gd name="connsiteX179" fmla="*/ 2670 w 10000"/>
                <a:gd name="connsiteY179" fmla="*/ 1455 h 10000"/>
                <a:gd name="connsiteX180" fmla="*/ 2891 w 10000"/>
                <a:gd name="connsiteY180" fmla="*/ 1662 h 10000"/>
                <a:gd name="connsiteX181" fmla="*/ 2724 w 10000"/>
                <a:gd name="connsiteY181" fmla="*/ 1383 h 10000"/>
                <a:gd name="connsiteX182" fmla="*/ 3049 w 10000"/>
                <a:gd name="connsiteY182" fmla="*/ 1383 h 10000"/>
                <a:gd name="connsiteX183" fmla="*/ 3102 w 10000"/>
                <a:gd name="connsiteY183" fmla="*/ 1362 h 10000"/>
                <a:gd name="connsiteX184" fmla="*/ 2897 w 10000"/>
                <a:gd name="connsiteY184" fmla="*/ 1115 h 10000"/>
                <a:gd name="connsiteX185" fmla="*/ 2951 w 10000"/>
                <a:gd name="connsiteY185" fmla="*/ 888 h 10000"/>
                <a:gd name="connsiteX186" fmla="*/ 3178 w 10000"/>
                <a:gd name="connsiteY186" fmla="*/ 888 h 10000"/>
                <a:gd name="connsiteX187" fmla="*/ 3156 w 10000"/>
                <a:gd name="connsiteY187" fmla="*/ 713 h 10000"/>
                <a:gd name="connsiteX188" fmla="*/ 3231 w 10000"/>
                <a:gd name="connsiteY188" fmla="*/ 589 h 10000"/>
                <a:gd name="connsiteX189" fmla="*/ 3276 w 10000"/>
                <a:gd name="connsiteY189" fmla="*/ 548 h 10000"/>
                <a:gd name="connsiteX190" fmla="*/ 3443 w 10000"/>
                <a:gd name="connsiteY190" fmla="*/ 423 h 10000"/>
                <a:gd name="connsiteX191" fmla="*/ 3487 w 10000"/>
                <a:gd name="connsiteY191" fmla="*/ 371 h 10000"/>
                <a:gd name="connsiteX192" fmla="*/ 3480 w 10000"/>
                <a:gd name="connsiteY192" fmla="*/ 444 h 10000"/>
                <a:gd name="connsiteX193" fmla="*/ 3660 w 10000"/>
                <a:gd name="connsiteY193" fmla="*/ 371 h 10000"/>
                <a:gd name="connsiteX194" fmla="*/ 3805 w 10000"/>
                <a:gd name="connsiteY194" fmla="*/ 248 h 10000"/>
                <a:gd name="connsiteX195" fmla="*/ 3827 w 10000"/>
                <a:gd name="connsiteY195" fmla="*/ 0 h 10000"/>
                <a:gd name="connsiteX196" fmla="*/ 3988 w 10000"/>
                <a:gd name="connsiteY196" fmla="*/ 21 h 10000"/>
                <a:gd name="connsiteX197" fmla="*/ 3978 w 10000"/>
                <a:gd name="connsiteY197" fmla="*/ 93 h 10000"/>
                <a:gd name="connsiteX198" fmla="*/ 3988 w 10000"/>
                <a:gd name="connsiteY198" fmla="*/ 176 h 10000"/>
                <a:gd name="connsiteX199" fmla="*/ 4085 w 10000"/>
                <a:gd name="connsiteY199" fmla="*/ 248 h 10000"/>
                <a:gd name="connsiteX200" fmla="*/ 4379 w 10000"/>
                <a:gd name="connsiteY200" fmla="*/ 268 h 10000"/>
                <a:gd name="connsiteX201" fmla="*/ 4539 w 10000"/>
                <a:gd name="connsiteY201" fmla="*/ 392 h 10000"/>
                <a:gd name="connsiteX202" fmla="*/ 4486 w 10000"/>
                <a:gd name="connsiteY202" fmla="*/ 795 h 10000"/>
                <a:gd name="connsiteX203" fmla="*/ 4426 w 10000"/>
                <a:gd name="connsiteY203" fmla="*/ 919 h 10000"/>
                <a:gd name="connsiteX204" fmla="*/ 4356 w 10000"/>
                <a:gd name="connsiteY204" fmla="*/ 1043 h 10000"/>
                <a:gd name="connsiteX205" fmla="*/ 4372 w 10000"/>
                <a:gd name="connsiteY205" fmla="*/ 1115 h 10000"/>
                <a:gd name="connsiteX206" fmla="*/ 4583 w 10000"/>
                <a:gd name="connsiteY206" fmla="*/ 919 h 10000"/>
                <a:gd name="connsiteX207" fmla="*/ 5060 w 10000"/>
                <a:gd name="connsiteY207" fmla="*/ 991 h 10000"/>
                <a:gd name="connsiteX208" fmla="*/ 5108 w 10000"/>
                <a:gd name="connsiteY208" fmla="*/ 1063 h 10000"/>
                <a:gd name="connsiteX209" fmla="*/ 5212 w 10000"/>
                <a:gd name="connsiteY209" fmla="*/ 1187 h 10000"/>
                <a:gd name="connsiteX210" fmla="*/ 5357 w 10000"/>
                <a:gd name="connsiteY210" fmla="*/ 919 h 10000"/>
                <a:gd name="connsiteX211" fmla="*/ 5577 w 10000"/>
                <a:gd name="connsiteY211" fmla="*/ 1063 h 10000"/>
                <a:gd name="connsiteX212" fmla="*/ 5643 w 10000"/>
                <a:gd name="connsiteY212" fmla="*/ 1115 h 10000"/>
                <a:gd name="connsiteX213" fmla="*/ 5697 w 10000"/>
                <a:gd name="connsiteY213" fmla="*/ 1166 h 10000"/>
                <a:gd name="connsiteX214" fmla="*/ 5908 w 10000"/>
                <a:gd name="connsiteY214" fmla="*/ 1631 h 10000"/>
                <a:gd name="connsiteX215" fmla="*/ 5984 w 10000"/>
                <a:gd name="connsiteY215" fmla="*/ 1611 h 10000"/>
                <a:gd name="connsiteX216" fmla="*/ 5977 w 10000"/>
                <a:gd name="connsiteY216" fmla="*/ 1507 h 10000"/>
                <a:gd name="connsiteX217" fmla="*/ 5984 w 10000"/>
                <a:gd name="connsiteY217" fmla="*/ 1383 h 10000"/>
                <a:gd name="connsiteX218" fmla="*/ 6091 w 10000"/>
                <a:gd name="connsiteY218" fmla="*/ 1486 h 10000"/>
                <a:gd name="connsiteX219" fmla="*/ 6264 w 10000"/>
                <a:gd name="connsiteY219" fmla="*/ 1507 h 10000"/>
                <a:gd name="connsiteX220" fmla="*/ 6409 w 10000"/>
                <a:gd name="connsiteY220" fmla="*/ 1455 h 10000"/>
                <a:gd name="connsiteX221" fmla="*/ 6340 w 10000"/>
                <a:gd name="connsiteY221" fmla="*/ 1362 h 10000"/>
                <a:gd name="connsiteX222" fmla="*/ 6431 w 10000"/>
                <a:gd name="connsiteY222" fmla="*/ 1084 h 10000"/>
                <a:gd name="connsiteX223" fmla="*/ 6687 w 10000"/>
                <a:gd name="connsiteY223" fmla="*/ 1207 h 10000"/>
                <a:gd name="connsiteX224" fmla="*/ 6945 w 10000"/>
                <a:gd name="connsiteY224" fmla="*/ 1331 h 10000"/>
                <a:gd name="connsiteX225" fmla="*/ 6967 w 10000"/>
                <a:gd name="connsiteY225" fmla="*/ 1362 h 10000"/>
                <a:gd name="connsiteX226" fmla="*/ 7194 w 10000"/>
                <a:gd name="connsiteY226" fmla="*/ 1611 h 10000"/>
                <a:gd name="connsiteX227" fmla="*/ 7367 w 10000"/>
                <a:gd name="connsiteY227" fmla="*/ 1507 h 10000"/>
                <a:gd name="connsiteX228" fmla="*/ 7582 w 10000"/>
                <a:gd name="connsiteY228" fmla="*/ 1538 h 10000"/>
                <a:gd name="connsiteX229" fmla="*/ 7657 w 10000"/>
                <a:gd name="connsiteY229" fmla="*/ 1611 h 10000"/>
                <a:gd name="connsiteX230" fmla="*/ 7928 w 10000"/>
                <a:gd name="connsiteY230" fmla="*/ 1930 h 10000"/>
                <a:gd name="connsiteX231" fmla="*/ 8231 w 10000"/>
                <a:gd name="connsiteY231" fmla="*/ 1879 h 10000"/>
                <a:gd name="connsiteX232" fmla="*/ 8339 w 10000"/>
                <a:gd name="connsiteY232" fmla="*/ 2033 h 10000"/>
                <a:gd name="connsiteX233" fmla="*/ 8490 w 10000"/>
                <a:gd name="connsiteY233" fmla="*/ 2157 h 10000"/>
                <a:gd name="connsiteX234" fmla="*/ 8519 w 10000"/>
                <a:gd name="connsiteY234" fmla="*/ 2105 h 10000"/>
                <a:gd name="connsiteX235" fmla="*/ 8497 w 10000"/>
                <a:gd name="connsiteY235" fmla="*/ 2074 h 10000"/>
                <a:gd name="connsiteX236" fmla="*/ 8383 w 10000"/>
                <a:gd name="connsiteY236" fmla="*/ 1930 h 10000"/>
                <a:gd name="connsiteX237" fmla="*/ 8465 w 10000"/>
                <a:gd name="connsiteY237" fmla="*/ 1755 h 10000"/>
                <a:gd name="connsiteX238" fmla="*/ 8664 w 10000"/>
                <a:gd name="connsiteY238" fmla="*/ 1910 h 10000"/>
                <a:gd name="connsiteX239" fmla="*/ 8950 w 10000"/>
                <a:gd name="connsiteY239" fmla="*/ 1982 h 10000"/>
                <a:gd name="connsiteX240" fmla="*/ 9206 w 10000"/>
                <a:gd name="connsiteY240" fmla="*/ 2260 h 10000"/>
                <a:gd name="connsiteX241" fmla="*/ 9344 w 10000"/>
                <a:gd name="connsiteY241" fmla="*/ 2332 h 10000"/>
                <a:gd name="connsiteX242" fmla="*/ 9451 w 10000"/>
                <a:gd name="connsiteY242" fmla="*/ 2446 h 10000"/>
                <a:gd name="connsiteX243" fmla="*/ 9574 w 10000"/>
                <a:gd name="connsiteY243" fmla="*/ 2632 h 10000"/>
                <a:gd name="connsiteX244" fmla="*/ 9631 w 10000"/>
                <a:gd name="connsiteY244" fmla="*/ 2756 h 10000"/>
                <a:gd name="connsiteX245" fmla="*/ 9726 w 10000"/>
                <a:gd name="connsiteY245" fmla="*/ 2787 h 10000"/>
                <a:gd name="connsiteX246" fmla="*/ 9590 w 10000"/>
                <a:gd name="connsiteY246" fmla="*/ 2570 h 10000"/>
                <a:gd name="connsiteX247" fmla="*/ 9915 w 10000"/>
                <a:gd name="connsiteY247" fmla="*/ 2756 h 10000"/>
                <a:gd name="connsiteX248" fmla="*/ 10000 w 10000"/>
                <a:gd name="connsiteY248" fmla="*/ 3014 h 10000"/>
                <a:gd name="connsiteX249" fmla="*/ 9934 w 10000"/>
                <a:gd name="connsiteY249" fmla="*/ 2941 h 10000"/>
                <a:gd name="connsiteX250" fmla="*/ 9874 w 10000"/>
                <a:gd name="connsiteY250" fmla="*/ 2952 h 10000"/>
                <a:gd name="connsiteX251" fmla="*/ 10000 w 10000"/>
                <a:gd name="connsiteY251" fmla="*/ 3292 h 10000"/>
                <a:gd name="connsiteX252" fmla="*/ 9845 w 10000"/>
                <a:gd name="connsiteY252" fmla="*/ 3220 h 10000"/>
                <a:gd name="connsiteX253" fmla="*/ 9745 w 10000"/>
                <a:gd name="connsiteY253" fmla="*/ 3075 h 10000"/>
                <a:gd name="connsiteX254" fmla="*/ 9641 w 10000"/>
                <a:gd name="connsiteY254" fmla="*/ 2972 h 10000"/>
                <a:gd name="connsiteX255" fmla="*/ 9555 w 10000"/>
                <a:gd name="connsiteY255" fmla="*/ 3003 h 10000"/>
                <a:gd name="connsiteX256" fmla="*/ 9470 w 10000"/>
                <a:gd name="connsiteY256" fmla="*/ 2787 h 10000"/>
                <a:gd name="connsiteX257" fmla="*/ 9366 w 10000"/>
                <a:gd name="connsiteY257" fmla="*/ 2725 h 10000"/>
                <a:gd name="connsiteX258" fmla="*/ 9461 w 10000"/>
                <a:gd name="connsiteY258" fmla="*/ 2972 h 10000"/>
                <a:gd name="connsiteX259" fmla="*/ 9470 w 10000"/>
                <a:gd name="connsiteY259" fmla="*/ 3230 h 10000"/>
                <a:gd name="connsiteX260" fmla="*/ 9288 w 10000"/>
                <a:gd name="connsiteY260" fmla="*/ 3065 h 10000"/>
                <a:gd name="connsiteX261" fmla="*/ 9262 w 10000"/>
                <a:gd name="connsiteY261" fmla="*/ 3230 h 10000"/>
                <a:gd name="connsiteX262" fmla="*/ 9363 w 10000"/>
                <a:gd name="connsiteY262" fmla="*/ 3230 h 10000"/>
                <a:gd name="connsiteX263" fmla="*/ 9451 w 10000"/>
                <a:gd name="connsiteY263" fmla="*/ 3354 h 10000"/>
                <a:gd name="connsiteX264" fmla="*/ 9659 w 10000"/>
                <a:gd name="connsiteY264" fmla="*/ 3685 h 10000"/>
                <a:gd name="connsiteX265" fmla="*/ 9735 w 10000"/>
                <a:gd name="connsiteY265" fmla="*/ 3839 h 10000"/>
                <a:gd name="connsiteX266" fmla="*/ 9552 w 10000"/>
                <a:gd name="connsiteY266" fmla="*/ 3757 h 10000"/>
                <a:gd name="connsiteX267" fmla="*/ 9451 w 10000"/>
                <a:gd name="connsiteY267" fmla="*/ 4025 h 10000"/>
                <a:gd name="connsiteX268" fmla="*/ 9385 w 10000"/>
                <a:gd name="connsiteY268" fmla="*/ 4283 h 10000"/>
                <a:gd name="connsiteX269" fmla="*/ 9376 w 10000"/>
                <a:gd name="connsiteY269" fmla="*/ 4499 h 10000"/>
                <a:gd name="connsiteX270" fmla="*/ 9335 w 10000"/>
                <a:gd name="connsiteY270" fmla="*/ 4303 h 10000"/>
                <a:gd name="connsiteX271" fmla="*/ 9149 w 10000"/>
                <a:gd name="connsiteY271" fmla="*/ 4314 h 10000"/>
                <a:gd name="connsiteX272" fmla="*/ 9155 w 10000"/>
                <a:gd name="connsiteY272" fmla="*/ 4531 h 10000"/>
                <a:gd name="connsiteX273" fmla="*/ 9061 w 10000"/>
                <a:gd name="connsiteY273" fmla="*/ 4365 h 10000"/>
                <a:gd name="connsiteX274" fmla="*/ 9054 w 10000"/>
                <a:gd name="connsiteY274" fmla="*/ 4521 h 10000"/>
                <a:gd name="connsiteX275" fmla="*/ 8998 w 10000"/>
                <a:gd name="connsiteY275" fmla="*/ 4458 h 10000"/>
                <a:gd name="connsiteX276" fmla="*/ 8966 w 10000"/>
                <a:gd name="connsiteY276" fmla="*/ 4562 h 10000"/>
                <a:gd name="connsiteX277" fmla="*/ 9007 w 10000"/>
                <a:gd name="connsiteY277" fmla="*/ 4686 h 10000"/>
                <a:gd name="connsiteX278" fmla="*/ 9004 w 10000"/>
                <a:gd name="connsiteY278" fmla="*/ 4995 h 10000"/>
                <a:gd name="connsiteX279" fmla="*/ 9073 w 10000"/>
                <a:gd name="connsiteY279" fmla="*/ 5211 h 10000"/>
                <a:gd name="connsiteX280" fmla="*/ 9130 w 10000"/>
                <a:gd name="connsiteY280" fmla="*/ 5150 h 10000"/>
                <a:gd name="connsiteX281" fmla="*/ 9158 w 10000"/>
                <a:gd name="connsiteY281" fmla="*/ 5211 h 10000"/>
                <a:gd name="connsiteX282" fmla="*/ 9231 w 10000"/>
                <a:gd name="connsiteY282" fmla="*/ 5428 h 10000"/>
                <a:gd name="connsiteX283" fmla="*/ 9215 w 10000"/>
                <a:gd name="connsiteY283" fmla="*/ 5604 h 10000"/>
                <a:gd name="connsiteX284" fmla="*/ 9221 w 10000"/>
                <a:gd name="connsiteY284" fmla="*/ 5769 h 10000"/>
                <a:gd name="connsiteX285" fmla="*/ 9269 w 10000"/>
                <a:gd name="connsiteY285" fmla="*/ 5883 h 10000"/>
                <a:gd name="connsiteX286" fmla="*/ 9344 w 10000"/>
                <a:gd name="connsiteY286" fmla="*/ 6068 h 10000"/>
                <a:gd name="connsiteX287" fmla="*/ 9269 w 10000"/>
                <a:gd name="connsiteY287" fmla="*/ 6068 h 10000"/>
                <a:gd name="connsiteX288" fmla="*/ 9253 w 10000"/>
                <a:gd name="connsiteY288" fmla="*/ 6223 h 10000"/>
                <a:gd name="connsiteX289" fmla="*/ 9319 w 10000"/>
                <a:gd name="connsiteY289" fmla="*/ 6408 h 10000"/>
                <a:gd name="connsiteX290" fmla="*/ 9250 w 10000"/>
                <a:gd name="connsiteY290" fmla="*/ 6502 h 10000"/>
                <a:gd name="connsiteX291" fmla="*/ 9297 w 10000"/>
                <a:gd name="connsiteY291" fmla="*/ 6729 h 10000"/>
                <a:gd name="connsiteX292" fmla="*/ 9281 w 10000"/>
                <a:gd name="connsiteY292" fmla="*/ 7069 h 10000"/>
                <a:gd name="connsiteX293" fmla="*/ 9061 w 10000"/>
                <a:gd name="connsiteY293" fmla="*/ 6408 h 10000"/>
                <a:gd name="connsiteX294" fmla="*/ 8824 w 10000"/>
                <a:gd name="connsiteY294" fmla="*/ 5759 h 10000"/>
                <a:gd name="connsiteX295" fmla="*/ 8771 w 10000"/>
                <a:gd name="connsiteY295" fmla="*/ 5459 h 10000"/>
                <a:gd name="connsiteX296" fmla="*/ 8768 w 10000"/>
                <a:gd name="connsiteY296" fmla="*/ 5211 h 10000"/>
                <a:gd name="connsiteX297" fmla="*/ 8692 w 10000"/>
                <a:gd name="connsiteY297" fmla="*/ 5047 h 10000"/>
                <a:gd name="connsiteX298" fmla="*/ 8771 w 10000"/>
                <a:gd name="connsiteY298" fmla="*/ 5088 h 10000"/>
                <a:gd name="connsiteX299" fmla="*/ 8809 w 10000"/>
                <a:gd name="connsiteY299" fmla="*/ 5108 h 10000"/>
                <a:gd name="connsiteX300" fmla="*/ 8809 w 10000"/>
                <a:gd name="connsiteY300" fmla="*/ 4840 h 10000"/>
                <a:gd name="connsiteX301" fmla="*/ 8827 w 10000"/>
                <a:gd name="connsiteY301" fmla="*/ 4437 h 10000"/>
                <a:gd name="connsiteX302" fmla="*/ 8853 w 10000"/>
                <a:gd name="connsiteY302" fmla="*/ 4252 h 10000"/>
                <a:gd name="connsiteX303" fmla="*/ 8909 w 10000"/>
                <a:gd name="connsiteY303" fmla="*/ 4221 h 10000"/>
                <a:gd name="connsiteX304" fmla="*/ 8786 w 10000"/>
                <a:gd name="connsiteY304" fmla="*/ 3901 h 10000"/>
                <a:gd name="connsiteX305" fmla="*/ 8853 w 10000"/>
                <a:gd name="connsiteY305" fmla="*/ 3839 h 10000"/>
                <a:gd name="connsiteX306" fmla="*/ 8739 w 10000"/>
                <a:gd name="connsiteY306" fmla="*/ 3788 h 10000"/>
                <a:gd name="connsiteX307" fmla="*/ 8755 w 10000"/>
                <a:gd name="connsiteY307" fmla="*/ 3984 h 10000"/>
                <a:gd name="connsiteX308" fmla="*/ 8692 w 10000"/>
                <a:gd name="connsiteY308" fmla="*/ 4303 h 10000"/>
                <a:gd name="connsiteX309" fmla="*/ 8604 w 10000"/>
                <a:gd name="connsiteY309" fmla="*/ 4210 h 10000"/>
                <a:gd name="connsiteX310" fmla="*/ 8550 w 10000"/>
                <a:gd name="connsiteY310" fmla="*/ 4056 h 10000"/>
                <a:gd name="connsiteX311" fmla="*/ 8481 w 10000"/>
                <a:gd name="connsiteY311" fmla="*/ 4138 h 10000"/>
                <a:gd name="connsiteX312" fmla="*/ 8389 w 10000"/>
                <a:gd name="connsiteY312" fmla="*/ 4107 h 10000"/>
                <a:gd name="connsiteX313" fmla="*/ 8352 w 10000"/>
                <a:gd name="connsiteY313" fmla="*/ 4406 h 10000"/>
                <a:gd name="connsiteX314" fmla="*/ 8481 w 10000"/>
                <a:gd name="connsiteY314" fmla="*/ 4655 h 10000"/>
                <a:gd name="connsiteX315" fmla="*/ 8405 w 10000"/>
                <a:gd name="connsiteY315" fmla="*/ 4830 h 10000"/>
                <a:gd name="connsiteX316" fmla="*/ 8225 w 10000"/>
                <a:gd name="connsiteY316" fmla="*/ 4799 h 10000"/>
                <a:gd name="connsiteX317" fmla="*/ 8209 w 10000"/>
                <a:gd name="connsiteY317" fmla="*/ 4655 h 10000"/>
                <a:gd name="connsiteX318" fmla="*/ 8102 w 10000"/>
                <a:gd name="connsiteY318" fmla="*/ 4634 h 10000"/>
                <a:gd name="connsiteX319" fmla="*/ 7641 w 10000"/>
                <a:gd name="connsiteY319" fmla="*/ 4779 h 10000"/>
                <a:gd name="connsiteX320" fmla="*/ 7610 w 10000"/>
                <a:gd name="connsiteY320" fmla="*/ 5005 h 10000"/>
                <a:gd name="connsiteX321" fmla="*/ 7550 w 10000"/>
                <a:gd name="connsiteY321" fmla="*/ 5666 h 10000"/>
                <a:gd name="connsiteX322" fmla="*/ 7496 w 10000"/>
                <a:gd name="connsiteY322" fmla="*/ 5965 h 10000"/>
                <a:gd name="connsiteX323" fmla="*/ 7701 w 10000"/>
                <a:gd name="connsiteY323" fmla="*/ 6161 h 10000"/>
                <a:gd name="connsiteX324" fmla="*/ 7745 w 10000"/>
                <a:gd name="connsiteY324" fmla="*/ 6243 h 10000"/>
                <a:gd name="connsiteX325" fmla="*/ 7771 w 10000"/>
                <a:gd name="connsiteY325" fmla="*/ 6285 h 10000"/>
                <a:gd name="connsiteX326" fmla="*/ 7793 w 10000"/>
                <a:gd name="connsiteY326" fmla="*/ 6068 h 10000"/>
                <a:gd name="connsiteX327" fmla="*/ 7912 w 10000"/>
                <a:gd name="connsiteY327" fmla="*/ 6089 h 10000"/>
                <a:gd name="connsiteX328" fmla="*/ 8004 w 10000"/>
                <a:gd name="connsiteY328" fmla="*/ 6367 h 10000"/>
                <a:gd name="connsiteX329" fmla="*/ 8064 w 10000"/>
                <a:gd name="connsiteY329" fmla="*/ 6616 h 10000"/>
                <a:gd name="connsiteX330" fmla="*/ 8111 w 10000"/>
                <a:gd name="connsiteY330" fmla="*/ 6781 h 10000"/>
                <a:gd name="connsiteX331" fmla="*/ 8048 w 10000"/>
                <a:gd name="connsiteY331" fmla="*/ 6491 h 10000"/>
                <a:gd name="connsiteX332" fmla="*/ 8124 w 10000"/>
                <a:gd name="connsiteY332" fmla="*/ 6336 h 10000"/>
                <a:gd name="connsiteX333" fmla="*/ 8177 w 10000"/>
                <a:gd name="connsiteY333" fmla="*/ 6512 h 10000"/>
                <a:gd name="connsiteX334" fmla="*/ 8300 w 10000"/>
                <a:gd name="connsiteY334" fmla="*/ 6987 h 10000"/>
                <a:gd name="connsiteX335" fmla="*/ 8361 w 10000"/>
                <a:gd name="connsiteY335" fmla="*/ 7152 h 10000"/>
                <a:gd name="connsiteX336" fmla="*/ 8490 w 10000"/>
                <a:gd name="connsiteY336" fmla="*/ 7482 h 10000"/>
                <a:gd name="connsiteX337" fmla="*/ 8604 w 10000"/>
                <a:gd name="connsiteY337" fmla="*/ 7854 h 10000"/>
                <a:gd name="connsiteX338" fmla="*/ 8474 w 10000"/>
                <a:gd name="connsiteY338" fmla="*/ 7647 h 10000"/>
                <a:gd name="connsiteX339" fmla="*/ 8443 w 10000"/>
                <a:gd name="connsiteY339" fmla="*/ 7678 h 10000"/>
                <a:gd name="connsiteX340" fmla="*/ 8512 w 10000"/>
                <a:gd name="connsiteY340" fmla="*/ 8050 h 10000"/>
                <a:gd name="connsiteX341" fmla="*/ 8588 w 10000"/>
                <a:gd name="connsiteY341" fmla="*/ 8266 h 10000"/>
                <a:gd name="connsiteX342" fmla="*/ 8642 w 10000"/>
                <a:gd name="connsiteY342" fmla="*/ 8472 h 10000"/>
                <a:gd name="connsiteX343" fmla="*/ 8566 w 10000"/>
                <a:gd name="connsiteY343" fmla="*/ 8421 h 10000"/>
                <a:gd name="connsiteX344" fmla="*/ 8556 w 10000"/>
                <a:gd name="connsiteY344" fmla="*/ 8669 h 10000"/>
                <a:gd name="connsiteX345" fmla="*/ 8497 w 10000"/>
                <a:gd name="connsiteY345" fmla="*/ 8493 h 10000"/>
                <a:gd name="connsiteX346" fmla="*/ 8481 w 10000"/>
                <a:gd name="connsiteY346" fmla="*/ 8421 h 10000"/>
                <a:gd name="connsiteX347" fmla="*/ 8361 w 10000"/>
                <a:gd name="connsiteY347" fmla="*/ 7751 h 10000"/>
                <a:gd name="connsiteX348" fmla="*/ 8322 w 10000"/>
                <a:gd name="connsiteY348" fmla="*/ 7524 h 10000"/>
                <a:gd name="connsiteX349" fmla="*/ 8291 w 10000"/>
                <a:gd name="connsiteY349" fmla="*/ 7378 h 10000"/>
                <a:gd name="connsiteX350" fmla="*/ 8275 w 10000"/>
                <a:gd name="connsiteY350" fmla="*/ 7306 h 10000"/>
                <a:gd name="connsiteX351" fmla="*/ 8139 w 10000"/>
                <a:gd name="connsiteY351" fmla="*/ 6863 h 10000"/>
                <a:gd name="connsiteX352" fmla="*/ 8199 w 10000"/>
                <a:gd name="connsiteY352" fmla="*/ 7451 h 10000"/>
                <a:gd name="connsiteX353" fmla="*/ 8247 w 10000"/>
                <a:gd name="connsiteY353" fmla="*/ 7998 h 10000"/>
                <a:gd name="connsiteX354" fmla="*/ 8177 w 10000"/>
                <a:gd name="connsiteY354" fmla="*/ 9133 h 10000"/>
                <a:gd name="connsiteX355" fmla="*/ 8124 w 10000"/>
                <a:gd name="connsiteY355" fmla="*/ 9484 h 10000"/>
                <a:gd name="connsiteX356" fmla="*/ 7972 w 10000"/>
                <a:gd name="connsiteY356" fmla="*/ 9432 h 10000"/>
                <a:gd name="connsiteX357" fmla="*/ 7897 w 10000"/>
                <a:gd name="connsiteY357" fmla="*/ 9660 h 10000"/>
                <a:gd name="connsiteX358" fmla="*/ 7868 w 10000"/>
                <a:gd name="connsiteY358" fmla="*/ 9588 h 10000"/>
                <a:gd name="connsiteX359" fmla="*/ 7884 w 10000"/>
                <a:gd name="connsiteY359" fmla="*/ 9536 h 10000"/>
                <a:gd name="connsiteX360" fmla="*/ 7897 w 10000"/>
                <a:gd name="connsiteY360" fmla="*/ 9380 h 10000"/>
                <a:gd name="connsiteX361" fmla="*/ 7884 w 10000"/>
                <a:gd name="connsiteY361" fmla="*/ 9236 h 10000"/>
                <a:gd name="connsiteX362" fmla="*/ 7793 w 10000"/>
                <a:gd name="connsiteY362" fmla="*/ 8865 h 10000"/>
                <a:gd name="connsiteX363" fmla="*/ 7831 w 10000"/>
                <a:gd name="connsiteY363" fmla="*/ 8741 h 10000"/>
                <a:gd name="connsiteX364" fmla="*/ 7928 w 10000"/>
                <a:gd name="connsiteY364" fmla="*/ 8844 h 10000"/>
                <a:gd name="connsiteX365" fmla="*/ 7912 w 10000"/>
                <a:gd name="connsiteY365" fmla="*/ 8318 h 10000"/>
                <a:gd name="connsiteX366" fmla="*/ 7906 w 10000"/>
                <a:gd name="connsiteY366" fmla="*/ 8019 h 10000"/>
                <a:gd name="connsiteX367" fmla="*/ 7846 w 10000"/>
                <a:gd name="connsiteY367" fmla="*/ 7802 h 10000"/>
                <a:gd name="connsiteX368" fmla="*/ 7723 w 10000"/>
                <a:gd name="connsiteY368" fmla="*/ 8050 h 10000"/>
                <a:gd name="connsiteX369" fmla="*/ 7619 w 10000"/>
                <a:gd name="connsiteY369" fmla="*/ 8019 h 10000"/>
                <a:gd name="connsiteX370" fmla="*/ 7528 w 10000"/>
                <a:gd name="connsiteY370" fmla="*/ 7699 h 10000"/>
                <a:gd name="connsiteX371" fmla="*/ 7355 w 10000"/>
                <a:gd name="connsiteY371" fmla="*/ 7482 h 10000"/>
                <a:gd name="connsiteX372" fmla="*/ 7279 w 10000"/>
                <a:gd name="connsiteY372" fmla="*/ 7482 h 10000"/>
                <a:gd name="connsiteX373" fmla="*/ 7080 w 10000"/>
                <a:gd name="connsiteY373" fmla="*/ 6781 h 10000"/>
                <a:gd name="connsiteX374" fmla="*/ 6901 w 10000"/>
                <a:gd name="connsiteY374" fmla="*/ 6460 h 10000"/>
                <a:gd name="connsiteX375" fmla="*/ 6724 w 10000"/>
                <a:gd name="connsiteY375" fmla="*/ 6336 h 10000"/>
                <a:gd name="connsiteX376" fmla="*/ 6583 w 10000"/>
                <a:gd name="connsiteY376" fmla="*/ 6408 h 10000"/>
                <a:gd name="connsiteX377" fmla="*/ 6567 w 10000"/>
                <a:gd name="connsiteY377" fmla="*/ 6585 h 10000"/>
                <a:gd name="connsiteX378" fmla="*/ 6664 w 10000"/>
                <a:gd name="connsiteY378" fmla="*/ 6760 h 10000"/>
                <a:gd name="connsiteX379" fmla="*/ 6636 w 10000"/>
                <a:gd name="connsiteY379" fmla="*/ 6935 h 10000"/>
                <a:gd name="connsiteX380" fmla="*/ 6636 w 10000"/>
                <a:gd name="connsiteY380" fmla="*/ 7399 h 10000"/>
                <a:gd name="connsiteX381" fmla="*/ 6560 w 10000"/>
                <a:gd name="connsiteY381" fmla="*/ 7482 h 10000"/>
                <a:gd name="connsiteX382" fmla="*/ 6485 w 10000"/>
                <a:gd name="connsiteY382" fmla="*/ 7378 h 10000"/>
                <a:gd name="connsiteX383" fmla="*/ 6400 w 10000"/>
                <a:gd name="connsiteY383" fmla="*/ 7399 h 10000"/>
                <a:gd name="connsiteX384" fmla="*/ 6334 w 10000"/>
                <a:gd name="connsiteY384" fmla="*/ 7275 h 10000"/>
                <a:gd name="connsiteX385" fmla="*/ 6258 w 10000"/>
                <a:gd name="connsiteY385" fmla="*/ 7358 h 10000"/>
                <a:gd name="connsiteX386" fmla="*/ 6220 w 10000"/>
                <a:gd name="connsiteY386" fmla="*/ 7524 h 10000"/>
                <a:gd name="connsiteX387" fmla="*/ 6081 w 10000"/>
                <a:gd name="connsiteY387" fmla="*/ 7606 h 10000"/>
                <a:gd name="connsiteX388" fmla="*/ 5892 w 10000"/>
                <a:gd name="connsiteY388" fmla="*/ 7575 h 10000"/>
                <a:gd name="connsiteX389" fmla="*/ 5855 w 10000"/>
                <a:gd name="connsiteY389" fmla="*/ 7327 h 10000"/>
                <a:gd name="connsiteX390" fmla="*/ 5643 w 10000"/>
                <a:gd name="connsiteY390" fmla="*/ 7255 h 10000"/>
                <a:gd name="connsiteX391" fmla="*/ 5539 w 10000"/>
                <a:gd name="connsiteY391" fmla="*/ 7358 h 10000"/>
                <a:gd name="connsiteX392" fmla="*/ 5416 w 10000"/>
                <a:gd name="connsiteY392" fmla="*/ 7203 h 10000"/>
                <a:gd name="connsiteX393" fmla="*/ 5372 w 10000"/>
                <a:gd name="connsiteY393"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2384 w 10000"/>
                <a:gd name="connsiteY26" fmla="*/ 7183 h 10000"/>
                <a:gd name="connsiteX27" fmla="*/ 2308 w 10000"/>
                <a:gd name="connsiteY27" fmla="*/ 7028 h 10000"/>
                <a:gd name="connsiteX28" fmla="*/ 2147 w 10000"/>
                <a:gd name="connsiteY28" fmla="*/ 7131 h 10000"/>
                <a:gd name="connsiteX29" fmla="*/ 2109 w 10000"/>
                <a:gd name="connsiteY29" fmla="*/ 7203 h 10000"/>
                <a:gd name="connsiteX30" fmla="*/ 1610 w 10000"/>
                <a:gd name="connsiteY30" fmla="*/ 7183 h 10000"/>
                <a:gd name="connsiteX31" fmla="*/ 1655 w 10000"/>
                <a:gd name="connsiteY31" fmla="*/ 7430 h 10000"/>
                <a:gd name="connsiteX32" fmla="*/ 1604 w 10000"/>
                <a:gd name="connsiteY32" fmla="*/ 7430 h 10000"/>
                <a:gd name="connsiteX33" fmla="*/ 1551 w 10000"/>
                <a:gd name="connsiteY33" fmla="*/ 7255 h 10000"/>
                <a:gd name="connsiteX34" fmla="*/ 1513 w 10000"/>
                <a:gd name="connsiteY34" fmla="*/ 7430 h 10000"/>
                <a:gd name="connsiteX35" fmla="*/ 1519 w 10000"/>
                <a:gd name="connsiteY35" fmla="*/ 7854 h 10000"/>
                <a:gd name="connsiteX36" fmla="*/ 1604 w 10000"/>
                <a:gd name="connsiteY36" fmla="*/ 8070 h 10000"/>
                <a:gd name="connsiteX37" fmla="*/ 1648 w 10000"/>
                <a:gd name="connsiteY37" fmla="*/ 8019 h 10000"/>
                <a:gd name="connsiteX38" fmla="*/ 1741 w 10000"/>
                <a:gd name="connsiteY38" fmla="*/ 8493 h 10000"/>
                <a:gd name="connsiteX39" fmla="*/ 1610 w 10000"/>
                <a:gd name="connsiteY39" fmla="*/ 8669 h 10000"/>
                <a:gd name="connsiteX40" fmla="*/ 1595 w 10000"/>
                <a:gd name="connsiteY40" fmla="*/ 9009 h 10000"/>
                <a:gd name="connsiteX41" fmla="*/ 1664 w 10000"/>
                <a:gd name="connsiteY41" fmla="*/ 9236 h 10000"/>
                <a:gd name="connsiteX42" fmla="*/ 1664 w 10000"/>
                <a:gd name="connsiteY42" fmla="*/ 9484 h 10000"/>
                <a:gd name="connsiteX43" fmla="*/ 1769 w 10000"/>
                <a:gd name="connsiteY43" fmla="*/ 9835 h 10000"/>
                <a:gd name="connsiteX44" fmla="*/ 1703 w 10000"/>
                <a:gd name="connsiteY44" fmla="*/ 10000 h 10000"/>
                <a:gd name="connsiteX45" fmla="*/ 1604 w 10000"/>
                <a:gd name="connsiteY45" fmla="*/ 9753 h 10000"/>
                <a:gd name="connsiteX46" fmla="*/ 1465 w 10000"/>
                <a:gd name="connsiteY46" fmla="*/ 9505 h 10000"/>
                <a:gd name="connsiteX47" fmla="*/ 1406 w 10000"/>
                <a:gd name="connsiteY47" fmla="*/ 9588 h 10000"/>
                <a:gd name="connsiteX48" fmla="*/ 1308 w 10000"/>
                <a:gd name="connsiteY48" fmla="*/ 9380 h 10000"/>
                <a:gd name="connsiteX49" fmla="*/ 1097 w 10000"/>
                <a:gd name="connsiteY49" fmla="*/ 9339 h 10000"/>
                <a:gd name="connsiteX50" fmla="*/ 848 w 10000"/>
                <a:gd name="connsiteY50" fmla="*/ 8813 h 10000"/>
                <a:gd name="connsiteX51" fmla="*/ 914 w 10000"/>
                <a:gd name="connsiteY51" fmla="*/ 8721 h 10000"/>
                <a:gd name="connsiteX52" fmla="*/ 961 w 10000"/>
                <a:gd name="connsiteY52" fmla="*/ 8493 h 10000"/>
                <a:gd name="connsiteX53" fmla="*/ 908 w 10000"/>
                <a:gd name="connsiteY53" fmla="*/ 8390 h 10000"/>
                <a:gd name="connsiteX54" fmla="*/ 1021 w 10000"/>
                <a:gd name="connsiteY54" fmla="*/ 8245 h 10000"/>
                <a:gd name="connsiteX55" fmla="*/ 945 w 10000"/>
                <a:gd name="connsiteY55" fmla="*/ 8194 h 10000"/>
                <a:gd name="connsiteX56" fmla="*/ 958 w 10000"/>
                <a:gd name="connsiteY56" fmla="*/ 8091 h 10000"/>
                <a:gd name="connsiteX57" fmla="*/ 1005 w 10000"/>
                <a:gd name="connsiteY57" fmla="*/ 8111 h 10000"/>
                <a:gd name="connsiteX58" fmla="*/ 1059 w 10000"/>
                <a:gd name="connsiteY58" fmla="*/ 8019 h 10000"/>
                <a:gd name="connsiteX59" fmla="*/ 1034 w 10000"/>
                <a:gd name="connsiteY59" fmla="*/ 7864 h 10000"/>
                <a:gd name="connsiteX60" fmla="*/ 1043 w 10000"/>
                <a:gd name="connsiteY60" fmla="*/ 7503 h 10000"/>
                <a:gd name="connsiteX61" fmla="*/ 930 w 10000"/>
                <a:gd name="connsiteY61" fmla="*/ 7440 h 10000"/>
                <a:gd name="connsiteX62" fmla="*/ 832 w 10000"/>
                <a:gd name="connsiteY62" fmla="*/ 7286 h 10000"/>
                <a:gd name="connsiteX63" fmla="*/ 700 w 10000"/>
                <a:gd name="connsiteY63" fmla="*/ 7275 h 10000"/>
                <a:gd name="connsiteX64" fmla="*/ 684 w 10000"/>
                <a:gd name="connsiteY64" fmla="*/ 7090 h 10000"/>
                <a:gd name="connsiteX65" fmla="*/ 596 w 10000"/>
                <a:gd name="connsiteY65" fmla="*/ 6945 h 10000"/>
                <a:gd name="connsiteX66" fmla="*/ 615 w 10000"/>
                <a:gd name="connsiteY66" fmla="*/ 6822 h 10000"/>
                <a:gd name="connsiteX67" fmla="*/ 561 w 10000"/>
                <a:gd name="connsiteY67" fmla="*/ 6698 h 10000"/>
                <a:gd name="connsiteX68" fmla="*/ 457 w 10000"/>
                <a:gd name="connsiteY68" fmla="*/ 6698 h 10000"/>
                <a:gd name="connsiteX69" fmla="*/ 425 w 10000"/>
                <a:gd name="connsiteY69" fmla="*/ 6791 h 10000"/>
                <a:gd name="connsiteX70" fmla="*/ 400 w 10000"/>
                <a:gd name="connsiteY70" fmla="*/ 6750 h 10000"/>
                <a:gd name="connsiteX71" fmla="*/ 378 w 10000"/>
                <a:gd name="connsiteY71" fmla="*/ 6439 h 10000"/>
                <a:gd name="connsiteX72" fmla="*/ 419 w 10000"/>
                <a:gd name="connsiteY72" fmla="*/ 6470 h 10000"/>
                <a:gd name="connsiteX73" fmla="*/ 466 w 10000"/>
                <a:gd name="connsiteY73" fmla="*/ 6347 h 10000"/>
                <a:gd name="connsiteX74" fmla="*/ 400 w 10000"/>
                <a:gd name="connsiteY74" fmla="*/ 6233 h 10000"/>
                <a:gd name="connsiteX75" fmla="*/ 315 w 10000"/>
                <a:gd name="connsiteY75" fmla="*/ 6017 h 10000"/>
                <a:gd name="connsiteX76" fmla="*/ 334 w 10000"/>
                <a:gd name="connsiteY76" fmla="*/ 5821 h 10000"/>
                <a:gd name="connsiteX77" fmla="*/ 274 w 10000"/>
                <a:gd name="connsiteY77" fmla="*/ 5697 h 10000"/>
                <a:gd name="connsiteX78" fmla="*/ 227 w 10000"/>
                <a:gd name="connsiteY78" fmla="*/ 5728 h 10000"/>
                <a:gd name="connsiteX79" fmla="*/ 202 w 10000"/>
                <a:gd name="connsiteY79" fmla="*/ 5604 h 10000"/>
                <a:gd name="connsiteX80" fmla="*/ 164 w 10000"/>
                <a:gd name="connsiteY80" fmla="*/ 5645 h 10000"/>
                <a:gd name="connsiteX81" fmla="*/ 117 w 10000"/>
                <a:gd name="connsiteY81" fmla="*/ 5604 h 10000"/>
                <a:gd name="connsiteX82" fmla="*/ 69 w 10000"/>
                <a:gd name="connsiteY82" fmla="*/ 5181 h 10000"/>
                <a:gd name="connsiteX83" fmla="*/ 85 w 10000"/>
                <a:gd name="connsiteY83" fmla="*/ 5057 h 10000"/>
                <a:gd name="connsiteX84" fmla="*/ 41 w 10000"/>
                <a:gd name="connsiteY84" fmla="*/ 4892 h 10000"/>
                <a:gd name="connsiteX85" fmla="*/ 66 w 10000"/>
                <a:gd name="connsiteY85" fmla="*/ 4655 h 10000"/>
                <a:gd name="connsiteX86" fmla="*/ 211 w 10000"/>
                <a:gd name="connsiteY86" fmla="*/ 4510 h 10000"/>
                <a:gd name="connsiteX87" fmla="*/ 129 w 10000"/>
                <a:gd name="connsiteY87" fmla="*/ 4406 h 10000"/>
                <a:gd name="connsiteX88" fmla="*/ 82 w 10000"/>
                <a:gd name="connsiteY88" fmla="*/ 4283 h 10000"/>
                <a:gd name="connsiteX89" fmla="*/ 205 w 10000"/>
                <a:gd name="connsiteY89" fmla="*/ 3912 h 10000"/>
                <a:gd name="connsiteX90" fmla="*/ 249 w 10000"/>
                <a:gd name="connsiteY90" fmla="*/ 3664 h 10000"/>
                <a:gd name="connsiteX91" fmla="*/ 151 w 10000"/>
                <a:gd name="connsiteY91" fmla="*/ 3488 h 10000"/>
                <a:gd name="connsiteX92" fmla="*/ 189 w 10000"/>
                <a:gd name="connsiteY92" fmla="*/ 3344 h 10000"/>
                <a:gd name="connsiteX93" fmla="*/ 113 w 10000"/>
                <a:gd name="connsiteY93" fmla="*/ 3148 h 10000"/>
                <a:gd name="connsiteX94" fmla="*/ 113 w 10000"/>
                <a:gd name="connsiteY94" fmla="*/ 2972 h 10000"/>
                <a:gd name="connsiteX95" fmla="*/ 60 w 10000"/>
                <a:gd name="connsiteY95" fmla="*/ 2622 h 10000"/>
                <a:gd name="connsiteX96" fmla="*/ 98 w 10000"/>
                <a:gd name="connsiteY96" fmla="*/ 2404 h 10000"/>
                <a:gd name="connsiteX97" fmla="*/ 38 w 10000"/>
                <a:gd name="connsiteY97" fmla="*/ 2301 h 10000"/>
                <a:gd name="connsiteX98" fmla="*/ 0 w 10000"/>
                <a:gd name="connsiteY98" fmla="*/ 2178 h 10000"/>
                <a:gd name="connsiteX99" fmla="*/ 54 w 10000"/>
                <a:gd name="connsiteY99" fmla="*/ 1951 h 10000"/>
                <a:gd name="connsiteX100" fmla="*/ 120 w 10000"/>
                <a:gd name="connsiteY100" fmla="*/ 1910 h 10000"/>
                <a:gd name="connsiteX101" fmla="*/ 195 w 10000"/>
                <a:gd name="connsiteY101" fmla="*/ 1858 h 10000"/>
                <a:gd name="connsiteX102" fmla="*/ 309 w 10000"/>
                <a:gd name="connsiteY102" fmla="*/ 1951 h 10000"/>
                <a:gd name="connsiteX103" fmla="*/ 482 w 10000"/>
                <a:gd name="connsiteY103" fmla="*/ 2054 h 10000"/>
                <a:gd name="connsiteX104" fmla="*/ 633 w 10000"/>
                <a:gd name="connsiteY104" fmla="*/ 2229 h 10000"/>
                <a:gd name="connsiteX105" fmla="*/ 756 w 10000"/>
                <a:gd name="connsiteY105" fmla="*/ 2373 h 10000"/>
                <a:gd name="connsiteX106" fmla="*/ 725 w 10000"/>
                <a:gd name="connsiteY106" fmla="*/ 2777 h 10000"/>
                <a:gd name="connsiteX107" fmla="*/ 362 w 10000"/>
                <a:gd name="connsiteY107" fmla="*/ 2673 h 10000"/>
                <a:gd name="connsiteX108" fmla="*/ 243 w 10000"/>
                <a:gd name="connsiteY108" fmla="*/ 2550 h 10000"/>
                <a:gd name="connsiteX109" fmla="*/ 287 w 10000"/>
                <a:gd name="connsiteY109" fmla="*/ 2622 h 10000"/>
                <a:gd name="connsiteX110" fmla="*/ 331 w 10000"/>
                <a:gd name="connsiteY110" fmla="*/ 2797 h 10000"/>
                <a:gd name="connsiteX111" fmla="*/ 400 w 10000"/>
                <a:gd name="connsiteY111" fmla="*/ 2921 h 10000"/>
                <a:gd name="connsiteX112" fmla="*/ 416 w 10000"/>
                <a:gd name="connsiteY112" fmla="*/ 3189 h 10000"/>
                <a:gd name="connsiteX113" fmla="*/ 507 w 10000"/>
                <a:gd name="connsiteY113" fmla="*/ 3313 h 10000"/>
                <a:gd name="connsiteX114" fmla="*/ 583 w 10000"/>
                <a:gd name="connsiteY114" fmla="*/ 3436 h 10000"/>
                <a:gd name="connsiteX115" fmla="*/ 605 w 10000"/>
                <a:gd name="connsiteY115" fmla="*/ 3467 h 10000"/>
                <a:gd name="connsiteX116" fmla="*/ 649 w 10000"/>
                <a:gd name="connsiteY116" fmla="*/ 3436 h 10000"/>
                <a:gd name="connsiteX117" fmla="*/ 633 w 10000"/>
                <a:gd name="connsiteY117" fmla="*/ 3364 h 10000"/>
                <a:gd name="connsiteX118" fmla="*/ 545 w 10000"/>
                <a:gd name="connsiteY118" fmla="*/ 3189 h 10000"/>
                <a:gd name="connsiteX119" fmla="*/ 801 w 10000"/>
                <a:gd name="connsiteY119" fmla="*/ 3344 h 10000"/>
                <a:gd name="connsiteX120" fmla="*/ 810 w 10000"/>
                <a:gd name="connsiteY120" fmla="*/ 3271 h 10000"/>
                <a:gd name="connsiteX121" fmla="*/ 785 w 10000"/>
                <a:gd name="connsiteY121" fmla="*/ 3220 h 10000"/>
                <a:gd name="connsiteX122" fmla="*/ 741 w 10000"/>
                <a:gd name="connsiteY122" fmla="*/ 2993 h 10000"/>
                <a:gd name="connsiteX123" fmla="*/ 870 w 10000"/>
                <a:gd name="connsiteY123" fmla="*/ 2777 h 10000"/>
                <a:gd name="connsiteX124" fmla="*/ 968 w 10000"/>
                <a:gd name="connsiteY124" fmla="*/ 2921 h 10000"/>
                <a:gd name="connsiteX125" fmla="*/ 999 w 10000"/>
                <a:gd name="connsiteY125" fmla="*/ 2725 h 10000"/>
                <a:gd name="connsiteX126" fmla="*/ 952 w 10000"/>
                <a:gd name="connsiteY126" fmla="*/ 2653 h 10000"/>
                <a:gd name="connsiteX127" fmla="*/ 936 w 10000"/>
                <a:gd name="connsiteY127" fmla="*/ 2281 h 10000"/>
                <a:gd name="connsiteX128" fmla="*/ 914 w 10000"/>
                <a:gd name="connsiteY128" fmla="*/ 2229 h 10000"/>
                <a:gd name="connsiteX129" fmla="*/ 1037 w 10000"/>
                <a:gd name="connsiteY129" fmla="*/ 2250 h 10000"/>
                <a:gd name="connsiteX130" fmla="*/ 1087 w 10000"/>
                <a:gd name="connsiteY130" fmla="*/ 2404 h 10000"/>
                <a:gd name="connsiteX131" fmla="*/ 1021 w 10000"/>
                <a:gd name="connsiteY131" fmla="*/ 2529 h 10000"/>
                <a:gd name="connsiteX132" fmla="*/ 1135 w 10000"/>
                <a:gd name="connsiteY132" fmla="*/ 2694 h 10000"/>
                <a:gd name="connsiteX133" fmla="*/ 1226 w 10000"/>
                <a:gd name="connsiteY133" fmla="*/ 2529 h 10000"/>
                <a:gd name="connsiteX134" fmla="*/ 1339 w 10000"/>
                <a:gd name="connsiteY134" fmla="*/ 2301 h 10000"/>
                <a:gd name="connsiteX135" fmla="*/ 1459 w 10000"/>
                <a:gd name="connsiteY135" fmla="*/ 2157 h 10000"/>
                <a:gd name="connsiteX136" fmla="*/ 1497 w 10000"/>
                <a:gd name="connsiteY136" fmla="*/ 2250 h 10000"/>
                <a:gd name="connsiteX137" fmla="*/ 1807 w 10000"/>
                <a:gd name="connsiteY137" fmla="*/ 2054 h 10000"/>
                <a:gd name="connsiteX138" fmla="*/ 1870 w 10000"/>
                <a:gd name="connsiteY138" fmla="*/ 2250 h 10000"/>
                <a:gd name="connsiteX139" fmla="*/ 1860 w 10000"/>
                <a:gd name="connsiteY139" fmla="*/ 2002 h 10000"/>
                <a:gd name="connsiteX140" fmla="*/ 1778 w 10000"/>
                <a:gd name="connsiteY140" fmla="*/ 1786 h 10000"/>
                <a:gd name="connsiteX141" fmla="*/ 1763 w 10000"/>
                <a:gd name="connsiteY141" fmla="*/ 1703 h 10000"/>
                <a:gd name="connsiteX142" fmla="*/ 1823 w 10000"/>
                <a:gd name="connsiteY142" fmla="*/ 1786 h 10000"/>
                <a:gd name="connsiteX143" fmla="*/ 2034 w 10000"/>
                <a:gd name="connsiteY143" fmla="*/ 1951 h 10000"/>
                <a:gd name="connsiteX144" fmla="*/ 2270 w 10000"/>
                <a:gd name="connsiteY144" fmla="*/ 2126 h 10000"/>
                <a:gd name="connsiteX145" fmla="*/ 2384 w 10000"/>
                <a:gd name="connsiteY145" fmla="*/ 2250 h 10000"/>
                <a:gd name="connsiteX146" fmla="*/ 2421 w 10000"/>
                <a:gd name="connsiteY146" fmla="*/ 2074 h 10000"/>
                <a:gd name="connsiteX147" fmla="*/ 2368 w 10000"/>
                <a:gd name="connsiteY147" fmla="*/ 2033 h 10000"/>
                <a:gd name="connsiteX148" fmla="*/ 2299 w 10000"/>
                <a:gd name="connsiteY148" fmla="*/ 1930 h 10000"/>
                <a:gd name="connsiteX149" fmla="*/ 2254 w 10000"/>
                <a:gd name="connsiteY149" fmla="*/ 1734 h 10000"/>
                <a:gd name="connsiteX150" fmla="*/ 2185 w 10000"/>
                <a:gd name="connsiteY150" fmla="*/ 1486 h 10000"/>
                <a:gd name="connsiteX151" fmla="*/ 2210 w 10000"/>
                <a:gd name="connsiteY151" fmla="*/ 1434 h 10000"/>
                <a:gd name="connsiteX152" fmla="*/ 2232 w 10000"/>
                <a:gd name="connsiteY152" fmla="*/ 1455 h 10000"/>
                <a:gd name="connsiteX153" fmla="*/ 2292 w 10000"/>
                <a:gd name="connsiteY153" fmla="*/ 1115 h 10000"/>
                <a:gd name="connsiteX154" fmla="*/ 2443 w 10000"/>
                <a:gd name="connsiteY154" fmla="*/ 1135 h 10000"/>
                <a:gd name="connsiteX155" fmla="*/ 2488 w 10000"/>
                <a:gd name="connsiteY155" fmla="*/ 1311 h 10000"/>
                <a:gd name="connsiteX156" fmla="*/ 2519 w 10000"/>
                <a:gd name="connsiteY156" fmla="*/ 1538 h 10000"/>
                <a:gd name="connsiteX157" fmla="*/ 2573 w 10000"/>
                <a:gd name="connsiteY157" fmla="*/ 1734 h 10000"/>
                <a:gd name="connsiteX158" fmla="*/ 2670 w 10000"/>
                <a:gd name="connsiteY158" fmla="*/ 2157 h 10000"/>
                <a:gd name="connsiteX159" fmla="*/ 2481 w 10000"/>
                <a:gd name="connsiteY159" fmla="*/ 2673 h 10000"/>
                <a:gd name="connsiteX160" fmla="*/ 2557 w 10000"/>
                <a:gd name="connsiteY160" fmla="*/ 2746 h 10000"/>
                <a:gd name="connsiteX161" fmla="*/ 2655 w 10000"/>
                <a:gd name="connsiteY161" fmla="*/ 2818 h 10000"/>
                <a:gd name="connsiteX162" fmla="*/ 2784 w 10000"/>
                <a:gd name="connsiteY162" fmla="*/ 2622 h 10000"/>
                <a:gd name="connsiteX163" fmla="*/ 2790 w 10000"/>
                <a:gd name="connsiteY163" fmla="*/ 2404 h 10000"/>
                <a:gd name="connsiteX164" fmla="*/ 2746 w 10000"/>
                <a:gd name="connsiteY164" fmla="*/ 2301 h 10000"/>
                <a:gd name="connsiteX165" fmla="*/ 2919 w 10000"/>
                <a:gd name="connsiteY165" fmla="*/ 2250 h 10000"/>
                <a:gd name="connsiteX166" fmla="*/ 2989 w 10000"/>
                <a:gd name="connsiteY166" fmla="*/ 2497 h 10000"/>
                <a:gd name="connsiteX167" fmla="*/ 2989 w 10000"/>
                <a:gd name="connsiteY167" fmla="*/ 2425 h 10000"/>
                <a:gd name="connsiteX168" fmla="*/ 2973 w 10000"/>
                <a:gd name="connsiteY168" fmla="*/ 2353 h 10000"/>
                <a:gd name="connsiteX169" fmla="*/ 2967 w 10000"/>
                <a:gd name="connsiteY169" fmla="*/ 2178 h 10000"/>
                <a:gd name="connsiteX170" fmla="*/ 2800 w 10000"/>
                <a:gd name="connsiteY170" fmla="*/ 1930 h 10000"/>
                <a:gd name="connsiteX171" fmla="*/ 2670 w 10000"/>
                <a:gd name="connsiteY171" fmla="*/ 2002 h 10000"/>
                <a:gd name="connsiteX172" fmla="*/ 2617 w 10000"/>
                <a:gd name="connsiteY172" fmla="*/ 1683 h 10000"/>
                <a:gd name="connsiteX173" fmla="*/ 2563 w 10000"/>
                <a:gd name="connsiteY173" fmla="*/ 1507 h 10000"/>
                <a:gd name="connsiteX174" fmla="*/ 2617 w 10000"/>
                <a:gd name="connsiteY174" fmla="*/ 1331 h 10000"/>
                <a:gd name="connsiteX175" fmla="*/ 2611 w 10000"/>
                <a:gd name="connsiteY175" fmla="*/ 1166 h 10000"/>
                <a:gd name="connsiteX176" fmla="*/ 2588 w 10000"/>
                <a:gd name="connsiteY176" fmla="*/ 1115 h 10000"/>
                <a:gd name="connsiteX177" fmla="*/ 2626 w 10000"/>
                <a:gd name="connsiteY177" fmla="*/ 1115 h 10000"/>
                <a:gd name="connsiteX178" fmla="*/ 2670 w 10000"/>
                <a:gd name="connsiteY178" fmla="*/ 1455 h 10000"/>
                <a:gd name="connsiteX179" fmla="*/ 2891 w 10000"/>
                <a:gd name="connsiteY179" fmla="*/ 1662 h 10000"/>
                <a:gd name="connsiteX180" fmla="*/ 2724 w 10000"/>
                <a:gd name="connsiteY180" fmla="*/ 1383 h 10000"/>
                <a:gd name="connsiteX181" fmla="*/ 3049 w 10000"/>
                <a:gd name="connsiteY181" fmla="*/ 1383 h 10000"/>
                <a:gd name="connsiteX182" fmla="*/ 3102 w 10000"/>
                <a:gd name="connsiteY182" fmla="*/ 1362 h 10000"/>
                <a:gd name="connsiteX183" fmla="*/ 2897 w 10000"/>
                <a:gd name="connsiteY183" fmla="*/ 1115 h 10000"/>
                <a:gd name="connsiteX184" fmla="*/ 2951 w 10000"/>
                <a:gd name="connsiteY184" fmla="*/ 888 h 10000"/>
                <a:gd name="connsiteX185" fmla="*/ 3178 w 10000"/>
                <a:gd name="connsiteY185" fmla="*/ 888 h 10000"/>
                <a:gd name="connsiteX186" fmla="*/ 3156 w 10000"/>
                <a:gd name="connsiteY186" fmla="*/ 713 h 10000"/>
                <a:gd name="connsiteX187" fmla="*/ 3231 w 10000"/>
                <a:gd name="connsiteY187" fmla="*/ 589 h 10000"/>
                <a:gd name="connsiteX188" fmla="*/ 3276 w 10000"/>
                <a:gd name="connsiteY188" fmla="*/ 548 h 10000"/>
                <a:gd name="connsiteX189" fmla="*/ 3443 w 10000"/>
                <a:gd name="connsiteY189" fmla="*/ 423 h 10000"/>
                <a:gd name="connsiteX190" fmla="*/ 3487 w 10000"/>
                <a:gd name="connsiteY190" fmla="*/ 371 h 10000"/>
                <a:gd name="connsiteX191" fmla="*/ 3480 w 10000"/>
                <a:gd name="connsiteY191" fmla="*/ 444 h 10000"/>
                <a:gd name="connsiteX192" fmla="*/ 3660 w 10000"/>
                <a:gd name="connsiteY192" fmla="*/ 371 h 10000"/>
                <a:gd name="connsiteX193" fmla="*/ 3805 w 10000"/>
                <a:gd name="connsiteY193" fmla="*/ 248 h 10000"/>
                <a:gd name="connsiteX194" fmla="*/ 3827 w 10000"/>
                <a:gd name="connsiteY194" fmla="*/ 0 h 10000"/>
                <a:gd name="connsiteX195" fmla="*/ 3988 w 10000"/>
                <a:gd name="connsiteY195" fmla="*/ 21 h 10000"/>
                <a:gd name="connsiteX196" fmla="*/ 3978 w 10000"/>
                <a:gd name="connsiteY196" fmla="*/ 93 h 10000"/>
                <a:gd name="connsiteX197" fmla="*/ 3988 w 10000"/>
                <a:gd name="connsiteY197" fmla="*/ 176 h 10000"/>
                <a:gd name="connsiteX198" fmla="*/ 4085 w 10000"/>
                <a:gd name="connsiteY198" fmla="*/ 248 h 10000"/>
                <a:gd name="connsiteX199" fmla="*/ 4379 w 10000"/>
                <a:gd name="connsiteY199" fmla="*/ 268 h 10000"/>
                <a:gd name="connsiteX200" fmla="*/ 4539 w 10000"/>
                <a:gd name="connsiteY200" fmla="*/ 392 h 10000"/>
                <a:gd name="connsiteX201" fmla="*/ 4486 w 10000"/>
                <a:gd name="connsiteY201" fmla="*/ 795 h 10000"/>
                <a:gd name="connsiteX202" fmla="*/ 4426 w 10000"/>
                <a:gd name="connsiteY202" fmla="*/ 919 h 10000"/>
                <a:gd name="connsiteX203" fmla="*/ 4356 w 10000"/>
                <a:gd name="connsiteY203" fmla="*/ 1043 h 10000"/>
                <a:gd name="connsiteX204" fmla="*/ 4372 w 10000"/>
                <a:gd name="connsiteY204" fmla="*/ 1115 h 10000"/>
                <a:gd name="connsiteX205" fmla="*/ 4583 w 10000"/>
                <a:gd name="connsiteY205" fmla="*/ 919 h 10000"/>
                <a:gd name="connsiteX206" fmla="*/ 5060 w 10000"/>
                <a:gd name="connsiteY206" fmla="*/ 991 h 10000"/>
                <a:gd name="connsiteX207" fmla="*/ 5108 w 10000"/>
                <a:gd name="connsiteY207" fmla="*/ 1063 h 10000"/>
                <a:gd name="connsiteX208" fmla="*/ 5212 w 10000"/>
                <a:gd name="connsiteY208" fmla="*/ 1187 h 10000"/>
                <a:gd name="connsiteX209" fmla="*/ 5357 w 10000"/>
                <a:gd name="connsiteY209" fmla="*/ 919 h 10000"/>
                <a:gd name="connsiteX210" fmla="*/ 5577 w 10000"/>
                <a:gd name="connsiteY210" fmla="*/ 1063 h 10000"/>
                <a:gd name="connsiteX211" fmla="*/ 5643 w 10000"/>
                <a:gd name="connsiteY211" fmla="*/ 1115 h 10000"/>
                <a:gd name="connsiteX212" fmla="*/ 5697 w 10000"/>
                <a:gd name="connsiteY212" fmla="*/ 1166 h 10000"/>
                <a:gd name="connsiteX213" fmla="*/ 5908 w 10000"/>
                <a:gd name="connsiteY213" fmla="*/ 1631 h 10000"/>
                <a:gd name="connsiteX214" fmla="*/ 5984 w 10000"/>
                <a:gd name="connsiteY214" fmla="*/ 1611 h 10000"/>
                <a:gd name="connsiteX215" fmla="*/ 5977 w 10000"/>
                <a:gd name="connsiteY215" fmla="*/ 1507 h 10000"/>
                <a:gd name="connsiteX216" fmla="*/ 5984 w 10000"/>
                <a:gd name="connsiteY216" fmla="*/ 1383 h 10000"/>
                <a:gd name="connsiteX217" fmla="*/ 6091 w 10000"/>
                <a:gd name="connsiteY217" fmla="*/ 1486 h 10000"/>
                <a:gd name="connsiteX218" fmla="*/ 6264 w 10000"/>
                <a:gd name="connsiteY218" fmla="*/ 1507 h 10000"/>
                <a:gd name="connsiteX219" fmla="*/ 6409 w 10000"/>
                <a:gd name="connsiteY219" fmla="*/ 1455 h 10000"/>
                <a:gd name="connsiteX220" fmla="*/ 6340 w 10000"/>
                <a:gd name="connsiteY220" fmla="*/ 1362 h 10000"/>
                <a:gd name="connsiteX221" fmla="*/ 6431 w 10000"/>
                <a:gd name="connsiteY221" fmla="*/ 1084 h 10000"/>
                <a:gd name="connsiteX222" fmla="*/ 6687 w 10000"/>
                <a:gd name="connsiteY222" fmla="*/ 1207 h 10000"/>
                <a:gd name="connsiteX223" fmla="*/ 6945 w 10000"/>
                <a:gd name="connsiteY223" fmla="*/ 1331 h 10000"/>
                <a:gd name="connsiteX224" fmla="*/ 6967 w 10000"/>
                <a:gd name="connsiteY224" fmla="*/ 1362 h 10000"/>
                <a:gd name="connsiteX225" fmla="*/ 7194 w 10000"/>
                <a:gd name="connsiteY225" fmla="*/ 1611 h 10000"/>
                <a:gd name="connsiteX226" fmla="*/ 7367 w 10000"/>
                <a:gd name="connsiteY226" fmla="*/ 1507 h 10000"/>
                <a:gd name="connsiteX227" fmla="*/ 7582 w 10000"/>
                <a:gd name="connsiteY227" fmla="*/ 1538 h 10000"/>
                <a:gd name="connsiteX228" fmla="*/ 7657 w 10000"/>
                <a:gd name="connsiteY228" fmla="*/ 1611 h 10000"/>
                <a:gd name="connsiteX229" fmla="*/ 7928 w 10000"/>
                <a:gd name="connsiteY229" fmla="*/ 1930 h 10000"/>
                <a:gd name="connsiteX230" fmla="*/ 8231 w 10000"/>
                <a:gd name="connsiteY230" fmla="*/ 1879 h 10000"/>
                <a:gd name="connsiteX231" fmla="*/ 8339 w 10000"/>
                <a:gd name="connsiteY231" fmla="*/ 2033 h 10000"/>
                <a:gd name="connsiteX232" fmla="*/ 8490 w 10000"/>
                <a:gd name="connsiteY232" fmla="*/ 2157 h 10000"/>
                <a:gd name="connsiteX233" fmla="*/ 8519 w 10000"/>
                <a:gd name="connsiteY233" fmla="*/ 2105 h 10000"/>
                <a:gd name="connsiteX234" fmla="*/ 8497 w 10000"/>
                <a:gd name="connsiteY234" fmla="*/ 2074 h 10000"/>
                <a:gd name="connsiteX235" fmla="*/ 8383 w 10000"/>
                <a:gd name="connsiteY235" fmla="*/ 1930 h 10000"/>
                <a:gd name="connsiteX236" fmla="*/ 8465 w 10000"/>
                <a:gd name="connsiteY236" fmla="*/ 1755 h 10000"/>
                <a:gd name="connsiteX237" fmla="*/ 8664 w 10000"/>
                <a:gd name="connsiteY237" fmla="*/ 1910 h 10000"/>
                <a:gd name="connsiteX238" fmla="*/ 8950 w 10000"/>
                <a:gd name="connsiteY238" fmla="*/ 1982 h 10000"/>
                <a:gd name="connsiteX239" fmla="*/ 9206 w 10000"/>
                <a:gd name="connsiteY239" fmla="*/ 2260 h 10000"/>
                <a:gd name="connsiteX240" fmla="*/ 9344 w 10000"/>
                <a:gd name="connsiteY240" fmla="*/ 2332 h 10000"/>
                <a:gd name="connsiteX241" fmla="*/ 9451 w 10000"/>
                <a:gd name="connsiteY241" fmla="*/ 2446 h 10000"/>
                <a:gd name="connsiteX242" fmla="*/ 9574 w 10000"/>
                <a:gd name="connsiteY242" fmla="*/ 2632 h 10000"/>
                <a:gd name="connsiteX243" fmla="*/ 9631 w 10000"/>
                <a:gd name="connsiteY243" fmla="*/ 2756 h 10000"/>
                <a:gd name="connsiteX244" fmla="*/ 9726 w 10000"/>
                <a:gd name="connsiteY244" fmla="*/ 2787 h 10000"/>
                <a:gd name="connsiteX245" fmla="*/ 9590 w 10000"/>
                <a:gd name="connsiteY245" fmla="*/ 2570 h 10000"/>
                <a:gd name="connsiteX246" fmla="*/ 9915 w 10000"/>
                <a:gd name="connsiteY246" fmla="*/ 2756 h 10000"/>
                <a:gd name="connsiteX247" fmla="*/ 10000 w 10000"/>
                <a:gd name="connsiteY247" fmla="*/ 3014 h 10000"/>
                <a:gd name="connsiteX248" fmla="*/ 9934 w 10000"/>
                <a:gd name="connsiteY248" fmla="*/ 2941 h 10000"/>
                <a:gd name="connsiteX249" fmla="*/ 9874 w 10000"/>
                <a:gd name="connsiteY249" fmla="*/ 2952 h 10000"/>
                <a:gd name="connsiteX250" fmla="*/ 10000 w 10000"/>
                <a:gd name="connsiteY250" fmla="*/ 3292 h 10000"/>
                <a:gd name="connsiteX251" fmla="*/ 9845 w 10000"/>
                <a:gd name="connsiteY251" fmla="*/ 3220 h 10000"/>
                <a:gd name="connsiteX252" fmla="*/ 9745 w 10000"/>
                <a:gd name="connsiteY252" fmla="*/ 3075 h 10000"/>
                <a:gd name="connsiteX253" fmla="*/ 9641 w 10000"/>
                <a:gd name="connsiteY253" fmla="*/ 2972 h 10000"/>
                <a:gd name="connsiteX254" fmla="*/ 9555 w 10000"/>
                <a:gd name="connsiteY254" fmla="*/ 3003 h 10000"/>
                <a:gd name="connsiteX255" fmla="*/ 9470 w 10000"/>
                <a:gd name="connsiteY255" fmla="*/ 2787 h 10000"/>
                <a:gd name="connsiteX256" fmla="*/ 9366 w 10000"/>
                <a:gd name="connsiteY256" fmla="*/ 2725 h 10000"/>
                <a:gd name="connsiteX257" fmla="*/ 9461 w 10000"/>
                <a:gd name="connsiteY257" fmla="*/ 2972 h 10000"/>
                <a:gd name="connsiteX258" fmla="*/ 9470 w 10000"/>
                <a:gd name="connsiteY258" fmla="*/ 3230 h 10000"/>
                <a:gd name="connsiteX259" fmla="*/ 9288 w 10000"/>
                <a:gd name="connsiteY259" fmla="*/ 3065 h 10000"/>
                <a:gd name="connsiteX260" fmla="*/ 9262 w 10000"/>
                <a:gd name="connsiteY260" fmla="*/ 3230 h 10000"/>
                <a:gd name="connsiteX261" fmla="*/ 9363 w 10000"/>
                <a:gd name="connsiteY261" fmla="*/ 3230 h 10000"/>
                <a:gd name="connsiteX262" fmla="*/ 9451 w 10000"/>
                <a:gd name="connsiteY262" fmla="*/ 3354 h 10000"/>
                <a:gd name="connsiteX263" fmla="*/ 9659 w 10000"/>
                <a:gd name="connsiteY263" fmla="*/ 3685 h 10000"/>
                <a:gd name="connsiteX264" fmla="*/ 9735 w 10000"/>
                <a:gd name="connsiteY264" fmla="*/ 3839 h 10000"/>
                <a:gd name="connsiteX265" fmla="*/ 9552 w 10000"/>
                <a:gd name="connsiteY265" fmla="*/ 3757 h 10000"/>
                <a:gd name="connsiteX266" fmla="*/ 9451 w 10000"/>
                <a:gd name="connsiteY266" fmla="*/ 4025 h 10000"/>
                <a:gd name="connsiteX267" fmla="*/ 9385 w 10000"/>
                <a:gd name="connsiteY267" fmla="*/ 4283 h 10000"/>
                <a:gd name="connsiteX268" fmla="*/ 9376 w 10000"/>
                <a:gd name="connsiteY268" fmla="*/ 4499 h 10000"/>
                <a:gd name="connsiteX269" fmla="*/ 9335 w 10000"/>
                <a:gd name="connsiteY269" fmla="*/ 4303 h 10000"/>
                <a:gd name="connsiteX270" fmla="*/ 9149 w 10000"/>
                <a:gd name="connsiteY270" fmla="*/ 4314 h 10000"/>
                <a:gd name="connsiteX271" fmla="*/ 9155 w 10000"/>
                <a:gd name="connsiteY271" fmla="*/ 4531 h 10000"/>
                <a:gd name="connsiteX272" fmla="*/ 9061 w 10000"/>
                <a:gd name="connsiteY272" fmla="*/ 4365 h 10000"/>
                <a:gd name="connsiteX273" fmla="*/ 9054 w 10000"/>
                <a:gd name="connsiteY273" fmla="*/ 4521 h 10000"/>
                <a:gd name="connsiteX274" fmla="*/ 8998 w 10000"/>
                <a:gd name="connsiteY274" fmla="*/ 4458 h 10000"/>
                <a:gd name="connsiteX275" fmla="*/ 8966 w 10000"/>
                <a:gd name="connsiteY275" fmla="*/ 4562 h 10000"/>
                <a:gd name="connsiteX276" fmla="*/ 9007 w 10000"/>
                <a:gd name="connsiteY276" fmla="*/ 4686 h 10000"/>
                <a:gd name="connsiteX277" fmla="*/ 9004 w 10000"/>
                <a:gd name="connsiteY277" fmla="*/ 4995 h 10000"/>
                <a:gd name="connsiteX278" fmla="*/ 9073 w 10000"/>
                <a:gd name="connsiteY278" fmla="*/ 5211 h 10000"/>
                <a:gd name="connsiteX279" fmla="*/ 9130 w 10000"/>
                <a:gd name="connsiteY279" fmla="*/ 5150 h 10000"/>
                <a:gd name="connsiteX280" fmla="*/ 9158 w 10000"/>
                <a:gd name="connsiteY280" fmla="*/ 5211 h 10000"/>
                <a:gd name="connsiteX281" fmla="*/ 9231 w 10000"/>
                <a:gd name="connsiteY281" fmla="*/ 5428 h 10000"/>
                <a:gd name="connsiteX282" fmla="*/ 9215 w 10000"/>
                <a:gd name="connsiteY282" fmla="*/ 5604 h 10000"/>
                <a:gd name="connsiteX283" fmla="*/ 9221 w 10000"/>
                <a:gd name="connsiteY283" fmla="*/ 5769 h 10000"/>
                <a:gd name="connsiteX284" fmla="*/ 9269 w 10000"/>
                <a:gd name="connsiteY284" fmla="*/ 5883 h 10000"/>
                <a:gd name="connsiteX285" fmla="*/ 9344 w 10000"/>
                <a:gd name="connsiteY285" fmla="*/ 6068 h 10000"/>
                <a:gd name="connsiteX286" fmla="*/ 9269 w 10000"/>
                <a:gd name="connsiteY286" fmla="*/ 6068 h 10000"/>
                <a:gd name="connsiteX287" fmla="*/ 9253 w 10000"/>
                <a:gd name="connsiteY287" fmla="*/ 6223 h 10000"/>
                <a:gd name="connsiteX288" fmla="*/ 9319 w 10000"/>
                <a:gd name="connsiteY288" fmla="*/ 6408 h 10000"/>
                <a:gd name="connsiteX289" fmla="*/ 9250 w 10000"/>
                <a:gd name="connsiteY289" fmla="*/ 6502 h 10000"/>
                <a:gd name="connsiteX290" fmla="*/ 9297 w 10000"/>
                <a:gd name="connsiteY290" fmla="*/ 6729 h 10000"/>
                <a:gd name="connsiteX291" fmla="*/ 9281 w 10000"/>
                <a:gd name="connsiteY291" fmla="*/ 7069 h 10000"/>
                <a:gd name="connsiteX292" fmla="*/ 9061 w 10000"/>
                <a:gd name="connsiteY292" fmla="*/ 6408 h 10000"/>
                <a:gd name="connsiteX293" fmla="*/ 8824 w 10000"/>
                <a:gd name="connsiteY293" fmla="*/ 5759 h 10000"/>
                <a:gd name="connsiteX294" fmla="*/ 8771 w 10000"/>
                <a:gd name="connsiteY294" fmla="*/ 5459 h 10000"/>
                <a:gd name="connsiteX295" fmla="*/ 8768 w 10000"/>
                <a:gd name="connsiteY295" fmla="*/ 5211 h 10000"/>
                <a:gd name="connsiteX296" fmla="*/ 8692 w 10000"/>
                <a:gd name="connsiteY296" fmla="*/ 5047 h 10000"/>
                <a:gd name="connsiteX297" fmla="*/ 8771 w 10000"/>
                <a:gd name="connsiteY297" fmla="*/ 5088 h 10000"/>
                <a:gd name="connsiteX298" fmla="*/ 8809 w 10000"/>
                <a:gd name="connsiteY298" fmla="*/ 5108 h 10000"/>
                <a:gd name="connsiteX299" fmla="*/ 8809 w 10000"/>
                <a:gd name="connsiteY299" fmla="*/ 4840 h 10000"/>
                <a:gd name="connsiteX300" fmla="*/ 8827 w 10000"/>
                <a:gd name="connsiteY300" fmla="*/ 4437 h 10000"/>
                <a:gd name="connsiteX301" fmla="*/ 8853 w 10000"/>
                <a:gd name="connsiteY301" fmla="*/ 4252 h 10000"/>
                <a:gd name="connsiteX302" fmla="*/ 8909 w 10000"/>
                <a:gd name="connsiteY302" fmla="*/ 4221 h 10000"/>
                <a:gd name="connsiteX303" fmla="*/ 8786 w 10000"/>
                <a:gd name="connsiteY303" fmla="*/ 3901 h 10000"/>
                <a:gd name="connsiteX304" fmla="*/ 8853 w 10000"/>
                <a:gd name="connsiteY304" fmla="*/ 3839 h 10000"/>
                <a:gd name="connsiteX305" fmla="*/ 8739 w 10000"/>
                <a:gd name="connsiteY305" fmla="*/ 3788 h 10000"/>
                <a:gd name="connsiteX306" fmla="*/ 8755 w 10000"/>
                <a:gd name="connsiteY306" fmla="*/ 3984 h 10000"/>
                <a:gd name="connsiteX307" fmla="*/ 8692 w 10000"/>
                <a:gd name="connsiteY307" fmla="*/ 4303 h 10000"/>
                <a:gd name="connsiteX308" fmla="*/ 8604 w 10000"/>
                <a:gd name="connsiteY308" fmla="*/ 4210 h 10000"/>
                <a:gd name="connsiteX309" fmla="*/ 8550 w 10000"/>
                <a:gd name="connsiteY309" fmla="*/ 4056 h 10000"/>
                <a:gd name="connsiteX310" fmla="*/ 8481 w 10000"/>
                <a:gd name="connsiteY310" fmla="*/ 4138 h 10000"/>
                <a:gd name="connsiteX311" fmla="*/ 8389 w 10000"/>
                <a:gd name="connsiteY311" fmla="*/ 4107 h 10000"/>
                <a:gd name="connsiteX312" fmla="*/ 8352 w 10000"/>
                <a:gd name="connsiteY312" fmla="*/ 4406 h 10000"/>
                <a:gd name="connsiteX313" fmla="*/ 8481 w 10000"/>
                <a:gd name="connsiteY313" fmla="*/ 4655 h 10000"/>
                <a:gd name="connsiteX314" fmla="*/ 8405 w 10000"/>
                <a:gd name="connsiteY314" fmla="*/ 4830 h 10000"/>
                <a:gd name="connsiteX315" fmla="*/ 8225 w 10000"/>
                <a:gd name="connsiteY315" fmla="*/ 4799 h 10000"/>
                <a:gd name="connsiteX316" fmla="*/ 8209 w 10000"/>
                <a:gd name="connsiteY316" fmla="*/ 4655 h 10000"/>
                <a:gd name="connsiteX317" fmla="*/ 8102 w 10000"/>
                <a:gd name="connsiteY317" fmla="*/ 4634 h 10000"/>
                <a:gd name="connsiteX318" fmla="*/ 7641 w 10000"/>
                <a:gd name="connsiteY318" fmla="*/ 4779 h 10000"/>
                <a:gd name="connsiteX319" fmla="*/ 7610 w 10000"/>
                <a:gd name="connsiteY319" fmla="*/ 5005 h 10000"/>
                <a:gd name="connsiteX320" fmla="*/ 7550 w 10000"/>
                <a:gd name="connsiteY320" fmla="*/ 5666 h 10000"/>
                <a:gd name="connsiteX321" fmla="*/ 7496 w 10000"/>
                <a:gd name="connsiteY321" fmla="*/ 5965 h 10000"/>
                <a:gd name="connsiteX322" fmla="*/ 7701 w 10000"/>
                <a:gd name="connsiteY322" fmla="*/ 6161 h 10000"/>
                <a:gd name="connsiteX323" fmla="*/ 7745 w 10000"/>
                <a:gd name="connsiteY323" fmla="*/ 6243 h 10000"/>
                <a:gd name="connsiteX324" fmla="*/ 7771 w 10000"/>
                <a:gd name="connsiteY324" fmla="*/ 6285 h 10000"/>
                <a:gd name="connsiteX325" fmla="*/ 7793 w 10000"/>
                <a:gd name="connsiteY325" fmla="*/ 6068 h 10000"/>
                <a:gd name="connsiteX326" fmla="*/ 7912 w 10000"/>
                <a:gd name="connsiteY326" fmla="*/ 6089 h 10000"/>
                <a:gd name="connsiteX327" fmla="*/ 8004 w 10000"/>
                <a:gd name="connsiteY327" fmla="*/ 6367 h 10000"/>
                <a:gd name="connsiteX328" fmla="*/ 8064 w 10000"/>
                <a:gd name="connsiteY328" fmla="*/ 6616 h 10000"/>
                <a:gd name="connsiteX329" fmla="*/ 8111 w 10000"/>
                <a:gd name="connsiteY329" fmla="*/ 6781 h 10000"/>
                <a:gd name="connsiteX330" fmla="*/ 8048 w 10000"/>
                <a:gd name="connsiteY330" fmla="*/ 6491 h 10000"/>
                <a:gd name="connsiteX331" fmla="*/ 8124 w 10000"/>
                <a:gd name="connsiteY331" fmla="*/ 6336 h 10000"/>
                <a:gd name="connsiteX332" fmla="*/ 8177 w 10000"/>
                <a:gd name="connsiteY332" fmla="*/ 6512 h 10000"/>
                <a:gd name="connsiteX333" fmla="*/ 8300 w 10000"/>
                <a:gd name="connsiteY333" fmla="*/ 6987 h 10000"/>
                <a:gd name="connsiteX334" fmla="*/ 8361 w 10000"/>
                <a:gd name="connsiteY334" fmla="*/ 7152 h 10000"/>
                <a:gd name="connsiteX335" fmla="*/ 8490 w 10000"/>
                <a:gd name="connsiteY335" fmla="*/ 7482 h 10000"/>
                <a:gd name="connsiteX336" fmla="*/ 8604 w 10000"/>
                <a:gd name="connsiteY336" fmla="*/ 7854 h 10000"/>
                <a:gd name="connsiteX337" fmla="*/ 8474 w 10000"/>
                <a:gd name="connsiteY337" fmla="*/ 7647 h 10000"/>
                <a:gd name="connsiteX338" fmla="*/ 8443 w 10000"/>
                <a:gd name="connsiteY338" fmla="*/ 7678 h 10000"/>
                <a:gd name="connsiteX339" fmla="*/ 8512 w 10000"/>
                <a:gd name="connsiteY339" fmla="*/ 8050 h 10000"/>
                <a:gd name="connsiteX340" fmla="*/ 8588 w 10000"/>
                <a:gd name="connsiteY340" fmla="*/ 8266 h 10000"/>
                <a:gd name="connsiteX341" fmla="*/ 8642 w 10000"/>
                <a:gd name="connsiteY341" fmla="*/ 8472 h 10000"/>
                <a:gd name="connsiteX342" fmla="*/ 8566 w 10000"/>
                <a:gd name="connsiteY342" fmla="*/ 8421 h 10000"/>
                <a:gd name="connsiteX343" fmla="*/ 8556 w 10000"/>
                <a:gd name="connsiteY343" fmla="*/ 8669 h 10000"/>
                <a:gd name="connsiteX344" fmla="*/ 8497 w 10000"/>
                <a:gd name="connsiteY344" fmla="*/ 8493 h 10000"/>
                <a:gd name="connsiteX345" fmla="*/ 8481 w 10000"/>
                <a:gd name="connsiteY345" fmla="*/ 8421 h 10000"/>
                <a:gd name="connsiteX346" fmla="*/ 8361 w 10000"/>
                <a:gd name="connsiteY346" fmla="*/ 7751 h 10000"/>
                <a:gd name="connsiteX347" fmla="*/ 8322 w 10000"/>
                <a:gd name="connsiteY347" fmla="*/ 7524 h 10000"/>
                <a:gd name="connsiteX348" fmla="*/ 8291 w 10000"/>
                <a:gd name="connsiteY348" fmla="*/ 7378 h 10000"/>
                <a:gd name="connsiteX349" fmla="*/ 8275 w 10000"/>
                <a:gd name="connsiteY349" fmla="*/ 7306 h 10000"/>
                <a:gd name="connsiteX350" fmla="*/ 8139 w 10000"/>
                <a:gd name="connsiteY350" fmla="*/ 6863 h 10000"/>
                <a:gd name="connsiteX351" fmla="*/ 8199 w 10000"/>
                <a:gd name="connsiteY351" fmla="*/ 7451 h 10000"/>
                <a:gd name="connsiteX352" fmla="*/ 8247 w 10000"/>
                <a:gd name="connsiteY352" fmla="*/ 7998 h 10000"/>
                <a:gd name="connsiteX353" fmla="*/ 8177 w 10000"/>
                <a:gd name="connsiteY353" fmla="*/ 9133 h 10000"/>
                <a:gd name="connsiteX354" fmla="*/ 8124 w 10000"/>
                <a:gd name="connsiteY354" fmla="*/ 9484 h 10000"/>
                <a:gd name="connsiteX355" fmla="*/ 7972 w 10000"/>
                <a:gd name="connsiteY355" fmla="*/ 9432 h 10000"/>
                <a:gd name="connsiteX356" fmla="*/ 7897 w 10000"/>
                <a:gd name="connsiteY356" fmla="*/ 9660 h 10000"/>
                <a:gd name="connsiteX357" fmla="*/ 7868 w 10000"/>
                <a:gd name="connsiteY357" fmla="*/ 9588 h 10000"/>
                <a:gd name="connsiteX358" fmla="*/ 7884 w 10000"/>
                <a:gd name="connsiteY358" fmla="*/ 9536 h 10000"/>
                <a:gd name="connsiteX359" fmla="*/ 7897 w 10000"/>
                <a:gd name="connsiteY359" fmla="*/ 9380 h 10000"/>
                <a:gd name="connsiteX360" fmla="*/ 7884 w 10000"/>
                <a:gd name="connsiteY360" fmla="*/ 9236 h 10000"/>
                <a:gd name="connsiteX361" fmla="*/ 7793 w 10000"/>
                <a:gd name="connsiteY361" fmla="*/ 8865 h 10000"/>
                <a:gd name="connsiteX362" fmla="*/ 7831 w 10000"/>
                <a:gd name="connsiteY362" fmla="*/ 8741 h 10000"/>
                <a:gd name="connsiteX363" fmla="*/ 7928 w 10000"/>
                <a:gd name="connsiteY363" fmla="*/ 8844 h 10000"/>
                <a:gd name="connsiteX364" fmla="*/ 7912 w 10000"/>
                <a:gd name="connsiteY364" fmla="*/ 8318 h 10000"/>
                <a:gd name="connsiteX365" fmla="*/ 7906 w 10000"/>
                <a:gd name="connsiteY365" fmla="*/ 8019 h 10000"/>
                <a:gd name="connsiteX366" fmla="*/ 7846 w 10000"/>
                <a:gd name="connsiteY366" fmla="*/ 7802 h 10000"/>
                <a:gd name="connsiteX367" fmla="*/ 7723 w 10000"/>
                <a:gd name="connsiteY367" fmla="*/ 8050 h 10000"/>
                <a:gd name="connsiteX368" fmla="*/ 7619 w 10000"/>
                <a:gd name="connsiteY368" fmla="*/ 8019 h 10000"/>
                <a:gd name="connsiteX369" fmla="*/ 7528 w 10000"/>
                <a:gd name="connsiteY369" fmla="*/ 7699 h 10000"/>
                <a:gd name="connsiteX370" fmla="*/ 7355 w 10000"/>
                <a:gd name="connsiteY370" fmla="*/ 7482 h 10000"/>
                <a:gd name="connsiteX371" fmla="*/ 7279 w 10000"/>
                <a:gd name="connsiteY371" fmla="*/ 7482 h 10000"/>
                <a:gd name="connsiteX372" fmla="*/ 7080 w 10000"/>
                <a:gd name="connsiteY372" fmla="*/ 6781 h 10000"/>
                <a:gd name="connsiteX373" fmla="*/ 6901 w 10000"/>
                <a:gd name="connsiteY373" fmla="*/ 6460 h 10000"/>
                <a:gd name="connsiteX374" fmla="*/ 6724 w 10000"/>
                <a:gd name="connsiteY374" fmla="*/ 6336 h 10000"/>
                <a:gd name="connsiteX375" fmla="*/ 6583 w 10000"/>
                <a:gd name="connsiteY375" fmla="*/ 6408 h 10000"/>
                <a:gd name="connsiteX376" fmla="*/ 6567 w 10000"/>
                <a:gd name="connsiteY376" fmla="*/ 6585 h 10000"/>
                <a:gd name="connsiteX377" fmla="*/ 6664 w 10000"/>
                <a:gd name="connsiteY377" fmla="*/ 6760 h 10000"/>
                <a:gd name="connsiteX378" fmla="*/ 6636 w 10000"/>
                <a:gd name="connsiteY378" fmla="*/ 6935 h 10000"/>
                <a:gd name="connsiteX379" fmla="*/ 6636 w 10000"/>
                <a:gd name="connsiteY379" fmla="*/ 7399 h 10000"/>
                <a:gd name="connsiteX380" fmla="*/ 6560 w 10000"/>
                <a:gd name="connsiteY380" fmla="*/ 7482 h 10000"/>
                <a:gd name="connsiteX381" fmla="*/ 6485 w 10000"/>
                <a:gd name="connsiteY381" fmla="*/ 7378 h 10000"/>
                <a:gd name="connsiteX382" fmla="*/ 6400 w 10000"/>
                <a:gd name="connsiteY382" fmla="*/ 7399 h 10000"/>
                <a:gd name="connsiteX383" fmla="*/ 6334 w 10000"/>
                <a:gd name="connsiteY383" fmla="*/ 7275 h 10000"/>
                <a:gd name="connsiteX384" fmla="*/ 6258 w 10000"/>
                <a:gd name="connsiteY384" fmla="*/ 7358 h 10000"/>
                <a:gd name="connsiteX385" fmla="*/ 6220 w 10000"/>
                <a:gd name="connsiteY385" fmla="*/ 7524 h 10000"/>
                <a:gd name="connsiteX386" fmla="*/ 6081 w 10000"/>
                <a:gd name="connsiteY386" fmla="*/ 7606 h 10000"/>
                <a:gd name="connsiteX387" fmla="*/ 5892 w 10000"/>
                <a:gd name="connsiteY387" fmla="*/ 7575 h 10000"/>
                <a:gd name="connsiteX388" fmla="*/ 5855 w 10000"/>
                <a:gd name="connsiteY388" fmla="*/ 7327 h 10000"/>
                <a:gd name="connsiteX389" fmla="*/ 5643 w 10000"/>
                <a:gd name="connsiteY389" fmla="*/ 7255 h 10000"/>
                <a:gd name="connsiteX390" fmla="*/ 5539 w 10000"/>
                <a:gd name="connsiteY390" fmla="*/ 7358 h 10000"/>
                <a:gd name="connsiteX391" fmla="*/ 5416 w 10000"/>
                <a:gd name="connsiteY391" fmla="*/ 7203 h 10000"/>
                <a:gd name="connsiteX392" fmla="*/ 5372 w 10000"/>
                <a:gd name="connsiteY392"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2384 w 10000"/>
                <a:gd name="connsiteY26" fmla="*/ 7183 h 10000"/>
                <a:gd name="connsiteX27" fmla="*/ 2308 w 10000"/>
                <a:gd name="connsiteY27" fmla="*/ 7028 h 10000"/>
                <a:gd name="connsiteX28" fmla="*/ 2147 w 10000"/>
                <a:gd name="connsiteY28" fmla="*/ 7131 h 10000"/>
                <a:gd name="connsiteX29" fmla="*/ 1610 w 10000"/>
                <a:gd name="connsiteY29" fmla="*/ 7183 h 10000"/>
                <a:gd name="connsiteX30" fmla="*/ 1655 w 10000"/>
                <a:gd name="connsiteY30" fmla="*/ 7430 h 10000"/>
                <a:gd name="connsiteX31" fmla="*/ 1604 w 10000"/>
                <a:gd name="connsiteY31" fmla="*/ 7430 h 10000"/>
                <a:gd name="connsiteX32" fmla="*/ 1551 w 10000"/>
                <a:gd name="connsiteY32" fmla="*/ 7255 h 10000"/>
                <a:gd name="connsiteX33" fmla="*/ 1513 w 10000"/>
                <a:gd name="connsiteY33" fmla="*/ 7430 h 10000"/>
                <a:gd name="connsiteX34" fmla="*/ 1519 w 10000"/>
                <a:gd name="connsiteY34" fmla="*/ 7854 h 10000"/>
                <a:gd name="connsiteX35" fmla="*/ 1604 w 10000"/>
                <a:gd name="connsiteY35" fmla="*/ 8070 h 10000"/>
                <a:gd name="connsiteX36" fmla="*/ 1648 w 10000"/>
                <a:gd name="connsiteY36" fmla="*/ 8019 h 10000"/>
                <a:gd name="connsiteX37" fmla="*/ 1741 w 10000"/>
                <a:gd name="connsiteY37" fmla="*/ 8493 h 10000"/>
                <a:gd name="connsiteX38" fmla="*/ 1610 w 10000"/>
                <a:gd name="connsiteY38" fmla="*/ 8669 h 10000"/>
                <a:gd name="connsiteX39" fmla="*/ 1595 w 10000"/>
                <a:gd name="connsiteY39" fmla="*/ 9009 h 10000"/>
                <a:gd name="connsiteX40" fmla="*/ 1664 w 10000"/>
                <a:gd name="connsiteY40" fmla="*/ 9236 h 10000"/>
                <a:gd name="connsiteX41" fmla="*/ 1664 w 10000"/>
                <a:gd name="connsiteY41" fmla="*/ 9484 h 10000"/>
                <a:gd name="connsiteX42" fmla="*/ 1769 w 10000"/>
                <a:gd name="connsiteY42" fmla="*/ 9835 h 10000"/>
                <a:gd name="connsiteX43" fmla="*/ 1703 w 10000"/>
                <a:gd name="connsiteY43" fmla="*/ 10000 h 10000"/>
                <a:gd name="connsiteX44" fmla="*/ 1604 w 10000"/>
                <a:gd name="connsiteY44" fmla="*/ 9753 h 10000"/>
                <a:gd name="connsiteX45" fmla="*/ 1465 w 10000"/>
                <a:gd name="connsiteY45" fmla="*/ 9505 h 10000"/>
                <a:gd name="connsiteX46" fmla="*/ 1406 w 10000"/>
                <a:gd name="connsiteY46" fmla="*/ 9588 h 10000"/>
                <a:gd name="connsiteX47" fmla="*/ 1308 w 10000"/>
                <a:gd name="connsiteY47" fmla="*/ 9380 h 10000"/>
                <a:gd name="connsiteX48" fmla="*/ 1097 w 10000"/>
                <a:gd name="connsiteY48" fmla="*/ 9339 h 10000"/>
                <a:gd name="connsiteX49" fmla="*/ 848 w 10000"/>
                <a:gd name="connsiteY49" fmla="*/ 8813 h 10000"/>
                <a:gd name="connsiteX50" fmla="*/ 914 w 10000"/>
                <a:gd name="connsiteY50" fmla="*/ 8721 h 10000"/>
                <a:gd name="connsiteX51" fmla="*/ 961 w 10000"/>
                <a:gd name="connsiteY51" fmla="*/ 8493 h 10000"/>
                <a:gd name="connsiteX52" fmla="*/ 908 w 10000"/>
                <a:gd name="connsiteY52" fmla="*/ 8390 h 10000"/>
                <a:gd name="connsiteX53" fmla="*/ 1021 w 10000"/>
                <a:gd name="connsiteY53" fmla="*/ 8245 h 10000"/>
                <a:gd name="connsiteX54" fmla="*/ 945 w 10000"/>
                <a:gd name="connsiteY54" fmla="*/ 8194 h 10000"/>
                <a:gd name="connsiteX55" fmla="*/ 958 w 10000"/>
                <a:gd name="connsiteY55" fmla="*/ 8091 h 10000"/>
                <a:gd name="connsiteX56" fmla="*/ 1005 w 10000"/>
                <a:gd name="connsiteY56" fmla="*/ 8111 h 10000"/>
                <a:gd name="connsiteX57" fmla="*/ 1059 w 10000"/>
                <a:gd name="connsiteY57" fmla="*/ 8019 h 10000"/>
                <a:gd name="connsiteX58" fmla="*/ 1034 w 10000"/>
                <a:gd name="connsiteY58" fmla="*/ 7864 h 10000"/>
                <a:gd name="connsiteX59" fmla="*/ 1043 w 10000"/>
                <a:gd name="connsiteY59" fmla="*/ 7503 h 10000"/>
                <a:gd name="connsiteX60" fmla="*/ 930 w 10000"/>
                <a:gd name="connsiteY60" fmla="*/ 7440 h 10000"/>
                <a:gd name="connsiteX61" fmla="*/ 832 w 10000"/>
                <a:gd name="connsiteY61" fmla="*/ 7286 h 10000"/>
                <a:gd name="connsiteX62" fmla="*/ 700 w 10000"/>
                <a:gd name="connsiteY62" fmla="*/ 7275 h 10000"/>
                <a:gd name="connsiteX63" fmla="*/ 684 w 10000"/>
                <a:gd name="connsiteY63" fmla="*/ 7090 h 10000"/>
                <a:gd name="connsiteX64" fmla="*/ 596 w 10000"/>
                <a:gd name="connsiteY64" fmla="*/ 6945 h 10000"/>
                <a:gd name="connsiteX65" fmla="*/ 615 w 10000"/>
                <a:gd name="connsiteY65" fmla="*/ 6822 h 10000"/>
                <a:gd name="connsiteX66" fmla="*/ 561 w 10000"/>
                <a:gd name="connsiteY66" fmla="*/ 6698 h 10000"/>
                <a:gd name="connsiteX67" fmla="*/ 457 w 10000"/>
                <a:gd name="connsiteY67" fmla="*/ 6698 h 10000"/>
                <a:gd name="connsiteX68" fmla="*/ 425 w 10000"/>
                <a:gd name="connsiteY68" fmla="*/ 6791 h 10000"/>
                <a:gd name="connsiteX69" fmla="*/ 400 w 10000"/>
                <a:gd name="connsiteY69" fmla="*/ 6750 h 10000"/>
                <a:gd name="connsiteX70" fmla="*/ 378 w 10000"/>
                <a:gd name="connsiteY70" fmla="*/ 6439 h 10000"/>
                <a:gd name="connsiteX71" fmla="*/ 419 w 10000"/>
                <a:gd name="connsiteY71" fmla="*/ 6470 h 10000"/>
                <a:gd name="connsiteX72" fmla="*/ 466 w 10000"/>
                <a:gd name="connsiteY72" fmla="*/ 6347 h 10000"/>
                <a:gd name="connsiteX73" fmla="*/ 400 w 10000"/>
                <a:gd name="connsiteY73" fmla="*/ 6233 h 10000"/>
                <a:gd name="connsiteX74" fmla="*/ 315 w 10000"/>
                <a:gd name="connsiteY74" fmla="*/ 6017 h 10000"/>
                <a:gd name="connsiteX75" fmla="*/ 334 w 10000"/>
                <a:gd name="connsiteY75" fmla="*/ 5821 h 10000"/>
                <a:gd name="connsiteX76" fmla="*/ 274 w 10000"/>
                <a:gd name="connsiteY76" fmla="*/ 5697 h 10000"/>
                <a:gd name="connsiteX77" fmla="*/ 227 w 10000"/>
                <a:gd name="connsiteY77" fmla="*/ 5728 h 10000"/>
                <a:gd name="connsiteX78" fmla="*/ 202 w 10000"/>
                <a:gd name="connsiteY78" fmla="*/ 5604 h 10000"/>
                <a:gd name="connsiteX79" fmla="*/ 164 w 10000"/>
                <a:gd name="connsiteY79" fmla="*/ 5645 h 10000"/>
                <a:gd name="connsiteX80" fmla="*/ 117 w 10000"/>
                <a:gd name="connsiteY80" fmla="*/ 5604 h 10000"/>
                <a:gd name="connsiteX81" fmla="*/ 69 w 10000"/>
                <a:gd name="connsiteY81" fmla="*/ 5181 h 10000"/>
                <a:gd name="connsiteX82" fmla="*/ 85 w 10000"/>
                <a:gd name="connsiteY82" fmla="*/ 5057 h 10000"/>
                <a:gd name="connsiteX83" fmla="*/ 41 w 10000"/>
                <a:gd name="connsiteY83" fmla="*/ 4892 h 10000"/>
                <a:gd name="connsiteX84" fmla="*/ 66 w 10000"/>
                <a:gd name="connsiteY84" fmla="*/ 4655 h 10000"/>
                <a:gd name="connsiteX85" fmla="*/ 211 w 10000"/>
                <a:gd name="connsiteY85" fmla="*/ 4510 h 10000"/>
                <a:gd name="connsiteX86" fmla="*/ 129 w 10000"/>
                <a:gd name="connsiteY86" fmla="*/ 4406 h 10000"/>
                <a:gd name="connsiteX87" fmla="*/ 82 w 10000"/>
                <a:gd name="connsiteY87" fmla="*/ 4283 h 10000"/>
                <a:gd name="connsiteX88" fmla="*/ 205 w 10000"/>
                <a:gd name="connsiteY88" fmla="*/ 3912 h 10000"/>
                <a:gd name="connsiteX89" fmla="*/ 249 w 10000"/>
                <a:gd name="connsiteY89" fmla="*/ 3664 h 10000"/>
                <a:gd name="connsiteX90" fmla="*/ 151 w 10000"/>
                <a:gd name="connsiteY90" fmla="*/ 3488 h 10000"/>
                <a:gd name="connsiteX91" fmla="*/ 189 w 10000"/>
                <a:gd name="connsiteY91" fmla="*/ 3344 h 10000"/>
                <a:gd name="connsiteX92" fmla="*/ 113 w 10000"/>
                <a:gd name="connsiteY92" fmla="*/ 3148 h 10000"/>
                <a:gd name="connsiteX93" fmla="*/ 113 w 10000"/>
                <a:gd name="connsiteY93" fmla="*/ 2972 h 10000"/>
                <a:gd name="connsiteX94" fmla="*/ 60 w 10000"/>
                <a:gd name="connsiteY94" fmla="*/ 2622 h 10000"/>
                <a:gd name="connsiteX95" fmla="*/ 98 w 10000"/>
                <a:gd name="connsiteY95" fmla="*/ 2404 h 10000"/>
                <a:gd name="connsiteX96" fmla="*/ 38 w 10000"/>
                <a:gd name="connsiteY96" fmla="*/ 2301 h 10000"/>
                <a:gd name="connsiteX97" fmla="*/ 0 w 10000"/>
                <a:gd name="connsiteY97" fmla="*/ 2178 h 10000"/>
                <a:gd name="connsiteX98" fmla="*/ 54 w 10000"/>
                <a:gd name="connsiteY98" fmla="*/ 1951 h 10000"/>
                <a:gd name="connsiteX99" fmla="*/ 120 w 10000"/>
                <a:gd name="connsiteY99" fmla="*/ 1910 h 10000"/>
                <a:gd name="connsiteX100" fmla="*/ 195 w 10000"/>
                <a:gd name="connsiteY100" fmla="*/ 1858 h 10000"/>
                <a:gd name="connsiteX101" fmla="*/ 309 w 10000"/>
                <a:gd name="connsiteY101" fmla="*/ 1951 h 10000"/>
                <a:gd name="connsiteX102" fmla="*/ 482 w 10000"/>
                <a:gd name="connsiteY102" fmla="*/ 2054 h 10000"/>
                <a:gd name="connsiteX103" fmla="*/ 633 w 10000"/>
                <a:gd name="connsiteY103" fmla="*/ 2229 h 10000"/>
                <a:gd name="connsiteX104" fmla="*/ 756 w 10000"/>
                <a:gd name="connsiteY104" fmla="*/ 2373 h 10000"/>
                <a:gd name="connsiteX105" fmla="*/ 725 w 10000"/>
                <a:gd name="connsiteY105" fmla="*/ 2777 h 10000"/>
                <a:gd name="connsiteX106" fmla="*/ 362 w 10000"/>
                <a:gd name="connsiteY106" fmla="*/ 2673 h 10000"/>
                <a:gd name="connsiteX107" fmla="*/ 243 w 10000"/>
                <a:gd name="connsiteY107" fmla="*/ 2550 h 10000"/>
                <a:gd name="connsiteX108" fmla="*/ 287 w 10000"/>
                <a:gd name="connsiteY108" fmla="*/ 2622 h 10000"/>
                <a:gd name="connsiteX109" fmla="*/ 331 w 10000"/>
                <a:gd name="connsiteY109" fmla="*/ 2797 h 10000"/>
                <a:gd name="connsiteX110" fmla="*/ 400 w 10000"/>
                <a:gd name="connsiteY110" fmla="*/ 2921 h 10000"/>
                <a:gd name="connsiteX111" fmla="*/ 416 w 10000"/>
                <a:gd name="connsiteY111" fmla="*/ 3189 h 10000"/>
                <a:gd name="connsiteX112" fmla="*/ 507 w 10000"/>
                <a:gd name="connsiteY112" fmla="*/ 3313 h 10000"/>
                <a:gd name="connsiteX113" fmla="*/ 583 w 10000"/>
                <a:gd name="connsiteY113" fmla="*/ 3436 h 10000"/>
                <a:gd name="connsiteX114" fmla="*/ 605 w 10000"/>
                <a:gd name="connsiteY114" fmla="*/ 3467 h 10000"/>
                <a:gd name="connsiteX115" fmla="*/ 649 w 10000"/>
                <a:gd name="connsiteY115" fmla="*/ 3436 h 10000"/>
                <a:gd name="connsiteX116" fmla="*/ 633 w 10000"/>
                <a:gd name="connsiteY116" fmla="*/ 3364 h 10000"/>
                <a:gd name="connsiteX117" fmla="*/ 545 w 10000"/>
                <a:gd name="connsiteY117" fmla="*/ 3189 h 10000"/>
                <a:gd name="connsiteX118" fmla="*/ 801 w 10000"/>
                <a:gd name="connsiteY118" fmla="*/ 3344 h 10000"/>
                <a:gd name="connsiteX119" fmla="*/ 810 w 10000"/>
                <a:gd name="connsiteY119" fmla="*/ 3271 h 10000"/>
                <a:gd name="connsiteX120" fmla="*/ 785 w 10000"/>
                <a:gd name="connsiteY120" fmla="*/ 3220 h 10000"/>
                <a:gd name="connsiteX121" fmla="*/ 741 w 10000"/>
                <a:gd name="connsiteY121" fmla="*/ 2993 h 10000"/>
                <a:gd name="connsiteX122" fmla="*/ 870 w 10000"/>
                <a:gd name="connsiteY122" fmla="*/ 2777 h 10000"/>
                <a:gd name="connsiteX123" fmla="*/ 968 w 10000"/>
                <a:gd name="connsiteY123" fmla="*/ 2921 h 10000"/>
                <a:gd name="connsiteX124" fmla="*/ 999 w 10000"/>
                <a:gd name="connsiteY124" fmla="*/ 2725 h 10000"/>
                <a:gd name="connsiteX125" fmla="*/ 952 w 10000"/>
                <a:gd name="connsiteY125" fmla="*/ 2653 h 10000"/>
                <a:gd name="connsiteX126" fmla="*/ 936 w 10000"/>
                <a:gd name="connsiteY126" fmla="*/ 2281 h 10000"/>
                <a:gd name="connsiteX127" fmla="*/ 914 w 10000"/>
                <a:gd name="connsiteY127" fmla="*/ 2229 h 10000"/>
                <a:gd name="connsiteX128" fmla="*/ 1037 w 10000"/>
                <a:gd name="connsiteY128" fmla="*/ 2250 h 10000"/>
                <a:gd name="connsiteX129" fmla="*/ 1087 w 10000"/>
                <a:gd name="connsiteY129" fmla="*/ 2404 h 10000"/>
                <a:gd name="connsiteX130" fmla="*/ 1021 w 10000"/>
                <a:gd name="connsiteY130" fmla="*/ 2529 h 10000"/>
                <a:gd name="connsiteX131" fmla="*/ 1135 w 10000"/>
                <a:gd name="connsiteY131" fmla="*/ 2694 h 10000"/>
                <a:gd name="connsiteX132" fmla="*/ 1226 w 10000"/>
                <a:gd name="connsiteY132" fmla="*/ 2529 h 10000"/>
                <a:gd name="connsiteX133" fmla="*/ 1339 w 10000"/>
                <a:gd name="connsiteY133" fmla="*/ 2301 h 10000"/>
                <a:gd name="connsiteX134" fmla="*/ 1459 w 10000"/>
                <a:gd name="connsiteY134" fmla="*/ 2157 h 10000"/>
                <a:gd name="connsiteX135" fmla="*/ 1497 w 10000"/>
                <a:gd name="connsiteY135" fmla="*/ 2250 h 10000"/>
                <a:gd name="connsiteX136" fmla="*/ 1807 w 10000"/>
                <a:gd name="connsiteY136" fmla="*/ 2054 h 10000"/>
                <a:gd name="connsiteX137" fmla="*/ 1870 w 10000"/>
                <a:gd name="connsiteY137" fmla="*/ 2250 h 10000"/>
                <a:gd name="connsiteX138" fmla="*/ 1860 w 10000"/>
                <a:gd name="connsiteY138" fmla="*/ 2002 h 10000"/>
                <a:gd name="connsiteX139" fmla="*/ 1778 w 10000"/>
                <a:gd name="connsiteY139" fmla="*/ 1786 h 10000"/>
                <a:gd name="connsiteX140" fmla="*/ 1763 w 10000"/>
                <a:gd name="connsiteY140" fmla="*/ 1703 h 10000"/>
                <a:gd name="connsiteX141" fmla="*/ 1823 w 10000"/>
                <a:gd name="connsiteY141" fmla="*/ 1786 h 10000"/>
                <a:gd name="connsiteX142" fmla="*/ 2034 w 10000"/>
                <a:gd name="connsiteY142" fmla="*/ 1951 h 10000"/>
                <a:gd name="connsiteX143" fmla="*/ 2270 w 10000"/>
                <a:gd name="connsiteY143" fmla="*/ 2126 h 10000"/>
                <a:gd name="connsiteX144" fmla="*/ 2384 w 10000"/>
                <a:gd name="connsiteY144" fmla="*/ 2250 h 10000"/>
                <a:gd name="connsiteX145" fmla="*/ 2421 w 10000"/>
                <a:gd name="connsiteY145" fmla="*/ 2074 h 10000"/>
                <a:gd name="connsiteX146" fmla="*/ 2368 w 10000"/>
                <a:gd name="connsiteY146" fmla="*/ 2033 h 10000"/>
                <a:gd name="connsiteX147" fmla="*/ 2299 w 10000"/>
                <a:gd name="connsiteY147" fmla="*/ 1930 h 10000"/>
                <a:gd name="connsiteX148" fmla="*/ 2254 w 10000"/>
                <a:gd name="connsiteY148" fmla="*/ 1734 h 10000"/>
                <a:gd name="connsiteX149" fmla="*/ 2185 w 10000"/>
                <a:gd name="connsiteY149" fmla="*/ 1486 h 10000"/>
                <a:gd name="connsiteX150" fmla="*/ 2210 w 10000"/>
                <a:gd name="connsiteY150" fmla="*/ 1434 h 10000"/>
                <a:gd name="connsiteX151" fmla="*/ 2232 w 10000"/>
                <a:gd name="connsiteY151" fmla="*/ 1455 h 10000"/>
                <a:gd name="connsiteX152" fmla="*/ 2292 w 10000"/>
                <a:gd name="connsiteY152" fmla="*/ 1115 h 10000"/>
                <a:gd name="connsiteX153" fmla="*/ 2443 w 10000"/>
                <a:gd name="connsiteY153" fmla="*/ 1135 h 10000"/>
                <a:gd name="connsiteX154" fmla="*/ 2488 w 10000"/>
                <a:gd name="connsiteY154" fmla="*/ 1311 h 10000"/>
                <a:gd name="connsiteX155" fmla="*/ 2519 w 10000"/>
                <a:gd name="connsiteY155" fmla="*/ 1538 h 10000"/>
                <a:gd name="connsiteX156" fmla="*/ 2573 w 10000"/>
                <a:gd name="connsiteY156" fmla="*/ 1734 h 10000"/>
                <a:gd name="connsiteX157" fmla="*/ 2670 w 10000"/>
                <a:gd name="connsiteY157" fmla="*/ 2157 h 10000"/>
                <a:gd name="connsiteX158" fmla="*/ 2481 w 10000"/>
                <a:gd name="connsiteY158" fmla="*/ 2673 h 10000"/>
                <a:gd name="connsiteX159" fmla="*/ 2557 w 10000"/>
                <a:gd name="connsiteY159" fmla="*/ 2746 h 10000"/>
                <a:gd name="connsiteX160" fmla="*/ 2655 w 10000"/>
                <a:gd name="connsiteY160" fmla="*/ 2818 h 10000"/>
                <a:gd name="connsiteX161" fmla="*/ 2784 w 10000"/>
                <a:gd name="connsiteY161" fmla="*/ 2622 h 10000"/>
                <a:gd name="connsiteX162" fmla="*/ 2790 w 10000"/>
                <a:gd name="connsiteY162" fmla="*/ 2404 h 10000"/>
                <a:gd name="connsiteX163" fmla="*/ 2746 w 10000"/>
                <a:gd name="connsiteY163" fmla="*/ 2301 h 10000"/>
                <a:gd name="connsiteX164" fmla="*/ 2919 w 10000"/>
                <a:gd name="connsiteY164" fmla="*/ 2250 h 10000"/>
                <a:gd name="connsiteX165" fmla="*/ 2989 w 10000"/>
                <a:gd name="connsiteY165" fmla="*/ 2497 h 10000"/>
                <a:gd name="connsiteX166" fmla="*/ 2989 w 10000"/>
                <a:gd name="connsiteY166" fmla="*/ 2425 h 10000"/>
                <a:gd name="connsiteX167" fmla="*/ 2973 w 10000"/>
                <a:gd name="connsiteY167" fmla="*/ 2353 h 10000"/>
                <a:gd name="connsiteX168" fmla="*/ 2967 w 10000"/>
                <a:gd name="connsiteY168" fmla="*/ 2178 h 10000"/>
                <a:gd name="connsiteX169" fmla="*/ 2800 w 10000"/>
                <a:gd name="connsiteY169" fmla="*/ 1930 h 10000"/>
                <a:gd name="connsiteX170" fmla="*/ 2670 w 10000"/>
                <a:gd name="connsiteY170" fmla="*/ 2002 h 10000"/>
                <a:gd name="connsiteX171" fmla="*/ 2617 w 10000"/>
                <a:gd name="connsiteY171" fmla="*/ 1683 h 10000"/>
                <a:gd name="connsiteX172" fmla="*/ 2563 w 10000"/>
                <a:gd name="connsiteY172" fmla="*/ 1507 h 10000"/>
                <a:gd name="connsiteX173" fmla="*/ 2617 w 10000"/>
                <a:gd name="connsiteY173" fmla="*/ 1331 h 10000"/>
                <a:gd name="connsiteX174" fmla="*/ 2611 w 10000"/>
                <a:gd name="connsiteY174" fmla="*/ 1166 h 10000"/>
                <a:gd name="connsiteX175" fmla="*/ 2588 w 10000"/>
                <a:gd name="connsiteY175" fmla="*/ 1115 h 10000"/>
                <a:gd name="connsiteX176" fmla="*/ 2626 w 10000"/>
                <a:gd name="connsiteY176" fmla="*/ 1115 h 10000"/>
                <a:gd name="connsiteX177" fmla="*/ 2670 w 10000"/>
                <a:gd name="connsiteY177" fmla="*/ 1455 h 10000"/>
                <a:gd name="connsiteX178" fmla="*/ 2891 w 10000"/>
                <a:gd name="connsiteY178" fmla="*/ 1662 h 10000"/>
                <a:gd name="connsiteX179" fmla="*/ 2724 w 10000"/>
                <a:gd name="connsiteY179" fmla="*/ 1383 h 10000"/>
                <a:gd name="connsiteX180" fmla="*/ 3049 w 10000"/>
                <a:gd name="connsiteY180" fmla="*/ 1383 h 10000"/>
                <a:gd name="connsiteX181" fmla="*/ 3102 w 10000"/>
                <a:gd name="connsiteY181" fmla="*/ 1362 h 10000"/>
                <a:gd name="connsiteX182" fmla="*/ 2897 w 10000"/>
                <a:gd name="connsiteY182" fmla="*/ 1115 h 10000"/>
                <a:gd name="connsiteX183" fmla="*/ 2951 w 10000"/>
                <a:gd name="connsiteY183" fmla="*/ 888 h 10000"/>
                <a:gd name="connsiteX184" fmla="*/ 3178 w 10000"/>
                <a:gd name="connsiteY184" fmla="*/ 888 h 10000"/>
                <a:gd name="connsiteX185" fmla="*/ 3156 w 10000"/>
                <a:gd name="connsiteY185" fmla="*/ 713 h 10000"/>
                <a:gd name="connsiteX186" fmla="*/ 3231 w 10000"/>
                <a:gd name="connsiteY186" fmla="*/ 589 h 10000"/>
                <a:gd name="connsiteX187" fmla="*/ 3276 w 10000"/>
                <a:gd name="connsiteY187" fmla="*/ 548 h 10000"/>
                <a:gd name="connsiteX188" fmla="*/ 3443 w 10000"/>
                <a:gd name="connsiteY188" fmla="*/ 423 h 10000"/>
                <a:gd name="connsiteX189" fmla="*/ 3487 w 10000"/>
                <a:gd name="connsiteY189" fmla="*/ 371 h 10000"/>
                <a:gd name="connsiteX190" fmla="*/ 3480 w 10000"/>
                <a:gd name="connsiteY190" fmla="*/ 444 h 10000"/>
                <a:gd name="connsiteX191" fmla="*/ 3660 w 10000"/>
                <a:gd name="connsiteY191" fmla="*/ 371 h 10000"/>
                <a:gd name="connsiteX192" fmla="*/ 3805 w 10000"/>
                <a:gd name="connsiteY192" fmla="*/ 248 h 10000"/>
                <a:gd name="connsiteX193" fmla="*/ 3827 w 10000"/>
                <a:gd name="connsiteY193" fmla="*/ 0 h 10000"/>
                <a:gd name="connsiteX194" fmla="*/ 3988 w 10000"/>
                <a:gd name="connsiteY194" fmla="*/ 21 h 10000"/>
                <a:gd name="connsiteX195" fmla="*/ 3978 w 10000"/>
                <a:gd name="connsiteY195" fmla="*/ 93 h 10000"/>
                <a:gd name="connsiteX196" fmla="*/ 3988 w 10000"/>
                <a:gd name="connsiteY196" fmla="*/ 176 h 10000"/>
                <a:gd name="connsiteX197" fmla="*/ 4085 w 10000"/>
                <a:gd name="connsiteY197" fmla="*/ 248 h 10000"/>
                <a:gd name="connsiteX198" fmla="*/ 4379 w 10000"/>
                <a:gd name="connsiteY198" fmla="*/ 268 h 10000"/>
                <a:gd name="connsiteX199" fmla="*/ 4539 w 10000"/>
                <a:gd name="connsiteY199" fmla="*/ 392 h 10000"/>
                <a:gd name="connsiteX200" fmla="*/ 4486 w 10000"/>
                <a:gd name="connsiteY200" fmla="*/ 795 h 10000"/>
                <a:gd name="connsiteX201" fmla="*/ 4426 w 10000"/>
                <a:gd name="connsiteY201" fmla="*/ 919 h 10000"/>
                <a:gd name="connsiteX202" fmla="*/ 4356 w 10000"/>
                <a:gd name="connsiteY202" fmla="*/ 1043 h 10000"/>
                <a:gd name="connsiteX203" fmla="*/ 4372 w 10000"/>
                <a:gd name="connsiteY203" fmla="*/ 1115 h 10000"/>
                <a:gd name="connsiteX204" fmla="*/ 4583 w 10000"/>
                <a:gd name="connsiteY204" fmla="*/ 919 h 10000"/>
                <a:gd name="connsiteX205" fmla="*/ 5060 w 10000"/>
                <a:gd name="connsiteY205" fmla="*/ 991 h 10000"/>
                <a:gd name="connsiteX206" fmla="*/ 5108 w 10000"/>
                <a:gd name="connsiteY206" fmla="*/ 1063 h 10000"/>
                <a:gd name="connsiteX207" fmla="*/ 5212 w 10000"/>
                <a:gd name="connsiteY207" fmla="*/ 1187 h 10000"/>
                <a:gd name="connsiteX208" fmla="*/ 5357 w 10000"/>
                <a:gd name="connsiteY208" fmla="*/ 919 h 10000"/>
                <a:gd name="connsiteX209" fmla="*/ 5577 w 10000"/>
                <a:gd name="connsiteY209" fmla="*/ 1063 h 10000"/>
                <a:gd name="connsiteX210" fmla="*/ 5643 w 10000"/>
                <a:gd name="connsiteY210" fmla="*/ 1115 h 10000"/>
                <a:gd name="connsiteX211" fmla="*/ 5697 w 10000"/>
                <a:gd name="connsiteY211" fmla="*/ 1166 h 10000"/>
                <a:gd name="connsiteX212" fmla="*/ 5908 w 10000"/>
                <a:gd name="connsiteY212" fmla="*/ 1631 h 10000"/>
                <a:gd name="connsiteX213" fmla="*/ 5984 w 10000"/>
                <a:gd name="connsiteY213" fmla="*/ 1611 h 10000"/>
                <a:gd name="connsiteX214" fmla="*/ 5977 w 10000"/>
                <a:gd name="connsiteY214" fmla="*/ 1507 h 10000"/>
                <a:gd name="connsiteX215" fmla="*/ 5984 w 10000"/>
                <a:gd name="connsiteY215" fmla="*/ 1383 h 10000"/>
                <a:gd name="connsiteX216" fmla="*/ 6091 w 10000"/>
                <a:gd name="connsiteY216" fmla="*/ 1486 h 10000"/>
                <a:gd name="connsiteX217" fmla="*/ 6264 w 10000"/>
                <a:gd name="connsiteY217" fmla="*/ 1507 h 10000"/>
                <a:gd name="connsiteX218" fmla="*/ 6409 w 10000"/>
                <a:gd name="connsiteY218" fmla="*/ 1455 h 10000"/>
                <a:gd name="connsiteX219" fmla="*/ 6340 w 10000"/>
                <a:gd name="connsiteY219" fmla="*/ 1362 h 10000"/>
                <a:gd name="connsiteX220" fmla="*/ 6431 w 10000"/>
                <a:gd name="connsiteY220" fmla="*/ 1084 h 10000"/>
                <a:gd name="connsiteX221" fmla="*/ 6687 w 10000"/>
                <a:gd name="connsiteY221" fmla="*/ 1207 h 10000"/>
                <a:gd name="connsiteX222" fmla="*/ 6945 w 10000"/>
                <a:gd name="connsiteY222" fmla="*/ 1331 h 10000"/>
                <a:gd name="connsiteX223" fmla="*/ 6967 w 10000"/>
                <a:gd name="connsiteY223" fmla="*/ 1362 h 10000"/>
                <a:gd name="connsiteX224" fmla="*/ 7194 w 10000"/>
                <a:gd name="connsiteY224" fmla="*/ 1611 h 10000"/>
                <a:gd name="connsiteX225" fmla="*/ 7367 w 10000"/>
                <a:gd name="connsiteY225" fmla="*/ 1507 h 10000"/>
                <a:gd name="connsiteX226" fmla="*/ 7582 w 10000"/>
                <a:gd name="connsiteY226" fmla="*/ 1538 h 10000"/>
                <a:gd name="connsiteX227" fmla="*/ 7657 w 10000"/>
                <a:gd name="connsiteY227" fmla="*/ 1611 h 10000"/>
                <a:gd name="connsiteX228" fmla="*/ 7928 w 10000"/>
                <a:gd name="connsiteY228" fmla="*/ 1930 h 10000"/>
                <a:gd name="connsiteX229" fmla="*/ 8231 w 10000"/>
                <a:gd name="connsiteY229" fmla="*/ 1879 h 10000"/>
                <a:gd name="connsiteX230" fmla="*/ 8339 w 10000"/>
                <a:gd name="connsiteY230" fmla="*/ 2033 h 10000"/>
                <a:gd name="connsiteX231" fmla="*/ 8490 w 10000"/>
                <a:gd name="connsiteY231" fmla="*/ 2157 h 10000"/>
                <a:gd name="connsiteX232" fmla="*/ 8519 w 10000"/>
                <a:gd name="connsiteY232" fmla="*/ 2105 h 10000"/>
                <a:gd name="connsiteX233" fmla="*/ 8497 w 10000"/>
                <a:gd name="connsiteY233" fmla="*/ 2074 h 10000"/>
                <a:gd name="connsiteX234" fmla="*/ 8383 w 10000"/>
                <a:gd name="connsiteY234" fmla="*/ 1930 h 10000"/>
                <a:gd name="connsiteX235" fmla="*/ 8465 w 10000"/>
                <a:gd name="connsiteY235" fmla="*/ 1755 h 10000"/>
                <a:gd name="connsiteX236" fmla="*/ 8664 w 10000"/>
                <a:gd name="connsiteY236" fmla="*/ 1910 h 10000"/>
                <a:gd name="connsiteX237" fmla="*/ 8950 w 10000"/>
                <a:gd name="connsiteY237" fmla="*/ 1982 h 10000"/>
                <a:gd name="connsiteX238" fmla="*/ 9206 w 10000"/>
                <a:gd name="connsiteY238" fmla="*/ 2260 h 10000"/>
                <a:gd name="connsiteX239" fmla="*/ 9344 w 10000"/>
                <a:gd name="connsiteY239" fmla="*/ 2332 h 10000"/>
                <a:gd name="connsiteX240" fmla="*/ 9451 w 10000"/>
                <a:gd name="connsiteY240" fmla="*/ 2446 h 10000"/>
                <a:gd name="connsiteX241" fmla="*/ 9574 w 10000"/>
                <a:gd name="connsiteY241" fmla="*/ 2632 h 10000"/>
                <a:gd name="connsiteX242" fmla="*/ 9631 w 10000"/>
                <a:gd name="connsiteY242" fmla="*/ 2756 h 10000"/>
                <a:gd name="connsiteX243" fmla="*/ 9726 w 10000"/>
                <a:gd name="connsiteY243" fmla="*/ 2787 h 10000"/>
                <a:gd name="connsiteX244" fmla="*/ 9590 w 10000"/>
                <a:gd name="connsiteY244" fmla="*/ 2570 h 10000"/>
                <a:gd name="connsiteX245" fmla="*/ 9915 w 10000"/>
                <a:gd name="connsiteY245" fmla="*/ 2756 h 10000"/>
                <a:gd name="connsiteX246" fmla="*/ 10000 w 10000"/>
                <a:gd name="connsiteY246" fmla="*/ 3014 h 10000"/>
                <a:gd name="connsiteX247" fmla="*/ 9934 w 10000"/>
                <a:gd name="connsiteY247" fmla="*/ 2941 h 10000"/>
                <a:gd name="connsiteX248" fmla="*/ 9874 w 10000"/>
                <a:gd name="connsiteY248" fmla="*/ 2952 h 10000"/>
                <a:gd name="connsiteX249" fmla="*/ 10000 w 10000"/>
                <a:gd name="connsiteY249" fmla="*/ 3292 h 10000"/>
                <a:gd name="connsiteX250" fmla="*/ 9845 w 10000"/>
                <a:gd name="connsiteY250" fmla="*/ 3220 h 10000"/>
                <a:gd name="connsiteX251" fmla="*/ 9745 w 10000"/>
                <a:gd name="connsiteY251" fmla="*/ 3075 h 10000"/>
                <a:gd name="connsiteX252" fmla="*/ 9641 w 10000"/>
                <a:gd name="connsiteY252" fmla="*/ 2972 h 10000"/>
                <a:gd name="connsiteX253" fmla="*/ 9555 w 10000"/>
                <a:gd name="connsiteY253" fmla="*/ 3003 h 10000"/>
                <a:gd name="connsiteX254" fmla="*/ 9470 w 10000"/>
                <a:gd name="connsiteY254" fmla="*/ 2787 h 10000"/>
                <a:gd name="connsiteX255" fmla="*/ 9366 w 10000"/>
                <a:gd name="connsiteY255" fmla="*/ 2725 h 10000"/>
                <a:gd name="connsiteX256" fmla="*/ 9461 w 10000"/>
                <a:gd name="connsiteY256" fmla="*/ 2972 h 10000"/>
                <a:gd name="connsiteX257" fmla="*/ 9470 w 10000"/>
                <a:gd name="connsiteY257" fmla="*/ 3230 h 10000"/>
                <a:gd name="connsiteX258" fmla="*/ 9288 w 10000"/>
                <a:gd name="connsiteY258" fmla="*/ 3065 h 10000"/>
                <a:gd name="connsiteX259" fmla="*/ 9262 w 10000"/>
                <a:gd name="connsiteY259" fmla="*/ 3230 h 10000"/>
                <a:gd name="connsiteX260" fmla="*/ 9363 w 10000"/>
                <a:gd name="connsiteY260" fmla="*/ 3230 h 10000"/>
                <a:gd name="connsiteX261" fmla="*/ 9451 w 10000"/>
                <a:gd name="connsiteY261" fmla="*/ 3354 h 10000"/>
                <a:gd name="connsiteX262" fmla="*/ 9659 w 10000"/>
                <a:gd name="connsiteY262" fmla="*/ 3685 h 10000"/>
                <a:gd name="connsiteX263" fmla="*/ 9735 w 10000"/>
                <a:gd name="connsiteY263" fmla="*/ 3839 h 10000"/>
                <a:gd name="connsiteX264" fmla="*/ 9552 w 10000"/>
                <a:gd name="connsiteY264" fmla="*/ 3757 h 10000"/>
                <a:gd name="connsiteX265" fmla="*/ 9451 w 10000"/>
                <a:gd name="connsiteY265" fmla="*/ 4025 h 10000"/>
                <a:gd name="connsiteX266" fmla="*/ 9385 w 10000"/>
                <a:gd name="connsiteY266" fmla="*/ 4283 h 10000"/>
                <a:gd name="connsiteX267" fmla="*/ 9376 w 10000"/>
                <a:gd name="connsiteY267" fmla="*/ 4499 h 10000"/>
                <a:gd name="connsiteX268" fmla="*/ 9335 w 10000"/>
                <a:gd name="connsiteY268" fmla="*/ 4303 h 10000"/>
                <a:gd name="connsiteX269" fmla="*/ 9149 w 10000"/>
                <a:gd name="connsiteY269" fmla="*/ 4314 h 10000"/>
                <a:gd name="connsiteX270" fmla="*/ 9155 w 10000"/>
                <a:gd name="connsiteY270" fmla="*/ 4531 h 10000"/>
                <a:gd name="connsiteX271" fmla="*/ 9061 w 10000"/>
                <a:gd name="connsiteY271" fmla="*/ 4365 h 10000"/>
                <a:gd name="connsiteX272" fmla="*/ 9054 w 10000"/>
                <a:gd name="connsiteY272" fmla="*/ 4521 h 10000"/>
                <a:gd name="connsiteX273" fmla="*/ 8998 w 10000"/>
                <a:gd name="connsiteY273" fmla="*/ 4458 h 10000"/>
                <a:gd name="connsiteX274" fmla="*/ 8966 w 10000"/>
                <a:gd name="connsiteY274" fmla="*/ 4562 h 10000"/>
                <a:gd name="connsiteX275" fmla="*/ 9007 w 10000"/>
                <a:gd name="connsiteY275" fmla="*/ 4686 h 10000"/>
                <a:gd name="connsiteX276" fmla="*/ 9004 w 10000"/>
                <a:gd name="connsiteY276" fmla="*/ 4995 h 10000"/>
                <a:gd name="connsiteX277" fmla="*/ 9073 w 10000"/>
                <a:gd name="connsiteY277" fmla="*/ 5211 h 10000"/>
                <a:gd name="connsiteX278" fmla="*/ 9130 w 10000"/>
                <a:gd name="connsiteY278" fmla="*/ 5150 h 10000"/>
                <a:gd name="connsiteX279" fmla="*/ 9158 w 10000"/>
                <a:gd name="connsiteY279" fmla="*/ 5211 h 10000"/>
                <a:gd name="connsiteX280" fmla="*/ 9231 w 10000"/>
                <a:gd name="connsiteY280" fmla="*/ 5428 h 10000"/>
                <a:gd name="connsiteX281" fmla="*/ 9215 w 10000"/>
                <a:gd name="connsiteY281" fmla="*/ 5604 h 10000"/>
                <a:gd name="connsiteX282" fmla="*/ 9221 w 10000"/>
                <a:gd name="connsiteY282" fmla="*/ 5769 h 10000"/>
                <a:gd name="connsiteX283" fmla="*/ 9269 w 10000"/>
                <a:gd name="connsiteY283" fmla="*/ 5883 h 10000"/>
                <a:gd name="connsiteX284" fmla="*/ 9344 w 10000"/>
                <a:gd name="connsiteY284" fmla="*/ 6068 h 10000"/>
                <a:gd name="connsiteX285" fmla="*/ 9269 w 10000"/>
                <a:gd name="connsiteY285" fmla="*/ 6068 h 10000"/>
                <a:gd name="connsiteX286" fmla="*/ 9253 w 10000"/>
                <a:gd name="connsiteY286" fmla="*/ 6223 h 10000"/>
                <a:gd name="connsiteX287" fmla="*/ 9319 w 10000"/>
                <a:gd name="connsiteY287" fmla="*/ 6408 h 10000"/>
                <a:gd name="connsiteX288" fmla="*/ 9250 w 10000"/>
                <a:gd name="connsiteY288" fmla="*/ 6502 h 10000"/>
                <a:gd name="connsiteX289" fmla="*/ 9297 w 10000"/>
                <a:gd name="connsiteY289" fmla="*/ 6729 h 10000"/>
                <a:gd name="connsiteX290" fmla="*/ 9281 w 10000"/>
                <a:gd name="connsiteY290" fmla="*/ 7069 h 10000"/>
                <a:gd name="connsiteX291" fmla="*/ 9061 w 10000"/>
                <a:gd name="connsiteY291" fmla="*/ 6408 h 10000"/>
                <a:gd name="connsiteX292" fmla="*/ 8824 w 10000"/>
                <a:gd name="connsiteY292" fmla="*/ 5759 h 10000"/>
                <a:gd name="connsiteX293" fmla="*/ 8771 w 10000"/>
                <a:gd name="connsiteY293" fmla="*/ 5459 h 10000"/>
                <a:gd name="connsiteX294" fmla="*/ 8768 w 10000"/>
                <a:gd name="connsiteY294" fmla="*/ 5211 h 10000"/>
                <a:gd name="connsiteX295" fmla="*/ 8692 w 10000"/>
                <a:gd name="connsiteY295" fmla="*/ 5047 h 10000"/>
                <a:gd name="connsiteX296" fmla="*/ 8771 w 10000"/>
                <a:gd name="connsiteY296" fmla="*/ 5088 h 10000"/>
                <a:gd name="connsiteX297" fmla="*/ 8809 w 10000"/>
                <a:gd name="connsiteY297" fmla="*/ 5108 h 10000"/>
                <a:gd name="connsiteX298" fmla="*/ 8809 w 10000"/>
                <a:gd name="connsiteY298" fmla="*/ 4840 h 10000"/>
                <a:gd name="connsiteX299" fmla="*/ 8827 w 10000"/>
                <a:gd name="connsiteY299" fmla="*/ 4437 h 10000"/>
                <a:gd name="connsiteX300" fmla="*/ 8853 w 10000"/>
                <a:gd name="connsiteY300" fmla="*/ 4252 h 10000"/>
                <a:gd name="connsiteX301" fmla="*/ 8909 w 10000"/>
                <a:gd name="connsiteY301" fmla="*/ 4221 h 10000"/>
                <a:gd name="connsiteX302" fmla="*/ 8786 w 10000"/>
                <a:gd name="connsiteY302" fmla="*/ 3901 h 10000"/>
                <a:gd name="connsiteX303" fmla="*/ 8853 w 10000"/>
                <a:gd name="connsiteY303" fmla="*/ 3839 h 10000"/>
                <a:gd name="connsiteX304" fmla="*/ 8739 w 10000"/>
                <a:gd name="connsiteY304" fmla="*/ 3788 h 10000"/>
                <a:gd name="connsiteX305" fmla="*/ 8755 w 10000"/>
                <a:gd name="connsiteY305" fmla="*/ 3984 h 10000"/>
                <a:gd name="connsiteX306" fmla="*/ 8692 w 10000"/>
                <a:gd name="connsiteY306" fmla="*/ 4303 h 10000"/>
                <a:gd name="connsiteX307" fmla="*/ 8604 w 10000"/>
                <a:gd name="connsiteY307" fmla="*/ 4210 h 10000"/>
                <a:gd name="connsiteX308" fmla="*/ 8550 w 10000"/>
                <a:gd name="connsiteY308" fmla="*/ 4056 h 10000"/>
                <a:gd name="connsiteX309" fmla="*/ 8481 w 10000"/>
                <a:gd name="connsiteY309" fmla="*/ 4138 h 10000"/>
                <a:gd name="connsiteX310" fmla="*/ 8389 w 10000"/>
                <a:gd name="connsiteY310" fmla="*/ 4107 h 10000"/>
                <a:gd name="connsiteX311" fmla="*/ 8352 w 10000"/>
                <a:gd name="connsiteY311" fmla="*/ 4406 h 10000"/>
                <a:gd name="connsiteX312" fmla="*/ 8481 w 10000"/>
                <a:gd name="connsiteY312" fmla="*/ 4655 h 10000"/>
                <a:gd name="connsiteX313" fmla="*/ 8405 w 10000"/>
                <a:gd name="connsiteY313" fmla="*/ 4830 h 10000"/>
                <a:gd name="connsiteX314" fmla="*/ 8225 w 10000"/>
                <a:gd name="connsiteY314" fmla="*/ 4799 h 10000"/>
                <a:gd name="connsiteX315" fmla="*/ 8209 w 10000"/>
                <a:gd name="connsiteY315" fmla="*/ 4655 h 10000"/>
                <a:gd name="connsiteX316" fmla="*/ 8102 w 10000"/>
                <a:gd name="connsiteY316" fmla="*/ 4634 h 10000"/>
                <a:gd name="connsiteX317" fmla="*/ 7641 w 10000"/>
                <a:gd name="connsiteY317" fmla="*/ 4779 h 10000"/>
                <a:gd name="connsiteX318" fmla="*/ 7610 w 10000"/>
                <a:gd name="connsiteY318" fmla="*/ 5005 h 10000"/>
                <a:gd name="connsiteX319" fmla="*/ 7550 w 10000"/>
                <a:gd name="connsiteY319" fmla="*/ 5666 h 10000"/>
                <a:gd name="connsiteX320" fmla="*/ 7496 w 10000"/>
                <a:gd name="connsiteY320" fmla="*/ 5965 h 10000"/>
                <a:gd name="connsiteX321" fmla="*/ 7701 w 10000"/>
                <a:gd name="connsiteY321" fmla="*/ 6161 h 10000"/>
                <a:gd name="connsiteX322" fmla="*/ 7745 w 10000"/>
                <a:gd name="connsiteY322" fmla="*/ 6243 h 10000"/>
                <a:gd name="connsiteX323" fmla="*/ 7771 w 10000"/>
                <a:gd name="connsiteY323" fmla="*/ 6285 h 10000"/>
                <a:gd name="connsiteX324" fmla="*/ 7793 w 10000"/>
                <a:gd name="connsiteY324" fmla="*/ 6068 h 10000"/>
                <a:gd name="connsiteX325" fmla="*/ 7912 w 10000"/>
                <a:gd name="connsiteY325" fmla="*/ 6089 h 10000"/>
                <a:gd name="connsiteX326" fmla="*/ 8004 w 10000"/>
                <a:gd name="connsiteY326" fmla="*/ 6367 h 10000"/>
                <a:gd name="connsiteX327" fmla="*/ 8064 w 10000"/>
                <a:gd name="connsiteY327" fmla="*/ 6616 h 10000"/>
                <a:gd name="connsiteX328" fmla="*/ 8111 w 10000"/>
                <a:gd name="connsiteY328" fmla="*/ 6781 h 10000"/>
                <a:gd name="connsiteX329" fmla="*/ 8048 w 10000"/>
                <a:gd name="connsiteY329" fmla="*/ 6491 h 10000"/>
                <a:gd name="connsiteX330" fmla="*/ 8124 w 10000"/>
                <a:gd name="connsiteY330" fmla="*/ 6336 h 10000"/>
                <a:gd name="connsiteX331" fmla="*/ 8177 w 10000"/>
                <a:gd name="connsiteY331" fmla="*/ 6512 h 10000"/>
                <a:gd name="connsiteX332" fmla="*/ 8300 w 10000"/>
                <a:gd name="connsiteY332" fmla="*/ 6987 h 10000"/>
                <a:gd name="connsiteX333" fmla="*/ 8361 w 10000"/>
                <a:gd name="connsiteY333" fmla="*/ 7152 h 10000"/>
                <a:gd name="connsiteX334" fmla="*/ 8490 w 10000"/>
                <a:gd name="connsiteY334" fmla="*/ 7482 h 10000"/>
                <a:gd name="connsiteX335" fmla="*/ 8604 w 10000"/>
                <a:gd name="connsiteY335" fmla="*/ 7854 h 10000"/>
                <a:gd name="connsiteX336" fmla="*/ 8474 w 10000"/>
                <a:gd name="connsiteY336" fmla="*/ 7647 h 10000"/>
                <a:gd name="connsiteX337" fmla="*/ 8443 w 10000"/>
                <a:gd name="connsiteY337" fmla="*/ 7678 h 10000"/>
                <a:gd name="connsiteX338" fmla="*/ 8512 w 10000"/>
                <a:gd name="connsiteY338" fmla="*/ 8050 h 10000"/>
                <a:gd name="connsiteX339" fmla="*/ 8588 w 10000"/>
                <a:gd name="connsiteY339" fmla="*/ 8266 h 10000"/>
                <a:gd name="connsiteX340" fmla="*/ 8642 w 10000"/>
                <a:gd name="connsiteY340" fmla="*/ 8472 h 10000"/>
                <a:gd name="connsiteX341" fmla="*/ 8566 w 10000"/>
                <a:gd name="connsiteY341" fmla="*/ 8421 h 10000"/>
                <a:gd name="connsiteX342" fmla="*/ 8556 w 10000"/>
                <a:gd name="connsiteY342" fmla="*/ 8669 h 10000"/>
                <a:gd name="connsiteX343" fmla="*/ 8497 w 10000"/>
                <a:gd name="connsiteY343" fmla="*/ 8493 h 10000"/>
                <a:gd name="connsiteX344" fmla="*/ 8481 w 10000"/>
                <a:gd name="connsiteY344" fmla="*/ 8421 h 10000"/>
                <a:gd name="connsiteX345" fmla="*/ 8361 w 10000"/>
                <a:gd name="connsiteY345" fmla="*/ 7751 h 10000"/>
                <a:gd name="connsiteX346" fmla="*/ 8322 w 10000"/>
                <a:gd name="connsiteY346" fmla="*/ 7524 h 10000"/>
                <a:gd name="connsiteX347" fmla="*/ 8291 w 10000"/>
                <a:gd name="connsiteY347" fmla="*/ 7378 h 10000"/>
                <a:gd name="connsiteX348" fmla="*/ 8275 w 10000"/>
                <a:gd name="connsiteY348" fmla="*/ 7306 h 10000"/>
                <a:gd name="connsiteX349" fmla="*/ 8139 w 10000"/>
                <a:gd name="connsiteY349" fmla="*/ 6863 h 10000"/>
                <a:gd name="connsiteX350" fmla="*/ 8199 w 10000"/>
                <a:gd name="connsiteY350" fmla="*/ 7451 h 10000"/>
                <a:gd name="connsiteX351" fmla="*/ 8247 w 10000"/>
                <a:gd name="connsiteY351" fmla="*/ 7998 h 10000"/>
                <a:gd name="connsiteX352" fmla="*/ 8177 w 10000"/>
                <a:gd name="connsiteY352" fmla="*/ 9133 h 10000"/>
                <a:gd name="connsiteX353" fmla="*/ 8124 w 10000"/>
                <a:gd name="connsiteY353" fmla="*/ 9484 h 10000"/>
                <a:gd name="connsiteX354" fmla="*/ 7972 w 10000"/>
                <a:gd name="connsiteY354" fmla="*/ 9432 h 10000"/>
                <a:gd name="connsiteX355" fmla="*/ 7897 w 10000"/>
                <a:gd name="connsiteY355" fmla="*/ 9660 h 10000"/>
                <a:gd name="connsiteX356" fmla="*/ 7868 w 10000"/>
                <a:gd name="connsiteY356" fmla="*/ 9588 h 10000"/>
                <a:gd name="connsiteX357" fmla="*/ 7884 w 10000"/>
                <a:gd name="connsiteY357" fmla="*/ 9536 h 10000"/>
                <a:gd name="connsiteX358" fmla="*/ 7897 w 10000"/>
                <a:gd name="connsiteY358" fmla="*/ 9380 h 10000"/>
                <a:gd name="connsiteX359" fmla="*/ 7884 w 10000"/>
                <a:gd name="connsiteY359" fmla="*/ 9236 h 10000"/>
                <a:gd name="connsiteX360" fmla="*/ 7793 w 10000"/>
                <a:gd name="connsiteY360" fmla="*/ 8865 h 10000"/>
                <a:gd name="connsiteX361" fmla="*/ 7831 w 10000"/>
                <a:gd name="connsiteY361" fmla="*/ 8741 h 10000"/>
                <a:gd name="connsiteX362" fmla="*/ 7928 w 10000"/>
                <a:gd name="connsiteY362" fmla="*/ 8844 h 10000"/>
                <a:gd name="connsiteX363" fmla="*/ 7912 w 10000"/>
                <a:gd name="connsiteY363" fmla="*/ 8318 h 10000"/>
                <a:gd name="connsiteX364" fmla="*/ 7906 w 10000"/>
                <a:gd name="connsiteY364" fmla="*/ 8019 h 10000"/>
                <a:gd name="connsiteX365" fmla="*/ 7846 w 10000"/>
                <a:gd name="connsiteY365" fmla="*/ 7802 h 10000"/>
                <a:gd name="connsiteX366" fmla="*/ 7723 w 10000"/>
                <a:gd name="connsiteY366" fmla="*/ 8050 h 10000"/>
                <a:gd name="connsiteX367" fmla="*/ 7619 w 10000"/>
                <a:gd name="connsiteY367" fmla="*/ 8019 h 10000"/>
                <a:gd name="connsiteX368" fmla="*/ 7528 w 10000"/>
                <a:gd name="connsiteY368" fmla="*/ 7699 h 10000"/>
                <a:gd name="connsiteX369" fmla="*/ 7355 w 10000"/>
                <a:gd name="connsiteY369" fmla="*/ 7482 h 10000"/>
                <a:gd name="connsiteX370" fmla="*/ 7279 w 10000"/>
                <a:gd name="connsiteY370" fmla="*/ 7482 h 10000"/>
                <a:gd name="connsiteX371" fmla="*/ 7080 w 10000"/>
                <a:gd name="connsiteY371" fmla="*/ 6781 h 10000"/>
                <a:gd name="connsiteX372" fmla="*/ 6901 w 10000"/>
                <a:gd name="connsiteY372" fmla="*/ 6460 h 10000"/>
                <a:gd name="connsiteX373" fmla="*/ 6724 w 10000"/>
                <a:gd name="connsiteY373" fmla="*/ 6336 h 10000"/>
                <a:gd name="connsiteX374" fmla="*/ 6583 w 10000"/>
                <a:gd name="connsiteY374" fmla="*/ 6408 h 10000"/>
                <a:gd name="connsiteX375" fmla="*/ 6567 w 10000"/>
                <a:gd name="connsiteY375" fmla="*/ 6585 h 10000"/>
                <a:gd name="connsiteX376" fmla="*/ 6664 w 10000"/>
                <a:gd name="connsiteY376" fmla="*/ 6760 h 10000"/>
                <a:gd name="connsiteX377" fmla="*/ 6636 w 10000"/>
                <a:gd name="connsiteY377" fmla="*/ 6935 h 10000"/>
                <a:gd name="connsiteX378" fmla="*/ 6636 w 10000"/>
                <a:gd name="connsiteY378" fmla="*/ 7399 h 10000"/>
                <a:gd name="connsiteX379" fmla="*/ 6560 w 10000"/>
                <a:gd name="connsiteY379" fmla="*/ 7482 h 10000"/>
                <a:gd name="connsiteX380" fmla="*/ 6485 w 10000"/>
                <a:gd name="connsiteY380" fmla="*/ 7378 h 10000"/>
                <a:gd name="connsiteX381" fmla="*/ 6400 w 10000"/>
                <a:gd name="connsiteY381" fmla="*/ 7399 h 10000"/>
                <a:gd name="connsiteX382" fmla="*/ 6334 w 10000"/>
                <a:gd name="connsiteY382" fmla="*/ 7275 h 10000"/>
                <a:gd name="connsiteX383" fmla="*/ 6258 w 10000"/>
                <a:gd name="connsiteY383" fmla="*/ 7358 h 10000"/>
                <a:gd name="connsiteX384" fmla="*/ 6220 w 10000"/>
                <a:gd name="connsiteY384" fmla="*/ 7524 h 10000"/>
                <a:gd name="connsiteX385" fmla="*/ 6081 w 10000"/>
                <a:gd name="connsiteY385" fmla="*/ 7606 h 10000"/>
                <a:gd name="connsiteX386" fmla="*/ 5892 w 10000"/>
                <a:gd name="connsiteY386" fmla="*/ 7575 h 10000"/>
                <a:gd name="connsiteX387" fmla="*/ 5855 w 10000"/>
                <a:gd name="connsiteY387" fmla="*/ 7327 h 10000"/>
                <a:gd name="connsiteX388" fmla="*/ 5643 w 10000"/>
                <a:gd name="connsiteY388" fmla="*/ 7255 h 10000"/>
                <a:gd name="connsiteX389" fmla="*/ 5539 w 10000"/>
                <a:gd name="connsiteY389" fmla="*/ 7358 h 10000"/>
                <a:gd name="connsiteX390" fmla="*/ 5416 w 10000"/>
                <a:gd name="connsiteY390" fmla="*/ 7203 h 10000"/>
                <a:gd name="connsiteX391" fmla="*/ 5372 w 10000"/>
                <a:gd name="connsiteY391"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2384 w 10000"/>
                <a:gd name="connsiteY26" fmla="*/ 7183 h 10000"/>
                <a:gd name="connsiteX27" fmla="*/ 2308 w 10000"/>
                <a:gd name="connsiteY27" fmla="*/ 7028 h 10000"/>
                <a:gd name="connsiteX28" fmla="*/ 1610 w 10000"/>
                <a:gd name="connsiteY28" fmla="*/ 7183 h 10000"/>
                <a:gd name="connsiteX29" fmla="*/ 1655 w 10000"/>
                <a:gd name="connsiteY29" fmla="*/ 7430 h 10000"/>
                <a:gd name="connsiteX30" fmla="*/ 1604 w 10000"/>
                <a:gd name="connsiteY30" fmla="*/ 7430 h 10000"/>
                <a:gd name="connsiteX31" fmla="*/ 1551 w 10000"/>
                <a:gd name="connsiteY31" fmla="*/ 7255 h 10000"/>
                <a:gd name="connsiteX32" fmla="*/ 1513 w 10000"/>
                <a:gd name="connsiteY32" fmla="*/ 7430 h 10000"/>
                <a:gd name="connsiteX33" fmla="*/ 1519 w 10000"/>
                <a:gd name="connsiteY33" fmla="*/ 7854 h 10000"/>
                <a:gd name="connsiteX34" fmla="*/ 1604 w 10000"/>
                <a:gd name="connsiteY34" fmla="*/ 8070 h 10000"/>
                <a:gd name="connsiteX35" fmla="*/ 1648 w 10000"/>
                <a:gd name="connsiteY35" fmla="*/ 8019 h 10000"/>
                <a:gd name="connsiteX36" fmla="*/ 1741 w 10000"/>
                <a:gd name="connsiteY36" fmla="*/ 8493 h 10000"/>
                <a:gd name="connsiteX37" fmla="*/ 1610 w 10000"/>
                <a:gd name="connsiteY37" fmla="*/ 8669 h 10000"/>
                <a:gd name="connsiteX38" fmla="*/ 1595 w 10000"/>
                <a:gd name="connsiteY38" fmla="*/ 9009 h 10000"/>
                <a:gd name="connsiteX39" fmla="*/ 1664 w 10000"/>
                <a:gd name="connsiteY39" fmla="*/ 9236 h 10000"/>
                <a:gd name="connsiteX40" fmla="*/ 1664 w 10000"/>
                <a:gd name="connsiteY40" fmla="*/ 9484 h 10000"/>
                <a:gd name="connsiteX41" fmla="*/ 1769 w 10000"/>
                <a:gd name="connsiteY41" fmla="*/ 9835 h 10000"/>
                <a:gd name="connsiteX42" fmla="*/ 1703 w 10000"/>
                <a:gd name="connsiteY42" fmla="*/ 10000 h 10000"/>
                <a:gd name="connsiteX43" fmla="*/ 1604 w 10000"/>
                <a:gd name="connsiteY43" fmla="*/ 9753 h 10000"/>
                <a:gd name="connsiteX44" fmla="*/ 1465 w 10000"/>
                <a:gd name="connsiteY44" fmla="*/ 9505 h 10000"/>
                <a:gd name="connsiteX45" fmla="*/ 1406 w 10000"/>
                <a:gd name="connsiteY45" fmla="*/ 9588 h 10000"/>
                <a:gd name="connsiteX46" fmla="*/ 1308 w 10000"/>
                <a:gd name="connsiteY46" fmla="*/ 9380 h 10000"/>
                <a:gd name="connsiteX47" fmla="*/ 1097 w 10000"/>
                <a:gd name="connsiteY47" fmla="*/ 9339 h 10000"/>
                <a:gd name="connsiteX48" fmla="*/ 848 w 10000"/>
                <a:gd name="connsiteY48" fmla="*/ 8813 h 10000"/>
                <a:gd name="connsiteX49" fmla="*/ 914 w 10000"/>
                <a:gd name="connsiteY49" fmla="*/ 8721 h 10000"/>
                <a:gd name="connsiteX50" fmla="*/ 961 w 10000"/>
                <a:gd name="connsiteY50" fmla="*/ 8493 h 10000"/>
                <a:gd name="connsiteX51" fmla="*/ 908 w 10000"/>
                <a:gd name="connsiteY51" fmla="*/ 8390 h 10000"/>
                <a:gd name="connsiteX52" fmla="*/ 1021 w 10000"/>
                <a:gd name="connsiteY52" fmla="*/ 8245 h 10000"/>
                <a:gd name="connsiteX53" fmla="*/ 945 w 10000"/>
                <a:gd name="connsiteY53" fmla="*/ 8194 h 10000"/>
                <a:gd name="connsiteX54" fmla="*/ 958 w 10000"/>
                <a:gd name="connsiteY54" fmla="*/ 8091 h 10000"/>
                <a:gd name="connsiteX55" fmla="*/ 1005 w 10000"/>
                <a:gd name="connsiteY55" fmla="*/ 8111 h 10000"/>
                <a:gd name="connsiteX56" fmla="*/ 1059 w 10000"/>
                <a:gd name="connsiteY56" fmla="*/ 8019 h 10000"/>
                <a:gd name="connsiteX57" fmla="*/ 1034 w 10000"/>
                <a:gd name="connsiteY57" fmla="*/ 7864 h 10000"/>
                <a:gd name="connsiteX58" fmla="*/ 1043 w 10000"/>
                <a:gd name="connsiteY58" fmla="*/ 7503 h 10000"/>
                <a:gd name="connsiteX59" fmla="*/ 930 w 10000"/>
                <a:gd name="connsiteY59" fmla="*/ 7440 h 10000"/>
                <a:gd name="connsiteX60" fmla="*/ 832 w 10000"/>
                <a:gd name="connsiteY60" fmla="*/ 7286 h 10000"/>
                <a:gd name="connsiteX61" fmla="*/ 700 w 10000"/>
                <a:gd name="connsiteY61" fmla="*/ 7275 h 10000"/>
                <a:gd name="connsiteX62" fmla="*/ 684 w 10000"/>
                <a:gd name="connsiteY62" fmla="*/ 7090 h 10000"/>
                <a:gd name="connsiteX63" fmla="*/ 596 w 10000"/>
                <a:gd name="connsiteY63" fmla="*/ 6945 h 10000"/>
                <a:gd name="connsiteX64" fmla="*/ 615 w 10000"/>
                <a:gd name="connsiteY64" fmla="*/ 6822 h 10000"/>
                <a:gd name="connsiteX65" fmla="*/ 561 w 10000"/>
                <a:gd name="connsiteY65" fmla="*/ 6698 h 10000"/>
                <a:gd name="connsiteX66" fmla="*/ 457 w 10000"/>
                <a:gd name="connsiteY66" fmla="*/ 6698 h 10000"/>
                <a:gd name="connsiteX67" fmla="*/ 425 w 10000"/>
                <a:gd name="connsiteY67" fmla="*/ 6791 h 10000"/>
                <a:gd name="connsiteX68" fmla="*/ 400 w 10000"/>
                <a:gd name="connsiteY68" fmla="*/ 6750 h 10000"/>
                <a:gd name="connsiteX69" fmla="*/ 378 w 10000"/>
                <a:gd name="connsiteY69" fmla="*/ 6439 h 10000"/>
                <a:gd name="connsiteX70" fmla="*/ 419 w 10000"/>
                <a:gd name="connsiteY70" fmla="*/ 6470 h 10000"/>
                <a:gd name="connsiteX71" fmla="*/ 466 w 10000"/>
                <a:gd name="connsiteY71" fmla="*/ 6347 h 10000"/>
                <a:gd name="connsiteX72" fmla="*/ 400 w 10000"/>
                <a:gd name="connsiteY72" fmla="*/ 6233 h 10000"/>
                <a:gd name="connsiteX73" fmla="*/ 315 w 10000"/>
                <a:gd name="connsiteY73" fmla="*/ 6017 h 10000"/>
                <a:gd name="connsiteX74" fmla="*/ 334 w 10000"/>
                <a:gd name="connsiteY74" fmla="*/ 5821 h 10000"/>
                <a:gd name="connsiteX75" fmla="*/ 274 w 10000"/>
                <a:gd name="connsiteY75" fmla="*/ 5697 h 10000"/>
                <a:gd name="connsiteX76" fmla="*/ 227 w 10000"/>
                <a:gd name="connsiteY76" fmla="*/ 5728 h 10000"/>
                <a:gd name="connsiteX77" fmla="*/ 202 w 10000"/>
                <a:gd name="connsiteY77" fmla="*/ 5604 h 10000"/>
                <a:gd name="connsiteX78" fmla="*/ 164 w 10000"/>
                <a:gd name="connsiteY78" fmla="*/ 5645 h 10000"/>
                <a:gd name="connsiteX79" fmla="*/ 117 w 10000"/>
                <a:gd name="connsiteY79" fmla="*/ 5604 h 10000"/>
                <a:gd name="connsiteX80" fmla="*/ 69 w 10000"/>
                <a:gd name="connsiteY80" fmla="*/ 5181 h 10000"/>
                <a:gd name="connsiteX81" fmla="*/ 85 w 10000"/>
                <a:gd name="connsiteY81" fmla="*/ 5057 h 10000"/>
                <a:gd name="connsiteX82" fmla="*/ 41 w 10000"/>
                <a:gd name="connsiteY82" fmla="*/ 4892 h 10000"/>
                <a:gd name="connsiteX83" fmla="*/ 66 w 10000"/>
                <a:gd name="connsiteY83" fmla="*/ 4655 h 10000"/>
                <a:gd name="connsiteX84" fmla="*/ 211 w 10000"/>
                <a:gd name="connsiteY84" fmla="*/ 4510 h 10000"/>
                <a:gd name="connsiteX85" fmla="*/ 129 w 10000"/>
                <a:gd name="connsiteY85" fmla="*/ 4406 h 10000"/>
                <a:gd name="connsiteX86" fmla="*/ 82 w 10000"/>
                <a:gd name="connsiteY86" fmla="*/ 4283 h 10000"/>
                <a:gd name="connsiteX87" fmla="*/ 205 w 10000"/>
                <a:gd name="connsiteY87" fmla="*/ 3912 h 10000"/>
                <a:gd name="connsiteX88" fmla="*/ 249 w 10000"/>
                <a:gd name="connsiteY88" fmla="*/ 3664 h 10000"/>
                <a:gd name="connsiteX89" fmla="*/ 151 w 10000"/>
                <a:gd name="connsiteY89" fmla="*/ 3488 h 10000"/>
                <a:gd name="connsiteX90" fmla="*/ 189 w 10000"/>
                <a:gd name="connsiteY90" fmla="*/ 3344 h 10000"/>
                <a:gd name="connsiteX91" fmla="*/ 113 w 10000"/>
                <a:gd name="connsiteY91" fmla="*/ 3148 h 10000"/>
                <a:gd name="connsiteX92" fmla="*/ 113 w 10000"/>
                <a:gd name="connsiteY92" fmla="*/ 2972 h 10000"/>
                <a:gd name="connsiteX93" fmla="*/ 60 w 10000"/>
                <a:gd name="connsiteY93" fmla="*/ 2622 h 10000"/>
                <a:gd name="connsiteX94" fmla="*/ 98 w 10000"/>
                <a:gd name="connsiteY94" fmla="*/ 2404 h 10000"/>
                <a:gd name="connsiteX95" fmla="*/ 38 w 10000"/>
                <a:gd name="connsiteY95" fmla="*/ 2301 h 10000"/>
                <a:gd name="connsiteX96" fmla="*/ 0 w 10000"/>
                <a:gd name="connsiteY96" fmla="*/ 2178 h 10000"/>
                <a:gd name="connsiteX97" fmla="*/ 54 w 10000"/>
                <a:gd name="connsiteY97" fmla="*/ 1951 h 10000"/>
                <a:gd name="connsiteX98" fmla="*/ 120 w 10000"/>
                <a:gd name="connsiteY98" fmla="*/ 1910 h 10000"/>
                <a:gd name="connsiteX99" fmla="*/ 195 w 10000"/>
                <a:gd name="connsiteY99" fmla="*/ 1858 h 10000"/>
                <a:gd name="connsiteX100" fmla="*/ 309 w 10000"/>
                <a:gd name="connsiteY100" fmla="*/ 1951 h 10000"/>
                <a:gd name="connsiteX101" fmla="*/ 482 w 10000"/>
                <a:gd name="connsiteY101" fmla="*/ 2054 h 10000"/>
                <a:gd name="connsiteX102" fmla="*/ 633 w 10000"/>
                <a:gd name="connsiteY102" fmla="*/ 2229 h 10000"/>
                <a:gd name="connsiteX103" fmla="*/ 756 w 10000"/>
                <a:gd name="connsiteY103" fmla="*/ 2373 h 10000"/>
                <a:gd name="connsiteX104" fmla="*/ 725 w 10000"/>
                <a:gd name="connsiteY104" fmla="*/ 2777 h 10000"/>
                <a:gd name="connsiteX105" fmla="*/ 362 w 10000"/>
                <a:gd name="connsiteY105" fmla="*/ 2673 h 10000"/>
                <a:gd name="connsiteX106" fmla="*/ 243 w 10000"/>
                <a:gd name="connsiteY106" fmla="*/ 2550 h 10000"/>
                <a:gd name="connsiteX107" fmla="*/ 287 w 10000"/>
                <a:gd name="connsiteY107" fmla="*/ 2622 h 10000"/>
                <a:gd name="connsiteX108" fmla="*/ 331 w 10000"/>
                <a:gd name="connsiteY108" fmla="*/ 2797 h 10000"/>
                <a:gd name="connsiteX109" fmla="*/ 400 w 10000"/>
                <a:gd name="connsiteY109" fmla="*/ 2921 h 10000"/>
                <a:gd name="connsiteX110" fmla="*/ 416 w 10000"/>
                <a:gd name="connsiteY110" fmla="*/ 3189 h 10000"/>
                <a:gd name="connsiteX111" fmla="*/ 507 w 10000"/>
                <a:gd name="connsiteY111" fmla="*/ 3313 h 10000"/>
                <a:gd name="connsiteX112" fmla="*/ 583 w 10000"/>
                <a:gd name="connsiteY112" fmla="*/ 3436 h 10000"/>
                <a:gd name="connsiteX113" fmla="*/ 605 w 10000"/>
                <a:gd name="connsiteY113" fmla="*/ 3467 h 10000"/>
                <a:gd name="connsiteX114" fmla="*/ 649 w 10000"/>
                <a:gd name="connsiteY114" fmla="*/ 3436 h 10000"/>
                <a:gd name="connsiteX115" fmla="*/ 633 w 10000"/>
                <a:gd name="connsiteY115" fmla="*/ 3364 h 10000"/>
                <a:gd name="connsiteX116" fmla="*/ 545 w 10000"/>
                <a:gd name="connsiteY116" fmla="*/ 3189 h 10000"/>
                <a:gd name="connsiteX117" fmla="*/ 801 w 10000"/>
                <a:gd name="connsiteY117" fmla="*/ 3344 h 10000"/>
                <a:gd name="connsiteX118" fmla="*/ 810 w 10000"/>
                <a:gd name="connsiteY118" fmla="*/ 3271 h 10000"/>
                <a:gd name="connsiteX119" fmla="*/ 785 w 10000"/>
                <a:gd name="connsiteY119" fmla="*/ 3220 h 10000"/>
                <a:gd name="connsiteX120" fmla="*/ 741 w 10000"/>
                <a:gd name="connsiteY120" fmla="*/ 2993 h 10000"/>
                <a:gd name="connsiteX121" fmla="*/ 870 w 10000"/>
                <a:gd name="connsiteY121" fmla="*/ 2777 h 10000"/>
                <a:gd name="connsiteX122" fmla="*/ 968 w 10000"/>
                <a:gd name="connsiteY122" fmla="*/ 2921 h 10000"/>
                <a:gd name="connsiteX123" fmla="*/ 999 w 10000"/>
                <a:gd name="connsiteY123" fmla="*/ 2725 h 10000"/>
                <a:gd name="connsiteX124" fmla="*/ 952 w 10000"/>
                <a:gd name="connsiteY124" fmla="*/ 2653 h 10000"/>
                <a:gd name="connsiteX125" fmla="*/ 936 w 10000"/>
                <a:gd name="connsiteY125" fmla="*/ 2281 h 10000"/>
                <a:gd name="connsiteX126" fmla="*/ 914 w 10000"/>
                <a:gd name="connsiteY126" fmla="*/ 2229 h 10000"/>
                <a:gd name="connsiteX127" fmla="*/ 1037 w 10000"/>
                <a:gd name="connsiteY127" fmla="*/ 2250 h 10000"/>
                <a:gd name="connsiteX128" fmla="*/ 1087 w 10000"/>
                <a:gd name="connsiteY128" fmla="*/ 2404 h 10000"/>
                <a:gd name="connsiteX129" fmla="*/ 1021 w 10000"/>
                <a:gd name="connsiteY129" fmla="*/ 2529 h 10000"/>
                <a:gd name="connsiteX130" fmla="*/ 1135 w 10000"/>
                <a:gd name="connsiteY130" fmla="*/ 2694 h 10000"/>
                <a:gd name="connsiteX131" fmla="*/ 1226 w 10000"/>
                <a:gd name="connsiteY131" fmla="*/ 2529 h 10000"/>
                <a:gd name="connsiteX132" fmla="*/ 1339 w 10000"/>
                <a:gd name="connsiteY132" fmla="*/ 2301 h 10000"/>
                <a:gd name="connsiteX133" fmla="*/ 1459 w 10000"/>
                <a:gd name="connsiteY133" fmla="*/ 2157 h 10000"/>
                <a:gd name="connsiteX134" fmla="*/ 1497 w 10000"/>
                <a:gd name="connsiteY134" fmla="*/ 2250 h 10000"/>
                <a:gd name="connsiteX135" fmla="*/ 1807 w 10000"/>
                <a:gd name="connsiteY135" fmla="*/ 2054 h 10000"/>
                <a:gd name="connsiteX136" fmla="*/ 1870 w 10000"/>
                <a:gd name="connsiteY136" fmla="*/ 2250 h 10000"/>
                <a:gd name="connsiteX137" fmla="*/ 1860 w 10000"/>
                <a:gd name="connsiteY137" fmla="*/ 2002 h 10000"/>
                <a:gd name="connsiteX138" fmla="*/ 1778 w 10000"/>
                <a:gd name="connsiteY138" fmla="*/ 1786 h 10000"/>
                <a:gd name="connsiteX139" fmla="*/ 1763 w 10000"/>
                <a:gd name="connsiteY139" fmla="*/ 1703 h 10000"/>
                <a:gd name="connsiteX140" fmla="*/ 1823 w 10000"/>
                <a:gd name="connsiteY140" fmla="*/ 1786 h 10000"/>
                <a:gd name="connsiteX141" fmla="*/ 2034 w 10000"/>
                <a:gd name="connsiteY141" fmla="*/ 1951 h 10000"/>
                <a:gd name="connsiteX142" fmla="*/ 2270 w 10000"/>
                <a:gd name="connsiteY142" fmla="*/ 2126 h 10000"/>
                <a:gd name="connsiteX143" fmla="*/ 2384 w 10000"/>
                <a:gd name="connsiteY143" fmla="*/ 2250 h 10000"/>
                <a:gd name="connsiteX144" fmla="*/ 2421 w 10000"/>
                <a:gd name="connsiteY144" fmla="*/ 2074 h 10000"/>
                <a:gd name="connsiteX145" fmla="*/ 2368 w 10000"/>
                <a:gd name="connsiteY145" fmla="*/ 2033 h 10000"/>
                <a:gd name="connsiteX146" fmla="*/ 2299 w 10000"/>
                <a:gd name="connsiteY146" fmla="*/ 1930 h 10000"/>
                <a:gd name="connsiteX147" fmla="*/ 2254 w 10000"/>
                <a:gd name="connsiteY147" fmla="*/ 1734 h 10000"/>
                <a:gd name="connsiteX148" fmla="*/ 2185 w 10000"/>
                <a:gd name="connsiteY148" fmla="*/ 1486 h 10000"/>
                <a:gd name="connsiteX149" fmla="*/ 2210 w 10000"/>
                <a:gd name="connsiteY149" fmla="*/ 1434 h 10000"/>
                <a:gd name="connsiteX150" fmla="*/ 2232 w 10000"/>
                <a:gd name="connsiteY150" fmla="*/ 1455 h 10000"/>
                <a:gd name="connsiteX151" fmla="*/ 2292 w 10000"/>
                <a:gd name="connsiteY151" fmla="*/ 1115 h 10000"/>
                <a:gd name="connsiteX152" fmla="*/ 2443 w 10000"/>
                <a:gd name="connsiteY152" fmla="*/ 1135 h 10000"/>
                <a:gd name="connsiteX153" fmla="*/ 2488 w 10000"/>
                <a:gd name="connsiteY153" fmla="*/ 1311 h 10000"/>
                <a:gd name="connsiteX154" fmla="*/ 2519 w 10000"/>
                <a:gd name="connsiteY154" fmla="*/ 1538 h 10000"/>
                <a:gd name="connsiteX155" fmla="*/ 2573 w 10000"/>
                <a:gd name="connsiteY155" fmla="*/ 1734 h 10000"/>
                <a:gd name="connsiteX156" fmla="*/ 2670 w 10000"/>
                <a:gd name="connsiteY156" fmla="*/ 2157 h 10000"/>
                <a:gd name="connsiteX157" fmla="*/ 2481 w 10000"/>
                <a:gd name="connsiteY157" fmla="*/ 2673 h 10000"/>
                <a:gd name="connsiteX158" fmla="*/ 2557 w 10000"/>
                <a:gd name="connsiteY158" fmla="*/ 2746 h 10000"/>
                <a:gd name="connsiteX159" fmla="*/ 2655 w 10000"/>
                <a:gd name="connsiteY159" fmla="*/ 2818 h 10000"/>
                <a:gd name="connsiteX160" fmla="*/ 2784 w 10000"/>
                <a:gd name="connsiteY160" fmla="*/ 2622 h 10000"/>
                <a:gd name="connsiteX161" fmla="*/ 2790 w 10000"/>
                <a:gd name="connsiteY161" fmla="*/ 2404 h 10000"/>
                <a:gd name="connsiteX162" fmla="*/ 2746 w 10000"/>
                <a:gd name="connsiteY162" fmla="*/ 2301 h 10000"/>
                <a:gd name="connsiteX163" fmla="*/ 2919 w 10000"/>
                <a:gd name="connsiteY163" fmla="*/ 2250 h 10000"/>
                <a:gd name="connsiteX164" fmla="*/ 2989 w 10000"/>
                <a:gd name="connsiteY164" fmla="*/ 2497 h 10000"/>
                <a:gd name="connsiteX165" fmla="*/ 2989 w 10000"/>
                <a:gd name="connsiteY165" fmla="*/ 2425 h 10000"/>
                <a:gd name="connsiteX166" fmla="*/ 2973 w 10000"/>
                <a:gd name="connsiteY166" fmla="*/ 2353 h 10000"/>
                <a:gd name="connsiteX167" fmla="*/ 2967 w 10000"/>
                <a:gd name="connsiteY167" fmla="*/ 2178 h 10000"/>
                <a:gd name="connsiteX168" fmla="*/ 2800 w 10000"/>
                <a:gd name="connsiteY168" fmla="*/ 1930 h 10000"/>
                <a:gd name="connsiteX169" fmla="*/ 2670 w 10000"/>
                <a:gd name="connsiteY169" fmla="*/ 2002 h 10000"/>
                <a:gd name="connsiteX170" fmla="*/ 2617 w 10000"/>
                <a:gd name="connsiteY170" fmla="*/ 1683 h 10000"/>
                <a:gd name="connsiteX171" fmla="*/ 2563 w 10000"/>
                <a:gd name="connsiteY171" fmla="*/ 1507 h 10000"/>
                <a:gd name="connsiteX172" fmla="*/ 2617 w 10000"/>
                <a:gd name="connsiteY172" fmla="*/ 1331 h 10000"/>
                <a:gd name="connsiteX173" fmla="*/ 2611 w 10000"/>
                <a:gd name="connsiteY173" fmla="*/ 1166 h 10000"/>
                <a:gd name="connsiteX174" fmla="*/ 2588 w 10000"/>
                <a:gd name="connsiteY174" fmla="*/ 1115 h 10000"/>
                <a:gd name="connsiteX175" fmla="*/ 2626 w 10000"/>
                <a:gd name="connsiteY175" fmla="*/ 1115 h 10000"/>
                <a:gd name="connsiteX176" fmla="*/ 2670 w 10000"/>
                <a:gd name="connsiteY176" fmla="*/ 1455 h 10000"/>
                <a:gd name="connsiteX177" fmla="*/ 2891 w 10000"/>
                <a:gd name="connsiteY177" fmla="*/ 1662 h 10000"/>
                <a:gd name="connsiteX178" fmla="*/ 2724 w 10000"/>
                <a:gd name="connsiteY178" fmla="*/ 1383 h 10000"/>
                <a:gd name="connsiteX179" fmla="*/ 3049 w 10000"/>
                <a:gd name="connsiteY179" fmla="*/ 1383 h 10000"/>
                <a:gd name="connsiteX180" fmla="*/ 3102 w 10000"/>
                <a:gd name="connsiteY180" fmla="*/ 1362 h 10000"/>
                <a:gd name="connsiteX181" fmla="*/ 2897 w 10000"/>
                <a:gd name="connsiteY181" fmla="*/ 1115 h 10000"/>
                <a:gd name="connsiteX182" fmla="*/ 2951 w 10000"/>
                <a:gd name="connsiteY182" fmla="*/ 888 h 10000"/>
                <a:gd name="connsiteX183" fmla="*/ 3178 w 10000"/>
                <a:gd name="connsiteY183" fmla="*/ 888 h 10000"/>
                <a:gd name="connsiteX184" fmla="*/ 3156 w 10000"/>
                <a:gd name="connsiteY184" fmla="*/ 713 h 10000"/>
                <a:gd name="connsiteX185" fmla="*/ 3231 w 10000"/>
                <a:gd name="connsiteY185" fmla="*/ 589 h 10000"/>
                <a:gd name="connsiteX186" fmla="*/ 3276 w 10000"/>
                <a:gd name="connsiteY186" fmla="*/ 548 h 10000"/>
                <a:gd name="connsiteX187" fmla="*/ 3443 w 10000"/>
                <a:gd name="connsiteY187" fmla="*/ 423 h 10000"/>
                <a:gd name="connsiteX188" fmla="*/ 3487 w 10000"/>
                <a:gd name="connsiteY188" fmla="*/ 371 h 10000"/>
                <a:gd name="connsiteX189" fmla="*/ 3480 w 10000"/>
                <a:gd name="connsiteY189" fmla="*/ 444 h 10000"/>
                <a:gd name="connsiteX190" fmla="*/ 3660 w 10000"/>
                <a:gd name="connsiteY190" fmla="*/ 371 h 10000"/>
                <a:gd name="connsiteX191" fmla="*/ 3805 w 10000"/>
                <a:gd name="connsiteY191" fmla="*/ 248 h 10000"/>
                <a:gd name="connsiteX192" fmla="*/ 3827 w 10000"/>
                <a:gd name="connsiteY192" fmla="*/ 0 h 10000"/>
                <a:gd name="connsiteX193" fmla="*/ 3988 w 10000"/>
                <a:gd name="connsiteY193" fmla="*/ 21 h 10000"/>
                <a:gd name="connsiteX194" fmla="*/ 3978 w 10000"/>
                <a:gd name="connsiteY194" fmla="*/ 93 h 10000"/>
                <a:gd name="connsiteX195" fmla="*/ 3988 w 10000"/>
                <a:gd name="connsiteY195" fmla="*/ 176 h 10000"/>
                <a:gd name="connsiteX196" fmla="*/ 4085 w 10000"/>
                <a:gd name="connsiteY196" fmla="*/ 248 h 10000"/>
                <a:gd name="connsiteX197" fmla="*/ 4379 w 10000"/>
                <a:gd name="connsiteY197" fmla="*/ 268 h 10000"/>
                <a:gd name="connsiteX198" fmla="*/ 4539 w 10000"/>
                <a:gd name="connsiteY198" fmla="*/ 392 h 10000"/>
                <a:gd name="connsiteX199" fmla="*/ 4486 w 10000"/>
                <a:gd name="connsiteY199" fmla="*/ 795 h 10000"/>
                <a:gd name="connsiteX200" fmla="*/ 4426 w 10000"/>
                <a:gd name="connsiteY200" fmla="*/ 919 h 10000"/>
                <a:gd name="connsiteX201" fmla="*/ 4356 w 10000"/>
                <a:gd name="connsiteY201" fmla="*/ 1043 h 10000"/>
                <a:gd name="connsiteX202" fmla="*/ 4372 w 10000"/>
                <a:gd name="connsiteY202" fmla="*/ 1115 h 10000"/>
                <a:gd name="connsiteX203" fmla="*/ 4583 w 10000"/>
                <a:gd name="connsiteY203" fmla="*/ 919 h 10000"/>
                <a:gd name="connsiteX204" fmla="*/ 5060 w 10000"/>
                <a:gd name="connsiteY204" fmla="*/ 991 h 10000"/>
                <a:gd name="connsiteX205" fmla="*/ 5108 w 10000"/>
                <a:gd name="connsiteY205" fmla="*/ 1063 h 10000"/>
                <a:gd name="connsiteX206" fmla="*/ 5212 w 10000"/>
                <a:gd name="connsiteY206" fmla="*/ 1187 h 10000"/>
                <a:gd name="connsiteX207" fmla="*/ 5357 w 10000"/>
                <a:gd name="connsiteY207" fmla="*/ 919 h 10000"/>
                <a:gd name="connsiteX208" fmla="*/ 5577 w 10000"/>
                <a:gd name="connsiteY208" fmla="*/ 1063 h 10000"/>
                <a:gd name="connsiteX209" fmla="*/ 5643 w 10000"/>
                <a:gd name="connsiteY209" fmla="*/ 1115 h 10000"/>
                <a:gd name="connsiteX210" fmla="*/ 5697 w 10000"/>
                <a:gd name="connsiteY210" fmla="*/ 1166 h 10000"/>
                <a:gd name="connsiteX211" fmla="*/ 5908 w 10000"/>
                <a:gd name="connsiteY211" fmla="*/ 1631 h 10000"/>
                <a:gd name="connsiteX212" fmla="*/ 5984 w 10000"/>
                <a:gd name="connsiteY212" fmla="*/ 1611 h 10000"/>
                <a:gd name="connsiteX213" fmla="*/ 5977 w 10000"/>
                <a:gd name="connsiteY213" fmla="*/ 1507 h 10000"/>
                <a:gd name="connsiteX214" fmla="*/ 5984 w 10000"/>
                <a:gd name="connsiteY214" fmla="*/ 1383 h 10000"/>
                <a:gd name="connsiteX215" fmla="*/ 6091 w 10000"/>
                <a:gd name="connsiteY215" fmla="*/ 1486 h 10000"/>
                <a:gd name="connsiteX216" fmla="*/ 6264 w 10000"/>
                <a:gd name="connsiteY216" fmla="*/ 1507 h 10000"/>
                <a:gd name="connsiteX217" fmla="*/ 6409 w 10000"/>
                <a:gd name="connsiteY217" fmla="*/ 1455 h 10000"/>
                <a:gd name="connsiteX218" fmla="*/ 6340 w 10000"/>
                <a:gd name="connsiteY218" fmla="*/ 1362 h 10000"/>
                <a:gd name="connsiteX219" fmla="*/ 6431 w 10000"/>
                <a:gd name="connsiteY219" fmla="*/ 1084 h 10000"/>
                <a:gd name="connsiteX220" fmla="*/ 6687 w 10000"/>
                <a:gd name="connsiteY220" fmla="*/ 1207 h 10000"/>
                <a:gd name="connsiteX221" fmla="*/ 6945 w 10000"/>
                <a:gd name="connsiteY221" fmla="*/ 1331 h 10000"/>
                <a:gd name="connsiteX222" fmla="*/ 6967 w 10000"/>
                <a:gd name="connsiteY222" fmla="*/ 1362 h 10000"/>
                <a:gd name="connsiteX223" fmla="*/ 7194 w 10000"/>
                <a:gd name="connsiteY223" fmla="*/ 1611 h 10000"/>
                <a:gd name="connsiteX224" fmla="*/ 7367 w 10000"/>
                <a:gd name="connsiteY224" fmla="*/ 1507 h 10000"/>
                <a:gd name="connsiteX225" fmla="*/ 7582 w 10000"/>
                <a:gd name="connsiteY225" fmla="*/ 1538 h 10000"/>
                <a:gd name="connsiteX226" fmla="*/ 7657 w 10000"/>
                <a:gd name="connsiteY226" fmla="*/ 1611 h 10000"/>
                <a:gd name="connsiteX227" fmla="*/ 7928 w 10000"/>
                <a:gd name="connsiteY227" fmla="*/ 1930 h 10000"/>
                <a:gd name="connsiteX228" fmla="*/ 8231 w 10000"/>
                <a:gd name="connsiteY228" fmla="*/ 1879 h 10000"/>
                <a:gd name="connsiteX229" fmla="*/ 8339 w 10000"/>
                <a:gd name="connsiteY229" fmla="*/ 2033 h 10000"/>
                <a:gd name="connsiteX230" fmla="*/ 8490 w 10000"/>
                <a:gd name="connsiteY230" fmla="*/ 2157 h 10000"/>
                <a:gd name="connsiteX231" fmla="*/ 8519 w 10000"/>
                <a:gd name="connsiteY231" fmla="*/ 2105 h 10000"/>
                <a:gd name="connsiteX232" fmla="*/ 8497 w 10000"/>
                <a:gd name="connsiteY232" fmla="*/ 2074 h 10000"/>
                <a:gd name="connsiteX233" fmla="*/ 8383 w 10000"/>
                <a:gd name="connsiteY233" fmla="*/ 1930 h 10000"/>
                <a:gd name="connsiteX234" fmla="*/ 8465 w 10000"/>
                <a:gd name="connsiteY234" fmla="*/ 1755 h 10000"/>
                <a:gd name="connsiteX235" fmla="*/ 8664 w 10000"/>
                <a:gd name="connsiteY235" fmla="*/ 1910 h 10000"/>
                <a:gd name="connsiteX236" fmla="*/ 8950 w 10000"/>
                <a:gd name="connsiteY236" fmla="*/ 1982 h 10000"/>
                <a:gd name="connsiteX237" fmla="*/ 9206 w 10000"/>
                <a:gd name="connsiteY237" fmla="*/ 2260 h 10000"/>
                <a:gd name="connsiteX238" fmla="*/ 9344 w 10000"/>
                <a:gd name="connsiteY238" fmla="*/ 2332 h 10000"/>
                <a:gd name="connsiteX239" fmla="*/ 9451 w 10000"/>
                <a:gd name="connsiteY239" fmla="*/ 2446 h 10000"/>
                <a:gd name="connsiteX240" fmla="*/ 9574 w 10000"/>
                <a:gd name="connsiteY240" fmla="*/ 2632 h 10000"/>
                <a:gd name="connsiteX241" fmla="*/ 9631 w 10000"/>
                <a:gd name="connsiteY241" fmla="*/ 2756 h 10000"/>
                <a:gd name="connsiteX242" fmla="*/ 9726 w 10000"/>
                <a:gd name="connsiteY242" fmla="*/ 2787 h 10000"/>
                <a:gd name="connsiteX243" fmla="*/ 9590 w 10000"/>
                <a:gd name="connsiteY243" fmla="*/ 2570 h 10000"/>
                <a:gd name="connsiteX244" fmla="*/ 9915 w 10000"/>
                <a:gd name="connsiteY244" fmla="*/ 2756 h 10000"/>
                <a:gd name="connsiteX245" fmla="*/ 10000 w 10000"/>
                <a:gd name="connsiteY245" fmla="*/ 3014 h 10000"/>
                <a:gd name="connsiteX246" fmla="*/ 9934 w 10000"/>
                <a:gd name="connsiteY246" fmla="*/ 2941 h 10000"/>
                <a:gd name="connsiteX247" fmla="*/ 9874 w 10000"/>
                <a:gd name="connsiteY247" fmla="*/ 2952 h 10000"/>
                <a:gd name="connsiteX248" fmla="*/ 10000 w 10000"/>
                <a:gd name="connsiteY248" fmla="*/ 3292 h 10000"/>
                <a:gd name="connsiteX249" fmla="*/ 9845 w 10000"/>
                <a:gd name="connsiteY249" fmla="*/ 3220 h 10000"/>
                <a:gd name="connsiteX250" fmla="*/ 9745 w 10000"/>
                <a:gd name="connsiteY250" fmla="*/ 3075 h 10000"/>
                <a:gd name="connsiteX251" fmla="*/ 9641 w 10000"/>
                <a:gd name="connsiteY251" fmla="*/ 2972 h 10000"/>
                <a:gd name="connsiteX252" fmla="*/ 9555 w 10000"/>
                <a:gd name="connsiteY252" fmla="*/ 3003 h 10000"/>
                <a:gd name="connsiteX253" fmla="*/ 9470 w 10000"/>
                <a:gd name="connsiteY253" fmla="*/ 2787 h 10000"/>
                <a:gd name="connsiteX254" fmla="*/ 9366 w 10000"/>
                <a:gd name="connsiteY254" fmla="*/ 2725 h 10000"/>
                <a:gd name="connsiteX255" fmla="*/ 9461 w 10000"/>
                <a:gd name="connsiteY255" fmla="*/ 2972 h 10000"/>
                <a:gd name="connsiteX256" fmla="*/ 9470 w 10000"/>
                <a:gd name="connsiteY256" fmla="*/ 3230 h 10000"/>
                <a:gd name="connsiteX257" fmla="*/ 9288 w 10000"/>
                <a:gd name="connsiteY257" fmla="*/ 3065 h 10000"/>
                <a:gd name="connsiteX258" fmla="*/ 9262 w 10000"/>
                <a:gd name="connsiteY258" fmla="*/ 3230 h 10000"/>
                <a:gd name="connsiteX259" fmla="*/ 9363 w 10000"/>
                <a:gd name="connsiteY259" fmla="*/ 3230 h 10000"/>
                <a:gd name="connsiteX260" fmla="*/ 9451 w 10000"/>
                <a:gd name="connsiteY260" fmla="*/ 3354 h 10000"/>
                <a:gd name="connsiteX261" fmla="*/ 9659 w 10000"/>
                <a:gd name="connsiteY261" fmla="*/ 3685 h 10000"/>
                <a:gd name="connsiteX262" fmla="*/ 9735 w 10000"/>
                <a:gd name="connsiteY262" fmla="*/ 3839 h 10000"/>
                <a:gd name="connsiteX263" fmla="*/ 9552 w 10000"/>
                <a:gd name="connsiteY263" fmla="*/ 3757 h 10000"/>
                <a:gd name="connsiteX264" fmla="*/ 9451 w 10000"/>
                <a:gd name="connsiteY264" fmla="*/ 4025 h 10000"/>
                <a:gd name="connsiteX265" fmla="*/ 9385 w 10000"/>
                <a:gd name="connsiteY265" fmla="*/ 4283 h 10000"/>
                <a:gd name="connsiteX266" fmla="*/ 9376 w 10000"/>
                <a:gd name="connsiteY266" fmla="*/ 4499 h 10000"/>
                <a:gd name="connsiteX267" fmla="*/ 9335 w 10000"/>
                <a:gd name="connsiteY267" fmla="*/ 4303 h 10000"/>
                <a:gd name="connsiteX268" fmla="*/ 9149 w 10000"/>
                <a:gd name="connsiteY268" fmla="*/ 4314 h 10000"/>
                <a:gd name="connsiteX269" fmla="*/ 9155 w 10000"/>
                <a:gd name="connsiteY269" fmla="*/ 4531 h 10000"/>
                <a:gd name="connsiteX270" fmla="*/ 9061 w 10000"/>
                <a:gd name="connsiteY270" fmla="*/ 4365 h 10000"/>
                <a:gd name="connsiteX271" fmla="*/ 9054 w 10000"/>
                <a:gd name="connsiteY271" fmla="*/ 4521 h 10000"/>
                <a:gd name="connsiteX272" fmla="*/ 8998 w 10000"/>
                <a:gd name="connsiteY272" fmla="*/ 4458 h 10000"/>
                <a:gd name="connsiteX273" fmla="*/ 8966 w 10000"/>
                <a:gd name="connsiteY273" fmla="*/ 4562 h 10000"/>
                <a:gd name="connsiteX274" fmla="*/ 9007 w 10000"/>
                <a:gd name="connsiteY274" fmla="*/ 4686 h 10000"/>
                <a:gd name="connsiteX275" fmla="*/ 9004 w 10000"/>
                <a:gd name="connsiteY275" fmla="*/ 4995 h 10000"/>
                <a:gd name="connsiteX276" fmla="*/ 9073 w 10000"/>
                <a:gd name="connsiteY276" fmla="*/ 5211 h 10000"/>
                <a:gd name="connsiteX277" fmla="*/ 9130 w 10000"/>
                <a:gd name="connsiteY277" fmla="*/ 5150 h 10000"/>
                <a:gd name="connsiteX278" fmla="*/ 9158 w 10000"/>
                <a:gd name="connsiteY278" fmla="*/ 5211 h 10000"/>
                <a:gd name="connsiteX279" fmla="*/ 9231 w 10000"/>
                <a:gd name="connsiteY279" fmla="*/ 5428 h 10000"/>
                <a:gd name="connsiteX280" fmla="*/ 9215 w 10000"/>
                <a:gd name="connsiteY280" fmla="*/ 5604 h 10000"/>
                <a:gd name="connsiteX281" fmla="*/ 9221 w 10000"/>
                <a:gd name="connsiteY281" fmla="*/ 5769 h 10000"/>
                <a:gd name="connsiteX282" fmla="*/ 9269 w 10000"/>
                <a:gd name="connsiteY282" fmla="*/ 5883 h 10000"/>
                <a:gd name="connsiteX283" fmla="*/ 9344 w 10000"/>
                <a:gd name="connsiteY283" fmla="*/ 6068 h 10000"/>
                <a:gd name="connsiteX284" fmla="*/ 9269 w 10000"/>
                <a:gd name="connsiteY284" fmla="*/ 6068 h 10000"/>
                <a:gd name="connsiteX285" fmla="*/ 9253 w 10000"/>
                <a:gd name="connsiteY285" fmla="*/ 6223 h 10000"/>
                <a:gd name="connsiteX286" fmla="*/ 9319 w 10000"/>
                <a:gd name="connsiteY286" fmla="*/ 6408 h 10000"/>
                <a:gd name="connsiteX287" fmla="*/ 9250 w 10000"/>
                <a:gd name="connsiteY287" fmla="*/ 6502 h 10000"/>
                <a:gd name="connsiteX288" fmla="*/ 9297 w 10000"/>
                <a:gd name="connsiteY288" fmla="*/ 6729 h 10000"/>
                <a:gd name="connsiteX289" fmla="*/ 9281 w 10000"/>
                <a:gd name="connsiteY289" fmla="*/ 7069 h 10000"/>
                <a:gd name="connsiteX290" fmla="*/ 9061 w 10000"/>
                <a:gd name="connsiteY290" fmla="*/ 6408 h 10000"/>
                <a:gd name="connsiteX291" fmla="*/ 8824 w 10000"/>
                <a:gd name="connsiteY291" fmla="*/ 5759 h 10000"/>
                <a:gd name="connsiteX292" fmla="*/ 8771 w 10000"/>
                <a:gd name="connsiteY292" fmla="*/ 5459 h 10000"/>
                <a:gd name="connsiteX293" fmla="*/ 8768 w 10000"/>
                <a:gd name="connsiteY293" fmla="*/ 5211 h 10000"/>
                <a:gd name="connsiteX294" fmla="*/ 8692 w 10000"/>
                <a:gd name="connsiteY294" fmla="*/ 5047 h 10000"/>
                <a:gd name="connsiteX295" fmla="*/ 8771 w 10000"/>
                <a:gd name="connsiteY295" fmla="*/ 5088 h 10000"/>
                <a:gd name="connsiteX296" fmla="*/ 8809 w 10000"/>
                <a:gd name="connsiteY296" fmla="*/ 5108 h 10000"/>
                <a:gd name="connsiteX297" fmla="*/ 8809 w 10000"/>
                <a:gd name="connsiteY297" fmla="*/ 4840 h 10000"/>
                <a:gd name="connsiteX298" fmla="*/ 8827 w 10000"/>
                <a:gd name="connsiteY298" fmla="*/ 4437 h 10000"/>
                <a:gd name="connsiteX299" fmla="*/ 8853 w 10000"/>
                <a:gd name="connsiteY299" fmla="*/ 4252 h 10000"/>
                <a:gd name="connsiteX300" fmla="*/ 8909 w 10000"/>
                <a:gd name="connsiteY300" fmla="*/ 4221 h 10000"/>
                <a:gd name="connsiteX301" fmla="*/ 8786 w 10000"/>
                <a:gd name="connsiteY301" fmla="*/ 3901 h 10000"/>
                <a:gd name="connsiteX302" fmla="*/ 8853 w 10000"/>
                <a:gd name="connsiteY302" fmla="*/ 3839 h 10000"/>
                <a:gd name="connsiteX303" fmla="*/ 8739 w 10000"/>
                <a:gd name="connsiteY303" fmla="*/ 3788 h 10000"/>
                <a:gd name="connsiteX304" fmla="*/ 8755 w 10000"/>
                <a:gd name="connsiteY304" fmla="*/ 3984 h 10000"/>
                <a:gd name="connsiteX305" fmla="*/ 8692 w 10000"/>
                <a:gd name="connsiteY305" fmla="*/ 4303 h 10000"/>
                <a:gd name="connsiteX306" fmla="*/ 8604 w 10000"/>
                <a:gd name="connsiteY306" fmla="*/ 4210 h 10000"/>
                <a:gd name="connsiteX307" fmla="*/ 8550 w 10000"/>
                <a:gd name="connsiteY307" fmla="*/ 4056 h 10000"/>
                <a:gd name="connsiteX308" fmla="*/ 8481 w 10000"/>
                <a:gd name="connsiteY308" fmla="*/ 4138 h 10000"/>
                <a:gd name="connsiteX309" fmla="*/ 8389 w 10000"/>
                <a:gd name="connsiteY309" fmla="*/ 4107 h 10000"/>
                <a:gd name="connsiteX310" fmla="*/ 8352 w 10000"/>
                <a:gd name="connsiteY310" fmla="*/ 4406 h 10000"/>
                <a:gd name="connsiteX311" fmla="*/ 8481 w 10000"/>
                <a:gd name="connsiteY311" fmla="*/ 4655 h 10000"/>
                <a:gd name="connsiteX312" fmla="*/ 8405 w 10000"/>
                <a:gd name="connsiteY312" fmla="*/ 4830 h 10000"/>
                <a:gd name="connsiteX313" fmla="*/ 8225 w 10000"/>
                <a:gd name="connsiteY313" fmla="*/ 4799 h 10000"/>
                <a:gd name="connsiteX314" fmla="*/ 8209 w 10000"/>
                <a:gd name="connsiteY314" fmla="*/ 4655 h 10000"/>
                <a:gd name="connsiteX315" fmla="*/ 8102 w 10000"/>
                <a:gd name="connsiteY315" fmla="*/ 4634 h 10000"/>
                <a:gd name="connsiteX316" fmla="*/ 7641 w 10000"/>
                <a:gd name="connsiteY316" fmla="*/ 4779 h 10000"/>
                <a:gd name="connsiteX317" fmla="*/ 7610 w 10000"/>
                <a:gd name="connsiteY317" fmla="*/ 5005 h 10000"/>
                <a:gd name="connsiteX318" fmla="*/ 7550 w 10000"/>
                <a:gd name="connsiteY318" fmla="*/ 5666 h 10000"/>
                <a:gd name="connsiteX319" fmla="*/ 7496 w 10000"/>
                <a:gd name="connsiteY319" fmla="*/ 5965 h 10000"/>
                <a:gd name="connsiteX320" fmla="*/ 7701 w 10000"/>
                <a:gd name="connsiteY320" fmla="*/ 6161 h 10000"/>
                <a:gd name="connsiteX321" fmla="*/ 7745 w 10000"/>
                <a:gd name="connsiteY321" fmla="*/ 6243 h 10000"/>
                <a:gd name="connsiteX322" fmla="*/ 7771 w 10000"/>
                <a:gd name="connsiteY322" fmla="*/ 6285 h 10000"/>
                <a:gd name="connsiteX323" fmla="*/ 7793 w 10000"/>
                <a:gd name="connsiteY323" fmla="*/ 6068 h 10000"/>
                <a:gd name="connsiteX324" fmla="*/ 7912 w 10000"/>
                <a:gd name="connsiteY324" fmla="*/ 6089 h 10000"/>
                <a:gd name="connsiteX325" fmla="*/ 8004 w 10000"/>
                <a:gd name="connsiteY325" fmla="*/ 6367 h 10000"/>
                <a:gd name="connsiteX326" fmla="*/ 8064 w 10000"/>
                <a:gd name="connsiteY326" fmla="*/ 6616 h 10000"/>
                <a:gd name="connsiteX327" fmla="*/ 8111 w 10000"/>
                <a:gd name="connsiteY327" fmla="*/ 6781 h 10000"/>
                <a:gd name="connsiteX328" fmla="*/ 8048 w 10000"/>
                <a:gd name="connsiteY328" fmla="*/ 6491 h 10000"/>
                <a:gd name="connsiteX329" fmla="*/ 8124 w 10000"/>
                <a:gd name="connsiteY329" fmla="*/ 6336 h 10000"/>
                <a:gd name="connsiteX330" fmla="*/ 8177 w 10000"/>
                <a:gd name="connsiteY330" fmla="*/ 6512 h 10000"/>
                <a:gd name="connsiteX331" fmla="*/ 8300 w 10000"/>
                <a:gd name="connsiteY331" fmla="*/ 6987 h 10000"/>
                <a:gd name="connsiteX332" fmla="*/ 8361 w 10000"/>
                <a:gd name="connsiteY332" fmla="*/ 7152 h 10000"/>
                <a:gd name="connsiteX333" fmla="*/ 8490 w 10000"/>
                <a:gd name="connsiteY333" fmla="*/ 7482 h 10000"/>
                <a:gd name="connsiteX334" fmla="*/ 8604 w 10000"/>
                <a:gd name="connsiteY334" fmla="*/ 7854 h 10000"/>
                <a:gd name="connsiteX335" fmla="*/ 8474 w 10000"/>
                <a:gd name="connsiteY335" fmla="*/ 7647 h 10000"/>
                <a:gd name="connsiteX336" fmla="*/ 8443 w 10000"/>
                <a:gd name="connsiteY336" fmla="*/ 7678 h 10000"/>
                <a:gd name="connsiteX337" fmla="*/ 8512 w 10000"/>
                <a:gd name="connsiteY337" fmla="*/ 8050 h 10000"/>
                <a:gd name="connsiteX338" fmla="*/ 8588 w 10000"/>
                <a:gd name="connsiteY338" fmla="*/ 8266 h 10000"/>
                <a:gd name="connsiteX339" fmla="*/ 8642 w 10000"/>
                <a:gd name="connsiteY339" fmla="*/ 8472 h 10000"/>
                <a:gd name="connsiteX340" fmla="*/ 8566 w 10000"/>
                <a:gd name="connsiteY340" fmla="*/ 8421 h 10000"/>
                <a:gd name="connsiteX341" fmla="*/ 8556 w 10000"/>
                <a:gd name="connsiteY341" fmla="*/ 8669 h 10000"/>
                <a:gd name="connsiteX342" fmla="*/ 8497 w 10000"/>
                <a:gd name="connsiteY342" fmla="*/ 8493 h 10000"/>
                <a:gd name="connsiteX343" fmla="*/ 8481 w 10000"/>
                <a:gd name="connsiteY343" fmla="*/ 8421 h 10000"/>
                <a:gd name="connsiteX344" fmla="*/ 8361 w 10000"/>
                <a:gd name="connsiteY344" fmla="*/ 7751 h 10000"/>
                <a:gd name="connsiteX345" fmla="*/ 8322 w 10000"/>
                <a:gd name="connsiteY345" fmla="*/ 7524 h 10000"/>
                <a:gd name="connsiteX346" fmla="*/ 8291 w 10000"/>
                <a:gd name="connsiteY346" fmla="*/ 7378 h 10000"/>
                <a:gd name="connsiteX347" fmla="*/ 8275 w 10000"/>
                <a:gd name="connsiteY347" fmla="*/ 7306 h 10000"/>
                <a:gd name="connsiteX348" fmla="*/ 8139 w 10000"/>
                <a:gd name="connsiteY348" fmla="*/ 6863 h 10000"/>
                <a:gd name="connsiteX349" fmla="*/ 8199 w 10000"/>
                <a:gd name="connsiteY349" fmla="*/ 7451 h 10000"/>
                <a:gd name="connsiteX350" fmla="*/ 8247 w 10000"/>
                <a:gd name="connsiteY350" fmla="*/ 7998 h 10000"/>
                <a:gd name="connsiteX351" fmla="*/ 8177 w 10000"/>
                <a:gd name="connsiteY351" fmla="*/ 9133 h 10000"/>
                <a:gd name="connsiteX352" fmla="*/ 8124 w 10000"/>
                <a:gd name="connsiteY352" fmla="*/ 9484 h 10000"/>
                <a:gd name="connsiteX353" fmla="*/ 7972 w 10000"/>
                <a:gd name="connsiteY353" fmla="*/ 9432 h 10000"/>
                <a:gd name="connsiteX354" fmla="*/ 7897 w 10000"/>
                <a:gd name="connsiteY354" fmla="*/ 9660 h 10000"/>
                <a:gd name="connsiteX355" fmla="*/ 7868 w 10000"/>
                <a:gd name="connsiteY355" fmla="*/ 9588 h 10000"/>
                <a:gd name="connsiteX356" fmla="*/ 7884 w 10000"/>
                <a:gd name="connsiteY356" fmla="*/ 9536 h 10000"/>
                <a:gd name="connsiteX357" fmla="*/ 7897 w 10000"/>
                <a:gd name="connsiteY357" fmla="*/ 9380 h 10000"/>
                <a:gd name="connsiteX358" fmla="*/ 7884 w 10000"/>
                <a:gd name="connsiteY358" fmla="*/ 9236 h 10000"/>
                <a:gd name="connsiteX359" fmla="*/ 7793 w 10000"/>
                <a:gd name="connsiteY359" fmla="*/ 8865 h 10000"/>
                <a:gd name="connsiteX360" fmla="*/ 7831 w 10000"/>
                <a:gd name="connsiteY360" fmla="*/ 8741 h 10000"/>
                <a:gd name="connsiteX361" fmla="*/ 7928 w 10000"/>
                <a:gd name="connsiteY361" fmla="*/ 8844 h 10000"/>
                <a:gd name="connsiteX362" fmla="*/ 7912 w 10000"/>
                <a:gd name="connsiteY362" fmla="*/ 8318 h 10000"/>
                <a:gd name="connsiteX363" fmla="*/ 7906 w 10000"/>
                <a:gd name="connsiteY363" fmla="*/ 8019 h 10000"/>
                <a:gd name="connsiteX364" fmla="*/ 7846 w 10000"/>
                <a:gd name="connsiteY364" fmla="*/ 7802 h 10000"/>
                <a:gd name="connsiteX365" fmla="*/ 7723 w 10000"/>
                <a:gd name="connsiteY365" fmla="*/ 8050 h 10000"/>
                <a:gd name="connsiteX366" fmla="*/ 7619 w 10000"/>
                <a:gd name="connsiteY366" fmla="*/ 8019 h 10000"/>
                <a:gd name="connsiteX367" fmla="*/ 7528 w 10000"/>
                <a:gd name="connsiteY367" fmla="*/ 7699 h 10000"/>
                <a:gd name="connsiteX368" fmla="*/ 7355 w 10000"/>
                <a:gd name="connsiteY368" fmla="*/ 7482 h 10000"/>
                <a:gd name="connsiteX369" fmla="*/ 7279 w 10000"/>
                <a:gd name="connsiteY369" fmla="*/ 7482 h 10000"/>
                <a:gd name="connsiteX370" fmla="*/ 7080 w 10000"/>
                <a:gd name="connsiteY370" fmla="*/ 6781 h 10000"/>
                <a:gd name="connsiteX371" fmla="*/ 6901 w 10000"/>
                <a:gd name="connsiteY371" fmla="*/ 6460 h 10000"/>
                <a:gd name="connsiteX372" fmla="*/ 6724 w 10000"/>
                <a:gd name="connsiteY372" fmla="*/ 6336 h 10000"/>
                <a:gd name="connsiteX373" fmla="*/ 6583 w 10000"/>
                <a:gd name="connsiteY373" fmla="*/ 6408 h 10000"/>
                <a:gd name="connsiteX374" fmla="*/ 6567 w 10000"/>
                <a:gd name="connsiteY374" fmla="*/ 6585 h 10000"/>
                <a:gd name="connsiteX375" fmla="*/ 6664 w 10000"/>
                <a:gd name="connsiteY375" fmla="*/ 6760 h 10000"/>
                <a:gd name="connsiteX376" fmla="*/ 6636 w 10000"/>
                <a:gd name="connsiteY376" fmla="*/ 6935 h 10000"/>
                <a:gd name="connsiteX377" fmla="*/ 6636 w 10000"/>
                <a:gd name="connsiteY377" fmla="*/ 7399 h 10000"/>
                <a:gd name="connsiteX378" fmla="*/ 6560 w 10000"/>
                <a:gd name="connsiteY378" fmla="*/ 7482 h 10000"/>
                <a:gd name="connsiteX379" fmla="*/ 6485 w 10000"/>
                <a:gd name="connsiteY379" fmla="*/ 7378 h 10000"/>
                <a:gd name="connsiteX380" fmla="*/ 6400 w 10000"/>
                <a:gd name="connsiteY380" fmla="*/ 7399 h 10000"/>
                <a:gd name="connsiteX381" fmla="*/ 6334 w 10000"/>
                <a:gd name="connsiteY381" fmla="*/ 7275 h 10000"/>
                <a:gd name="connsiteX382" fmla="*/ 6258 w 10000"/>
                <a:gd name="connsiteY382" fmla="*/ 7358 h 10000"/>
                <a:gd name="connsiteX383" fmla="*/ 6220 w 10000"/>
                <a:gd name="connsiteY383" fmla="*/ 7524 h 10000"/>
                <a:gd name="connsiteX384" fmla="*/ 6081 w 10000"/>
                <a:gd name="connsiteY384" fmla="*/ 7606 h 10000"/>
                <a:gd name="connsiteX385" fmla="*/ 5892 w 10000"/>
                <a:gd name="connsiteY385" fmla="*/ 7575 h 10000"/>
                <a:gd name="connsiteX386" fmla="*/ 5855 w 10000"/>
                <a:gd name="connsiteY386" fmla="*/ 7327 h 10000"/>
                <a:gd name="connsiteX387" fmla="*/ 5643 w 10000"/>
                <a:gd name="connsiteY387" fmla="*/ 7255 h 10000"/>
                <a:gd name="connsiteX388" fmla="*/ 5539 w 10000"/>
                <a:gd name="connsiteY388" fmla="*/ 7358 h 10000"/>
                <a:gd name="connsiteX389" fmla="*/ 5416 w 10000"/>
                <a:gd name="connsiteY389" fmla="*/ 7203 h 10000"/>
                <a:gd name="connsiteX390" fmla="*/ 5372 w 10000"/>
                <a:gd name="connsiteY390"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2384 w 10000"/>
                <a:gd name="connsiteY26" fmla="*/ 7183 h 10000"/>
                <a:gd name="connsiteX27" fmla="*/ 1610 w 10000"/>
                <a:gd name="connsiteY27" fmla="*/ 7183 h 10000"/>
                <a:gd name="connsiteX28" fmla="*/ 1655 w 10000"/>
                <a:gd name="connsiteY28" fmla="*/ 7430 h 10000"/>
                <a:gd name="connsiteX29" fmla="*/ 1604 w 10000"/>
                <a:gd name="connsiteY29" fmla="*/ 7430 h 10000"/>
                <a:gd name="connsiteX30" fmla="*/ 1551 w 10000"/>
                <a:gd name="connsiteY30" fmla="*/ 7255 h 10000"/>
                <a:gd name="connsiteX31" fmla="*/ 1513 w 10000"/>
                <a:gd name="connsiteY31" fmla="*/ 7430 h 10000"/>
                <a:gd name="connsiteX32" fmla="*/ 1519 w 10000"/>
                <a:gd name="connsiteY32" fmla="*/ 7854 h 10000"/>
                <a:gd name="connsiteX33" fmla="*/ 1604 w 10000"/>
                <a:gd name="connsiteY33" fmla="*/ 8070 h 10000"/>
                <a:gd name="connsiteX34" fmla="*/ 1648 w 10000"/>
                <a:gd name="connsiteY34" fmla="*/ 8019 h 10000"/>
                <a:gd name="connsiteX35" fmla="*/ 1741 w 10000"/>
                <a:gd name="connsiteY35" fmla="*/ 8493 h 10000"/>
                <a:gd name="connsiteX36" fmla="*/ 1610 w 10000"/>
                <a:gd name="connsiteY36" fmla="*/ 8669 h 10000"/>
                <a:gd name="connsiteX37" fmla="*/ 1595 w 10000"/>
                <a:gd name="connsiteY37" fmla="*/ 9009 h 10000"/>
                <a:gd name="connsiteX38" fmla="*/ 1664 w 10000"/>
                <a:gd name="connsiteY38" fmla="*/ 9236 h 10000"/>
                <a:gd name="connsiteX39" fmla="*/ 1664 w 10000"/>
                <a:gd name="connsiteY39" fmla="*/ 9484 h 10000"/>
                <a:gd name="connsiteX40" fmla="*/ 1769 w 10000"/>
                <a:gd name="connsiteY40" fmla="*/ 9835 h 10000"/>
                <a:gd name="connsiteX41" fmla="*/ 1703 w 10000"/>
                <a:gd name="connsiteY41" fmla="*/ 10000 h 10000"/>
                <a:gd name="connsiteX42" fmla="*/ 1604 w 10000"/>
                <a:gd name="connsiteY42" fmla="*/ 9753 h 10000"/>
                <a:gd name="connsiteX43" fmla="*/ 1465 w 10000"/>
                <a:gd name="connsiteY43" fmla="*/ 9505 h 10000"/>
                <a:gd name="connsiteX44" fmla="*/ 1406 w 10000"/>
                <a:gd name="connsiteY44" fmla="*/ 9588 h 10000"/>
                <a:gd name="connsiteX45" fmla="*/ 1308 w 10000"/>
                <a:gd name="connsiteY45" fmla="*/ 9380 h 10000"/>
                <a:gd name="connsiteX46" fmla="*/ 1097 w 10000"/>
                <a:gd name="connsiteY46" fmla="*/ 9339 h 10000"/>
                <a:gd name="connsiteX47" fmla="*/ 848 w 10000"/>
                <a:gd name="connsiteY47" fmla="*/ 8813 h 10000"/>
                <a:gd name="connsiteX48" fmla="*/ 914 w 10000"/>
                <a:gd name="connsiteY48" fmla="*/ 8721 h 10000"/>
                <a:gd name="connsiteX49" fmla="*/ 961 w 10000"/>
                <a:gd name="connsiteY49" fmla="*/ 8493 h 10000"/>
                <a:gd name="connsiteX50" fmla="*/ 908 w 10000"/>
                <a:gd name="connsiteY50" fmla="*/ 8390 h 10000"/>
                <a:gd name="connsiteX51" fmla="*/ 1021 w 10000"/>
                <a:gd name="connsiteY51" fmla="*/ 8245 h 10000"/>
                <a:gd name="connsiteX52" fmla="*/ 945 w 10000"/>
                <a:gd name="connsiteY52" fmla="*/ 8194 h 10000"/>
                <a:gd name="connsiteX53" fmla="*/ 958 w 10000"/>
                <a:gd name="connsiteY53" fmla="*/ 8091 h 10000"/>
                <a:gd name="connsiteX54" fmla="*/ 1005 w 10000"/>
                <a:gd name="connsiteY54" fmla="*/ 8111 h 10000"/>
                <a:gd name="connsiteX55" fmla="*/ 1059 w 10000"/>
                <a:gd name="connsiteY55" fmla="*/ 8019 h 10000"/>
                <a:gd name="connsiteX56" fmla="*/ 1034 w 10000"/>
                <a:gd name="connsiteY56" fmla="*/ 7864 h 10000"/>
                <a:gd name="connsiteX57" fmla="*/ 1043 w 10000"/>
                <a:gd name="connsiteY57" fmla="*/ 7503 h 10000"/>
                <a:gd name="connsiteX58" fmla="*/ 930 w 10000"/>
                <a:gd name="connsiteY58" fmla="*/ 7440 h 10000"/>
                <a:gd name="connsiteX59" fmla="*/ 832 w 10000"/>
                <a:gd name="connsiteY59" fmla="*/ 7286 h 10000"/>
                <a:gd name="connsiteX60" fmla="*/ 700 w 10000"/>
                <a:gd name="connsiteY60" fmla="*/ 7275 h 10000"/>
                <a:gd name="connsiteX61" fmla="*/ 684 w 10000"/>
                <a:gd name="connsiteY61" fmla="*/ 7090 h 10000"/>
                <a:gd name="connsiteX62" fmla="*/ 596 w 10000"/>
                <a:gd name="connsiteY62" fmla="*/ 6945 h 10000"/>
                <a:gd name="connsiteX63" fmla="*/ 615 w 10000"/>
                <a:gd name="connsiteY63" fmla="*/ 6822 h 10000"/>
                <a:gd name="connsiteX64" fmla="*/ 561 w 10000"/>
                <a:gd name="connsiteY64" fmla="*/ 6698 h 10000"/>
                <a:gd name="connsiteX65" fmla="*/ 457 w 10000"/>
                <a:gd name="connsiteY65" fmla="*/ 6698 h 10000"/>
                <a:gd name="connsiteX66" fmla="*/ 425 w 10000"/>
                <a:gd name="connsiteY66" fmla="*/ 6791 h 10000"/>
                <a:gd name="connsiteX67" fmla="*/ 400 w 10000"/>
                <a:gd name="connsiteY67" fmla="*/ 6750 h 10000"/>
                <a:gd name="connsiteX68" fmla="*/ 378 w 10000"/>
                <a:gd name="connsiteY68" fmla="*/ 6439 h 10000"/>
                <a:gd name="connsiteX69" fmla="*/ 419 w 10000"/>
                <a:gd name="connsiteY69" fmla="*/ 6470 h 10000"/>
                <a:gd name="connsiteX70" fmla="*/ 466 w 10000"/>
                <a:gd name="connsiteY70" fmla="*/ 6347 h 10000"/>
                <a:gd name="connsiteX71" fmla="*/ 400 w 10000"/>
                <a:gd name="connsiteY71" fmla="*/ 6233 h 10000"/>
                <a:gd name="connsiteX72" fmla="*/ 315 w 10000"/>
                <a:gd name="connsiteY72" fmla="*/ 6017 h 10000"/>
                <a:gd name="connsiteX73" fmla="*/ 334 w 10000"/>
                <a:gd name="connsiteY73" fmla="*/ 5821 h 10000"/>
                <a:gd name="connsiteX74" fmla="*/ 274 w 10000"/>
                <a:gd name="connsiteY74" fmla="*/ 5697 h 10000"/>
                <a:gd name="connsiteX75" fmla="*/ 227 w 10000"/>
                <a:gd name="connsiteY75" fmla="*/ 5728 h 10000"/>
                <a:gd name="connsiteX76" fmla="*/ 202 w 10000"/>
                <a:gd name="connsiteY76" fmla="*/ 5604 h 10000"/>
                <a:gd name="connsiteX77" fmla="*/ 164 w 10000"/>
                <a:gd name="connsiteY77" fmla="*/ 5645 h 10000"/>
                <a:gd name="connsiteX78" fmla="*/ 117 w 10000"/>
                <a:gd name="connsiteY78" fmla="*/ 5604 h 10000"/>
                <a:gd name="connsiteX79" fmla="*/ 69 w 10000"/>
                <a:gd name="connsiteY79" fmla="*/ 5181 h 10000"/>
                <a:gd name="connsiteX80" fmla="*/ 85 w 10000"/>
                <a:gd name="connsiteY80" fmla="*/ 5057 h 10000"/>
                <a:gd name="connsiteX81" fmla="*/ 41 w 10000"/>
                <a:gd name="connsiteY81" fmla="*/ 4892 h 10000"/>
                <a:gd name="connsiteX82" fmla="*/ 66 w 10000"/>
                <a:gd name="connsiteY82" fmla="*/ 4655 h 10000"/>
                <a:gd name="connsiteX83" fmla="*/ 211 w 10000"/>
                <a:gd name="connsiteY83" fmla="*/ 4510 h 10000"/>
                <a:gd name="connsiteX84" fmla="*/ 129 w 10000"/>
                <a:gd name="connsiteY84" fmla="*/ 4406 h 10000"/>
                <a:gd name="connsiteX85" fmla="*/ 82 w 10000"/>
                <a:gd name="connsiteY85" fmla="*/ 4283 h 10000"/>
                <a:gd name="connsiteX86" fmla="*/ 205 w 10000"/>
                <a:gd name="connsiteY86" fmla="*/ 3912 h 10000"/>
                <a:gd name="connsiteX87" fmla="*/ 249 w 10000"/>
                <a:gd name="connsiteY87" fmla="*/ 3664 h 10000"/>
                <a:gd name="connsiteX88" fmla="*/ 151 w 10000"/>
                <a:gd name="connsiteY88" fmla="*/ 3488 h 10000"/>
                <a:gd name="connsiteX89" fmla="*/ 189 w 10000"/>
                <a:gd name="connsiteY89" fmla="*/ 3344 h 10000"/>
                <a:gd name="connsiteX90" fmla="*/ 113 w 10000"/>
                <a:gd name="connsiteY90" fmla="*/ 3148 h 10000"/>
                <a:gd name="connsiteX91" fmla="*/ 113 w 10000"/>
                <a:gd name="connsiteY91" fmla="*/ 2972 h 10000"/>
                <a:gd name="connsiteX92" fmla="*/ 60 w 10000"/>
                <a:gd name="connsiteY92" fmla="*/ 2622 h 10000"/>
                <a:gd name="connsiteX93" fmla="*/ 98 w 10000"/>
                <a:gd name="connsiteY93" fmla="*/ 2404 h 10000"/>
                <a:gd name="connsiteX94" fmla="*/ 38 w 10000"/>
                <a:gd name="connsiteY94" fmla="*/ 2301 h 10000"/>
                <a:gd name="connsiteX95" fmla="*/ 0 w 10000"/>
                <a:gd name="connsiteY95" fmla="*/ 2178 h 10000"/>
                <a:gd name="connsiteX96" fmla="*/ 54 w 10000"/>
                <a:gd name="connsiteY96" fmla="*/ 1951 h 10000"/>
                <a:gd name="connsiteX97" fmla="*/ 120 w 10000"/>
                <a:gd name="connsiteY97" fmla="*/ 1910 h 10000"/>
                <a:gd name="connsiteX98" fmla="*/ 195 w 10000"/>
                <a:gd name="connsiteY98" fmla="*/ 1858 h 10000"/>
                <a:gd name="connsiteX99" fmla="*/ 309 w 10000"/>
                <a:gd name="connsiteY99" fmla="*/ 1951 h 10000"/>
                <a:gd name="connsiteX100" fmla="*/ 482 w 10000"/>
                <a:gd name="connsiteY100" fmla="*/ 2054 h 10000"/>
                <a:gd name="connsiteX101" fmla="*/ 633 w 10000"/>
                <a:gd name="connsiteY101" fmla="*/ 2229 h 10000"/>
                <a:gd name="connsiteX102" fmla="*/ 756 w 10000"/>
                <a:gd name="connsiteY102" fmla="*/ 2373 h 10000"/>
                <a:gd name="connsiteX103" fmla="*/ 725 w 10000"/>
                <a:gd name="connsiteY103" fmla="*/ 2777 h 10000"/>
                <a:gd name="connsiteX104" fmla="*/ 362 w 10000"/>
                <a:gd name="connsiteY104" fmla="*/ 2673 h 10000"/>
                <a:gd name="connsiteX105" fmla="*/ 243 w 10000"/>
                <a:gd name="connsiteY105" fmla="*/ 2550 h 10000"/>
                <a:gd name="connsiteX106" fmla="*/ 287 w 10000"/>
                <a:gd name="connsiteY106" fmla="*/ 2622 h 10000"/>
                <a:gd name="connsiteX107" fmla="*/ 331 w 10000"/>
                <a:gd name="connsiteY107" fmla="*/ 2797 h 10000"/>
                <a:gd name="connsiteX108" fmla="*/ 400 w 10000"/>
                <a:gd name="connsiteY108" fmla="*/ 2921 h 10000"/>
                <a:gd name="connsiteX109" fmla="*/ 416 w 10000"/>
                <a:gd name="connsiteY109" fmla="*/ 3189 h 10000"/>
                <a:gd name="connsiteX110" fmla="*/ 507 w 10000"/>
                <a:gd name="connsiteY110" fmla="*/ 3313 h 10000"/>
                <a:gd name="connsiteX111" fmla="*/ 583 w 10000"/>
                <a:gd name="connsiteY111" fmla="*/ 3436 h 10000"/>
                <a:gd name="connsiteX112" fmla="*/ 605 w 10000"/>
                <a:gd name="connsiteY112" fmla="*/ 3467 h 10000"/>
                <a:gd name="connsiteX113" fmla="*/ 649 w 10000"/>
                <a:gd name="connsiteY113" fmla="*/ 3436 h 10000"/>
                <a:gd name="connsiteX114" fmla="*/ 633 w 10000"/>
                <a:gd name="connsiteY114" fmla="*/ 3364 h 10000"/>
                <a:gd name="connsiteX115" fmla="*/ 545 w 10000"/>
                <a:gd name="connsiteY115" fmla="*/ 3189 h 10000"/>
                <a:gd name="connsiteX116" fmla="*/ 801 w 10000"/>
                <a:gd name="connsiteY116" fmla="*/ 3344 h 10000"/>
                <a:gd name="connsiteX117" fmla="*/ 810 w 10000"/>
                <a:gd name="connsiteY117" fmla="*/ 3271 h 10000"/>
                <a:gd name="connsiteX118" fmla="*/ 785 w 10000"/>
                <a:gd name="connsiteY118" fmla="*/ 3220 h 10000"/>
                <a:gd name="connsiteX119" fmla="*/ 741 w 10000"/>
                <a:gd name="connsiteY119" fmla="*/ 2993 h 10000"/>
                <a:gd name="connsiteX120" fmla="*/ 870 w 10000"/>
                <a:gd name="connsiteY120" fmla="*/ 2777 h 10000"/>
                <a:gd name="connsiteX121" fmla="*/ 968 w 10000"/>
                <a:gd name="connsiteY121" fmla="*/ 2921 h 10000"/>
                <a:gd name="connsiteX122" fmla="*/ 999 w 10000"/>
                <a:gd name="connsiteY122" fmla="*/ 2725 h 10000"/>
                <a:gd name="connsiteX123" fmla="*/ 952 w 10000"/>
                <a:gd name="connsiteY123" fmla="*/ 2653 h 10000"/>
                <a:gd name="connsiteX124" fmla="*/ 936 w 10000"/>
                <a:gd name="connsiteY124" fmla="*/ 2281 h 10000"/>
                <a:gd name="connsiteX125" fmla="*/ 914 w 10000"/>
                <a:gd name="connsiteY125" fmla="*/ 2229 h 10000"/>
                <a:gd name="connsiteX126" fmla="*/ 1037 w 10000"/>
                <a:gd name="connsiteY126" fmla="*/ 2250 h 10000"/>
                <a:gd name="connsiteX127" fmla="*/ 1087 w 10000"/>
                <a:gd name="connsiteY127" fmla="*/ 2404 h 10000"/>
                <a:gd name="connsiteX128" fmla="*/ 1021 w 10000"/>
                <a:gd name="connsiteY128" fmla="*/ 2529 h 10000"/>
                <a:gd name="connsiteX129" fmla="*/ 1135 w 10000"/>
                <a:gd name="connsiteY129" fmla="*/ 2694 h 10000"/>
                <a:gd name="connsiteX130" fmla="*/ 1226 w 10000"/>
                <a:gd name="connsiteY130" fmla="*/ 2529 h 10000"/>
                <a:gd name="connsiteX131" fmla="*/ 1339 w 10000"/>
                <a:gd name="connsiteY131" fmla="*/ 2301 h 10000"/>
                <a:gd name="connsiteX132" fmla="*/ 1459 w 10000"/>
                <a:gd name="connsiteY132" fmla="*/ 2157 h 10000"/>
                <a:gd name="connsiteX133" fmla="*/ 1497 w 10000"/>
                <a:gd name="connsiteY133" fmla="*/ 2250 h 10000"/>
                <a:gd name="connsiteX134" fmla="*/ 1807 w 10000"/>
                <a:gd name="connsiteY134" fmla="*/ 2054 h 10000"/>
                <a:gd name="connsiteX135" fmla="*/ 1870 w 10000"/>
                <a:gd name="connsiteY135" fmla="*/ 2250 h 10000"/>
                <a:gd name="connsiteX136" fmla="*/ 1860 w 10000"/>
                <a:gd name="connsiteY136" fmla="*/ 2002 h 10000"/>
                <a:gd name="connsiteX137" fmla="*/ 1778 w 10000"/>
                <a:gd name="connsiteY137" fmla="*/ 1786 h 10000"/>
                <a:gd name="connsiteX138" fmla="*/ 1763 w 10000"/>
                <a:gd name="connsiteY138" fmla="*/ 1703 h 10000"/>
                <a:gd name="connsiteX139" fmla="*/ 1823 w 10000"/>
                <a:gd name="connsiteY139" fmla="*/ 1786 h 10000"/>
                <a:gd name="connsiteX140" fmla="*/ 2034 w 10000"/>
                <a:gd name="connsiteY140" fmla="*/ 1951 h 10000"/>
                <a:gd name="connsiteX141" fmla="*/ 2270 w 10000"/>
                <a:gd name="connsiteY141" fmla="*/ 2126 h 10000"/>
                <a:gd name="connsiteX142" fmla="*/ 2384 w 10000"/>
                <a:gd name="connsiteY142" fmla="*/ 2250 h 10000"/>
                <a:gd name="connsiteX143" fmla="*/ 2421 w 10000"/>
                <a:gd name="connsiteY143" fmla="*/ 2074 h 10000"/>
                <a:gd name="connsiteX144" fmla="*/ 2368 w 10000"/>
                <a:gd name="connsiteY144" fmla="*/ 2033 h 10000"/>
                <a:gd name="connsiteX145" fmla="*/ 2299 w 10000"/>
                <a:gd name="connsiteY145" fmla="*/ 1930 h 10000"/>
                <a:gd name="connsiteX146" fmla="*/ 2254 w 10000"/>
                <a:gd name="connsiteY146" fmla="*/ 1734 h 10000"/>
                <a:gd name="connsiteX147" fmla="*/ 2185 w 10000"/>
                <a:gd name="connsiteY147" fmla="*/ 1486 h 10000"/>
                <a:gd name="connsiteX148" fmla="*/ 2210 w 10000"/>
                <a:gd name="connsiteY148" fmla="*/ 1434 h 10000"/>
                <a:gd name="connsiteX149" fmla="*/ 2232 w 10000"/>
                <a:gd name="connsiteY149" fmla="*/ 1455 h 10000"/>
                <a:gd name="connsiteX150" fmla="*/ 2292 w 10000"/>
                <a:gd name="connsiteY150" fmla="*/ 1115 h 10000"/>
                <a:gd name="connsiteX151" fmla="*/ 2443 w 10000"/>
                <a:gd name="connsiteY151" fmla="*/ 1135 h 10000"/>
                <a:gd name="connsiteX152" fmla="*/ 2488 w 10000"/>
                <a:gd name="connsiteY152" fmla="*/ 1311 h 10000"/>
                <a:gd name="connsiteX153" fmla="*/ 2519 w 10000"/>
                <a:gd name="connsiteY153" fmla="*/ 1538 h 10000"/>
                <a:gd name="connsiteX154" fmla="*/ 2573 w 10000"/>
                <a:gd name="connsiteY154" fmla="*/ 1734 h 10000"/>
                <a:gd name="connsiteX155" fmla="*/ 2670 w 10000"/>
                <a:gd name="connsiteY155" fmla="*/ 2157 h 10000"/>
                <a:gd name="connsiteX156" fmla="*/ 2481 w 10000"/>
                <a:gd name="connsiteY156" fmla="*/ 2673 h 10000"/>
                <a:gd name="connsiteX157" fmla="*/ 2557 w 10000"/>
                <a:gd name="connsiteY157" fmla="*/ 2746 h 10000"/>
                <a:gd name="connsiteX158" fmla="*/ 2655 w 10000"/>
                <a:gd name="connsiteY158" fmla="*/ 2818 h 10000"/>
                <a:gd name="connsiteX159" fmla="*/ 2784 w 10000"/>
                <a:gd name="connsiteY159" fmla="*/ 2622 h 10000"/>
                <a:gd name="connsiteX160" fmla="*/ 2790 w 10000"/>
                <a:gd name="connsiteY160" fmla="*/ 2404 h 10000"/>
                <a:gd name="connsiteX161" fmla="*/ 2746 w 10000"/>
                <a:gd name="connsiteY161" fmla="*/ 2301 h 10000"/>
                <a:gd name="connsiteX162" fmla="*/ 2919 w 10000"/>
                <a:gd name="connsiteY162" fmla="*/ 2250 h 10000"/>
                <a:gd name="connsiteX163" fmla="*/ 2989 w 10000"/>
                <a:gd name="connsiteY163" fmla="*/ 2497 h 10000"/>
                <a:gd name="connsiteX164" fmla="*/ 2989 w 10000"/>
                <a:gd name="connsiteY164" fmla="*/ 2425 h 10000"/>
                <a:gd name="connsiteX165" fmla="*/ 2973 w 10000"/>
                <a:gd name="connsiteY165" fmla="*/ 2353 h 10000"/>
                <a:gd name="connsiteX166" fmla="*/ 2967 w 10000"/>
                <a:gd name="connsiteY166" fmla="*/ 2178 h 10000"/>
                <a:gd name="connsiteX167" fmla="*/ 2800 w 10000"/>
                <a:gd name="connsiteY167" fmla="*/ 1930 h 10000"/>
                <a:gd name="connsiteX168" fmla="*/ 2670 w 10000"/>
                <a:gd name="connsiteY168" fmla="*/ 2002 h 10000"/>
                <a:gd name="connsiteX169" fmla="*/ 2617 w 10000"/>
                <a:gd name="connsiteY169" fmla="*/ 1683 h 10000"/>
                <a:gd name="connsiteX170" fmla="*/ 2563 w 10000"/>
                <a:gd name="connsiteY170" fmla="*/ 1507 h 10000"/>
                <a:gd name="connsiteX171" fmla="*/ 2617 w 10000"/>
                <a:gd name="connsiteY171" fmla="*/ 1331 h 10000"/>
                <a:gd name="connsiteX172" fmla="*/ 2611 w 10000"/>
                <a:gd name="connsiteY172" fmla="*/ 1166 h 10000"/>
                <a:gd name="connsiteX173" fmla="*/ 2588 w 10000"/>
                <a:gd name="connsiteY173" fmla="*/ 1115 h 10000"/>
                <a:gd name="connsiteX174" fmla="*/ 2626 w 10000"/>
                <a:gd name="connsiteY174" fmla="*/ 1115 h 10000"/>
                <a:gd name="connsiteX175" fmla="*/ 2670 w 10000"/>
                <a:gd name="connsiteY175" fmla="*/ 1455 h 10000"/>
                <a:gd name="connsiteX176" fmla="*/ 2891 w 10000"/>
                <a:gd name="connsiteY176" fmla="*/ 1662 h 10000"/>
                <a:gd name="connsiteX177" fmla="*/ 2724 w 10000"/>
                <a:gd name="connsiteY177" fmla="*/ 1383 h 10000"/>
                <a:gd name="connsiteX178" fmla="*/ 3049 w 10000"/>
                <a:gd name="connsiteY178" fmla="*/ 1383 h 10000"/>
                <a:gd name="connsiteX179" fmla="*/ 3102 w 10000"/>
                <a:gd name="connsiteY179" fmla="*/ 1362 h 10000"/>
                <a:gd name="connsiteX180" fmla="*/ 2897 w 10000"/>
                <a:gd name="connsiteY180" fmla="*/ 1115 h 10000"/>
                <a:gd name="connsiteX181" fmla="*/ 2951 w 10000"/>
                <a:gd name="connsiteY181" fmla="*/ 888 h 10000"/>
                <a:gd name="connsiteX182" fmla="*/ 3178 w 10000"/>
                <a:gd name="connsiteY182" fmla="*/ 888 h 10000"/>
                <a:gd name="connsiteX183" fmla="*/ 3156 w 10000"/>
                <a:gd name="connsiteY183" fmla="*/ 713 h 10000"/>
                <a:gd name="connsiteX184" fmla="*/ 3231 w 10000"/>
                <a:gd name="connsiteY184" fmla="*/ 589 h 10000"/>
                <a:gd name="connsiteX185" fmla="*/ 3276 w 10000"/>
                <a:gd name="connsiteY185" fmla="*/ 548 h 10000"/>
                <a:gd name="connsiteX186" fmla="*/ 3443 w 10000"/>
                <a:gd name="connsiteY186" fmla="*/ 423 h 10000"/>
                <a:gd name="connsiteX187" fmla="*/ 3487 w 10000"/>
                <a:gd name="connsiteY187" fmla="*/ 371 h 10000"/>
                <a:gd name="connsiteX188" fmla="*/ 3480 w 10000"/>
                <a:gd name="connsiteY188" fmla="*/ 444 h 10000"/>
                <a:gd name="connsiteX189" fmla="*/ 3660 w 10000"/>
                <a:gd name="connsiteY189" fmla="*/ 371 h 10000"/>
                <a:gd name="connsiteX190" fmla="*/ 3805 w 10000"/>
                <a:gd name="connsiteY190" fmla="*/ 248 h 10000"/>
                <a:gd name="connsiteX191" fmla="*/ 3827 w 10000"/>
                <a:gd name="connsiteY191" fmla="*/ 0 h 10000"/>
                <a:gd name="connsiteX192" fmla="*/ 3988 w 10000"/>
                <a:gd name="connsiteY192" fmla="*/ 21 h 10000"/>
                <a:gd name="connsiteX193" fmla="*/ 3978 w 10000"/>
                <a:gd name="connsiteY193" fmla="*/ 93 h 10000"/>
                <a:gd name="connsiteX194" fmla="*/ 3988 w 10000"/>
                <a:gd name="connsiteY194" fmla="*/ 176 h 10000"/>
                <a:gd name="connsiteX195" fmla="*/ 4085 w 10000"/>
                <a:gd name="connsiteY195" fmla="*/ 248 h 10000"/>
                <a:gd name="connsiteX196" fmla="*/ 4379 w 10000"/>
                <a:gd name="connsiteY196" fmla="*/ 268 h 10000"/>
                <a:gd name="connsiteX197" fmla="*/ 4539 w 10000"/>
                <a:gd name="connsiteY197" fmla="*/ 392 h 10000"/>
                <a:gd name="connsiteX198" fmla="*/ 4486 w 10000"/>
                <a:gd name="connsiteY198" fmla="*/ 795 h 10000"/>
                <a:gd name="connsiteX199" fmla="*/ 4426 w 10000"/>
                <a:gd name="connsiteY199" fmla="*/ 919 h 10000"/>
                <a:gd name="connsiteX200" fmla="*/ 4356 w 10000"/>
                <a:gd name="connsiteY200" fmla="*/ 1043 h 10000"/>
                <a:gd name="connsiteX201" fmla="*/ 4372 w 10000"/>
                <a:gd name="connsiteY201" fmla="*/ 1115 h 10000"/>
                <a:gd name="connsiteX202" fmla="*/ 4583 w 10000"/>
                <a:gd name="connsiteY202" fmla="*/ 919 h 10000"/>
                <a:gd name="connsiteX203" fmla="*/ 5060 w 10000"/>
                <a:gd name="connsiteY203" fmla="*/ 991 h 10000"/>
                <a:gd name="connsiteX204" fmla="*/ 5108 w 10000"/>
                <a:gd name="connsiteY204" fmla="*/ 1063 h 10000"/>
                <a:gd name="connsiteX205" fmla="*/ 5212 w 10000"/>
                <a:gd name="connsiteY205" fmla="*/ 1187 h 10000"/>
                <a:gd name="connsiteX206" fmla="*/ 5357 w 10000"/>
                <a:gd name="connsiteY206" fmla="*/ 919 h 10000"/>
                <a:gd name="connsiteX207" fmla="*/ 5577 w 10000"/>
                <a:gd name="connsiteY207" fmla="*/ 1063 h 10000"/>
                <a:gd name="connsiteX208" fmla="*/ 5643 w 10000"/>
                <a:gd name="connsiteY208" fmla="*/ 1115 h 10000"/>
                <a:gd name="connsiteX209" fmla="*/ 5697 w 10000"/>
                <a:gd name="connsiteY209" fmla="*/ 1166 h 10000"/>
                <a:gd name="connsiteX210" fmla="*/ 5908 w 10000"/>
                <a:gd name="connsiteY210" fmla="*/ 1631 h 10000"/>
                <a:gd name="connsiteX211" fmla="*/ 5984 w 10000"/>
                <a:gd name="connsiteY211" fmla="*/ 1611 h 10000"/>
                <a:gd name="connsiteX212" fmla="*/ 5977 w 10000"/>
                <a:gd name="connsiteY212" fmla="*/ 1507 h 10000"/>
                <a:gd name="connsiteX213" fmla="*/ 5984 w 10000"/>
                <a:gd name="connsiteY213" fmla="*/ 1383 h 10000"/>
                <a:gd name="connsiteX214" fmla="*/ 6091 w 10000"/>
                <a:gd name="connsiteY214" fmla="*/ 1486 h 10000"/>
                <a:gd name="connsiteX215" fmla="*/ 6264 w 10000"/>
                <a:gd name="connsiteY215" fmla="*/ 1507 h 10000"/>
                <a:gd name="connsiteX216" fmla="*/ 6409 w 10000"/>
                <a:gd name="connsiteY216" fmla="*/ 1455 h 10000"/>
                <a:gd name="connsiteX217" fmla="*/ 6340 w 10000"/>
                <a:gd name="connsiteY217" fmla="*/ 1362 h 10000"/>
                <a:gd name="connsiteX218" fmla="*/ 6431 w 10000"/>
                <a:gd name="connsiteY218" fmla="*/ 1084 h 10000"/>
                <a:gd name="connsiteX219" fmla="*/ 6687 w 10000"/>
                <a:gd name="connsiteY219" fmla="*/ 1207 h 10000"/>
                <a:gd name="connsiteX220" fmla="*/ 6945 w 10000"/>
                <a:gd name="connsiteY220" fmla="*/ 1331 h 10000"/>
                <a:gd name="connsiteX221" fmla="*/ 6967 w 10000"/>
                <a:gd name="connsiteY221" fmla="*/ 1362 h 10000"/>
                <a:gd name="connsiteX222" fmla="*/ 7194 w 10000"/>
                <a:gd name="connsiteY222" fmla="*/ 1611 h 10000"/>
                <a:gd name="connsiteX223" fmla="*/ 7367 w 10000"/>
                <a:gd name="connsiteY223" fmla="*/ 1507 h 10000"/>
                <a:gd name="connsiteX224" fmla="*/ 7582 w 10000"/>
                <a:gd name="connsiteY224" fmla="*/ 1538 h 10000"/>
                <a:gd name="connsiteX225" fmla="*/ 7657 w 10000"/>
                <a:gd name="connsiteY225" fmla="*/ 1611 h 10000"/>
                <a:gd name="connsiteX226" fmla="*/ 7928 w 10000"/>
                <a:gd name="connsiteY226" fmla="*/ 1930 h 10000"/>
                <a:gd name="connsiteX227" fmla="*/ 8231 w 10000"/>
                <a:gd name="connsiteY227" fmla="*/ 1879 h 10000"/>
                <a:gd name="connsiteX228" fmla="*/ 8339 w 10000"/>
                <a:gd name="connsiteY228" fmla="*/ 2033 h 10000"/>
                <a:gd name="connsiteX229" fmla="*/ 8490 w 10000"/>
                <a:gd name="connsiteY229" fmla="*/ 2157 h 10000"/>
                <a:gd name="connsiteX230" fmla="*/ 8519 w 10000"/>
                <a:gd name="connsiteY230" fmla="*/ 2105 h 10000"/>
                <a:gd name="connsiteX231" fmla="*/ 8497 w 10000"/>
                <a:gd name="connsiteY231" fmla="*/ 2074 h 10000"/>
                <a:gd name="connsiteX232" fmla="*/ 8383 w 10000"/>
                <a:gd name="connsiteY232" fmla="*/ 1930 h 10000"/>
                <a:gd name="connsiteX233" fmla="*/ 8465 w 10000"/>
                <a:gd name="connsiteY233" fmla="*/ 1755 h 10000"/>
                <a:gd name="connsiteX234" fmla="*/ 8664 w 10000"/>
                <a:gd name="connsiteY234" fmla="*/ 1910 h 10000"/>
                <a:gd name="connsiteX235" fmla="*/ 8950 w 10000"/>
                <a:gd name="connsiteY235" fmla="*/ 1982 h 10000"/>
                <a:gd name="connsiteX236" fmla="*/ 9206 w 10000"/>
                <a:gd name="connsiteY236" fmla="*/ 2260 h 10000"/>
                <a:gd name="connsiteX237" fmla="*/ 9344 w 10000"/>
                <a:gd name="connsiteY237" fmla="*/ 2332 h 10000"/>
                <a:gd name="connsiteX238" fmla="*/ 9451 w 10000"/>
                <a:gd name="connsiteY238" fmla="*/ 2446 h 10000"/>
                <a:gd name="connsiteX239" fmla="*/ 9574 w 10000"/>
                <a:gd name="connsiteY239" fmla="*/ 2632 h 10000"/>
                <a:gd name="connsiteX240" fmla="*/ 9631 w 10000"/>
                <a:gd name="connsiteY240" fmla="*/ 2756 h 10000"/>
                <a:gd name="connsiteX241" fmla="*/ 9726 w 10000"/>
                <a:gd name="connsiteY241" fmla="*/ 2787 h 10000"/>
                <a:gd name="connsiteX242" fmla="*/ 9590 w 10000"/>
                <a:gd name="connsiteY242" fmla="*/ 2570 h 10000"/>
                <a:gd name="connsiteX243" fmla="*/ 9915 w 10000"/>
                <a:gd name="connsiteY243" fmla="*/ 2756 h 10000"/>
                <a:gd name="connsiteX244" fmla="*/ 10000 w 10000"/>
                <a:gd name="connsiteY244" fmla="*/ 3014 h 10000"/>
                <a:gd name="connsiteX245" fmla="*/ 9934 w 10000"/>
                <a:gd name="connsiteY245" fmla="*/ 2941 h 10000"/>
                <a:gd name="connsiteX246" fmla="*/ 9874 w 10000"/>
                <a:gd name="connsiteY246" fmla="*/ 2952 h 10000"/>
                <a:gd name="connsiteX247" fmla="*/ 10000 w 10000"/>
                <a:gd name="connsiteY247" fmla="*/ 3292 h 10000"/>
                <a:gd name="connsiteX248" fmla="*/ 9845 w 10000"/>
                <a:gd name="connsiteY248" fmla="*/ 3220 h 10000"/>
                <a:gd name="connsiteX249" fmla="*/ 9745 w 10000"/>
                <a:gd name="connsiteY249" fmla="*/ 3075 h 10000"/>
                <a:gd name="connsiteX250" fmla="*/ 9641 w 10000"/>
                <a:gd name="connsiteY250" fmla="*/ 2972 h 10000"/>
                <a:gd name="connsiteX251" fmla="*/ 9555 w 10000"/>
                <a:gd name="connsiteY251" fmla="*/ 3003 h 10000"/>
                <a:gd name="connsiteX252" fmla="*/ 9470 w 10000"/>
                <a:gd name="connsiteY252" fmla="*/ 2787 h 10000"/>
                <a:gd name="connsiteX253" fmla="*/ 9366 w 10000"/>
                <a:gd name="connsiteY253" fmla="*/ 2725 h 10000"/>
                <a:gd name="connsiteX254" fmla="*/ 9461 w 10000"/>
                <a:gd name="connsiteY254" fmla="*/ 2972 h 10000"/>
                <a:gd name="connsiteX255" fmla="*/ 9470 w 10000"/>
                <a:gd name="connsiteY255" fmla="*/ 3230 h 10000"/>
                <a:gd name="connsiteX256" fmla="*/ 9288 w 10000"/>
                <a:gd name="connsiteY256" fmla="*/ 3065 h 10000"/>
                <a:gd name="connsiteX257" fmla="*/ 9262 w 10000"/>
                <a:gd name="connsiteY257" fmla="*/ 3230 h 10000"/>
                <a:gd name="connsiteX258" fmla="*/ 9363 w 10000"/>
                <a:gd name="connsiteY258" fmla="*/ 3230 h 10000"/>
                <a:gd name="connsiteX259" fmla="*/ 9451 w 10000"/>
                <a:gd name="connsiteY259" fmla="*/ 3354 h 10000"/>
                <a:gd name="connsiteX260" fmla="*/ 9659 w 10000"/>
                <a:gd name="connsiteY260" fmla="*/ 3685 h 10000"/>
                <a:gd name="connsiteX261" fmla="*/ 9735 w 10000"/>
                <a:gd name="connsiteY261" fmla="*/ 3839 h 10000"/>
                <a:gd name="connsiteX262" fmla="*/ 9552 w 10000"/>
                <a:gd name="connsiteY262" fmla="*/ 3757 h 10000"/>
                <a:gd name="connsiteX263" fmla="*/ 9451 w 10000"/>
                <a:gd name="connsiteY263" fmla="*/ 4025 h 10000"/>
                <a:gd name="connsiteX264" fmla="*/ 9385 w 10000"/>
                <a:gd name="connsiteY264" fmla="*/ 4283 h 10000"/>
                <a:gd name="connsiteX265" fmla="*/ 9376 w 10000"/>
                <a:gd name="connsiteY265" fmla="*/ 4499 h 10000"/>
                <a:gd name="connsiteX266" fmla="*/ 9335 w 10000"/>
                <a:gd name="connsiteY266" fmla="*/ 4303 h 10000"/>
                <a:gd name="connsiteX267" fmla="*/ 9149 w 10000"/>
                <a:gd name="connsiteY267" fmla="*/ 4314 h 10000"/>
                <a:gd name="connsiteX268" fmla="*/ 9155 w 10000"/>
                <a:gd name="connsiteY268" fmla="*/ 4531 h 10000"/>
                <a:gd name="connsiteX269" fmla="*/ 9061 w 10000"/>
                <a:gd name="connsiteY269" fmla="*/ 4365 h 10000"/>
                <a:gd name="connsiteX270" fmla="*/ 9054 w 10000"/>
                <a:gd name="connsiteY270" fmla="*/ 4521 h 10000"/>
                <a:gd name="connsiteX271" fmla="*/ 8998 w 10000"/>
                <a:gd name="connsiteY271" fmla="*/ 4458 h 10000"/>
                <a:gd name="connsiteX272" fmla="*/ 8966 w 10000"/>
                <a:gd name="connsiteY272" fmla="*/ 4562 h 10000"/>
                <a:gd name="connsiteX273" fmla="*/ 9007 w 10000"/>
                <a:gd name="connsiteY273" fmla="*/ 4686 h 10000"/>
                <a:gd name="connsiteX274" fmla="*/ 9004 w 10000"/>
                <a:gd name="connsiteY274" fmla="*/ 4995 h 10000"/>
                <a:gd name="connsiteX275" fmla="*/ 9073 w 10000"/>
                <a:gd name="connsiteY275" fmla="*/ 5211 h 10000"/>
                <a:gd name="connsiteX276" fmla="*/ 9130 w 10000"/>
                <a:gd name="connsiteY276" fmla="*/ 5150 h 10000"/>
                <a:gd name="connsiteX277" fmla="*/ 9158 w 10000"/>
                <a:gd name="connsiteY277" fmla="*/ 5211 h 10000"/>
                <a:gd name="connsiteX278" fmla="*/ 9231 w 10000"/>
                <a:gd name="connsiteY278" fmla="*/ 5428 h 10000"/>
                <a:gd name="connsiteX279" fmla="*/ 9215 w 10000"/>
                <a:gd name="connsiteY279" fmla="*/ 5604 h 10000"/>
                <a:gd name="connsiteX280" fmla="*/ 9221 w 10000"/>
                <a:gd name="connsiteY280" fmla="*/ 5769 h 10000"/>
                <a:gd name="connsiteX281" fmla="*/ 9269 w 10000"/>
                <a:gd name="connsiteY281" fmla="*/ 5883 h 10000"/>
                <a:gd name="connsiteX282" fmla="*/ 9344 w 10000"/>
                <a:gd name="connsiteY282" fmla="*/ 6068 h 10000"/>
                <a:gd name="connsiteX283" fmla="*/ 9269 w 10000"/>
                <a:gd name="connsiteY283" fmla="*/ 6068 h 10000"/>
                <a:gd name="connsiteX284" fmla="*/ 9253 w 10000"/>
                <a:gd name="connsiteY284" fmla="*/ 6223 h 10000"/>
                <a:gd name="connsiteX285" fmla="*/ 9319 w 10000"/>
                <a:gd name="connsiteY285" fmla="*/ 6408 h 10000"/>
                <a:gd name="connsiteX286" fmla="*/ 9250 w 10000"/>
                <a:gd name="connsiteY286" fmla="*/ 6502 h 10000"/>
                <a:gd name="connsiteX287" fmla="*/ 9297 w 10000"/>
                <a:gd name="connsiteY287" fmla="*/ 6729 h 10000"/>
                <a:gd name="connsiteX288" fmla="*/ 9281 w 10000"/>
                <a:gd name="connsiteY288" fmla="*/ 7069 h 10000"/>
                <a:gd name="connsiteX289" fmla="*/ 9061 w 10000"/>
                <a:gd name="connsiteY289" fmla="*/ 6408 h 10000"/>
                <a:gd name="connsiteX290" fmla="*/ 8824 w 10000"/>
                <a:gd name="connsiteY290" fmla="*/ 5759 h 10000"/>
                <a:gd name="connsiteX291" fmla="*/ 8771 w 10000"/>
                <a:gd name="connsiteY291" fmla="*/ 5459 h 10000"/>
                <a:gd name="connsiteX292" fmla="*/ 8768 w 10000"/>
                <a:gd name="connsiteY292" fmla="*/ 5211 h 10000"/>
                <a:gd name="connsiteX293" fmla="*/ 8692 w 10000"/>
                <a:gd name="connsiteY293" fmla="*/ 5047 h 10000"/>
                <a:gd name="connsiteX294" fmla="*/ 8771 w 10000"/>
                <a:gd name="connsiteY294" fmla="*/ 5088 h 10000"/>
                <a:gd name="connsiteX295" fmla="*/ 8809 w 10000"/>
                <a:gd name="connsiteY295" fmla="*/ 5108 h 10000"/>
                <a:gd name="connsiteX296" fmla="*/ 8809 w 10000"/>
                <a:gd name="connsiteY296" fmla="*/ 4840 h 10000"/>
                <a:gd name="connsiteX297" fmla="*/ 8827 w 10000"/>
                <a:gd name="connsiteY297" fmla="*/ 4437 h 10000"/>
                <a:gd name="connsiteX298" fmla="*/ 8853 w 10000"/>
                <a:gd name="connsiteY298" fmla="*/ 4252 h 10000"/>
                <a:gd name="connsiteX299" fmla="*/ 8909 w 10000"/>
                <a:gd name="connsiteY299" fmla="*/ 4221 h 10000"/>
                <a:gd name="connsiteX300" fmla="*/ 8786 w 10000"/>
                <a:gd name="connsiteY300" fmla="*/ 3901 h 10000"/>
                <a:gd name="connsiteX301" fmla="*/ 8853 w 10000"/>
                <a:gd name="connsiteY301" fmla="*/ 3839 h 10000"/>
                <a:gd name="connsiteX302" fmla="*/ 8739 w 10000"/>
                <a:gd name="connsiteY302" fmla="*/ 3788 h 10000"/>
                <a:gd name="connsiteX303" fmla="*/ 8755 w 10000"/>
                <a:gd name="connsiteY303" fmla="*/ 3984 h 10000"/>
                <a:gd name="connsiteX304" fmla="*/ 8692 w 10000"/>
                <a:gd name="connsiteY304" fmla="*/ 4303 h 10000"/>
                <a:gd name="connsiteX305" fmla="*/ 8604 w 10000"/>
                <a:gd name="connsiteY305" fmla="*/ 4210 h 10000"/>
                <a:gd name="connsiteX306" fmla="*/ 8550 w 10000"/>
                <a:gd name="connsiteY306" fmla="*/ 4056 h 10000"/>
                <a:gd name="connsiteX307" fmla="*/ 8481 w 10000"/>
                <a:gd name="connsiteY307" fmla="*/ 4138 h 10000"/>
                <a:gd name="connsiteX308" fmla="*/ 8389 w 10000"/>
                <a:gd name="connsiteY308" fmla="*/ 4107 h 10000"/>
                <a:gd name="connsiteX309" fmla="*/ 8352 w 10000"/>
                <a:gd name="connsiteY309" fmla="*/ 4406 h 10000"/>
                <a:gd name="connsiteX310" fmla="*/ 8481 w 10000"/>
                <a:gd name="connsiteY310" fmla="*/ 4655 h 10000"/>
                <a:gd name="connsiteX311" fmla="*/ 8405 w 10000"/>
                <a:gd name="connsiteY311" fmla="*/ 4830 h 10000"/>
                <a:gd name="connsiteX312" fmla="*/ 8225 w 10000"/>
                <a:gd name="connsiteY312" fmla="*/ 4799 h 10000"/>
                <a:gd name="connsiteX313" fmla="*/ 8209 w 10000"/>
                <a:gd name="connsiteY313" fmla="*/ 4655 h 10000"/>
                <a:gd name="connsiteX314" fmla="*/ 8102 w 10000"/>
                <a:gd name="connsiteY314" fmla="*/ 4634 h 10000"/>
                <a:gd name="connsiteX315" fmla="*/ 7641 w 10000"/>
                <a:gd name="connsiteY315" fmla="*/ 4779 h 10000"/>
                <a:gd name="connsiteX316" fmla="*/ 7610 w 10000"/>
                <a:gd name="connsiteY316" fmla="*/ 5005 h 10000"/>
                <a:gd name="connsiteX317" fmla="*/ 7550 w 10000"/>
                <a:gd name="connsiteY317" fmla="*/ 5666 h 10000"/>
                <a:gd name="connsiteX318" fmla="*/ 7496 w 10000"/>
                <a:gd name="connsiteY318" fmla="*/ 5965 h 10000"/>
                <a:gd name="connsiteX319" fmla="*/ 7701 w 10000"/>
                <a:gd name="connsiteY319" fmla="*/ 6161 h 10000"/>
                <a:gd name="connsiteX320" fmla="*/ 7745 w 10000"/>
                <a:gd name="connsiteY320" fmla="*/ 6243 h 10000"/>
                <a:gd name="connsiteX321" fmla="*/ 7771 w 10000"/>
                <a:gd name="connsiteY321" fmla="*/ 6285 h 10000"/>
                <a:gd name="connsiteX322" fmla="*/ 7793 w 10000"/>
                <a:gd name="connsiteY322" fmla="*/ 6068 h 10000"/>
                <a:gd name="connsiteX323" fmla="*/ 7912 w 10000"/>
                <a:gd name="connsiteY323" fmla="*/ 6089 h 10000"/>
                <a:gd name="connsiteX324" fmla="*/ 8004 w 10000"/>
                <a:gd name="connsiteY324" fmla="*/ 6367 h 10000"/>
                <a:gd name="connsiteX325" fmla="*/ 8064 w 10000"/>
                <a:gd name="connsiteY325" fmla="*/ 6616 h 10000"/>
                <a:gd name="connsiteX326" fmla="*/ 8111 w 10000"/>
                <a:gd name="connsiteY326" fmla="*/ 6781 h 10000"/>
                <a:gd name="connsiteX327" fmla="*/ 8048 w 10000"/>
                <a:gd name="connsiteY327" fmla="*/ 6491 h 10000"/>
                <a:gd name="connsiteX328" fmla="*/ 8124 w 10000"/>
                <a:gd name="connsiteY328" fmla="*/ 6336 h 10000"/>
                <a:gd name="connsiteX329" fmla="*/ 8177 w 10000"/>
                <a:gd name="connsiteY329" fmla="*/ 6512 h 10000"/>
                <a:gd name="connsiteX330" fmla="*/ 8300 w 10000"/>
                <a:gd name="connsiteY330" fmla="*/ 6987 h 10000"/>
                <a:gd name="connsiteX331" fmla="*/ 8361 w 10000"/>
                <a:gd name="connsiteY331" fmla="*/ 7152 h 10000"/>
                <a:gd name="connsiteX332" fmla="*/ 8490 w 10000"/>
                <a:gd name="connsiteY332" fmla="*/ 7482 h 10000"/>
                <a:gd name="connsiteX333" fmla="*/ 8604 w 10000"/>
                <a:gd name="connsiteY333" fmla="*/ 7854 h 10000"/>
                <a:gd name="connsiteX334" fmla="*/ 8474 w 10000"/>
                <a:gd name="connsiteY334" fmla="*/ 7647 h 10000"/>
                <a:gd name="connsiteX335" fmla="*/ 8443 w 10000"/>
                <a:gd name="connsiteY335" fmla="*/ 7678 h 10000"/>
                <a:gd name="connsiteX336" fmla="*/ 8512 w 10000"/>
                <a:gd name="connsiteY336" fmla="*/ 8050 h 10000"/>
                <a:gd name="connsiteX337" fmla="*/ 8588 w 10000"/>
                <a:gd name="connsiteY337" fmla="*/ 8266 h 10000"/>
                <a:gd name="connsiteX338" fmla="*/ 8642 w 10000"/>
                <a:gd name="connsiteY338" fmla="*/ 8472 h 10000"/>
                <a:gd name="connsiteX339" fmla="*/ 8566 w 10000"/>
                <a:gd name="connsiteY339" fmla="*/ 8421 h 10000"/>
                <a:gd name="connsiteX340" fmla="*/ 8556 w 10000"/>
                <a:gd name="connsiteY340" fmla="*/ 8669 h 10000"/>
                <a:gd name="connsiteX341" fmla="*/ 8497 w 10000"/>
                <a:gd name="connsiteY341" fmla="*/ 8493 h 10000"/>
                <a:gd name="connsiteX342" fmla="*/ 8481 w 10000"/>
                <a:gd name="connsiteY342" fmla="*/ 8421 h 10000"/>
                <a:gd name="connsiteX343" fmla="*/ 8361 w 10000"/>
                <a:gd name="connsiteY343" fmla="*/ 7751 h 10000"/>
                <a:gd name="connsiteX344" fmla="*/ 8322 w 10000"/>
                <a:gd name="connsiteY344" fmla="*/ 7524 h 10000"/>
                <a:gd name="connsiteX345" fmla="*/ 8291 w 10000"/>
                <a:gd name="connsiteY345" fmla="*/ 7378 h 10000"/>
                <a:gd name="connsiteX346" fmla="*/ 8275 w 10000"/>
                <a:gd name="connsiteY346" fmla="*/ 7306 h 10000"/>
                <a:gd name="connsiteX347" fmla="*/ 8139 w 10000"/>
                <a:gd name="connsiteY347" fmla="*/ 6863 h 10000"/>
                <a:gd name="connsiteX348" fmla="*/ 8199 w 10000"/>
                <a:gd name="connsiteY348" fmla="*/ 7451 h 10000"/>
                <a:gd name="connsiteX349" fmla="*/ 8247 w 10000"/>
                <a:gd name="connsiteY349" fmla="*/ 7998 h 10000"/>
                <a:gd name="connsiteX350" fmla="*/ 8177 w 10000"/>
                <a:gd name="connsiteY350" fmla="*/ 9133 h 10000"/>
                <a:gd name="connsiteX351" fmla="*/ 8124 w 10000"/>
                <a:gd name="connsiteY351" fmla="*/ 9484 h 10000"/>
                <a:gd name="connsiteX352" fmla="*/ 7972 w 10000"/>
                <a:gd name="connsiteY352" fmla="*/ 9432 h 10000"/>
                <a:gd name="connsiteX353" fmla="*/ 7897 w 10000"/>
                <a:gd name="connsiteY353" fmla="*/ 9660 h 10000"/>
                <a:gd name="connsiteX354" fmla="*/ 7868 w 10000"/>
                <a:gd name="connsiteY354" fmla="*/ 9588 h 10000"/>
                <a:gd name="connsiteX355" fmla="*/ 7884 w 10000"/>
                <a:gd name="connsiteY355" fmla="*/ 9536 h 10000"/>
                <a:gd name="connsiteX356" fmla="*/ 7897 w 10000"/>
                <a:gd name="connsiteY356" fmla="*/ 9380 h 10000"/>
                <a:gd name="connsiteX357" fmla="*/ 7884 w 10000"/>
                <a:gd name="connsiteY357" fmla="*/ 9236 h 10000"/>
                <a:gd name="connsiteX358" fmla="*/ 7793 w 10000"/>
                <a:gd name="connsiteY358" fmla="*/ 8865 h 10000"/>
                <a:gd name="connsiteX359" fmla="*/ 7831 w 10000"/>
                <a:gd name="connsiteY359" fmla="*/ 8741 h 10000"/>
                <a:gd name="connsiteX360" fmla="*/ 7928 w 10000"/>
                <a:gd name="connsiteY360" fmla="*/ 8844 h 10000"/>
                <a:gd name="connsiteX361" fmla="*/ 7912 w 10000"/>
                <a:gd name="connsiteY361" fmla="*/ 8318 h 10000"/>
                <a:gd name="connsiteX362" fmla="*/ 7906 w 10000"/>
                <a:gd name="connsiteY362" fmla="*/ 8019 h 10000"/>
                <a:gd name="connsiteX363" fmla="*/ 7846 w 10000"/>
                <a:gd name="connsiteY363" fmla="*/ 7802 h 10000"/>
                <a:gd name="connsiteX364" fmla="*/ 7723 w 10000"/>
                <a:gd name="connsiteY364" fmla="*/ 8050 h 10000"/>
                <a:gd name="connsiteX365" fmla="*/ 7619 w 10000"/>
                <a:gd name="connsiteY365" fmla="*/ 8019 h 10000"/>
                <a:gd name="connsiteX366" fmla="*/ 7528 w 10000"/>
                <a:gd name="connsiteY366" fmla="*/ 7699 h 10000"/>
                <a:gd name="connsiteX367" fmla="*/ 7355 w 10000"/>
                <a:gd name="connsiteY367" fmla="*/ 7482 h 10000"/>
                <a:gd name="connsiteX368" fmla="*/ 7279 w 10000"/>
                <a:gd name="connsiteY368" fmla="*/ 7482 h 10000"/>
                <a:gd name="connsiteX369" fmla="*/ 7080 w 10000"/>
                <a:gd name="connsiteY369" fmla="*/ 6781 h 10000"/>
                <a:gd name="connsiteX370" fmla="*/ 6901 w 10000"/>
                <a:gd name="connsiteY370" fmla="*/ 6460 h 10000"/>
                <a:gd name="connsiteX371" fmla="*/ 6724 w 10000"/>
                <a:gd name="connsiteY371" fmla="*/ 6336 h 10000"/>
                <a:gd name="connsiteX372" fmla="*/ 6583 w 10000"/>
                <a:gd name="connsiteY372" fmla="*/ 6408 h 10000"/>
                <a:gd name="connsiteX373" fmla="*/ 6567 w 10000"/>
                <a:gd name="connsiteY373" fmla="*/ 6585 h 10000"/>
                <a:gd name="connsiteX374" fmla="*/ 6664 w 10000"/>
                <a:gd name="connsiteY374" fmla="*/ 6760 h 10000"/>
                <a:gd name="connsiteX375" fmla="*/ 6636 w 10000"/>
                <a:gd name="connsiteY375" fmla="*/ 6935 h 10000"/>
                <a:gd name="connsiteX376" fmla="*/ 6636 w 10000"/>
                <a:gd name="connsiteY376" fmla="*/ 7399 h 10000"/>
                <a:gd name="connsiteX377" fmla="*/ 6560 w 10000"/>
                <a:gd name="connsiteY377" fmla="*/ 7482 h 10000"/>
                <a:gd name="connsiteX378" fmla="*/ 6485 w 10000"/>
                <a:gd name="connsiteY378" fmla="*/ 7378 h 10000"/>
                <a:gd name="connsiteX379" fmla="*/ 6400 w 10000"/>
                <a:gd name="connsiteY379" fmla="*/ 7399 h 10000"/>
                <a:gd name="connsiteX380" fmla="*/ 6334 w 10000"/>
                <a:gd name="connsiteY380" fmla="*/ 7275 h 10000"/>
                <a:gd name="connsiteX381" fmla="*/ 6258 w 10000"/>
                <a:gd name="connsiteY381" fmla="*/ 7358 h 10000"/>
                <a:gd name="connsiteX382" fmla="*/ 6220 w 10000"/>
                <a:gd name="connsiteY382" fmla="*/ 7524 h 10000"/>
                <a:gd name="connsiteX383" fmla="*/ 6081 w 10000"/>
                <a:gd name="connsiteY383" fmla="*/ 7606 h 10000"/>
                <a:gd name="connsiteX384" fmla="*/ 5892 w 10000"/>
                <a:gd name="connsiteY384" fmla="*/ 7575 h 10000"/>
                <a:gd name="connsiteX385" fmla="*/ 5855 w 10000"/>
                <a:gd name="connsiteY385" fmla="*/ 7327 h 10000"/>
                <a:gd name="connsiteX386" fmla="*/ 5643 w 10000"/>
                <a:gd name="connsiteY386" fmla="*/ 7255 h 10000"/>
                <a:gd name="connsiteX387" fmla="*/ 5539 w 10000"/>
                <a:gd name="connsiteY387" fmla="*/ 7358 h 10000"/>
                <a:gd name="connsiteX388" fmla="*/ 5416 w 10000"/>
                <a:gd name="connsiteY388" fmla="*/ 7203 h 10000"/>
                <a:gd name="connsiteX389" fmla="*/ 5372 w 10000"/>
                <a:gd name="connsiteY389"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2497 w 10000"/>
                <a:gd name="connsiteY25" fmla="*/ 7183 h 10000"/>
                <a:gd name="connsiteX26" fmla="*/ 1610 w 10000"/>
                <a:gd name="connsiteY26" fmla="*/ 7183 h 10000"/>
                <a:gd name="connsiteX27" fmla="*/ 1655 w 10000"/>
                <a:gd name="connsiteY27" fmla="*/ 7430 h 10000"/>
                <a:gd name="connsiteX28" fmla="*/ 1604 w 10000"/>
                <a:gd name="connsiteY28" fmla="*/ 7430 h 10000"/>
                <a:gd name="connsiteX29" fmla="*/ 1551 w 10000"/>
                <a:gd name="connsiteY29" fmla="*/ 7255 h 10000"/>
                <a:gd name="connsiteX30" fmla="*/ 1513 w 10000"/>
                <a:gd name="connsiteY30" fmla="*/ 7430 h 10000"/>
                <a:gd name="connsiteX31" fmla="*/ 1519 w 10000"/>
                <a:gd name="connsiteY31" fmla="*/ 7854 h 10000"/>
                <a:gd name="connsiteX32" fmla="*/ 1604 w 10000"/>
                <a:gd name="connsiteY32" fmla="*/ 8070 h 10000"/>
                <a:gd name="connsiteX33" fmla="*/ 1648 w 10000"/>
                <a:gd name="connsiteY33" fmla="*/ 8019 h 10000"/>
                <a:gd name="connsiteX34" fmla="*/ 1741 w 10000"/>
                <a:gd name="connsiteY34" fmla="*/ 8493 h 10000"/>
                <a:gd name="connsiteX35" fmla="*/ 1610 w 10000"/>
                <a:gd name="connsiteY35" fmla="*/ 8669 h 10000"/>
                <a:gd name="connsiteX36" fmla="*/ 1595 w 10000"/>
                <a:gd name="connsiteY36" fmla="*/ 9009 h 10000"/>
                <a:gd name="connsiteX37" fmla="*/ 1664 w 10000"/>
                <a:gd name="connsiteY37" fmla="*/ 9236 h 10000"/>
                <a:gd name="connsiteX38" fmla="*/ 1664 w 10000"/>
                <a:gd name="connsiteY38" fmla="*/ 9484 h 10000"/>
                <a:gd name="connsiteX39" fmla="*/ 1769 w 10000"/>
                <a:gd name="connsiteY39" fmla="*/ 9835 h 10000"/>
                <a:gd name="connsiteX40" fmla="*/ 1703 w 10000"/>
                <a:gd name="connsiteY40" fmla="*/ 10000 h 10000"/>
                <a:gd name="connsiteX41" fmla="*/ 1604 w 10000"/>
                <a:gd name="connsiteY41" fmla="*/ 9753 h 10000"/>
                <a:gd name="connsiteX42" fmla="*/ 1465 w 10000"/>
                <a:gd name="connsiteY42" fmla="*/ 9505 h 10000"/>
                <a:gd name="connsiteX43" fmla="*/ 1406 w 10000"/>
                <a:gd name="connsiteY43" fmla="*/ 9588 h 10000"/>
                <a:gd name="connsiteX44" fmla="*/ 1308 w 10000"/>
                <a:gd name="connsiteY44" fmla="*/ 9380 h 10000"/>
                <a:gd name="connsiteX45" fmla="*/ 1097 w 10000"/>
                <a:gd name="connsiteY45" fmla="*/ 9339 h 10000"/>
                <a:gd name="connsiteX46" fmla="*/ 848 w 10000"/>
                <a:gd name="connsiteY46" fmla="*/ 8813 h 10000"/>
                <a:gd name="connsiteX47" fmla="*/ 914 w 10000"/>
                <a:gd name="connsiteY47" fmla="*/ 8721 h 10000"/>
                <a:gd name="connsiteX48" fmla="*/ 961 w 10000"/>
                <a:gd name="connsiteY48" fmla="*/ 8493 h 10000"/>
                <a:gd name="connsiteX49" fmla="*/ 908 w 10000"/>
                <a:gd name="connsiteY49" fmla="*/ 8390 h 10000"/>
                <a:gd name="connsiteX50" fmla="*/ 1021 w 10000"/>
                <a:gd name="connsiteY50" fmla="*/ 8245 h 10000"/>
                <a:gd name="connsiteX51" fmla="*/ 945 w 10000"/>
                <a:gd name="connsiteY51" fmla="*/ 8194 h 10000"/>
                <a:gd name="connsiteX52" fmla="*/ 958 w 10000"/>
                <a:gd name="connsiteY52" fmla="*/ 8091 h 10000"/>
                <a:gd name="connsiteX53" fmla="*/ 1005 w 10000"/>
                <a:gd name="connsiteY53" fmla="*/ 8111 h 10000"/>
                <a:gd name="connsiteX54" fmla="*/ 1059 w 10000"/>
                <a:gd name="connsiteY54" fmla="*/ 8019 h 10000"/>
                <a:gd name="connsiteX55" fmla="*/ 1034 w 10000"/>
                <a:gd name="connsiteY55" fmla="*/ 7864 h 10000"/>
                <a:gd name="connsiteX56" fmla="*/ 1043 w 10000"/>
                <a:gd name="connsiteY56" fmla="*/ 7503 h 10000"/>
                <a:gd name="connsiteX57" fmla="*/ 930 w 10000"/>
                <a:gd name="connsiteY57" fmla="*/ 7440 h 10000"/>
                <a:gd name="connsiteX58" fmla="*/ 832 w 10000"/>
                <a:gd name="connsiteY58" fmla="*/ 7286 h 10000"/>
                <a:gd name="connsiteX59" fmla="*/ 700 w 10000"/>
                <a:gd name="connsiteY59" fmla="*/ 7275 h 10000"/>
                <a:gd name="connsiteX60" fmla="*/ 684 w 10000"/>
                <a:gd name="connsiteY60" fmla="*/ 7090 h 10000"/>
                <a:gd name="connsiteX61" fmla="*/ 596 w 10000"/>
                <a:gd name="connsiteY61" fmla="*/ 6945 h 10000"/>
                <a:gd name="connsiteX62" fmla="*/ 615 w 10000"/>
                <a:gd name="connsiteY62" fmla="*/ 6822 h 10000"/>
                <a:gd name="connsiteX63" fmla="*/ 561 w 10000"/>
                <a:gd name="connsiteY63" fmla="*/ 6698 h 10000"/>
                <a:gd name="connsiteX64" fmla="*/ 457 w 10000"/>
                <a:gd name="connsiteY64" fmla="*/ 6698 h 10000"/>
                <a:gd name="connsiteX65" fmla="*/ 425 w 10000"/>
                <a:gd name="connsiteY65" fmla="*/ 6791 h 10000"/>
                <a:gd name="connsiteX66" fmla="*/ 400 w 10000"/>
                <a:gd name="connsiteY66" fmla="*/ 6750 h 10000"/>
                <a:gd name="connsiteX67" fmla="*/ 378 w 10000"/>
                <a:gd name="connsiteY67" fmla="*/ 6439 h 10000"/>
                <a:gd name="connsiteX68" fmla="*/ 419 w 10000"/>
                <a:gd name="connsiteY68" fmla="*/ 6470 h 10000"/>
                <a:gd name="connsiteX69" fmla="*/ 466 w 10000"/>
                <a:gd name="connsiteY69" fmla="*/ 6347 h 10000"/>
                <a:gd name="connsiteX70" fmla="*/ 400 w 10000"/>
                <a:gd name="connsiteY70" fmla="*/ 6233 h 10000"/>
                <a:gd name="connsiteX71" fmla="*/ 315 w 10000"/>
                <a:gd name="connsiteY71" fmla="*/ 6017 h 10000"/>
                <a:gd name="connsiteX72" fmla="*/ 334 w 10000"/>
                <a:gd name="connsiteY72" fmla="*/ 5821 h 10000"/>
                <a:gd name="connsiteX73" fmla="*/ 274 w 10000"/>
                <a:gd name="connsiteY73" fmla="*/ 5697 h 10000"/>
                <a:gd name="connsiteX74" fmla="*/ 227 w 10000"/>
                <a:gd name="connsiteY74" fmla="*/ 5728 h 10000"/>
                <a:gd name="connsiteX75" fmla="*/ 202 w 10000"/>
                <a:gd name="connsiteY75" fmla="*/ 5604 h 10000"/>
                <a:gd name="connsiteX76" fmla="*/ 164 w 10000"/>
                <a:gd name="connsiteY76" fmla="*/ 5645 h 10000"/>
                <a:gd name="connsiteX77" fmla="*/ 117 w 10000"/>
                <a:gd name="connsiteY77" fmla="*/ 5604 h 10000"/>
                <a:gd name="connsiteX78" fmla="*/ 69 w 10000"/>
                <a:gd name="connsiteY78" fmla="*/ 5181 h 10000"/>
                <a:gd name="connsiteX79" fmla="*/ 85 w 10000"/>
                <a:gd name="connsiteY79" fmla="*/ 5057 h 10000"/>
                <a:gd name="connsiteX80" fmla="*/ 41 w 10000"/>
                <a:gd name="connsiteY80" fmla="*/ 4892 h 10000"/>
                <a:gd name="connsiteX81" fmla="*/ 66 w 10000"/>
                <a:gd name="connsiteY81" fmla="*/ 4655 h 10000"/>
                <a:gd name="connsiteX82" fmla="*/ 211 w 10000"/>
                <a:gd name="connsiteY82" fmla="*/ 4510 h 10000"/>
                <a:gd name="connsiteX83" fmla="*/ 129 w 10000"/>
                <a:gd name="connsiteY83" fmla="*/ 4406 h 10000"/>
                <a:gd name="connsiteX84" fmla="*/ 82 w 10000"/>
                <a:gd name="connsiteY84" fmla="*/ 4283 h 10000"/>
                <a:gd name="connsiteX85" fmla="*/ 205 w 10000"/>
                <a:gd name="connsiteY85" fmla="*/ 3912 h 10000"/>
                <a:gd name="connsiteX86" fmla="*/ 249 w 10000"/>
                <a:gd name="connsiteY86" fmla="*/ 3664 h 10000"/>
                <a:gd name="connsiteX87" fmla="*/ 151 w 10000"/>
                <a:gd name="connsiteY87" fmla="*/ 3488 h 10000"/>
                <a:gd name="connsiteX88" fmla="*/ 189 w 10000"/>
                <a:gd name="connsiteY88" fmla="*/ 3344 h 10000"/>
                <a:gd name="connsiteX89" fmla="*/ 113 w 10000"/>
                <a:gd name="connsiteY89" fmla="*/ 3148 h 10000"/>
                <a:gd name="connsiteX90" fmla="*/ 113 w 10000"/>
                <a:gd name="connsiteY90" fmla="*/ 2972 h 10000"/>
                <a:gd name="connsiteX91" fmla="*/ 60 w 10000"/>
                <a:gd name="connsiteY91" fmla="*/ 2622 h 10000"/>
                <a:gd name="connsiteX92" fmla="*/ 98 w 10000"/>
                <a:gd name="connsiteY92" fmla="*/ 2404 h 10000"/>
                <a:gd name="connsiteX93" fmla="*/ 38 w 10000"/>
                <a:gd name="connsiteY93" fmla="*/ 2301 h 10000"/>
                <a:gd name="connsiteX94" fmla="*/ 0 w 10000"/>
                <a:gd name="connsiteY94" fmla="*/ 2178 h 10000"/>
                <a:gd name="connsiteX95" fmla="*/ 54 w 10000"/>
                <a:gd name="connsiteY95" fmla="*/ 1951 h 10000"/>
                <a:gd name="connsiteX96" fmla="*/ 120 w 10000"/>
                <a:gd name="connsiteY96" fmla="*/ 1910 h 10000"/>
                <a:gd name="connsiteX97" fmla="*/ 195 w 10000"/>
                <a:gd name="connsiteY97" fmla="*/ 1858 h 10000"/>
                <a:gd name="connsiteX98" fmla="*/ 309 w 10000"/>
                <a:gd name="connsiteY98" fmla="*/ 1951 h 10000"/>
                <a:gd name="connsiteX99" fmla="*/ 482 w 10000"/>
                <a:gd name="connsiteY99" fmla="*/ 2054 h 10000"/>
                <a:gd name="connsiteX100" fmla="*/ 633 w 10000"/>
                <a:gd name="connsiteY100" fmla="*/ 2229 h 10000"/>
                <a:gd name="connsiteX101" fmla="*/ 756 w 10000"/>
                <a:gd name="connsiteY101" fmla="*/ 2373 h 10000"/>
                <a:gd name="connsiteX102" fmla="*/ 725 w 10000"/>
                <a:gd name="connsiteY102" fmla="*/ 2777 h 10000"/>
                <a:gd name="connsiteX103" fmla="*/ 362 w 10000"/>
                <a:gd name="connsiteY103" fmla="*/ 2673 h 10000"/>
                <a:gd name="connsiteX104" fmla="*/ 243 w 10000"/>
                <a:gd name="connsiteY104" fmla="*/ 2550 h 10000"/>
                <a:gd name="connsiteX105" fmla="*/ 287 w 10000"/>
                <a:gd name="connsiteY105" fmla="*/ 2622 h 10000"/>
                <a:gd name="connsiteX106" fmla="*/ 331 w 10000"/>
                <a:gd name="connsiteY106" fmla="*/ 2797 h 10000"/>
                <a:gd name="connsiteX107" fmla="*/ 400 w 10000"/>
                <a:gd name="connsiteY107" fmla="*/ 2921 h 10000"/>
                <a:gd name="connsiteX108" fmla="*/ 416 w 10000"/>
                <a:gd name="connsiteY108" fmla="*/ 3189 h 10000"/>
                <a:gd name="connsiteX109" fmla="*/ 507 w 10000"/>
                <a:gd name="connsiteY109" fmla="*/ 3313 h 10000"/>
                <a:gd name="connsiteX110" fmla="*/ 583 w 10000"/>
                <a:gd name="connsiteY110" fmla="*/ 3436 h 10000"/>
                <a:gd name="connsiteX111" fmla="*/ 605 w 10000"/>
                <a:gd name="connsiteY111" fmla="*/ 3467 h 10000"/>
                <a:gd name="connsiteX112" fmla="*/ 649 w 10000"/>
                <a:gd name="connsiteY112" fmla="*/ 3436 h 10000"/>
                <a:gd name="connsiteX113" fmla="*/ 633 w 10000"/>
                <a:gd name="connsiteY113" fmla="*/ 3364 h 10000"/>
                <a:gd name="connsiteX114" fmla="*/ 545 w 10000"/>
                <a:gd name="connsiteY114" fmla="*/ 3189 h 10000"/>
                <a:gd name="connsiteX115" fmla="*/ 801 w 10000"/>
                <a:gd name="connsiteY115" fmla="*/ 3344 h 10000"/>
                <a:gd name="connsiteX116" fmla="*/ 810 w 10000"/>
                <a:gd name="connsiteY116" fmla="*/ 3271 h 10000"/>
                <a:gd name="connsiteX117" fmla="*/ 785 w 10000"/>
                <a:gd name="connsiteY117" fmla="*/ 3220 h 10000"/>
                <a:gd name="connsiteX118" fmla="*/ 741 w 10000"/>
                <a:gd name="connsiteY118" fmla="*/ 2993 h 10000"/>
                <a:gd name="connsiteX119" fmla="*/ 870 w 10000"/>
                <a:gd name="connsiteY119" fmla="*/ 2777 h 10000"/>
                <a:gd name="connsiteX120" fmla="*/ 968 w 10000"/>
                <a:gd name="connsiteY120" fmla="*/ 2921 h 10000"/>
                <a:gd name="connsiteX121" fmla="*/ 999 w 10000"/>
                <a:gd name="connsiteY121" fmla="*/ 2725 h 10000"/>
                <a:gd name="connsiteX122" fmla="*/ 952 w 10000"/>
                <a:gd name="connsiteY122" fmla="*/ 2653 h 10000"/>
                <a:gd name="connsiteX123" fmla="*/ 936 w 10000"/>
                <a:gd name="connsiteY123" fmla="*/ 2281 h 10000"/>
                <a:gd name="connsiteX124" fmla="*/ 914 w 10000"/>
                <a:gd name="connsiteY124" fmla="*/ 2229 h 10000"/>
                <a:gd name="connsiteX125" fmla="*/ 1037 w 10000"/>
                <a:gd name="connsiteY125" fmla="*/ 2250 h 10000"/>
                <a:gd name="connsiteX126" fmla="*/ 1087 w 10000"/>
                <a:gd name="connsiteY126" fmla="*/ 2404 h 10000"/>
                <a:gd name="connsiteX127" fmla="*/ 1021 w 10000"/>
                <a:gd name="connsiteY127" fmla="*/ 2529 h 10000"/>
                <a:gd name="connsiteX128" fmla="*/ 1135 w 10000"/>
                <a:gd name="connsiteY128" fmla="*/ 2694 h 10000"/>
                <a:gd name="connsiteX129" fmla="*/ 1226 w 10000"/>
                <a:gd name="connsiteY129" fmla="*/ 2529 h 10000"/>
                <a:gd name="connsiteX130" fmla="*/ 1339 w 10000"/>
                <a:gd name="connsiteY130" fmla="*/ 2301 h 10000"/>
                <a:gd name="connsiteX131" fmla="*/ 1459 w 10000"/>
                <a:gd name="connsiteY131" fmla="*/ 2157 h 10000"/>
                <a:gd name="connsiteX132" fmla="*/ 1497 w 10000"/>
                <a:gd name="connsiteY132" fmla="*/ 2250 h 10000"/>
                <a:gd name="connsiteX133" fmla="*/ 1807 w 10000"/>
                <a:gd name="connsiteY133" fmla="*/ 2054 h 10000"/>
                <a:gd name="connsiteX134" fmla="*/ 1870 w 10000"/>
                <a:gd name="connsiteY134" fmla="*/ 2250 h 10000"/>
                <a:gd name="connsiteX135" fmla="*/ 1860 w 10000"/>
                <a:gd name="connsiteY135" fmla="*/ 2002 h 10000"/>
                <a:gd name="connsiteX136" fmla="*/ 1778 w 10000"/>
                <a:gd name="connsiteY136" fmla="*/ 1786 h 10000"/>
                <a:gd name="connsiteX137" fmla="*/ 1763 w 10000"/>
                <a:gd name="connsiteY137" fmla="*/ 1703 h 10000"/>
                <a:gd name="connsiteX138" fmla="*/ 1823 w 10000"/>
                <a:gd name="connsiteY138" fmla="*/ 1786 h 10000"/>
                <a:gd name="connsiteX139" fmla="*/ 2034 w 10000"/>
                <a:gd name="connsiteY139" fmla="*/ 1951 h 10000"/>
                <a:gd name="connsiteX140" fmla="*/ 2270 w 10000"/>
                <a:gd name="connsiteY140" fmla="*/ 2126 h 10000"/>
                <a:gd name="connsiteX141" fmla="*/ 2384 w 10000"/>
                <a:gd name="connsiteY141" fmla="*/ 2250 h 10000"/>
                <a:gd name="connsiteX142" fmla="*/ 2421 w 10000"/>
                <a:gd name="connsiteY142" fmla="*/ 2074 h 10000"/>
                <a:gd name="connsiteX143" fmla="*/ 2368 w 10000"/>
                <a:gd name="connsiteY143" fmla="*/ 2033 h 10000"/>
                <a:gd name="connsiteX144" fmla="*/ 2299 w 10000"/>
                <a:gd name="connsiteY144" fmla="*/ 1930 h 10000"/>
                <a:gd name="connsiteX145" fmla="*/ 2254 w 10000"/>
                <a:gd name="connsiteY145" fmla="*/ 1734 h 10000"/>
                <a:gd name="connsiteX146" fmla="*/ 2185 w 10000"/>
                <a:gd name="connsiteY146" fmla="*/ 1486 h 10000"/>
                <a:gd name="connsiteX147" fmla="*/ 2210 w 10000"/>
                <a:gd name="connsiteY147" fmla="*/ 1434 h 10000"/>
                <a:gd name="connsiteX148" fmla="*/ 2232 w 10000"/>
                <a:gd name="connsiteY148" fmla="*/ 1455 h 10000"/>
                <a:gd name="connsiteX149" fmla="*/ 2292 w 10000"/>
                <a:gd name="connsiteY149" fmla="*/ 1115 h 10000"/>
                <a:gd name="connsiteX150" fmla="*/ 2443 w 10000"/>
                <a:gd name="connsiteY150" fmla="*/ 1135 h 10000"/>
                <a:gd name="connsiteX151" fmla="*/ 2488 w 10000"/>
                <a:gd name="connsiteY151" fmla="*/ 1311 h 10000"/>
                <a:gd name="connsiteX152" fmla="*/ 2519 w 10000"/>
                <a:gd name="connsiteY152" fmla="*/ 1538 h 10000"/>
                <a:gd name="connsiteX153" fmla="*/ 2573 w 10000"/>
                <a:gd name="connsiteY153" fmla="*/ 1734 h 10000"/>
                <a:gd name="connsiteX154" fmla="*/ 2670 w 10000"/>
                <a:gd name="connsiteY154" fmla="*/ 2157 h 10000"/>
                <a:gd name="connsiteX155" fmla="*/ 2481 w 10000"/>
                <a:gd name="connsiteY155" fmla="*/ 2673 h 10000"/>
                <a:gd name="connsiteX156" fmla="*/ 2557 w 10000"/>
                <a:gd name="connsiteY156" fmla="*/ 2746 h 10000"/>
                <a:gd name="connsiteX157" fmla="*/ 2655 w 10000"/>
                <a:gd name="connsiteY157" fmla="*/ 2818 h 10000"/>
                <a:gd name="connsiteX158" fmla="*/ 2784 w 10000"/>
                <a:gd name="connsiteY158" fmla="*/ 2622 h 10000"/>
                <a:gd name="connsiteX159" fmla="*/ 2790 w 10000"/>
                <a:gd name="connsiteY159" fmla="*/ 2404 h 10000"/>
                <a:gd name="connsiteX160" fmla="*/ 2746 w 10000"/>
                <a:gd name="connsiteY160" fmla="*/ 2301 h 10000"/>
                <a:gd name="connsiteX161" fmla="*/ 2919 w 10000"/>
                <a:gd name="connsiteY161" fmla="*/ 2250 h 10000"/>
                <a:gd name="connsiteX162" fmla="*/ 2989 w 10000"/>
                <a:gd name="connsiteY162" fmla="*/ 2497 h 10000"/>
                <a:gd name="connsiteX163" fmla="*/ 2989 w 10000"/>
                <a:gd name="connsiteY163" fmla="*/ 2425 h 10000"/>
                <a:gd name="connsiteX164" fmla="*/ 2973 w 10000"/>
                <a:gd name="connsiteY164" fmla="*/ 2353 h 10000"/>
                <a:gd name="connsiteX165" fmla="*/ 2967 w 10000"/>
                <a:gd name="connsiteY165" fmla="*/ 2178 h 10000"/>
                <a:gd name="connsiteX166" fmla="*/ 2800 w 10000"/>
                <a:gd name="connsiteY166" fmla="*/ 1930 h 10000"/>
                <a:gd name="connsiteX167" fmla="*/ 2670 w 10000"/>
                <a:gd name="connsiteY167" fmla="*/ 2002 h 10000"/>
                <a:gd name="connsiteX168" fmla="*/ 2617 w 10000"/>
                <a:gd name="connsiteY168" fmla="*/ 1683 h 10000"/>
                <a:gd name="connsiteX169" fmla="*/ 2563 w 10000"/>
                <a:gd name="connsiteY169" fmla="*/ 1507 h 10000"/>
                <a:gd name="connsiteX170" fmla="*/ 2617 w 10000"/>
                <a:gd name="connsiteY170" fmla="*/ 1331 h 10000"/>
                <a:gd name="connsiteX171" fmla="*/ 2611 w 10000"/>
                <a:gd name="connsiteY171" fmla="*/ 1166 h 10000"/>
                <a:gd name="connsiteX172" fmla="*/ 2588 w 10000"/>
                <a:gd name="connsiteY172" fmla="*/ 1115 h 10000"/>
                <a:gd name="connsiteX173" fmla="*/ 2626 w 10000"/>
                <a:gd name="connsiteY173" fmla="*/ 1115 h 10000"/>
                <a:gd name="connsiteX174" fmla="*/ 2670 w 10000"/>
                <a:gd name="connsiteY174" fmla="*/ 1455 h 10000"/>
                <a:gd name="connsiteX175" fmla="*/ 2891 w 10000"/>
                <a:gd name="connsiteY175" fmla="*/ 1662 h 10000"/>
                <a:gd name="connsiteX176" fmla="*/ 2724 w 10000"/>
                <a:gd name="connsiteY176" fmla="*/ 1383 h 10000"/>
                <a:gd name="connsiteX177" fmla="*/ 3049 w 10000"/>
                <a:gd name="connsiteY177" fmla="*/ 1383 h 10000"/>
                <a:gd name="connsiteX178" fmla="*/ 3102 w 10000"/>
                <a:gd name="connsiteY178" fmla="*/ 1362 h 10000"/>
                <a:gd name="connsiteX179" fmla="*/ 2897 w 10000"/>
                <a:gd name="connsiteY179" fmla="*/ 1115 h 10000"/>
                <a:gd name="connsiteX180" fmla="*/ 2951 w 10000"/>
                <a:gd name="connsiteY180" fmla="*/ 888 h 10000"/>
                <a:gd name="connsiteX181" fmla="*/ 3178 w 10000"/>
                <a:gd name="connsiteY181" fmla="*/ 888 h 10000"/>
                <a:gd name="connsiteX182" fmla="*/ 3156 w 10000"/>
                <a:gd name="connsiteY182" fmla="*/ 713 h 10000"/>
                <a:gd name="connsiteX183" fmla="*/ 3231 w 10000"/>
                <a:gd name="connsiteY183" fmla="*/ 589 h 10000"/>
                <a:gd name="connsiteX184" fmla="*/ 3276 w 10000"/>
                <a:gd name="connsiteY184" fmla="*/ 548 h 10000"/>
                <a:gd name="connsiteX185" fmla="*/ 3443 w 10000"/>
                <a:gd name="connsiteY185" fmla="*/ 423 h 10000"/>
                <a:gd name="connsiteX186" fmla="*/ 3487 w 10000"/>
                <a:gd name="connsiteY186" fmla="*/ 371 h 10000"/>
                <a:gd name="connsiteX187" fmla="*/ 3480 w 10000"/>
                <a:gd name="connsiteY187" fmla="*/ 444 h 10000"/>
                <a:gd name="connsiteX188" fmla="*/ 3660 w 10000"/>
                <a:gd name="connsiteY188" fmla="*/ 371 h 10000"/>
                <a:gd name="connsiteX189" fmla="*/ 3805 w 10000"/>
                <a:gd name="connsiteY189" fmla="*/ 248 h 10000"/>
                <a:gd name="connsiteX190" fmla="*/ 3827 w 10000"/>
                <a:gd name="connsiteY190" fmla="*/ 0 h 10000"/>
                <a:gd name="connsiteX191" fmla="*/ 3988 w 10000"/>
                <a:gd name="connsiteY191" fmla="*/ 21 h 10000"/>
                <a:gd name="connsiteX192" fmla="*/ 3978 w 10000"/>
                <a:gd name="connsiteY192" fmla="*/ 93 h 10000"/>
                <a:gd name="connsiteX193" fmla="*/ 3988 w 10000"/>
                <a:gd name="connsiteY193" fmla="*/ 176 h 10000"/>
                <a:gd name="connsiteX194" fmla="*/ 4085 w 10000"/>
                <a:gd name="connsiteY194" fmla="*/ 248 h 10000"/>
                <a:gd name="connsiteX195" fmla="*/ 4379 w 10000"/>
                <a:gd name="connsiteY195" fmla="*/ 268 h 10000"/>
                <a:gd name="connsiteX196" fmla="*/ 4539 w 10000"/>
                <a:gd name="connsiteY196" fmla="*/ 392 h 10000"/>
                <a:gd name="connsiteX197" fmla="*/ 4486 w 10000"/>
                <a:gd name="connsiteY197" fmla="*/ 795 h 10000"/>
                <a:gd name="connsiteX198" fmla="*/ 4426 w 10000"/>
                <a:gd name="connsiteY198" fmla="*/ 919 h 10000"/>
                <a:gd name="connsiteX199" fmla="*/ 4356 w 10000"/>
                <a:gd name="connsiteY199" fmla="*/ 1043 h 10000"/>
                <a:gd name="connsiteX200" fmla="*/ 4372 w 10000"/>
                <a:gd name="connsiteY200" fmla="*/ 1115 h 10000"/>
                <a:gd name="connsiteX201" fmla="*/ 4583 w 10000"/>
                <a:gd name="connsiteY201" fmla="*/ 919 h 10000"/>
                <a:gd name="connsiteX202" fmla="*/ 5060 w 10000"/>
                <a:gd name="connsiteY202" fmla="*/ 991 h 10000"/>
                <a:gd name="connsiteX203" fmla="*/ 5108 w 10000"/>
                <a:gd name="connsiteY203" fmla="*/ 1063 h 10000"/>
                <a:gd name="connsiteX204" fmla="*/ 5212 w 10000"/>
                <a:gd name="connsiteY204" fmla="*/ 1187 h 10000"/>
                <a:gd name="connsiteX205" fmla="*/ 5357 w 10000"/>
                <a:gd name="connsiteY205" fmla="*/ 919 h 10000"/>
                <a:gd name="connsiteX206" fmla="*/ 5577 w 10000"/>
                <a:gd name="connsiteY206" fmla="*/ 1063 h 10000"/>
                <a:gd name="connsiteX207" fmla="*/ 5643 w 10000"/>
                <a:gd name="connsiteY207" fmla="*/ 1115 h 10000"/>
                <a:gd name="connsiteX208" fmla="*/ 5697 w 10000"/>
                <a:gd name="connsiteY208" fmla="*/ 1166 h 10000"/>
                <a:gd name="connsiteX209" fmla="*/ 5908 w 10000"/>
                <a:gd name="connsiteY209" fmla="*/ 1631 h 10000"/>
                <a:gd name="connsiteX210" fmla="*/ 5984 w 10000"/>
                <a:gd name="connsiteY210" fmla="*/ 1611 h 10000"/>
                <a:gd name="connsiteX211" fmla="*/ 5977 w 10000"/>
                <a:gd name="connsiteY211" fmla="*/ 1507 h 10000"/>
                <a:gd name="connsiteX212" fmla="*/ 5984 w 10000"/>
                <a:gd name="connsiteY212" fmla="*/ 1383 h 10000"/>
                <a:gd name="connsiteX213" fmla="*/ 6091 w 10000"/>
                <a:gd name="connsiteY213" fmla="*/ 1486 h 10000"/>
                <a:gd name="connsiteX214" fmla="*/ 6264 w 10000"/>
                <a:gd name="connsiteY214" fmla="*/ 1507 h 10000"/>
                <a:gd name="connsiteX215" fmla="*/ 6409 w 10000"/>
                <a:gd name="connsiteY215" fmla="*/ 1455 h 10000"/>
                <a:gd name="connsiteX216" fmla="*/ 6340 w 10000"/>
                <a:gd name="connsiteY216" fmla="*/ 1362 h 10000"/>
                <a:gd name="connsiteX217" fmla="*/ 6431 w 10000"/>
                <a:gd name="connsiteY217" fmla="*/ 1084 h 10000"/>
                <a:gd name="connsiteX218" fmla="*/ 6687 w 10000"/>
                <a:gd name="connsiteY218" fmla="*/ 1207 h 10000"/>
                <a:gd name="connsiteX219" fmla="*/ 6945 w 10000"/>
                <a:gd name="connsiteY219" fmla="*/ 1331 h 10000"/>
                <a:gd name="connsiteX220" fmla="*/ 6967 w 10000"/>
                <a:gd name="connsiteY220" fmla="*/ 1362 h 10000"/>
                <a:gd name="connsiteX221" fmla="*/ 7194 w 10000"/>
                <a:gd name="connsiteY221" fmla="*/ 1611 h 10000"/>
                <a:gd name="connsiteX222" fmla="*/ 7367 w 10000"/>
                <a:gd name="connsiteY222" fmla="*/ 1507 h 10000"/>
                <a:gd name="connsiteX223" fmla="*/ 7582 w 10000"/>
                <a:gd name="connsiteY223" fmla="*/ 1538 h 10000"/>
                <a:gd name="connsiteX224" fmla="*/ 7657 w 10000"/>
                <a:gd name="connsiteY224" fmla="*/ 1611 h 10000"/>
                <a:gd name="connsiteX225" fmla="*/ 7928 w 10000"/>
                <a:gd name="connsiteY225" fmla="*/ 1930 h 10000"/>
                <a:gd name="connsiteX226" fmla="*/ 8231 w 10000"/>
                <a:gd name="connsiteY226" fmla="*/ 1879 h 10000"/>
                <a:gd name="connsiteX227" fmla="*/ 8339 w 10000"/>
                <a:gd name="connsiteY227" fmla="*/ 2033 h 10000"/>
                <a:gd name="connsiteX228" fmla="*/ 8490 w 10000"/>
                <a:gd name="connsiteY228" fmla="*/ 2157 h 10000"/>
                <a:gd name="connsiteX229" fmla="*/ 8519 w 10000"/>
                <a:gd name="connsiteY229" fmla="*/ 2105 h 10000"/>
                <a:gd name="connsiteX230" fmla="*/ 8497 w 10000"/>
                <a:gd name="connsiteY230" fmla="*/ 2074 h 10000"/>
                <a:gd name="connsiteX231" fmla="*/ 8383 w 10000"/>
                <a:gd name="connsiteY231" fmla="*/ 1930 h 10000"/>
                <a:gd name="connsiteX232" fmla="*/ 8465 w 10000"/>
                <a:gd name="connsiteY232" fmla="*/ 1755 h 10000"/>
                <a:gd name="connsiteX233" fmla="*/ 8664 w 10000"/>
                <a:gd name="connsiteY233" fmla="*/ 1910 h 10000"/>
                <a:gd name="connsiteX234" fmla="*/ 8950 w 10000"/>
                <a:gd name="connsiteY234" fmla="*/ 1982 h 10000"/>
                <a:gd name="connsiteX235" fmla="*/ 9206 w 10000"/>
                <a:gd name="connsiteY235" fmla="*/ 2260 h 10000"/>
                <a:gd name="connsiteX236" fmla="*/ 9344 w 10000"/>
                <a:gd name="connsiteY236" fmla="*/ 2332 h 10000"/>
                <a:gd name="connsiteX237" fmla="*/ 9451 w 10000"/>
                <a:gd name="connsiteY237" fmla="*/ 2446 h 10000"/>
                <a:gd name="connsiteX238" fmla="*/ 9574 w 10000"/>
                <a:gd name="connsiteY238" fmla="*/ 2632 h 10000"/>
                <a:gd name="connsiteX239" fmla="*/ 9631 w 10000"/>
                <a:gd name="connsiteY239" fmla="*/ 2756 h 10000"/>
                <a:gd name="connsiteX240" fmla="*/ 9726 w 10000"/>
                <a:gd name="connsiteY240" fmla="*/ 2787 h 10000"/>
                <a:gd name="connsiteX241" fmla="*/ 9590 w 10000"/>
                <a:gd name="connsiteY241" fmla="*/ 2570 h 10000"/>
                <a:gd name="connsiteX242" fmla="*/ 9915 w 10000"/>
                <a:gd name="connsiteY242" fmla="*/ 2756 h 10000"/>
                <a:gd name="connsiteX243" fmla="*/ 10000 w 10000"/>
                <a:gd name="connsiteY243" fmla="*/ 3014 h 10000"/>
                <a:gd name="connsiteX244" fmla="*/ 9934 w 10000"/>
                <a:gd name="connsiteY244" fmla="*/ 2941 h 10000"/>
                <a:gd name="connsiteX245" fmla="*/ 9874 w 10000"/>
                <a:gd name="connsiteY245" fmla="*/ 2952 h 10000"/>
                <a:gd name="connsiteX246" fmla="*/ 10000 w 10000"/>
                <a:gd name="connsiteY246" fmla="*/ 3292 h 10000"/>
                <a:gd name="connsiteX247" fmla="*/ 9845 w 10000"/>
                <a:gd name="connsiteY247" fmla="*/ 3220 h 10000"/>
                <a:gd name="connsiteX248" fmla="*/ 9745 w 10000"/>
                <a:gd name="connsiteY248" fmla="*/ 3075 h 10000"/>
                <a:gd name="connsiteX249" fmla="*/ 9641 w 10000"/>
                <a:gd name="connsiteY249" fmla="*/ 2972 h 10000"/>
                <a:gd name="connsiteX250" fmla="*/ 9555 w 10000"/>
                <a:gd name="connsiteY250" fmla="*/ 3003 h 10000"/>
                <a:gd name="connsiteX251" fmla="*/ 9470 w 10000"/>
                <a:gd name="connsiteY251" fmla="*/ 2787 h 10000"/>
                <a:gd name="connsiteX252" fmla="*/ 9366 w 10000"/>
                <a:gd name="connsiteY252" fmla="*/ 2725 h 10000"/>
                <a:gd name="connsiteX253" fmla="*/ 9461 w 10000"/>
                <a:gd name="connsiteY253" fmla="*/ 2972 h 10000"/>
                <a:gd name="connsiteX254" fmla="*/ 9470 w 10000"/>
                <a:gd name="connsiteY254" fmla="*/ 3230 h 10000"/>
                <a:gd name="connsiteX255" fmla="*/ 9288 w 10000"/>
                <a:gd name="connsiteY255" fmla="*/ 3065 h 10000"/>
                <a:gd name="connsiteX256" fmla="*/ 9262 w 10000"/>
                <a:gd name="connsiteY256" fmla="*/ 3230 h 10000"/>
                <a:gd name="connsiteX257" fmla="*/ 9363 w 10000"/>
                <a:gd name="connsiteY257" fmla="*/ 3230 h 10000"/>
                <a:gd name="connsiteX258" fmla="*/ 9451 w 10000"/>
                <a:gd name="connsiteY258" fmla="*/ 3354 h 10000"/>
                <a:gd name="connsiteX259" fmla="*/ 9659 w 10000"/>
                <a:gd name="connsiteY259" fmla="*/ 3685 h 10000"/>
                <a:gd name="connsiteX260" fmla="*/ 9735 w 10000"/>
                <a:gd name="connsiteY260" fmla="*/ 3839 h 10000"/>
                <a:gd name="connsiteX261" fmla="*/ 9552 w 10000"/>
                <a:gd name="connsiteY261" fmla="*/ 3757 h 10000"/>
                <a:gd name="connsiteX262" fmla="*/ 9451 w 10000"/>
                <a:gd name="connsiteY262" fmla="*/ 4025 h 10000"/>
                <a:gd name="connsiteX263" fmla="*/ 9385 w 10000"/>
                <a:gd name="connsiteY263" fmla="*/ 4283 h 10000"/>
                <a:gd name="connsiteX264" fmla="*/ 9376 w 10000"/>
                <a:gd name="connsiteY264" fmla="*/ 4499 h 10000"/>
                <a:gd name="connsiteX265" fmla="*/ 9335 w 10000"/>
                <a:gd name="connsiteY265" fmla="*/ 4303 h 10000"/>
                <a:gd name="connsiteX266" fmla="*/ 9149 w 10000"/>
                <a:gd name="connsiteY266" fmla="*/ 4314 h 10000"/>
                <a:gd name="connsiteX267" fmla="*/ 9155 w 10000"/>
                <a:gd name="connsiteY267" fmla="*/ 4531 h 10000"/>
                <a:gd name="connsiteX268" fmla="*/ 9061 w 10000"/>
                <a:gd name="connsiteY268" fmla="*/ 4365 h 10000"/>
                <a:gd name="connsiteX269" fmla="*/ 9054 w 10000"/>
                <a:gd name="connsiteY269" fmla="*/ 4521 h 10000"/>
                <a:gd name="connsiteX270" fmla="*/ 8998 w 10000"/>
                <a:gd name="connsiteY270" fmla="*/ 4458 h 10000"/>
                <a:gd name="connsiteX271" fmla="*/ 8966 w 10000"/>
                <a:gd name="connsiteY271" fmla="*/ 4562 h 10000"/>
                <a:gd name="connsiteX272" fmla="*/ 9007 w 10000"/>
                <a:gd name="connsiteY272" fmla="*/ 4686 h 10000"/>
                <a:gd name="connsiteX273" fmla="*/ 9004 w 10000"/>
                <a:gd name="connsiteY273" fmla="*/ 4995 h 10000"/>
                <a:gd name="connsiteX274" fmla="*/ 9073 w 10000"/>
                <a:gd name="connsiteY274" fmla="*/ 5211 h 10000"/>
                <a:gd name="connsiteX275" fmla="*/ 9130 w 10000"/>
                <a:gd name="connsiteY275" fmla="*/ 5150 h 10000"/>
                <a:gd name="connsiteX276" fmla="*/ 9158 w 10000"/>
                <a:gd name="connsiteY276" fmla="*/ 5211 h 10000"/>
                <a:gd name="connsiteX277" fmla="*/ 9231 w 10000"/>
                <a:gd name="connsiteY277" fmla="*/ 5428 h 10000"/>
                <a:gd name="connsiteX278" fmla="*/ 9215 w 10000"/>
                <a:gd name="connsiteY278" fmla="*/ 5604 h 10000"/>
                <a:gd name="connsiteX279" fmla="*/ 9221 w 10000"/>
                <a:gd name="connsiteY279" fmla="*/ 5769 h 10000"/>
                <a:gd name="connsiteX280" fmla="*/ 9269 w 10000"/>
                <a:gd name="connsiteY280" fmla="*/ 5883 h 10000"/>
                <a:gd name="connsiteX281" fmla="*/ 9344 w 10000"/>
                <a:gd name="connsiteY281" fmla="*/ 6068 h 10000"/>
                <a:gd name="connsiteX282" fmla="*/ 9269 w 10000"/>
                <a:gd name="connsiteY282" fmla="*/ 6068 h 10000"/>
                <a:gd name="connsiteX283" fmla="*/ 9253 w 10000"/>
                <a:gd name="connsiteY283" fmla="*/ 6223 h 10000"/>
                <a:gd name="connsiteX284" fmla="*/ 9319 w 10000"/>
                <a:gd name="connsiteY284" fmla="*/ 6408 h 10000"/>
                <a:gd name="connsiteX285" fmla="*/ 9250 w 10000"/>
                <a:gd name="connsiteY285" fmla="*/ 6502 h 10000"/>
                <a:gd name="connsiteX286" fmla="*/ 9297 w 10000"/>
                <a:gd name="connsiteY286" fmla="*/ 6729 h 10000"/>
                <a:gd name="connsiteX287" fmla="*/ 9281 w 10000"/>
                <a:gd name="connsiteY287" fmla="*/ 7069 h 10000"/>
                <a:gd name="connsiteX288" fmla="*/ 9061 w 10000"/>
                <a:gd name="connsiteY288" fmla="*/ 6408 h 10000"/>
                <a:gd name="connsiteX289" fmla="*/ 8824 w 10000"/>
                <a:gd name="connsiteY289" fmla="*/ 5759 h 10000"/>
                <a:gd name="connsiteX290" fmla="*/ 8771 w 10000"/>
                <a:gd name="connsiteY290" fmla="*/ 5459 h 10000"/>
                <a:gd name="connsiteX291" fmla="*/ 8768 w 10000"/>
                <a:gd name="connsiteY291" fmla="*/ 5211 h 10000"/>
                <a:gd name="connsiteX292" fmla="*/ 8692 w 10000"/>
                <a:gd name="connsiteY292" fmla="*/ 5047 h 10000"/>
                <a:gd name="connsiteX293" fmla="*/ 8771 w 10000"/>
                <a:gd name="connsiteY293" fmla="*/ 5088 h 10000"/>
                <a:gd name="connsiteX294" fmla="*/ 8809 w 10000"/>
                <a:gd name="connsiteY294" fmla="*/ 5108 h 10000"/>
                <a:gd name="connsiteX295" fmla="*/ 8809 w 10000"/>
                <a:gd name="connsiteY295" fmla="*/ 4840 h 10000"/>
                <a:gd name="connsiteX296" fmla="*/ 8827 w 10000"/>
                <a:gd name="connsiteY296" fmla="*/ 4437 h 10000"/>
                <a:gd name="connsiteX297" fmla="*/ 8853 w 10000"/>
                <a:gd name="connsiteY297" fmla="*/ 4252 h 10000"/>
                <a:gd name="connsiteX298" fmla="*/ 8909 w 10000"/>
                <a:gd name="connsiteY298" fmla="*/ 4221 h 10000"/>
                <a:gd name="connsiteX299" fmla="*/ 8786 w 10000"/>
                <a:gd name="connsiteY299" fmla="*/ 3901 h 10000"/>
                <a:gd name="connsiteX300" fmla="*/ 8853 w 10000"/>
                <a:gd name="connsiteY300" fmla="*/ 3839 h 10000"/>
                <a:gd name="connsiteX301" fmla="*/ 8739 w 10000"/>
                <a:gd name="connsiteY301" fmla="*/ 3788 h 10000"/>
                <a:gd name="connsiteX302" fmla="*/ 8755 w 10000"/>
                <a:gd name="connsiteY302" fmla="*/ 3984 h 10000"/>
                <a:gd name="connsiteX303" fmla="*/ 8692 w 10000"/>
                <a:gd name="connsiteY303" fmla="*/ 4303 h 10000"/>
                <a:gd name="connsiteX304" fmla="*/ 8604 w 10000"/>
                <a:gd name="connsiteY304" fmla="*/ 4210 h 10000"/>
                <a:gd name="connsiteX305" fmla="*/ 8550 w 10000"/>
                <a:gd name="connsiteY305" fmla="*/ 4056 h 10000"/>
                <a:gd name="connsiteX306" fmla="*/ 8481 w 10000"/>
                <a:gd name="connsiteY306" fmla="*/ 4138 h 10000"/>
                <a:gd name="connsiteX307" fmla="*/ 8389 w 10000"/>
                <a:gd name="connsiteY307" fmla="*/ 4107 h 10000"/>
                <a:gd name="connsiteX308" fmla="*/ 8352 w 10000"/>
                <a:gd name="connsiteY308" fmla="*/ 4406 h 10000"/>
                <a:gd name="connsiteX309" fmla="*/ 8481 w 10000"/>
                <a:gd name="connsiteY309" fmla="*/ 4655 h 10000"/>
                <a:gd name="connsiteX310" fmla="*/ 8405 w 10000"/>
                <a:gd name="connsiteY310" fmla="*/ 4830 h 10000"/>
                <a:gd name="connsiteX311" fmla="*/ 8225 w 10000"/>
                <a:gd name="connsiteY311" fmla="*/ 4799 h 10000"/>
                <a:gd name="connsiteX312" fmla="*/ 8209 w 10000"/>
                <a:gd name="connsiteY312" fmla="*/ 4655 h 10000"/>
                <a:gd name="connsiteX313" fmla="*/ 8102 w 10000"/>
                <a:gd name="connsiteY313" fmla="*/ 4634 h 10000"/>
                <a:gd name="connsiteX314" fmla="*/ 7641 w 10000"/>
                <a:gd name="connsiteY314" fmla="*/ 4779 h 10000"/>
                <a:gd name="connsiteX315" fmla="*/ 7610 w 10000"/>
                <a:gd name="connsiteY315" fmla="*/ 5005 h 10000"/>
                <a:gd name="connsiteX316" fmla="*/ 7550 w 10000"/>
                <a:gd name="connsiteY316" fmla="*/ 5666 h 10000"/>
                <a:gd name="connsiteX317" fmla="*/ 7496 w 10000"/>
                <a:gd name="connsiteY317" fmla="*/ 5965 h 10000"/>
                <a:gd name="connsiteX318" fmla="*/ 7701 w 10000"/>
                <a:gd name="connsiteY318" fmla="*/ 6161 h 10000"/>
                <a:gd name="connsiteX319" fmla="*/ 7745 w 10000"/>
                <a:gd name="connsiteY319" fmla="*/ 6243 h 10000"/>
                <a:gd name="connsiteX320" fmla="*/ 7771 w 10000"/>
                <a:gd name="connsiteY320" fmla="*/ 6285 h 10000"/>
                <a:gd name="connsiteX321" fmla="*/ 7793 w 10000"/>
                <a:gd name="connsiteY321" fmla="*/ 6068 h 10000"/>
                <a:gd name="connsiteX322" fmla="*/ 7912 w 10000"/>
                <a:gd name="connsiteY322" fmla="*/ 6089 h 10000"/>
                <a:gd name="connsiteX323" fmla="*/ 8004 w 10000"/>
                <a:gd name="connsiteY323" fmla="*/ 6367 h 10000"/>
                <a:gd name="connsiteX324" fmla="*/ 8064 w 10000"/>
                <a:gd name="connsiteY324" fmla="*/ 6616 h 10000"/>
                <a:gd name="connsiteX325" fmla="*/ 8111 w 10000"/>
                <a:gd name="connsiteY325" fmla="*/ 6781 h 10000"/>
                <a:gd name="connsiteX326" fmla="*/ 8048 w 10000"/>
                <a:gd name="connsiteY326" fmla="*/ 6491 h 10000"/>
                <a:gd name="connsiteX327" fmla="*/ 8124 w 10000"/>
                <a:gd name="connsiteY327" fmla="*/ 6336 h 10000"/>
                <a:gd name="connsiteX328" fmla="*/ 8177 w 10000"/>
                <a:gd name="connsiteY328" fmla="*/ 6512 h 10000"/>
                <a:gd name="connsiteX329" fmla="*/ 8300 w 10000"/>
                <a:gd name="connsiteY329" fmla="*/ 6987 h 10000"/>
                <a:gd name="connsiteX330" fmla="*/ 8361 w 10000"/>
                <a:gd name="connsiteY330" fmla="*/ 7152 h 10000"/>
                <a:gd name="connsiteX331" fmla="*/ 8490 w 10000"/>
                <a:gd name="connsiteY331" fmla="*/ 7482 h 10000"/>
                <a:gd name="connsiteX332" fmla="*/ 8604 w 10000"/>
                <a:gd name="connsiteY332" fmla="*/ 7854 h 10000"/>
                <a:gd name="connsiteX333" fmla="*/ 8474 w 10000"/>
                <a:gd name="connsiteY333" fmla="*/ 7647 h 10000"/>
                <a:gd name="connsiteX334" fmla="*/ 8443 w 10000"/>
                <a:gd name="connsiteY334" fmla="*/ 7678 h 10000"/>
                <a:gd name="connsiteX335" fmla="*/ 8512 w 10000"/>
                <a:gd name="connsiteY335" fmla="*/ 8050 h 10000"/>
                <a:gd name="connsiteX336" fmla="*/ 8588 w 10000"/>
                <a:gd name="connsiteY336" fmla="*/ 8266 h 10000"/>
                <a:gd name="connsiteX337" fmla="*/ 8642 w 10000"/>
                <a:gd name="connsiteY337" fmla="*/ 8472 h 10000"/>
                <a:gd name="connsiteX338" fmla="*/ 8566 w 10000"/>
                <a:gd name="connsiteY338" fmla="*/ 8421 h 10000"/>
                <a:gd name="connsiteX339" fmla="*/ 8556 w 10000"/>
                <a:gd name="connsiteY339" fmla="*/ 8669 h 10000"/>
                <a:gd name="connsiteX340" fmla="*/ 8497 w 10000"/>
                <a:gd name="connsiteY340" fmla="*/ 8493 h 10000"/>
                <a:gd name="connsiteX341" fmla="*/ 8481 w 10000"/>
                <a:gd name="connsiteY341" fmla="*/ 8421 h 10000"/>
                <a:gd name="connsiteX342" fmla="*/ 8361 w 10000"/>
                <a:gd name="connsiteY342" fmla="*/ 7751 h 10000"/>
                <a:gd name="connsiteX343" fmla="*/ 8322 w 10000"/>
                <a:gd name="connsiteY343" fmla="*/ 7524 h 10000"/>
                <a:gd name="connsiteX344" fmla="*/ 8291 w 10000"/>
                <a:gd name="connsiteY344" fmla="*/ 7378 h 10000"/>
                <a:gd name="connsiteX345" fmla="*/ 8275 w 10000"/>
                <a:gd name="connsiteY345" fmla="*/ 7306 h 10000"/>
                <a:gd name="connsiteX346" fmla="*/ 8139 w 10000"/>
                <a:gd name="connsiteY346" fmla="*/ 6863 h 10000"/>
                <a:gd name="connsiteX347" fmla="*/ 8199 w 10000"/>
                <a:gd name="connsiteY347" fmla="*/ 7451 h 10000"/>
                <a:gd name="connsiteX348" fmla="*/ 8247 w 10000"/>
                <a:gd name="connsiteY348" fmla="*/ 7998 h 10000"/>
                <a:gd name="connsiteX349" fmla="*/ 8177 w 10000"/>
                <a:gd name="connsiteY349" fmla="*/ 9133 h 10000"/>
                <a:gd name="connsiteX350" fmla="*/ 8124 w 10000"/>
                <a:gd name="connsiteY350" fmla="*/ 9484 h 10000"/>
                <a:gd name="connsiteX351" fmla="*/ 7972 w 10000"/>
                <a:gd name="connsiteY351" fmla="*/ 9432 h 10000"/>
                <a:gd name="connsiteX352" fmla="*/ 7897 w 10000"/>
                <a:gd name="connsiteY352" fmla="*/ 9660 h 10000"/>
                <a:gd name="connsiteX353" fmla="*/ 7868 w 10000"/>
                <a:gd name="connsiteY353" fmla="*/ 9588 h 10000"/>
                <a:gd name="connsiteX354" fmla="*/ 7884 w 10000"/>
                <a:gd name="connsiteY354" fmla="*/ 9536 h 10000"/>
                <a:gd name="connsiteX355" fmla="*/ 7897 w 10000"/>
                <a:gd name="connsiteY355" fmla="*/ 9380 h 10000"/>
                <a:gd name="connsiteX356" fmla="*/ 7884 w 10000"/>
                <a:gd name="connsiteY356" fmla="*/ 9236 h 10000"/>
                <a:gd name="connsiteX357" fmla="*/ 7793 w 10000"/>
                <a:gd name="connsiteY357" fmla="*/ 8865 h 10000"/>
                <a:gd name="connsiteX358" fmla="*/ 7831 w 10000"/>
                <a:gd name="connsiteY358" fmla="*/ 8741 h 10000"/>
                <a:gd name="connsiteX359" fmla="*/ 7928 w 10000"/>
                <a:gd name="connsiteY359" fmla="*/ 8844 h 10000"/>
                <a:gd name="connsiteX360" fmla="*/ 7912 w 10000"/>
                <a:gd name="connsiteY360" fmla="*/ 8318 h 10000"/>
                <a:gd name="connsiteX361" fmla="*/ 7906 w 10000"/>
                <a:gd name="connsiteY361" fmla="*/ 8019 h 10000"/>
                <a:gd name="connsiteX362" fmla="*/ 7846 w 10000"/>
                <a:gd name="connsiteY362" fmla="*/ 7802 h 10000"/>
                <a:gd name="connsiteX363" fmla="*/ 7723 w 10000"/>
                <a:gd name="connsiteY363" fmla="*/ 8050 h 10000"/>
                <a:gd name="connsiteX364" fmla="*/ 7619 w 10000"/>
                <a:gd name="connsiteY364" fmla="*/ 8019 h 10000"/>
                <a:gd name="connsiteX365" fmla="*/ 7528 w 10000"/>
                <a:gd name="connsiteY365" fmla="*/ 7699 h 10000"/>
                <a:gd name="connsiteX366" fmla="*/ 7355 w 10000"/>
                <a:gd name="connsiteY366" fmla="*/ 7482 h 10000"/>
                <a:gd name="connsiteX367" fmla="*/ 7279 w 10000"/>
                <a:gd name="connsiteY367" fmla="*/ 7482 h 10000"/>
                <a:gd name="connsiteX368" fmla="*/ 7080 w 10000"/>
                <a:gd name="connsiteY368" fmla="*/ 6781 h 10000"/>
                <a:gd name="connsiteX369" fmla="*/ 6901 w 10000"/>
                <a:gd name="connsiteY369" fmla="*/ 6460 h 10000"/>
                <a:gd name="connsiteX370" fmla="*/ 6724 w 10000"/>
                <a:gd name="connsiteY370" fmla="*/ 6336 h 10000"/>
                <a:gd name="connsiteX371" fmla="*/ 6583 w 10000"/>
                <a:gd name="connsiteY371" fmla="*/ 6408 h 10000"/>
                <a:gd name="connsiteX372" fmla="*/ 6567 w 10000"/>
                <a:gd name="connsiteY372" fmla="*/ 6585 h 10000"/>
                <a:gd name="connsiteX373" fmla="*/ 6664 w 10000"/>
                <a:gd name="connsiteY373" fmla="*/ 6760 h 10000"/>
                <a:gd name="connsiteX374" fmla="*/ 6636 w 10000"/>
                <a:gd name="connsiteY374" fmla="*/ 6935 h 10000"/>
                <a:gd name="connsiteX375" fmla="*/ 6636 w 10000"/>
                <a:gd name="connsiteY375" fmla="*/ 7399 h 10000"/>
                <a:gd name="connsiteX376" fmla="*/ 6560 w 10000"/>
                <a:gd name="connsiteY376" fmla="*/ 7482 h 10000"/>
                <a:gd name="connsiteX377" fmla="*/ 6485 w 10000"/>
                <a:gd name="connsiteY377" fmla="*/ 7378 h 10000"/>
                <a:gd name="connsiteX378" fmla="*/ 6400 w 10000"/>
                <a:gd name="connsiteY378" fmla="*/ 7399 h 10000"/>
                <a:gd name="connsiteX379" fmla="*/ 6334 w 10000"/>
                <a:gd name="connsiteY379" fmla="*/ 7275 h 10000"/>
                <a:gd name="connsiteX380" fmla="*/ 6258 w 10000"/>
                <a:gd name="connsiteY380" fmla="*/ 7358 h 10000"/>
                <a:gd name="connsiteX381" fmla="*/ 6220 w 10000"/>
                <a:gd name="connsiteY381" fmla="*/ 7524 h 10000"/>
                <a:gd name="connsiteX382" fmla="*/ 6081 w 10000"/>
                <a:gd name="connsiteY382" fmla="*/ 7606 h 10000"/>
                <a:gd name="connsiteX383" fmla="*/ 5892 w 10000"/>
                <a:gd name="connsiteY383" fmla="*/ 7575 h 10000"/>
                <a:gd name="connsiteX384" fmla="*/ 5855 w 10000"/>
                <a:gd name="connsiteY384" fmla="*/ 7327 h 10000"/>
                <a:gd name="connsiteX385" fmla="*/ 5643 w 10000"/>
                <a:gd name="connsiteY385" fmla="*/ 7255 h 10000"/>
                <a:gd name="connsiteX386" fmla="*/ 5539 w 10000"/>
                <a:gd name="connsiteY386" fmla="*/ 7358 h 10000"/>
                <a:gd name="connsiteX387" fmla="*/ 5416 w 10000"/>
                <a:gd name="connsiteY387" fmla="*/ 7203 h 10000"/>
                <a:gd name="connsiteX388" fmla="*/ 5372 w 10000"/>
                <a:gd name="connsiteY388"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2535 w 10000"/>
                <a:gd name="connsiteY24" fmla="*/ 6987 h 10000"/>
                <a:gd name="connsiteX25" fmla="*/ 1610 w 10000"/>
                <a:gd name="connsiteY25" fmla="*/ 7183 h 10000"/>
                <a:gd name="connsiteX26" fmla="*/ 1655 w 10000"/>
                <a:gd name="connsiteY26" fmla="*/ 7430 h 10000"/>
                <a:gd name="connsiteX27" fmla="*/ 1604 w 10000"/>
                <a:gd name="connsiteY27" fmla="*/ 7430 h 10000"/>
                <a:gd name="connsiteX28" fmla="*/ 1551 w 10000"/>
                <a:gd name="connsiteY28" fmla="*/ 7255 h 10000"/>
                <a:gd name="connsiteX29" fmla="*/ 1513 w 10000"/>
                <a:gd name="connsiteY29" fmla="*/ 7430 h 10000"/>
                <a:gd name="connsiteX30" fmla="*/ 1519 w 10000"/>
                <a:gd name="connsiteY30" fmla="*/ 7854 h 10000"/>
                <a:gd name="connsiteX31" fmla="*/ 1604 w 10000"/>
                <a:gd name="connsiteY31" fmla="*/ 8070 h 10000"/>
                <a:gd name="connsiteX32" fmla="*/ 1648 w 10000"/>
                <a:gd name="connsiteY32" fmla="*/ 8019 h 10000"/>
                <a:gd name="connsiteX33" fmla="*/ 1741 w 10000"/>
                <a:gd name="connsiteY33" fmla="*/ 8493 h 10000"/>
                <a:gd name="connsiteX34" fmla="*/ 1610 w 10000"/>
                <a:gd name="connsiteY34" fmla="*/ 8669 h 10000"/>
                <a:gd name="connsiteX35" fmla="*/ 1595 w 10000"/>
                <a:gd name="connsiteY35" fmla="*/ 9009 h 10000"/>
                <a:gd name="connsiteX36" fmla="*/ 1664 w 10000"/>
                <a:gd name="connsiteY36" fmla="*/ 9236 h 10000"/>
                <a:gd name="connsiteX37" fmla="*/ 1664 w 10000"/>
                <a:gd name="connsiteY37" fmla="*/ 9484 h 10000"/>
                <a:gd name="connsiteX38" fmla="*/ 1769 w 10000"/>
                <a:gd name="connsiteY38" fmla="*/ 9835 h 10000"/>
                <a:gd name="connsiteX39" fmla="*/ 1703 w 10000"/>
                <a:gd name="connsiteY39" fmla="*/ 10000 h 10000"/>
                <a:gd name="connsiteX40" fmla="*/ 1604 w 10000"/>
                <a:gd name="connsiteY40" fmla="*/ 9753 h 10000"/>
                <a:gd name="connsiteX41" fmla="*/ 1465 w 10000"/>
                <a:gd name="connsiteY41" fmla="*/ 9505 h 10000"/>
                <a:gd name="connsiteX42" fmla="*/ 1406 w 10000"/>
                <a:gd name="connsiteY42" fmla="*/ 9588 h 10000"/>
                <a:gd name="connsiteX43" fmla="*/ 1308 w 10000"/>
                <a:gd name="connsiteY43" fmla="*/ 9380 h 10000"/>
                <a:gd name="connsiteX44" fmla="*/ 1097 w 10000"/>
                <a:gd name="connsiteY44" fmla="*/ 9339 h 10000"/>
                <a:gd name="connsiteX45" fmla="*/ 848 w 10000"/>
                <a:gd name="connsiteY45" fmla="*/ 8813 h 10000"/>
                <a:gd name="connsiteX46" fmla="*/ 914 w 10000"/>
                <a:gd name="connsiteY46" fmla="*/ 8721 h 10000"/>
                <a:gd name="connsiteX47" fmla="*/ 961 w 10000"/>
                <a:gd name="connsiteY47" fmla="*/ 8493 h 10000"/>
                <a:gd name="connsiteX48" fmla="*/ 908 w 10000"/>
                <a:gd name="connsiteY48" fmla="*/ 8390 h 10000"/>
                <a:gd name="connsiteX49" fmla="*/ 1021 w 10000"/>
                <a:gd name="connsiteY49" fmla="*/ 8245 h 10000"/>
                <a:gd name="connsiteX50" fmla="*/ 945 w 10000"/>
                <a:gd name="connsiteY50" fmla="*/ 8194 h 10000"/>
                <a:gd name="connsiteX51" fmla="*/ 958 w 10000"/>
                <a:gd name="connsiteY51" fmla="*/ 8091 h 10000"/>
                <a:gd name="connsiteX52" fmla="*/ 1005 w 10000"/>
                <a:gd name="connsiteY52" fmla="*/ 8111 h 10000"/>
                <a:gd name="connsiteX53" fmla="*/ 1059 w 10000"/>
                <a:gd name="connsiteY53" fmla="*/ 8019 h 10000"/>
                <a:gd name="connsiteX54" fmla="*/ 1034 w 10000"/>
                <a:gd name="connsiteY54" fmla="*/ 7864 h 10000"/>
                <a:gd name="connsiteX55" fmla="*/ 1043 w 10000"/>
                <a:gd name="connsiteY55" fmla="*/ 7503 h 10000"/>
                <a:gd name="connsiteX56" fmla="*/ 930 w 10000"/>
                <a:gd name="connsiteY56" fmla="*/ 7440 h 10000"/>
                <a:gd name="connsiteX57" fmla="*/ 832 w 10000"/>
                <a:gd name="connsiteY57" fmla="*/ 7286 h 10000"/>
                <a:gd name="connsiteX58" fmla="*/ 700 w 10000"/>
                <a:gd name="connsiteY58" fmla="*/ 7275 h 10000"/>
                <a:gd name="connsiteX59" fmla="*/ 684 w 10000"/>
                <a:gd name="connsiteY59" fmla="*/ 7090 h 10000"/>
                <a:gd name="connsiteX60" fmla="*/ 596 w 10000"/>
                <a:gd name="connsiteY60" fmla="*/ 6945 h 10000"/>
                <a:gd name="connsiteX61" fmla="*/ 615 w 10000"/>
                <a:gd name="connsiteY61" fmla="*/ 6822 h 10000"/>
                <a:gd name="connsiteX62" fmla="*/ 561 w 10000"/>
                <a:gd name="connsiteY62" fmla="*/ 6698 h 10000"/>
                <a:gd name="connsiteX63" fmla="*/ 457 w 10000"/>
                <a:gd name="connsiteY63" fmla="*/ 6698 h 10000"/>
                <a:gd name="connsiteX64" fmla="*/ 425 w 10000"/>
                <a:gd name="connsiteY64" fmla="*/ 6791 h 10000"/>
                <a:gd name="connsiteX65" fmla="*/ 400 w 10000"/>
                <a:gd name="connsiteY65" fmla="*/ 6750 h 10000"/>
                <a:gd name="connsiteX66" fmla="*/ 378 w 10000"/>
                <a:gd name="connsiteY66" fmla="*/ 6439 h 10000"/>
                <a:gd name="connsiteX67" fmla="*/ 419 w 10000"/>
                <a:gd name="connsiteY67" fmla="*/ 6470 h 10000"/>
                <a:gd name="connsiteX68" fmla="*/ 466 w 10000"/>
                <a:gd name="connsiteY68" fmla="*/ 6347 h 10000"/>
                <a:gd name="connsiteX69" fmla="*/ 400 w 10000"/>
                <a:gd name="connsiteY69" fmla="*/ 6233 h 10000"/>
                <a:gd name="connsiteX70" fmla="*/ 315 w 10000"/>
                <a:gd name="connsiteY70" fmla="*/ 6017 h 10000"/>
                <a:gd name="connsiteX71" fmla="*/ 334 w 10000"/>
                <a:gd name="connsiteY71" fmla="*/ 5821 h 10000"/>
                <a:gd name="connsiteX72" fmla="*/ 274 w 10000"/>
                <a:gd name="connsiteY72" fmla="*/ 5697 h 10000"/>
                <a:gd name="connsiteX73" fmla="*/ 227 w 10000"/>
                <a:gd name="connsiteY73" fmla="*/ 5728 h 10000"/>
                <a:gd name="connsiteX74" fmla="*/ 202 w 10000"/>
                <a:gd name="connsiteY74" fmla="*/ 5604 h 10000"/>
                <a:gd name="connsiteX75" fmla="*/ 164 w 10000"/>
                <a:gd name="connsiteY75" fmla="*/ 5645 h 10000"/>
                <a:gd name="connsiteX76" fmla="*/ 117 w 10000"/>
                <a:gd name="connsiteY76" fmla="*/ 5604 h 10000"/>
                <a:gd name="connsiteX77" fmla="*/ 69 w 10000"/>
                <a:gd name="connsiteY77" fmla="*/ 5181 h 10000"/>
                <a:gd name="connsiteX78" fmla="*/ 85 w 10000"/>
                <a:gd name="connsiteY78" fmla="*/ 5057 h 10000"/>
                <a:gd name="connsiteX79" fmla="*/ 41 w 10000"/>
                <a:gd name="connsiteY79" fmla="*/ 4892 h 10000"/>
                <a:gd name="connsiteX80" fmla="*/ 66 w 10000"/>
                <a:gd name="connsiteY80" fmla="*/ 4655 h 10000"/>
                <a:gd name="connsiteX81" fmla="*/ 211 w 10000"/>
                <a:gd name="connsiteY81" fmla="*/ 4510 h 10000"/>
                <a:gd name="connsiteX82" fmla="*/ 129 w 10000"/>
                <a:gd name="connsiteY82" fmla="*/ 4406 h 10000"/>
                <a:gd name="connsiteX83" fmla="*/ 82 w 10000"/>
                <a:gd name="connsiteY83" fmla="*/ 4283 h 10000"/>
                <a:gd name="connsiteX84" fmla="*/ 205 w 10000"/>
                <a:gd name="connsiteY84" fmla="*/ 3912 h 10000"/>
                <a:gd name="connsiteX85" fmla="*/ 249 w 10000"/>
                <a:gd name="connsiteY85" fmla="*/ 3664 h 10000"/>
                <a:gd name="connsiteX86" fmla="*/ 151 w 10000"/>
                <a:gd name="connsiteY86" fmla="*/ 3488 h 10000"/>
                <a:gd name="connsiteX87" fmla="*/ 189 w 10000"/>
                <a:gd name="connsiteY87" fmla="*/ 3344 h 10000"/>
                <a:gd name="connsiteX88" fmla="*/ 113 w 10000"/>
                <a:gd name="connsiteY88" fmla="*/ 3148 h 10000"/>
                <a:gd name="connsiteX89" fmla="*/ 113 w 10000"/>
                <a:gd name="connsiteY89" fmla="*/ 2972 h 10000"/>
                <a:gd name="connsiteX90" fmla="*/ 60 w 10000"/>
                <a:gd name="connsiteY90" fmla="*/ 2622 h 10000"/>
                <a:gd name="connsiteX91" fmla="*/ 98 w 10000"/>
                <a:gd name="connsiteY91" fmla="*/ 2404 h 10000"/>
                <a:gd name="connsiteX92" fmla="*/ 38 w 10000"/>
                <a:gd name="connsiteY92" fmla="*/ 2301 h 10000"/>
                <a:gd name="connsiteX93" fmla="*/ 0 w 10000"/>
                <a:gd name="connsiteY93" fmla="*/ 2178 h 10000"/>
                <a:gd name="connsiteX94" fmla="*/ 54 w 10000"/>
                <a:gd name="connsiteY94" fmla="*/ 1951 h 10000"/>
                <a:gd name="connsiteX95" fmla="*/ 120 w 10000"/>
                <a:gd name="connsiteY95" fmla="*/ 1910 h 10000"/>
                <a:gd name="connsiteX96" fmla="*/ 195 w 10000"/>
                <a:gd name="connsiteY96" fmla="*/ 1858 h 10000"/>
                <a:gd name="connsiteX97" fmla="*/ 309 w 10000"/>
                <a:gd name="connsiteY97" fmla="*/ 1951 h 10000"/>
                <a:gd name="connsiteX98" fmla="*/ 482 w 10000"/>
                <a:gd name="connsiteY98" fmla="*/ 2054 h 10000"/>
                <a:gd name="connsiteX99" fmla="*/ 633 w 10000"/>
                <a:gd name="connsiteY99" fmla="*/ 2229 h 10000"/>
                <a:gd name="connsiteX100" fmla="*/ 756 w 10000"/>
                <a:gd name="connsiteY100" fmla="*/ 2373 h 10000"/>
                <a:gd name="connsiteX101" fmla="*/ 725 w 10000"/>
                <a:gd name="connsiteY101" fmla="*/ 2777 h 10000"/>
                <a:gd name="connsiteX102" fmla="*/ 362 w 10000"/>
                <a:gd name="connsiteY102" fmla="*/ 2673 h 10000"/>
                <a:gd name="connsiteX103" fmla="*/ 243 w 10000"/>
                <a:gd name="connsiteY103" fmla="*/ 2550 h 10000"/>
                <a:gd name="connsiteX104" fmla="*/ 287 w 10000"/>
                <a:gd name="connsiteY104" fmla="*/ 2622 h 10000"/>
                <a:gd name="connsiteX105" fmla="*/ 331 w 10000"/>
                <a:gd name="connsiteY105" fmla="*/ 2797 h 10000"/>
                <a:gd name="connsiteX106" fmla="*/ 400 w 10000"/>
                <a:gd name="connsiteY106" fmla="*/ 2921 h 10000"/>
                <a:gd name="connsiteX107" fmla="*/ 416 w 10000"/>
                <a:gd name="connsiteY107" fmla="*/ 3189 h 10000"/>
                <a:gd name="connsiteX108" fmla="*/ 507 w 10000"/>
                <a:gd name="connsiteY108" fmla="*/ 3313 h 10000"/>
                <a:gd name="connsiteX109" fmla="*/ 583 w 10000"/>
                <a:gd name="connsiteY109" fmla="*/ 3436 h 10000"/>
                <a:gd name="connsiteX110" fmla="*/ 605 w 10000"/>
                <a:gd name="connsiteY110" fmla="*/ 3467 h 10000"/>
                <a:gd name="connsiteX111" fmla="*/ 649 w 10000"/>
                <a:gd name="connsiteY111" fmla="*/ 3436 h 10000"/>
                <a:gd name="connsiteX112" fmla="*/ 633 w 10000"/>
                <a:gd name="connsiteY112" fmla="*/ 3364 h 10000"/>
                <a:gd name="connsiteX113" fmla="*/ 545 w 10000"/>
                <a:gd name="connsiteY113" fmla="*/ 3189 h 10000"/>
                <a:gd name="connsiteX114" fmla="*/ 801 w 10000"/>
                <a:gd name="connsiteY114" fmla="*/ 3344 h 10000"/>
                <a:gd name="connsiteX115" fmla="*/ 810 w 10000"/>
                <a:gd name="connsiteY115" fmla="*/ 3271 h 10000"/>
                <a:gd name="connsiteX116" fmla="*/ 785 w 10000"/>
                <a:gd name="connsiteY116" fmla="*/ 3220 h 10000"/>
                <a:gd name="connsiteX117" fmla="*/ 741 w 10000"/>
                <a:gd name="connsiteY117" fmla="*/ 2993 h 10000"/>
                <a:gd name="connsiteX118" fmla="*/ 870 w 10000"/>
                <a:gd name="connsiteY118" fmla="*/ 2777 h 10000"/>
                <a:gd name="connsiteX119" fmla="*/ 968 w 10000"/>
                <a:gd name="connsiteY119" fmla="*/ 2921 h 10000"/>
                <a:gd name="connsiteX120" fmla="*/ 999 w 10000"/>
                <a:gd name="connsiteY120" fmla="*/ 2725 h 10000"/>
                <a:gd name="connsiteX121" fmla="*/ 952 w 10000"/>
                <a:gd name="connsiteY121" fmla="*/ 2653 h 10000"/>
                <a:gd name="connsiteX122" fmla="*/ 936 w 10000"/>
                <a:gd name="connsiteY122" fmla="*/ 2281 h 10000"/>
                <a:gd name="connsiteX123" fmla="*/ 914 w 10000"/>
                <a:gd name="connsiteY123" fmla="*/ 2229 h 10000"/>
                <a:gd name="connsiteX124" fmla="*/ 1037 w 10000"/>
                <a:gd name="connsiteY124" fmla="*/ 2250 h 10000"/>
                <a:gd name="connsiteX125" fmla="*/ 1087 w 10000"/>
                <a:gd name="connsiteY125" fmla="*/ 2404 h 10000"/>
                <a:gd name="connsiteX126" fmla="*/ 1021 w 10000"/>
                <a:gd name="connsiteY126" fmla="*/ 2529 h 10000"/>
                <a:gd name="connsiteX127" fmla="*/ 1135 w 10000"/>
                <a:gd name="connsiteY127" fmla="*/ 2694 h 10000"/>
                <a:gd name="connsiteX128" fmla="*/ 1226 w 10000"/>
                <a:gd name="connsiteY128" fmla="*/ 2529 h 10000"/>
                <a:gd name="connsiteX129" fmla="*/ 1339 w 10000"/>
                <a:gd name="connsiteY129" fmla="*/ 2301 h 10000"/>
                <a:gd name="connsiteX130" fmla="*/ 1459 w 10000"/>
                <a:gd name="connsiteY130" fmla="*/ 2157 h 10000"/>
                <a:gd name="connsiteX131" fmla="*/ 1497 w 10000"/>
                <a:gd name="connsiteY131" fmla="*/ 2250 h 10000"/>
                <a:gd name="connsiteX132" fmla="*/ 1807 w 10000"/>
                <a:gd name="connsiteY132" fmla="*/ 2054 h 10000"/>
                <a:gd name="connsiteX133" fmla="*/ 1870 w 10000"/>
                <a:gd name="connsiteY133" fmla="*/ 2250 h 10000"/>
                <a:gd name="connsiteX134" fmla="*/ 1860 w 10000"/>
                <a:gd name="connsiteY134" fmla="*/ 2002 h 10000"/>
                <a:gd name="connsiteX135" fmla="*/ 1778 w 10000"/>
                <a:gd name="connsiteY135" fmla="*/ 1786 h 10000"/>
                <a:gd name="connsiteX136" fmla="*/ 1763 w 10000"/>
                <a:gd name="connsiteY136" fmla="*/ 1703 h 10000"/>
                <a:gd name="connsiteX137" fmla="*/ 1823 w 10000"/>
                <a:gd name="connsiteY137" fmla="*/ 1786 h 10000"/>
                <a:gd name="connsiteX138" fmla="*/ 2034 w 10000"/>
                <a:gd name="connsiteY138" fmla="*/ 1951 h 10000"/>
                <a:gd name="connsiteX139" fmla="*/ 2270 w 10000"/>
                <a:gd name="connsiteY139" fmla="*/ 2126 h 10000"/>
                <a:gd name="connsiteX140" fmla="*/ 2384 w 10000"/>
                <a:gd name="connsiteY140" fmla="*/ 2250 h 10000"/>
                <a:gd name="connsiteX141" fmla="*/ 2421 w 10000"/>
                <a:gd name="connsiteY141" fmla="*/ 2074 h 10000"/>
                <a:gd name="connsiteX142" fmla="*/ 2368 w 10000"/>
                <a:gd name="connsiteY142" fmla="*/ 2033 h 10000"/>
                <a:gd name="connsiteX143" fmla="*/ 2299 w 10000"/>
                <a:gd name="connsiteY143" fmla="*/ 1930 h 10000"/>
                <a:gd name="connsiteX144" fmla="*/ 2254 w 10000"/>
                <a:gd name="connsiteY144" fmla="*/ 1734 h 10000"/>
                <a:gd name="connsiteX145" fmla="*/ 2185 w 10000"/>
                <a:gd name="connsiteY145" fmla="*/ 1486 h 10000"/>
                <a:gd name="connsiteX146" fmla="*/ 2210 w 10000"/>
                <a:gd name="connsiteY146" fmla="*/ 1434 h 10000"/>
                <a:gd name="connsiteX147" fmla="*/ 2232 w 10000"/>
                <a:gd name="connsiteY147" fmla="*/ 1455 h 10000"/>
                <a:gd name="connsiteX148" fmla="*/ 2292 w 10000"/>
                <a:gd name="connsiteY148" fmla="*/ 1115 h 10000"/>
                <a:gd name="connsiteX149" fmla="*/ 2443 w 10000"/>
                <a:gd name="connsiteY149" fmla="*/ 1135 h 10000"/>
                <a:gd name="connsiteX150" fmla="*/ 2488 w 10000"/>
                <a:gd name="connsiteY150" fmla="*/ 1311 h 10000"/>
                <a:gd name="connsiteX151" fmla="*/ 2519 w 10000"/>
                <a:gd name="connsiteY151" fmla="*/ 1538 h 10000"/>
                <a:gd name="connsiteX152" fmla="*/ 2573 w 10000"/>
                <a:gd name="connsiteY152" fmla="*/ 1734 h 10000"/>
                <a:gd name="connsiteX153" fmla="*/ 2670 w 10000"/>
                <a:gd name="connsiteY153" fmla="*/ 2157 h 10000"/>
                <a:gd name="connsiteX154" fmla="*/ 2481 w 10000"/>
                <a:gd name="connsiteY154" fmla="*/ 2673 h 10000"/>
                <a:gd name="connsiteX155" fmla="*/ 2557 w 10000"/>
                <a:gd name="connsiteY155" fmla="*/ 2746 h 10000"/>
                <a:gd name="connsiteX156" fmla="*/ 2655 w 10000"/>
                <a:gd name="connsiteY156" fmla="*/ 2818 h 10000"/>
                <a:gd name="connsiteX157" fmla="*/ 2784 w 10000"/>
                <a:gd name="connsiteY157" fmla="*/ 2622 h 10000"/>
                <a:gd name="connsiteX158" fmla="*/ 2790 w 10000"/>
                <a:gd name="connsiteY158" fmla="*/ 2404 h 10000"/>
                <a:gd name="connsiteX159" fmla="*/ 2746 w 10000"/>
                <a:gd name="connsiteY159" fmla="*/ 2301 h 10000"/>
                <a:gd name="connsiteX160" fmla="*/ 2919 w 10000"/>
                <a:gd name="connsiteY160" fmla="*/ 2250 h 10000"/>
                <a:gd name="connsiteX161" fmla="*/ 2989 w 10000"/>
                <a:gd name="connsiteY161" fmla="*/ 2497 h 10000"/>
                <a:gd name="connsiteX162" fmla="*/ 2989 w 10000"/>
                <a:gd name="connsiteY162" fmla="*/ 2425 h 10000"/>
                <a:gd name="connsiteX163" fmla="*/ 2973 w 10000"/>
                <a:gd name="connsiteY163" fmla="*/ 2353 h 10000"/>
                <a:gd name="connsiteX164" fmla="*/ 2967 w 10000"/>
                <a:gd name="connsiteY164" fmla="*/ 2178 h 10000"/>
                <a:gd name="connsiteX165" fmla="*/ 2800 w 10000"/>
                <a:gd name="connsiteY165" fmla="*/ 1930 h 10000"/>
                <a:gd name="connsiteX166" fmla="*/ 2670 w 10000"/>
                <a:gd name="connsiteY166" fmla="*/ 2002 h 10000"/>
                <a:gd name="connsiteX167" fmla="*/ 2617 w 10000"/>
                <a:gd name="connsiteY167" fmla="*/ 1683 h 10000"/>
                <a:gd name="connsiteX168" fmla="*/ 2563 w 10000"/>
                <a:gd name="connsiteY168" fmla="*/ 1507 h 10000"/>
                <a:gd name="connsiteX169" fmla="*/ 2617 w 10000"/>
                <a:gd name="connsiteY169" fmla="*/ 1331 h 10000"/>
                <a:gd name="connsiteX170" fmla="*/ 2611 w 10000"/>
                <a:gd name="connsiteY170" fmla="*/ 1166 h 10000"/>
                <a:gd name="connsiteX171" fmla="*/ 2588 w 10000"/>
                <a:gd name="connsiteY171" fmla="*/ 1115 h 10000"/>
                <a:gd name="connsiteX172" fmla="*/ 2626 w 10000"/>
                <a:gd name="connsiteY172" fmla="*/ 1115 h 10000"/>
                <a:gd name="connsiteX173" fmla="*/ 2670 w 10000"/>
                <a:gd name="connsiteY173" fmla="*/ 1455 h 10000"/>
                <a:gd name="connsiteX174" fmla="*/ 2891 w 10000"/>
                <a:gd name="connsiteY174" fmla="*/ 1662 h 10000"/>
                <a:gd name="connsiteX175" fmla="*/ 2724 w 10000"/>
                <a:gd name="connsiteY175" fmla="*/ 1383 h 10000"/>
                <a:gd name="connsiteX176" fmla="*/ 3049 w 10000"/>
                <a:gd name="connsiteY176" fmla="*/ 1383 h 10000"/>
                <a:gd name="connsiteX177" fmla="*/ 3102 w 10000"/>
                <a:gd name="connsiteY177" fmla="*/ 1362 h 10000"/>
                <a:gd name="connsiteX178" fmla="*/ 2897 w 10000"/>
                <a:gd name="connsiteY178" fmla="*/ 1115 h 10000"/>
                <a:gd name="connsiteX179" fmla="*/ 2951 w 10000"/>
                <a:gd name="connsiteY179" fmla="*/ 888 h 10000"/>
                <a:gd name="connsiteX180" fmla="*/ 3178 w 10000"/>
                <a:gd name="connsiteY180" fmla="*/ 888 h 10000"/>
                <a:gd name="connsiteX181" fmla="*/ 3156 w 10000"/>
                <a:gd name="connsiteY181" fmla="*/ 713 h 10000"/>
                <a:gd name="connsiteX182" fmla="*/ 3231 w 10000"/>
                <a:gd name="connsiteY182" fmla="*/ 589 h 10000"/>
                <a:gd name="connsiteX183" fmla="*/ 3276 w 10000"/>
                <a:gd name="connsiteY183" fmla="*/ 548 h 10000"/>
                <a:gd name="connsiteX184" fmla="*/ 3443 w 10000"/>
                <a:gd name="connsiteY184" fmla="*/ 423 h 10000"/>
                <a:gd name="connsiteX185" fmla="*/ 3487 w 10000"/>
                <a:gd name="connsiteY185" fmla="*/ 371 h 10000"/>
                <a:gd name="connsiteX186" fmla="*/ 3480 w 10000"/>
                <a:gd name="connsiteY186" fmla="*/ 444 h 10000"/>
                <a:gd name="connsiteX187" fmla="*/ 3660 w 10000"/>
                <a:gd name="connsiteY187" fmla="*/ 371 h 10000"/>
                <a:gd name="connsiteX188" fmla="*/ 3805 w 10000"/>
                <a:gd name="connsiteY188" fmla="*/ 248 h 10000"/>
                <a:gd name="connsiteX189" fmla="*/ 3827 w 10000"/>
                <a:gd name="connsiteY189" fmla="*/ 0 h 10000"/>
                <a:gd name="connsiteX190" fmla="*/ 3988 w 10000"/>
                <a:gd name="connsiteY190" fmla="*/ 21 h 10000"/>
                <a:gd name="connsiteX191" fmla="*/ 3978 w 10000"/>
                <a:gd name="connsiteY191" fmla="*/ 93 h 10000"/>
                <a:gd name="connsiteX192" fmla="*/ 3988 w 10000"/>
                <a:gd name="connsiteY192" fmla="*/ 176 h 10000"/>
                <a:gd name="connsiteX193" fmla="*/ 4085 w 10000"/>
                <a:gd name="connsiteY193" fmla="*/ 248 h 10000"/>
                <a:gd name="connsiteX194" fmla="*/ 4379 w 10000"/>
                <a:gd name="connsiteY194" fmla="*/ 268 h 10000"/>
                <a:gd name="connsiteX195" fmla="*/ 4539 w 10000"/>
                <a:gd name="connsiteY195" fmla="*/ 392 h 10000"/>
                <a:gd name="connsiteX196" fmla="*/ 4486 w 10000"/>
                <a:gd name="connsiteY196" fmla="*/ 795 h 10000"/>
                <a:gd name="connsiteX197" fmla="*/ 4426 w 10000"/>
                <a:gd name="connsiteY197" fmla="*/ 919 h 10000"/>
                <a:gd name="connsiteX198" fmla="*/ 4356 w 10000"/>
                <a:gd name="connsiteY198" fmla="*/ 1043 h 10000"/>
                <a:gd name="connsiteX199" fmla="*/ 4372 w 10000"/>
                <a:gd name="connsiteY199" fmla="*/ 1115 h 10000"/>
                <a:gd name="connsiteX200" fmla="*/ 4583 w 10000"/>
                <a:gd name="connsiteY200" fmla="*/ 919 h 10000"/>
                <a:gd name="connsiteX201" fmla="*/ 5060 w 10000"/>
                <a:gd name="connsiteY201" fmla="*/ 991 h 10000"/>
                <a:gd name="connsiteX202" fmla="*/ 5108 w 10000"/>
                <a:gd name="connsiteY202" fmla="*/ 1063 h 10000"/>
                <a:gd name="connsiteX203" fmla="*/ 5212 w 10000"/>
                <a:gd name="connsiteY203" fmla="*/ 1187 h 10000"/>
                <a:gd name="connsiteX204" fmla="*/ 5357 w 10000"/>
                <a:gd name="connsiteY204" fmla="*/ 919 h 10000"/>
                <a:gd name="connsiteX205" fmla="*/ 5577 w 10000"/>
                <a:gd name="connsiteY205" fmla="*/ 1063 h 10000"/>
                <a:gd name="connsiteX206" fmla="*/ 5643 w 10000"/>
                <a:gd name="connsiteY206" fmla="*/ 1115 h 10000"/>
                <a:gd name="connsiteX207" fmla="*/ 5697 w 10000"/>
                <a:gd name="connsiteY207" fmla="*/ 1166 h 10000"/>
                <a:gd name="connsiteX208" fmla="*/ 5908 w 10000"/>
                <a:gd name="connsiteY208" fmla="*/ 1631 h 10000"/>
                <a:gd name="connsiteX209" fmla="*/ 5984 w 10000"/>
                <a:gd name="connsiteY209" fmla="*/ 1611 h 10000"/>
                <a:gd name="connsiteX210" fmla="*/ 5977 w 10000"/>
                <a:gd name="connsiteY210" fmla="*/ 1507 h 10000"/>
                <a:gd name="connsiteX211" fmla="*/ 5984 w 10000"/>
                <a:gd name="connsiteY211" fmla="*/ 1383 h 10000"/>
                <a:gd name="connsiteX212" fmla="*/ 6091 w 10000"/>
                <a:gd name="connsiteY212" fmla="*/ 1486 h 10000"/>
                <a:gd name="connsiteX213" fmla="*/ 6264 w 10000"/>
                <a:gd name="connsiteY213" fmla="*/ 1507 h 10000"/>
                <a:gd name="connsiteX214" fmla="*/ 6409 w 10000"/>
                <a:gd name="connsiteY214" fmla="*/ 1455 h 10000"/>
                <a:gd name="connsiteX215" fmla="*/ 6340 w 10000"/>
                <a:gd name="connsiteY215" fmla="*/ 1362 h 10000"/>
                <a:gd name="connsiteX216" fmla="*/ 6431 w 10000"/>
                <a:gd name="connsiteY216" fmla="*/ 1084 h 10000"/>
                <a:gd name="connsiteX217" fmla="*/ 6687 w 10000"/>
                <a:gd name="connsiteY217" fmla="*/ 1207 h 10000"/>
                <a:gd name="connsiteX218" fmla="*/ 6945 w 10000"/>
                <a:gd name="connsiteY218" fmla="*/ 1331 h 10000"/>
                <a:gd name="connsiteX219" fmla="*/ 6967 w 10000"/>
                <a:gd name="connsiteY219" fmla="*/ 1362 h 10000"/>
                <a:gd name="connsiteX220" fmla="*/ 7194 w 10000"/>
                <a:gd name="connsiteY220" fmla="*/ 1611 h 10000"/>
                <a:gd name="connsiteX221" fmla="*/ 7367 w 10000"/>
                <a:gd name="connsiteY221" fmla="*/ 1507 h 10000"/>
                <a:gd name="connsiteX222" fmla="*/ 7582 w 10000"/>
                <a:gd name="connsiteY222" fmla="*/ 1538 h 10000"/>
                <a:gd name="connsiteX223" fmla="*/ 7657 w 10000"/>
                <a:gd name="connsiteY223" fmla="*/ 1611 h 10000"/>
                <a:gd name="connsiteX224" fmla="*/ 7928 w 10000"/>
                <a:gd name="connsiteY224" fmla="*/ 1930 h 10000"/>
                <a:gd name="connsiteX225" fmla="*/ 8231 w 10000"/>
                <a:gd name="connsiteY225" fmla="*/ 1879 h 10000"/>
                <a:gd name="connsiteX226" fmla="*/ 8339 w 10000"/>
                <a:gd name="connsiteY226" fmla="*/ 2033 h 10000"/>
                <a:gd name="connsiteX227" fmla="*/ 8490 w 10000"/>
                <a:gd name="connsiteY227" fmla="*/ 2157 h 10000"/>
                <a:gd name="connsiteX228" fmla="*/ 8519 w 10000"/>
                <a:gd name="connsiteY228" fmla="*/ 2105 h 10000"/>
                <a:gd name="connsiteX229" fmla="*/ 8497 w 10000"/>
                <a:gd name="connsiteY229" fmla="*/ 2074 h 10000"/>
                <a:gd name="connsiteX230" fmla="*/ 8383 w 10000"/>
                <a:gd name="connsiteY230" fmla="*/ 1930 h 10000"/>
                <a:gd name="connsiteX231" fmla="*/ 8465 w 10000"/>
                <a:gd name="connsiteY231" fmla="*/ 1755 h 10000"/>
                <a:gd name="connsiteX232" fmla="*/ 8664 w 10000"/>
                <a:gd name="connsiteY232" fmla="*/ 1910 h 10000"/>
                <a:gd name="connsiteX233" fmla="*/ 8950 w 10000"/>
                <a:gd name="connsiteY233" fmla="*/ 1982 h 10000"/>
                <a:gd name="connsiteX234" fmla="*/ 9206 w 10000"/>
                <a:gd name="connsiteY234" fmla="*/ 2260 h 10000"/>
                <a:gd name="connsiteX235" fmla="*/ 9344 w 10000"/>
                <a:gd name="connsiteY235" fmla="*/ 2332 h 10000"/>
                <a:gd name="connsiteX236" fmla="*/ 9451 w 10000"/>
                <a:gd name="connsiteY236" fmla="*/ 2446 h 10000"/>
                <a:gd name="connsiteX237" fmla="*/ 9574 w 10000"/>
                <a:gd name="connsiteY237" fmla="*/ 2632 h 10000"/>
                <a:gd name="connsiteX238" fmla="*/ 9631 w 10000"/>
                <a:gd name="connsiteY238" fmla="*/ 2756 h 10000"/>
                <a:gd name="connsiteX239" fmla="*/ 9726 w 10000"/>
                <a:gd name="connsiteY239" fmla="*/ 2787 h 10000"/>
                <a:gd name="connsiteX240" fmla="*/ 9590 w 10000"/>
                <a:gd name="connsiteY240" fmla="*/ 2570 h 10000"/>
                <a:gd name="connsiteX241" fmla="*/ 9915 w 10000"/>
                <a:gd name="connsiteY241" fmla="*/ 2756 h 10000"/>
                <a:gd name="connsiteX242" fmla="*/ 10000 w 10000"/>
                <a:gd name="connsiteY242" fmla="*/ 3014 h 10000"/>
                <a:gd name="connsiteX243" fmla="*/ 9934 w 10000"/>
                <a:gd name="connsiteY243" fmla="*/ 2941 h 10000"/>
                <a:gd name="connsiteX244" fmla="*/ 9874 w 10000"/>
                <a:gd name="connsiteY244" fmla="*/ 2952 h 10000"/>
                <a:gd name="connsiteX245" fmla="*/ 10000 w 10000"/>
                <a:gd name="connsiteY245" fmla="*/ 3292 h 10000"/>
                <a:gd name="connsiteX246" fmla="*/ 9845 w 10000"/>
                <a:gd name="connsiteY246" fmla="*/ 3220 h 10000"/>
                <a:gd name="connsiteX247" fmla="*/ 9745 w 10000"/>
                <a:gd name="connsiteY247" fmla="*/ 3075 h 10000"/>
                <a:gd name="connsiteX248" fmla="*/ 9641 w 10000"/>
                <a:gd name="connsiteY248" fmla="*/ 2972 h 10000"/>
                <a:gd name="connsiteX249" fmla="*/ 9555 w 10000"/>
                <a:gd name="connsiteY249" fmla="*/ 3003 h 10000"/>
                <a:gd name="connsiteX250" fmla="*/ 9470 w 10000"/>
                <a:gd name="connsiteY250" fmla="*/ 2787 h 10000"/>
                <a:gd name="connsiteX251" fmla="*/ 9366 w 10000"/>
                <a:gd name="connsiteY251" fmla="*/ 2725 h 10000"/>
                <a:gd name="connsiteX252" fmla="*/ 9461 w 10000"/>
                <a:gd name="connsiteY252" fmla="*/ 2972 h 10000"/>
                <a:gd name="connsiteX253" fmla="*/ 9470 w 10000"/>
                <a:gd name="connsiteY253" fmla="*/ 3230 h 10000"/>
                <a:gd name="connsiteX254" fmla="*/ 9288 w 10000"/>
                <a:gd name="connsiteY254" fmla="*/ 3065 h 10000"/>
                <a:gd name="connsiteX255" fmla="*/ 9262 w 10000"/>
                <a:gd name="connsiteY255" fmla="*/ 3230 h 10000"/>
                <a:gd name="connsiteX256" fmla="*/ 9363 w 10000"/>
                <a:gd name="connsiteY256" fmla="*/ 3230 h 10000"/>
                <a:gd name="connsiteX257" fmla="*/ 9451 w 10000"/>
                <a:gd name="connsiteY257" fmla="*/ 3354 h 10000"/>
                <a:gd name="connsiteX258" fmla="*/ 9659 w 10000"/>
                <a:gd name="connsiteY258" fmla="*/ 3685 h 10000"/>
                <a:gd name="connsiteX259" fmla="*/ 9735 w 10000"/>
                <a:gd name="connsiteY259" fmla="*/ 3839 h 10000"/>
                <a:gd name="connsiteX260" fmla="*/ 9552 w 10000"/>
                <a:gd name="connsiteY260" fmla="*/ 3757 h 10000"/>
                <a:gd name="connsiteX261" fmla="*/ 9451 w 10000"/>
                <a:gd name="connsiteY261" fmla="*/ 4025 h 10000"/>
                <a:gd name="connsiteX262" fmla="*/ 9385 w 10000"/>
                <a:gd name="connsiteY262" fmla="*/ 4283 h 10000"/>
                <a:gd name="connsiteX263" fmla="*/ 9376 w 10000"/>
                <a:gd name="connsiteY263" fmla="*/ 4499 h 10000"/>
                <a:gd name="connsiteX264" fmla="*/ 9335 w 10000"/>
                <a:gd name="connsiteY264" fmla="*/ 4303 h 10000"/>
                <a:gd name="connsiteX265" fmla="*/ 9149 w 10000"/>
                <a:gd name="connsiteY265" fmla="*/ 4314 h 10000"/>
                <a:gd name="connsiteX266" fmla="*/ 9155 w 10000"/>
                <a:gd name="connsiteY266" fmla="*/ 4531 h 10000"/>
                <a:gd name="connsiteX267" fmla="*/ 9061 w 10000"/>
                <a:gd name="connsiteY267" fmla="*/ 4365 h 10000"/>
                <a:gd name="connsiteX268" fmla="*/ 9054 w 10000"/>
                <a:gd name="connsiteY268" fmla="*/ 4521 h 10000"/>
                <a:gd name="connsiteX269" fmla="*/ 8998 w 10000"/>
                <a:gd name="connsiteY269" fmla="*/ 4458 h 10000"/>
                <a:gd name="connsiteX270" fmla="*/ 8966 w 10000"/>
                <a:gd name="connsiteY270" fmla="*/ 4562 h 10000"/>
                <a:gd name="connsiteX271" fmla="*/ 9007 w 10000"/>
                <a:gd name="connsiteY271" fmla="*/ 4686 h 10000"/>
                <a:gd name="connsiteX272" fmla="*/ 9004 w 10000"/>
                <a:gd name="connsiteY272" fmla="*/ 4995 h 10000"/>
                <a:gd name="connsiteX273" fmla="*/ 9073 w 10000"/>
                <a:gd name="connsiteY273" fmla="*/ 5211 h 10000"/>
                <a:gd name="connsiteX274" fmla="*/ 9130 w 10000"/>
                <a:gd name="connsiteY274" fmla="*/ 5150 h 10000"/>
                <a:gd name="connsiteX275" fmla="*/ 9158 w 10000"/>
                <a:gd name="connsiteY275" fmla="*/ 5211 h 10000"/>
                <a:gd name="connsiteX276" fmla="*/ 9231 w 10000"/>
                <a:gd name="connsiteY276" fmla="*/ 5428 h 10000"/>
                <a:gd name="connsiteX277" fmla="*/ 9215 w 10000"/>
                <a:gd name="connsiteY277" fmla="*/ 5604 h 10000"/>
                <a:gd name="connsiteX278" fmla="*/ 9221 w 10000"/>
                <a:gd name="connsiteY278" fmla="*/ 5769 h 10000"/>
                <a:gd name="connsiteX279" fmla="*/ 9269 w 10000"/>
                <a:gd name="connsiteY279" fmla="*/ 5883 h 10000"/>
                <a:gd name="connsiteX280" fmla="*/ 9344 w 10000"/>
                <a:gd name="connsiteY280" fmla="*/ 6068 h 10000"/>
                <a:gd name="connsiteX281" fmla="*/ 9269 w 10000"/>
                <a:gd name="connsiteY281" fmla="*/ 6068 h 10000"/>
                <a:gd name="connsiteX282" fmla="*/ 9253 w 10000"/>
                <a:gd name="connsiteY282" fmla="*/ 6223 h 10000"/>
                <a:gd name="connsiteX283" fmla="*/ 9319 w 10000"/>
                <a:gd name="connsiteY283" fmla="*/ 6408 h 10000"/>
                <a:gd name="connsiteX284" fmla="*/ 9250 w 10000"/>
                <a:gd name="connsiteY284" fmla="*/ 6502 h 10000"/>
                <a:gd name="connsiteX285" fmla="*/ 9297 w 10000"/>
                <a:gd name="connsiteY285" fmla="*/ 6729 h 10000"/>
                <a:gd name="connsiteX286" fmla="*/ 9281 w 10000"/>
                <a:gd name="connsiteY286" fmla="*/ 7069 h 10000"/>
                <a:gd name="connsiteX287" fmla="*/ 9061 w 10000"/>
                <a:gd name="connsiteY287" fmla="*/ 6408 h 10000"/>
                <a:gd name="connsiteX288" fmla="*/ 8824 w 10000"/>
                <a:gd name="connsiteY288" fmla="*/ 5759 h 10000"/>
                <a:gd name="connsiteX289" fmla="*/ 8771 w 10000"/>
                <a:gd name="connsiteY289" fmla="*/ 5459 h 10000"/>
                <a:gd name="connsiteX290" fmla="*/ 8768 w 10000"/>
                <a:gd name="connsiteY290" fmla="*/ 5211 h 10000"/>
                <a:gd name="connsiteX291" fmla="*/ 8692 w 10000"/>
                <a:gd name="connsiteY291" fmla="*/ 5047 h 10000"/>
                <a:gd name="connsiteX292" fmla="*/ 8771 w 10000"/>
                <a:gd name="connsiteY292" fmla="*/ 5088 h 10000"/>
                <a:gd name="connsiteX293" fmla="*/ 8809 w 10000"/>
                <a:gd name="connsiteY293" fmla="*/ 5108 h 10000"/>
                <a:gd name="connsiteX294" fmla="*/ 8809 w 10000"/>
                <a:gd name="connsiteY294" fmla="*/ 4840 h 10000"/>
                <a:gd name="connsiteX295" fmla="*/ 8827 w 10000"/>
                <a:gd name="connsiteY295" fmla="*/ 4437 h 10000"/>
                <a:gd name="connsiteX296" fmla="*/ 8853 w 10000"/>
                <a:gd name="connsiteY296" fmla="*/ 4252 h 10000"/>
                <a:gd name="connsiteX297" fmla="*/ 8909 w 10000"/>
                <a:gd name="connsiteY297" fmla="*/ 4221 h 10000"/>
                <a:gd name="connsiteX298" fmla="*/ 8786 w 10000"/>
                <a:gd name="connsiteY298" fmla="*/ 3901 h 10000"/>
                <a:gd name="connsiteX299" fmla="*/ 8853 w 10000"/>
                <a:gd name="connsiteY299" fmla="*/ 3839 h 10000"/>
                <a:gd name="connsiteX300" fmla="*/ 8739 w 10000"/>
                <a:gd name="connsiteY300" fmla="*/ 3788 h 10000"/>
                <a:gd name="connsiteX301" fmla="*/ 8755 w 10000"/>
                <a:gd name="connsiteY301" fmla="*/ 3984 h 10000"/>
                <a:gd name="connsiteX302" fmla="*/ 8692 w 10000"/>
                <a:gd name="connsiteY302" fmla="*/ 4303 h 10000"/>
                <a:gd name="connsiteX303" fmla="*/ 8604 w 10000"/>
                <a:gd name="connsiteY303" fmla="*/ 4210 h 10000"/>
                <a:gd name="connsiteX304" fmla="*/ 8550 w 10000"/>
                <a:gd name="connsiteY304" fmla="*/ 4056 h 10000"/>
                <a:gd name="connsiteX305" fmla="*/ 8481 w 10000"/>
                <a:gd name="connsiteY305" fmla="*/ 4138 h 10000"/>
                <a:gd name="connsiteX306" fmla="*/ 8389 w 10000"/>
                <a:gd name="connsiteY306" fmla="*/ 4107 h 10000"/>
                <a:gd name="connsiteX307" fmla="*/ 8352 w 10000"/>
                <a:gd name="connsiteY307" fmla="*/ 4406 h 10000"/>
                <a:gd name="connsiteX308" fmla="*/ 8481 w 10000"/>
                <a:gd name="connsiteY308" fmla="*/ 4655 h 10000"/>
                <a:gd name="connsiteX309" fmla="*/ 8405 w 10000"/>
                <a:gd name="connsiteY309" fmla="*/ 4830 h 10000"/>
                <a:gd name="connsiteX310" fmla="*/ 8225 w 10000"/>
                <a:gd name="connsiteY310" fmla="*/ 4799 h 10000"/>
                <a:gd name="connsiteX311" fmla="*/ 8209 w 10000"/>
                <a:gd name="connsiteY311" fmla="*/ 4655 h 10000"/>
                <a:gd name="connsiteX312" fmla="*/ 8102 w 10000"/>
                <a:gd name="connsiteY312" fmla="*/ 4634 h 10000"/>
                <a:gd name="connsiteX313" fmla="*/ 7641 w 10000"/>
                <a:gd name="connsiteY313" fmla="*/ 4779 h 10000"/>
                <a:gd name="connsiteX314" fmla="*/ 7610 w 10000"/>
                <a:gd name="connsiteY314" fmla="*/ 5005 h 10000"/>
                <a:gd name="connsiteX315" fmla="*/ 7550 w 10000"/>
                <a:gd name="connsiteY315" fmla="*/ 5666 h 10000"/>
                <a:gd name="connsiteX316" fmla="*/ 7496 w 10000"/>
                <a:gd name="connsiteY316" fmla="*/ 5965 h 10000"/>
                <a:gd name="connsiteX317" fmla="*/ 7701 w 10000"/>
                <a:gd name="connsiteY317" fmla="*/ 6161 h 10000"/>
                <a:gd name="connsiteX318" fmla="*/ 7745 w 10000"/>
                <a:gd name="connsiteY318" fmla="*/ 6243 h 10000"/>
                <a:gd name="connsiteX319" fmla="*/ 7771 w 10000"/>
                <a:gd name="connsiteY319" fmla="*/ 6285 h 10000"/>
                <a:gd name="connsiteX320" fmla="*/ 7793 w 10000"/>
                <a:gd name="connsiteY320" fmla="*/ 6068 h 10000"/>
                <a:gd name="connsiteX321" fmla="*/ 7912 w 10000"/>
                <a:gd name="connsiteY321" fmla="*/ 6089 h 10000"/>
                <a:gd name="connsiteX322" fmla="*/ 8004 w 10000"/>
                <a:gd name="connsiteY322" fmla="*/ 6367 h 10000"/>
                <a:gd name="connsiteX323" fmla="*/ 8064 w 10000"/>
                <a:gd name="connsiteY323" fmla="*/ 6616 h 10000"/>
                <a:gd name="connsiteX324" fmla="*/ 8111 w 10000"/>
                <a:gd name="connsiteY324" fmla="*/ 6781 h 10000"/>
                <a:gd name="connsiteX325" fmla="*/ 8048 w 10000"/>
                <a:gd name="connsiteY325" fmla="*/ 6491 h 10000"/>
                <a:gd name="connsiteX326" fmla="*/ 8124 w 10000"/>
                <a:gd name="connsiteY326" fmla="*/ 6336 h 10000"/>
                <a:gd name="connsiteX327" fmla="*/ 8177 w 10000"/>
                <a:gd name="connsiteY327" fmla="*/ 6512 h 10000"/>
                <a:gd name="connsiteX328" fmla="*/ 8300 w 10000"/>
                <a:gd name="connsiteY328" fmla="*/ 6987 h 10000"/>
                <a:gd name="connsiteX329" fmla="*/ 8361 w 10000"/>
                <a:gd name="connsiteY329" fmla="*/ 7152 h 10000"/>
                <a:gd name="connsiteX330" fmla="*/ 8490 w 10000"/>
                <a:gd name="connsiteY330" fmla="*/ 7482 h 10000"/>
                <a:gd name="connsiteX331" fmla="*/ 8604 w 10000"/>
                <a:gd name="connsiteY331" fmla="*/ 7854 h 10000"/>
                <a:gd name="connsiteX332" fmla="*/ 8474 w 10000"/>
                <a:gd name="connsiteY332" fmla="*/ 7647 h 10000"/>
                <a:gd name="connsiteX333" fmla="*/ 8443 w 10000"/>
                <a:gd name="connsiteY333" fmla="*/ 7678 h 10000"/>
                <a:gd name="connsiteX334" fmla="*/ 8512 w 10000"/>
                <a:gd name="connsiteY334" fmla="*/ 8050 h 10000"/>
                <a:gd name="connsiteX335" fmla="*/ 8588 w 10000"/>
                <a:gd name="connsiteY335" fmla="*/ 8266 h 10000"/>
                <a:gd name="connsiteX336" fmla="*/ 8642 w 10000"/>
                <a:gd name="connsiteY336" fmla="*/ 8472 h 10000"/>
                <a:gd name="connsiteX337" fmla="*/ 8566 w 10000"/>
                <a:gd name="connsiteY337" fmla="*/ 8421 h 10000"/>
                <a:gd name="connsiteX338" fmla="*/ 8556 w 10000"/>
                <a:gd name="connsiteY338" fmla="*/ 8669 h 10000"/>
                <a:gd name="connsiteX339" fmla="*/ 8497 w 10000"/>
                <a:gd name="connsiteY339" fmla="*/ 8493 h 10000"/>
                <a:gd name="connsiteX340" fmla="*/ 8481 w 10000"/>
                <a:gd name="connsiteY340" fmla="*/ 8421 h 10000"/>
                <a:gd name="connsiteX341" fmla="*/ 8361 w 10000"/>
                <a:gd name="connsiteY341" fmla="*/ 7751 h 10000"/>
                <a:gd name="connsiteX342" fmla="*/ 8322 w 10000"/>
                <a:gd name="connsiteY342" fmla="*/ 7524 h 10000"/>
                <a:gd name="connsiteX343" fmla="*/ 8291 w 10000"/>
                <a:gd name="connsiteY343" fmla="*/ 7378 h 10000"/>
                <a:gd name="connsiteX344" fmla="*/ 8275 w 10000"/>
                <a:gd name="connsiteY344" fmla="*/ 7306 h 10000"/>
                <a:gd name="connsiteX345" fmla="*/ 8139 w 10000"/>
                <a:gd name="connsiteY345" fmla="*/ 6863 h 10000"/>
                <a:gd name="connsiteX346" fmla="*/ 8199 w 10000"/>
                <a:gd name="connsiteY346" fmla="*/ 7451 h 10000"/>
                <a:gd name="connsiteX347" fmla="*/ 8247 w 10000"/>
                <a:gd name="connsiteY347" fmla="*/ 7998 h 10000"/>
                <a:gd name="connsiteX348" fmla="*/ 8177 w 10000"/>
                <a:gd name="connsiteY348" fmla="*/ 9133 h 10000"/>
                <a:gd name="connsiteX349" fmla="*/ 8124 w 10000"/>
                <a:gd name="connsiteY349" fmla="*/ 9484 h 10000"/>
                <a:gd name="connsiteX350" fmla="*/ 7972 w 10000"/>
                <a:gd name="connsiteY350" fmla="*/ 9432 h 10000"/>
                <a:gd name="connsiteX351" fmla="*/ 7897 w 10000"/>
                <a:gd name="connsiteY351" fmla="*/ 9660 h 10000"/>
                <a:gd name="connsiteX352" fmla="*/ 7868 w 10000"/>
                <a:gd name="connsiteY352" fmla="*/ 9588 h 10000"/>
                <a:gd name="connsiteX353" fmla="*/ 7884 w 10000"/>
                <a:gd name="connsiteY353" fmla="*/ 9536 h 10000"/>
                <a:gd name="connsiteX354" fmla="*/ 7897 w 10000"/>
                <a:gd name="connsiteY354" fmla="*/ 9380 h 10000"/>
                <a:gd name="connsiteX355" fmla="*/ 7884 w 10000"/>
                <a:gd name="connsiteY355" fmla="*/ 9236 h 10000"/>
                <a:gd name="connsiteX356" fmla="*/ 7793 w 10000"/>
                <a:gd name="connsiteY356" fmla="*/ 8865 h 10000"/>
                <a:gd name="connsiteX357" fmla="*/ 7831 w 10000"/>
                <a:gd name="connsiteY357" fmla="*/ 8741 h 10000"/>
                <a:gd name="connsiteX358" fmla="*/ 7928 w 10000"/>
                <a:gd name="connsiteY358" fmla="*/ 8844 h 10000"/>
                <a:gd name="connsiteX359" fmla="*/ 7912 w 10000"/>
                <a:gd name="connsiteY359" fmla="*/ 8318 h 10000"/>
                <a:gd name="connsiteX360" fmla="*/ 7906 w 10000"/>
                <a:gd name="connsiteY360" fmla="*/ 8019 h 10000"/>
                <a:gd name="connsiteX361" fmla="*/ 7846 w 10000"/>
                <a:gd name="connsiteY361" fmla="*/ 7802 h 10000"/>
                <a:gd name="connsiteX362" fmla="*/ 7723 w 10000"/>
                <a:gd name="connsiteY362" fmla="*/ 8050 h 10000"/>
                <a:gd name="connsiteX363" fmla="*/ 7619 w 10000"/>
                <a:gd name="connsiteY363" fmla="*/ 8019 h 10000"/>
                <a:gd name="connsiteX364" fmla="*/ 7528 w 10000"/>
                <a:gd name="connsiteY364" fmla="*/ 7699 h 10000"/>
                <a:gd name="connsiteX365" fmla="*/ 7355 w 10000"/>
                <a:gd name="connsiteY365" fmla="*/ 7482 h 10000"/>
                <a:gd name="connsiteX366" fmla="*/ 7279 w 10000"/>
                <a:gd name="connsiteY366" fmla="*/ 7482 h 10000"/>
                <a:gd name="connsiteX367" fmla="*/ 7080 w 10000"/>
                <a:gd name="connsiteY367" fmla="*/ 6781 h 10000"/>
                <a:gd name="connsiteX368" fmla="*/ 6901 w 10000"/>
                <a:gd name="connsiteY368" fmla="*/ 6460 h 10000"/>
                <a:gd name="connsiteX369" fmla="*/ 6724 w 10000"/>
                <a:gd name="connsiteY369" fmla="*/ 6336 h 10000"/>
                <a:gd name="connsiteX370" fmla="*/ 6583 w 10000"/>
                <a:gd name="connsiteY370" fmla="*/ 6408 h 10000"/>
                <a:gd name="connsiteX371" fmla="*/ 6567 w 10000"/>
                <a:gd name="connsiteY371" fmla="*/ 6585 h 10000"/>
                <a:gd name="connsiteX372" fmla="*/ 6664 w 10000"/>
                <a:gd name="connsiteY372" fmla="*/ 6760 h 10000"/>
                <a:gd name="connsiteX373" fmla="*/ 6636 w 10000"/>
                <a:gd name="connsiteY373" fmla="*/ 6935 h 10000"/>
                <a:gd name="connsiteX374" fmla="*/ 6636 w 10000"/>
                <a:gd name="connsiteY374" fmla="*/ 7399 h 10000"/>
                <a:gd name="connsiteX375" fmla="*/ 6560 w 10000"/>
                <a:gd name="connsiteY375" fmla="*/ 7482 h 10000"/>
                <a:gd name="connsiteX376" fmla="*/ 6485 w 10000"/>
                <a:gd name="connsiteY376" fmla="*/ 7378 h 10000"/>
                <a:gd name="connsiteX377" fmla="*/ 6400 w 10000"/>
                <a:gd name="connsiteY377" fmla="*/ 7399 h 10000"/>
                <a:gd name="connsiteX378" fmla="*/ 6334 w 10000"/>
                <a:gd name="connsiteY378" fmla="*/ 7275 h 10000"/>
                <a:gd name="connsiteX379" fmla="*/ 6258 w 10000"/>
                <a:gd name="connsiteY379" fmla="*/ 7358 h 10000"/>
                <a:gd name="connsiteX380" fmla="*/ 6220 w 10000"/>
                <a:gd name="connsiteY380" fmla="*/ 7524 h 10000"/>
                <a:gd name="connsiteX381" fmla="*/ 6081 w 10000"/>
                <a:gd name="connsiteY381" fmla="*/ 7606 h 10000"/>
                <a:gd name="connsiteX382" fmla="*/ 5892 w 10000"/>
                <a:gd name="connsiteY382" fmla="*/ 7575 h 10000"/>
                <a:gd name="connsiteX383" fmla="*/ 5855 w 10000"/>
                <a:gd name="connsiteY383" fmla="*/ 7327 h 10000"/>
                <a:gd name="connsiteX384" fmla="*/ 5643 w 10000"/>
                <a:gd name="connsiteY384" fmla="*/ 7255 h 10000"/>
                <a:gd name="connsiteX385" fmla="*/ 5539 w 10000"/>
                <a:gd name="connsiteY385" fmla="*/ 7358 h 10000"/>
                <a:gd name="connsiteX386" fmla="*/ 5416 w 10000"/>
                <a:gd name="connsiteY386" fmla="*/ 7203 h 10000"/>
                <a:gd name="connsiteX387" fmla="*/ 5372 w 10000"/>
                <a:gd name="connsiteY387"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2406 w 10000"/>
                <a:gd name="connsiteY23" fmla="*/ 6832 h 10000"/>
                <a:gd name="connsiteX24" fmla="*/ 1610 w 10000"/>
                <a:gd name="connsiteY24" fmla="*/ 7183 h 10000"/>
                <a:gd name="connsiteX25" fmla="*/ 1655 w 10000"/>
                <a:gd name="connsiteY25" fmla="*/ 7430 h 10000"/>
                <a:gd name="connsiteX26" fmla="*/ 1604 w 10000"/>
                <a:gd name="connsiteY26" fmla="*/ 7430 h 10000"/>
                <a:gd name="connsiteX27" fmla="*/ 1551 w 10000"/>
                <a:gd name="connsiteY27" fmla="*/ 7255 h 10000"/>
                <a:gd name="connsiteX28" fmla="*/ 1513 w 10000"/>
                <a:gd name="connsiteY28" fmla="*/ 7430 h 10000"/>
                <a:gd name="connsiteX29" fmla="*/ 1519 w 10000"/>
                <a:gd name="connsiteY29" fmla="*/ 7854 h 10000"/>
                <a:gd name="connsiteX30" fmla="*/ 1604 w 10000"/>
                <a:gd name="connsiteY30" fmla="*/ 8070 h 10000"/>
                <a:gd name="connsiteX31" fmla="*/ 1648 w 10000"/>
                <a:gd name="connsiteY31" fmla="*/ 8019 h 10000"/>
                <a:gd name="connsiteX32" fmla="*/ 1741 w 10000"/>
                <a:gd name="connsiteY32" fmla="*/ 8493 h 10000"/>
                <a:gd name="connsiteX33" fmla="*/ 1610 w 10000"/>
                <a:gd name="connsiteY33" fmla="*/ 8669 h 10000"/>
                <a:gd name="connsiteX34" fmla="*/ 1595 w 10000"/>
                <a:gd name="connsiteY34" fmla="*/ 9009 h 10000"/>
                <a:gd name="connsiteX35" fmla="*/ 1664 w 10000"/>
                <a:gd name="connsiteY35" fmla="*/ 9236 h 10000"/>
                <a:gd name="connsiteX36" fmla="*/ 1664 w 10000"/>
                <a:gd name="connsiteY36" fmla="*/ 9484 h 10000"/>
                <a:gd name="connsiteX37" fmla="*/ 1769 w 10000"/>
                <a:gd name="connsiteY37" fmla="*/ 9835 h 10000"/>
                <a:gd name="connsiteX38" fmla="*/ 1703 w 10000"/>
                <a:gd name="connsiteY38" fmla="*/ 10000 h 10000"/>
                <a:gd name="connsiteX39" fmla="*/ 1604 w 10000"/>
                <a:gd name="connsiteY39" fmla="*/ 9753 h 10000"/>
                <a:gd name="connsiteX40" fmla="*/ 1465 w 10000"/>
                <a:gd name="connsiteY40" fmla="*/ 9505 h 10000"/>
                <a:gd name="connsiteX41" fmla="*/ 1406 w 10000"/>
                <a:gd name="connsiteY41" fmla="*/ 9588 h 10000"/>
                <a:gd name="connsiteX42" fmla="*/ 1308 w 10000"/>
                <a:gd name="connsiteY42" fmla="*/ 9380 h 10000"/>
                <a:gd name="connsiteX43" fmla="*/ 1097 w 10000"/>
                <a:gd name="connsiteY43" fmla="*/ 9339 h 10000"/>
                <a:gd name="connsiteX44" fmla="*/ 848 w 10000"/>
                <a:gd name="connsiteY44" fmla="*/ 8813 h 10000"/>
                <a:gd name="connsiteX45" fmla="*/ 914 w 10000"/>
                <a:gd name="connsiteY45" fmla="*/ 8721 h 10000"/>
                <a:gd name="connsiteX46" fmla="*/ 961 w 10000"/>
                <a:gd name="connsiteY46" fmla="*/ 8493 h 10000"/>
                <a:gd name="connsiteX47" fmla="*/ 908 w 10000"/>
                <a:gd name="connsiteY47" fmla="*/ 8390 h 10000"/>
                <a:gd name="connsiteX48" fmla="*/ 1021 w 10000"/>
                <a:gd name="connsiteY48" fmla="*/ 8245 h 10000"/>
                <a:gd name="connsiteX49" fmla="*/ 945 w 10000"/>
                <a:gd name="connsiteY49" fmla="*/ 8194 h 10000"/>
                <a:gd name="connsiteX50" fmla="*/ 958 w 10000"/>
                <a:gd name="connsiteY50" fmla="*/ 8091 h 10000"/>
                <a:gd name="connsiteX51" fmla="*/ 1005 w 10000"/>
                <a:gd name="connsiteY51" fmla="*/ 8111 h 10000"/>
                <a:gd name="connsiteX52" fmla="*/ 1059 w 10000"/>
                <a:gd name="connsiteY52" fmla="*/ 8019 h 10000"/>
                <a:gd name="connsiteX53" fmla="*/ 1034 w 10000"/>
                <a:gd name="connsiteY53" fmla="*/ 7864 h 10000"/>
                <a:gd name="connsiteX54" fmla="*/ 1043 w 10000"/>
                <a:gd name="connsiteY54" fmla="*/ 7503 h 10000"/>
                <a:gd name="connsiteX55" fmla="*/ 930 w 10000"/>
                <a:gd name="connsiteY55" fmla="*/ 7440 h 10000"/>
                <a:gd name="connsiteX56" fmla="*/ 832 w 10000"/>
                <a:gd name="connsiteY56" fmla="*/ 7286 h 10000"/>
                <a:gd name="connsiteX57" fmla="*/ 700 w 10000"/>
                <a:gd name="connsiteY57" fmla="*/ 7275 h 10000"/>
                <a:gd name="connsiteX58" fmla="*/ 684 w 10000"/>
                <a:gd name="connsiteY58" fmla="*/ 7090 h 10000"/>
                <a:gd name="connsiteX59" fmla="*/ 596 w 10000"/>
                <a:gd name="connsiteY59" fmla="*/ 6945 h 10000"/>
                <a:gd name="connsiteX60" fmla="*/ 615 w 10000"/>
                <a:gd name="connsiteY60" fmla="*/ 6822 h 10000"/>
                <a:gd name="connsiteX61" fmla="*/ 561 w 10000"/>
                <a:gd name="connsiteY61" fmla="*/ 6698 h 10000"/>
                <a:gd name="connsiteX62" fmla="*/ 457 w 10000"/>
                <a:gd name="connsiteY62" fmla="*/ 6698 h 10000"/>
                <a:gd name="connsiteX63" fmla="*/ 425 w 10000"/>
                <a:gd name="connsiteY63" fmla="*/ 6791 h 10000"/>
                <a:gd name="connsiteX64" fmla="*/ 400 w 10000"/>
                <a:gd name="connsiteY64" fmla="*/ 6750 h 10000"/>
                <a:gd name="connsiteX65" fmla="*/ 378 w 10000"/>
                <a:gd name="connsiteY65" fmla="*/ 6439 h 10000"/>
                <a:gd name="connsiteX66" fmla="*/ 419 w 10000"/>
                <a:gd name="connsiteY66" fmla="*/ 6470 h 10000"/>
                <a:gd name="connsiteX67" fmla="*/ 466 w 10000"/>
                <a:gd name="connsiteY67" fmla="*/ 6347 h 10000"/>
                <a:gd name="connsiteX68" fmla="*/ 400 w 10000"/>
                <a:gd name="connsiteY68" fmla="*/ 6233 h 10000"/>
                <a:gd name="connsiteX69" fmla="*/ 315 w 10000"/>
                <a:gd name="connsiteY69" fmla="*/ 6017 h 10000"/>
                <a:gd name="connsiteX70" fmla="*/ 334 w 10000"/>
                <a:gd name="connsiteY70" fmla="*/ 5821 h 10000"/>
                <a:gd name="connsiteX71" fmla="*/ 274 w 10000"/>
                <a:gd name="connsiteY71" fmla="*/ 5697 h 10000"/>
                <a:gd name="connsiteX72" fmla="*/ 227 w 10000"/>
                <a:gd name="connsiteY72" fmla="*/ 5728 h 10000"/>
                <a:gd name="connsiteX73" fmla="*/ 202 w 10000"/>
                <a:gd name="connsiteY73" fmla="*/ 5604 h 10000"/>
                <a:gd name="connsiteX74" fmla="*/ 164 w 10000"/>
                <a:gd name="connsiteY74" fmla="*/ 5645 h 10000"/>
                <a:gd name="connsiteX75" fmla="*/ 117 w 10000"/>
                <a:gd name="connsiteY75" fmla="*/ 5604 h 10000"/>
                <a:gd name="connsiteX76" fmla="*/ 69 w 10000"/>
                <a:gd name="connsiteY76" fmla="*/ 5181 h 10000"/>
                <a:gd name="connsiteX77" fmla="*/ 85 w 10000"/>
                <a:gd name="connsiteY77" fmla="*/ 5057 h 10000"/>
                <a:gd name="connsiteX78" fmla="*/ 41 w 10000"/>
                <a:gd name="connsiteY78" fmla="*/ 4892 h 10000"/>
                <a:gd name="connsiteX79" fmla="*/ 66 w 10000"/>
                <a:gd name="connsiteY79" fmla="*/ 4655 h 10000"/>
                <a:gd name="connsiteX80" fmla="*/ 211 w 10000"/>
                <a:gd name="connsiteY80" fmla="*/ 4510 h 10000"/>
                <a:gd name="connsiteX81" fmla="*/ 129 w 10000"/>
                <a:gd name="connsiteY81" fmla="*/ 4406 h 10000"/>
                <a:gd name="connsiteX82" fmla="*/ 82 w 10000"/>
                <a:gd name="connsiteY82" fmla="*/ 4283 h 10000"/>
                <a:gd name="connsiteX83" fmla="*/ 205 w 10000"/>
                <a:gd name="connsiteY83" fmla="*/ 3912 h 10000"/>
                <a:gd name="connsiteX84" fmla="*/ 249 w 10000"/>
                <a:gd name="connsiteY84" fmla="*/ 3664 h 10000"/>
                <a:gd name="connsiteX85" fmla="*/ 151 w 10000"/>
                <a:gd name="connsiteY85" fmla="*/ 3488 h 10000"/>
                <a:gd name="connsiteX86" fmla="*/ 189 w 10000"/>
                <a:gd name="connsiteY86" fmla="*/ 3344 h 10000"/>
                <a:gd name="connsiteX87" fmla="*/ 113 w 10000"/>
                <a:gd name="connsiteY87" fmla="*/ 3148 h 10000"/>
                <a:gd name="connsiteX88" fmla="*/ 113 w 10000"/>
                <a:gd name="connsiteY88" fmla="*/ 2972 h 10000"/>
                <a:gd name="connsiteX89" fmla="*/ 60 w 10000"/>
                <a:gd name="connsiteY89" fmla="*/ 2622 h 10000"/>
                <a:gd name="connsiteX90" fmla="*/ 98 w 10000"/>
                <a:gd name="connsiteY90" fmla="*/ 2404 h 10000"/>
                <a:gd name="connsiteX91" fmla="*/ 38 w 10000"/>
                <a:gd name="connsiteY91" fmla="*/ 2301 h 10000"/>
                <a:gd name="connsiteX92" fmla="*/ 0 w 10000"/>
                <a:gd name="connsiteY92" fmla="*/ 2178 h 10000"/>
                <a:gd name="connsiteX93" fmla="*/ 54 w 10000"/>
                <a:gd name="connsiteY93" fmla="*/ 1951 h 10000"/>
                <a:gd name="connsiteX94" fmla="*/ 120 w 10000"/>
                <a:gd name="connsiteY94" fmla="*/ 1910 h 10000"/>
                <a:gd name="connsiteX95" fmla="*/ 195 w 10000"/>
                <a:gd name="connsiteY95" fmla="*/ 1858 h 10000"/>
                <a:gd name="connsiteX96" fmla="*/ 309 w 10000"/>
                <a:gd name="connsiteY96" fmla="*/ 1951 h 10000"/>
                <a:gd name="connsiteX97" fmla="*/ 482 w 10000"/>
                <a:gd name="connsiteY97" fmla="*/ 2054 h 10000"/>
                <a:gd name="connsiteX98" fmla="*/ 633 w 10000"/>
                <a:gd name="connsiteY98" fmla="*/ 2229 h 10000"/>
                <a:gd name="connsiteX99" fmla="*/ 756 w 10000"/>
                <a:gd name="connsiteY99" fmla="*/ 2373 h 10000"/>
                <a:gd name="connsiteX100" fmla="*/ 725 w 10000"/>
                <a:gd name="connsiteY100" fmla="*/ 2777 h 10000"/>
                <a:gd name="connsiteX101" fmla="*/ 362 w 10000"/>
                <a:gd name="connsiteY101" fmla="*/ 2673 h 10000"/>
                <a:gd name="connsiteX102" fmla="*/ 243 w 10000"/>
                <a:gd name="connsiteY102" fmla="*/ 2550 h 10000"/>
                <a:gd name="connsiteX103" fmla="*/ 287 w 10000"/>
                <a:gd name="connsiteY103" fmla="*/ 2622 h 10000"/>
                <a:gd name="connsiteX104" fmla="*/ 331 w 10000"/>
                <a:gd name="connsiteY104" fmla="*/ 2797 h 10000"/>
                <a:gd name="connsiteX105" fmla="*/ 400 w 10000"/>
                <a:gd name="connsiteY105" fmla="*/ 2921 h 10000"/>
                <a:gd name="connsiteX106" fmla="*/ 416 w 10000"/>
                <a:gd name="connsiteY106" fmla="*/ 3189 h 10000"/>
                <a:gd name="connsiteX107" fmla="*/ 507 w 10000"/>
                <a:gd name="connsiteY107" fmla="*/ 3313 h 10000"/>
                <a:gd name="connsiteX108" fmla="*/ 583 w 10000"/>
                <a:gd name="connsiteY108" fmla="*/ 3436 h 10000"/>
                <a:gd name="connsiteX109" fmla="*/ 605 w 10000"/>
                <a:gd name="connsiteY109" fmla="*/ 3467 h 10000"/>
                <a:gd name="connsiteX110" fmla="*/ 649 w 10000"/>
                <a:gd name="connsiteY110" fmla="*/ 3436 h 10000"/>
                <a:gd name="connsiteX111" fmla="*/ 633 w 10000"/>
                <a:gd name="connsiteY111" fmla="*/ 3364 h 10000"/>
                <a:gd name="connsiteX112" fmla="*/ 545 w 10000"/>
                <a:gd name="connsiteY112" fmla="*/ 3189 h 10000"/>
                <a:gd name="connsiteX113" fmla="*/ 801 w 10000"/>
                <a:gd name="connsiteY113" fmla="*/ 3344 h 10000"/>
                <a:gd name="connsiteX114" fmla="*/ 810 w 10000"/>
                <a:gd name="connsiteY114" fmla="*/ 3271 h 10000"/>
                <a:gd name="connsiteX115" fmla="*/ 785 w 10000"/>
                <a:gd name="connsiteY115" fmla="*/ 3220 h 10000"/>
                <a:gd name="connsiteX116" fmla="*/ 741 w 10000"/>
                <a:gd name="connsiteY116" fmla="*/ 2993 h 10000"/>
                <a:gd name="connsiteX117" fmla="*/ 870 w 10000"/>
                <a:gd name="connsiteY117" fmla="*/ 2777 h 10000"/>
                <a:gd name="connsiteX118" fmla="*/ 968 w 10000"/>
                <a:gd name="connsiteY118" fmla="*/ 2921 h 10000"/>
                <a:gd name="connsiteX119" fmla="*/ 999 w 10000"/>
                <a:gd name="connsiteY119" fmla="*/ 2725 h 10000"/>
                <a:gd name="connsiteX120" fmla="*/ 952 w 10000"/>
                <a:gd name="connsiteY120" fmla="*/ 2653 h 10000"/>
                <a:gd name="connsiteX121" fmla="*/ 936 w 10000"/>
                <a:gd name="connsiteY121" fmla="*/ 2281 h 10000"/>
                <a:gd name="connsiteX122" fmla="*/ 914 w 10000"/>
                <a:gd name="connsiteY122" fmla="*/ 2229 h 10000"/>
                <a:gd name="connsiteX123" fmla="*/ 1037 w 10000"/>
                <a:gd name="connsiteY123" fmla="*/ 2250 h 10000"/>
                <a:gd name="connsiteX124" fmla="*/ 1087 w 10000"/>
                <a:gd name="connsiteY124" fmla="*/ 2404 h 10000"/>
                <a:gd name="connsiteX125" fmla="*/ 1021 w 10000"/>
                <a:gd name="connsiteY125" fmla="*/ 2529 h 10000"/>
                <a:gd name="connsiteX126" fmla="*/ 1135 w 10000"/>
                <a:gd name="connsiteY126" fmla="*/ 2694 h 10000"/>
                <a:gd name="connsiteX127" fmla="*/ 1226 w 10000"/>
                <a:gd name="connsiteY127" fmla="*/ 2529 h 10000"/>
                <a:gd name="connsiteX128" fmla="*/ 1339 w 10000"/>
                <a:gd name="connsiteY128" fmla="*/ 2301 h 10000"/>
                <a:gd name="connsiteX129" fmla="*/ 1459 w 10000"/>
                <a:gd name="connsiteY129" fmla="*/ 2157 h 10000"/>
                <a:gd name="connsiteX130" fmla="*/ 1497 w 10000"/>
                <a:gd name="connsiteY130" fmla="*/ 2250 h 10000"/>
                <a:gd name="connsiteX131" fmla="*/ 1807 w 10000"/>
                <a:gd name="connsiteY131" fmla="*/ 2054 h 10000"/>
                <a:gd name="connsiteX132" fmla="*/ 1870 w 10000"/>
                <a:gd name="connsiteY132" fmla="*/ 2250 h 10000"/>
                <a:gd name="connsiteX133" fmla="*/ 1860 w 10000"/>
                <a:gd name="connsiteY133" fmla="*/ 2002 h 10000"/>
                <a:gd name="connsiteX134" fmla="*/ 1778 w 10000"/>
                <a:gd name="connsiteY134" fmla="*/ 1786 h 10000"/>
                <a:gd name="connsiteX135" fmla="*/ 1763 w 10000"/>
                <a:gd name="connsiteY135" fmla="*/ 1703 h 10000"/>
                <a:gd name="connsiteX136" fmla="*/ 1823 w 10000"/>
                <a:gd name="connsiteY136" fmla="*/ 1786 h 10000"/>
                <a:gd name="connsiteX137" fmla="*/ 2034 w 10000"/>
                <a:gd name="connsiteY137" fmla="*/ 1951 h 10000"/>
                <a:gd name="connsiteX138" fmla="*/ 2270 w 10000"/>
                <a:gd name="connsiteY138" fmla="*/ 2126 h 10000"/>
                <a:gd name="connsiteX139" fmla="*/ 2384 w 10000"/>
                <a:gd name="connsiteY139" fmla="*/ 2250 h 10000"/>
                <a:gd name="connsiteX140" fmla="*/ 2421 w 10000"/>
                <a:gd name="connsiteY140" fmla="*/ 2074 h 10000"/>
                <a:gd name="connsiteX141" fmla="*/ 2368 w 10000"/>
                <a:gd name="connsiteY141" fmla="*/ 2033 h 10000"/>
                <a:gd name="connsiteX142" fmla="*/ 2299 w 10000"/>
                <a:gd name="connsiteY142" fmla="*/ 1930 h 10000"/>
                <a:gd name="connsiteX143" fmla="*/ 2254 w 10000"/>
                <a:gd name="connsiteY143" fmla="*/ 1734 h 10000"/>
                <a:gd name="connsiteX144" fmla="*/ 2185 w 10000"/>
                <a:gd name="connsiteY144" fmla="*/ 1486 h 10000"/>
                <a:gd name="connsiteX145" fmla="*/ 2210 w 10000"/>
                <a:gd name="connsiteY145" fmla="*/ 1434 h 10000"/>
                <a:gd name="connsiteX146" fmla="*/ 2232 w 10000"/>
                <a:gd name="connsiteY146" fmla="*/ 1455 h 10000"/>
                <a:gd name="connsiteX147" fmla="*/ 2292 w 10000"/>
                <a:gd name="connsiteY147" fmla="*/ 1115 h 10000"/>
                <a:gd name="connsiteX148" fmla="*/ 2443 w 10000"/>
                <a:gd name="connsiteY148" fmla="*/ 1135 h 10000"/>
                <a:gd name="connsiteX149" fmla="*/ 2488 w 10000"/>
                <a:gd name="connsiteY149" fmla="*/ 1311 h 10000"/>
                <a:gd name="connsiteX150" fmla="*/ 2519 w 10000"/>
                <a:gd name="connsiteY150" fmla="*/ 1538 h 10000"/>
                <a:gd name="connsiteX151" fmla="*/ 2573 w 10000"/>
                <a:gd name="connsiteY151" fmla="*/ 1734 h 10000"/>
                <a:gd name="connsiteX152" fmla="*/ 2670 w 10000"/>
                <a:gd name="connsiteY152" fmla="*/ 2157 h 10000"/>
                <a:gd name="connsiteX153" fmla="*/ 2481 w 10000"/>
                <a:gd name="connsiteY153" fmla="*/ 2673 h 10000"/>
                <a:gd name="connsiteX154" fmla="*/ 2557 w 10000"/>
                <a:gd name="connsiteY154" fmla="*/ 2746 h 10000"/>
                <a:gd name="connsiteX155" fmla="*/ 2655 w 10000"/>
                <a:gd name="connsiteY155" fmla="*/ 2818 h 10000"/>
                <a:gd name="connsiteX156" fmla="*/ 2784 w 10000"/>
                <a:gd name="connsiteY156" fmla="*/ 2622 h 10000"/>
                <a:gd name="connsiteX157" fmla="*/ 2790 w 10000"/>
                <a:gd name="connsiteY157" fmla="*/ 2404 h 10000"/>
                <a:gd name="connsiteX158" fmla="*/ 2746 w 10000"/>
                <a:gd name="connsiteY158" fmla="*/ 2301 h 10000"/>
                <a:gd name="connsiteX159" fmla="*/ 2919 w 10000"/>
                <a:gd name="connsiteY159" fmla="*/ 2250 h 10000"/>
                <a:gd name="connsiteX160" fmla="*/ 2989 w 10000"/>
                <a:gd name="connsiteY160" fmla="*/ 2497 h 10000"/>
                <a:gd name="connsiteX161" fmla="*/ 2989 w 10000"/>
                <a:gd name="connsiteY161" fmla="*/ 2425 h 10000"/>
                <a:gd name="connsiteX162" fmla="*/ 2973 w 10000"/>
                <a:gd name="connsiteY162" fmla="*/ 2353 h 10000"/>
                <a:gd name="connsiteX163" fmla="*/ 2967 w 10000"/>
                <a:gd name="connsiteY163" fmla="*/ 2178 h 10000"/>
                <a:gd name="connsiteX164" fmla="*/ 2800 w 10000"/>
                <a:gd name="connsiteY164" fmla="*/ 1930 h 10000"/>
                <a:gd name="connsiteX165" fmla="*/ 2670 w 10000"/>
                <a:gd name="connsiteY165" fmla="*/ 2002 h 10000"/>
                <a:gd name="connsiteX166" fmla="*/ 2617 w 10000"/>
                <a:gd name="connsiteY166" fmla="*/ 1683 h 10000"/>
                <a:gd name="connsiteX167" fmla="*/ 2563 w 10000"/>
                <a:gd name="connsiteY167" fmla="*/ 1507 h 10000"/>
                <a:gd name="connsiteX168" fmla="*/ 2617 w 10000"/>
                <a:gd name="connsiteY168" fmla="*/ 1331 h 10000"/>
                <a:gd name="connsiteX169" fmla="*/ 2611 w 10000"/>
                <a:gd name="connsiteY169" fmla="*/ 1166 h 10000"/>
                <a:gd name="connsiteX170" fmla="*/ 2588 w 10000"/>
                <a:gd name="connsiteY170" fmla="*/ 1115 h 10000"/>
                <a:gd name="connsiteX171" fmla="*/ 2626 w 10000"/>
                <a:gd name="connsiteY171" fmla="*/ 1115 h 10000"/>
                <a:gd name="connsiteX172" fmla="*/ 2670 w 10000"/>
                <a:gd name="connsiteY172" fmla="*/ 1455 h 10000"/>
                <a:gd name="connsiteX173" fmla="*/ 2891 w 10000"/>
                <a:gd name="connsiteY173" fmla="*/ 1662 h 10000"/>
                <a:gd name="connsiteX174" fmla="*/ 2724 w 10000"/>
                <a:gd name="connsiteY174" fmla="*/ 1383 h 10000"/>
                <a:gd name="connsiteX175" fmla="*/ 3049 w 10000"/>
                <a:gd name="connsiteY175" fmla="*/ 1383 h 10000"/>
                <a:gd name="connsiteX176" fmla="*/ 3102 w 10000"/>
                <a:gd name="connsiteY176" fmla="*/ 1362 h 10000"/>
                <a:gd name="connsiteX177" fmla="*/ 2897 w 10000"/>
                <a:gd name="connsiteY177" fmla="*/ 1115 h 10000"/>
                <a:gd name="connsiteX178" fmla="*/ 2951 w 10000"/>
                <a:gd name="connsiteY178" fmla="*/ 888 h 10000"/>
                <a:gd name="connsiteX179" fmla="*/ 3178 w 10000"/>
                <a:gd name="connsiteY179" fmla="*/ 888 h 10000"/>
                <a:gd name="connsiteX180" fmla="*/ 3156 w 10000"/>
                <a:gd name="connsiteY180" fmla="*/ 713 h 10000"/>
                <a:gd name="connsiteX181" fmla="*/ 3231 w 10000"/>
                <a:gd name="connsiteY181" fmla="*/ 589 h 10000"/>
                <a:gd name="connsiteX182" fmla="*/ 3276 w 10000"/>
                <a:gd name="connsiteY182" fmla="*/ 548 h 10000"/>
                <a:gd name="connsiteX183" fmla="*/ 3443 w 10000"/>
                <a:gd name="connsiteY183" fmla="*/ 423 h 10000"/>
                <a:gd name="connsiteX184" fmla="*/ 3487 w 10000"/>
                <a:gd name="connsiteY184" fmla="*/ 371 h 10000"/>
                <a:gd name="connsiteX185" fmla="*/ 3480 w 10000"/>
                <a:gd name="connsiteY185" fmla="*/ 444 h 10000"/>
                <a:gd name="connsiteX186" fmla="*/ 3660 w 10000"/>
                <a:gd name="connsiteY186" fmla="*/ 371 h 10000"/>
                <a:gd name="connsiteX187" fmla="*/ 3805 w 10000"/>
                <a:gd name="connsiteY187" fmla="*/ 248 h 10000"/>
                <a:gd name="connsiteX188" fmla="*/ 3827 w 10000"/>
                <a:gd name="connsiteY188" fmla="*/ 0 h 10000"/>
                <a:gd name="connsiteX189" fmla="*/ 3988 w 10000"/>
                <a:gd name="connsiteY189" fmla="*/ 21 h 10000"/>
                <a:gd name="connsiteX190" fmla="*/ 3978 w 10000"/>
                <a:gd name="connsiteY190" fmla="*/ 93 h 10000"/>
                <a:gd name="connsiteX191" fmla="*/ 3988 w 10000"/>
                <a:gd name="connsiteY191" fmla="*/ 176 h 10000"/>
                <a:gd name="connsiteX192" fmla="*/ 4085 w 10000"/>
                <a:gd name="connsiteY192" fmla="*/ 248 h 10000"/>
                <a:gd name="connsiteX193" fmla="*/ 4379 w 10000"/>
                <a:gd name="connsiteY193" fmla="*/ 268 h 10000"/>
                <a:gd name="connsiteX194" fmla="*/ 4539 w 10000"/>
                <a:gd name="connsiteY194" fmla="*/ 392 h 10000"/>
                <a:gd name="connsiteX195" fmla="*/ 4486 w 10000"/>
                <a:gd name="connsiteY195" fmla="*/ 795 h 10000"/>
                <a:gd name="connsiteX196" fmla="*/ 4426 w 10000"/>
                <a:gd name="connsiteY196" fmla="*/ 919 h 10000"/>
                <a:gd name="connsiteX197" fmla="*/ 4356 w 10000"/>
                <a:gd name="connsiteY197" fmla="*/ 1043 h 10000"/>
                <a:gd name="connsiteX198" fmla="*/ 4372 w 10000"/>
                <a:gd name="connsiteY198" fmla="*/ 1115 h 10000"/>
                <a:gd name="connsiteX199" fmla="*/ 4583 w 10000"/>
                <a:gd name="connsiteY199" fmla="*/ 919 h 10000"/>
                <a:gd name="connsiteX200" fmla="*/ 5060 w 10000"/>
                <a:gd name="connsiteY200" fmla="*/ 991 h 10000"/>
                <a:gd name="connsiteX201" fmla="*/ 5108 w 10000"/>
                <a:gd name="connsiteY201" fmla="*/ 1063 h 10000"/>
                <a:gd name="connsiteX202" fmla="*/ 5212 w 10000"/>
                <a:gd name="connsiteY202" fmla="*/ 1187 h 10000"/>
                <a:gd name="connsiteX203" fmla="*/ 5357 w 10000"/>
                <a:gd name="connsiteY203" fmla="*/ 919 h 10000"/>
                <a:gd name="connsiteX204" fmla="*/ 5577 w 10000"/>
                <a:gd name="connsiteY204" fmla="*/ 1063 h 10000"/>
                <a:gd name="connsiteX205" fmla="*/ 5643 w 10000"/>
                <a:gd name="connsiteY205" fmla="*/ 1115 h 10000"/>
                <a:gd name="connsiteX206" fmla="*/ 5697 w 10000"/>
                <a:gd name="connsiteY206" fmla="*/ 1166 h 10000"/>
                <a:gd name="connsiteX207" fmla="*/ 5908 w 10000"/>
                <a:gd name="connsiteY207" fmla="*/ 1631 h 10000"/>
                <a:gd name="connsiteX208" fmla="*/ 5984 w 10000"/>
                <a:gd name="connsiteY208" fmla="*/ 1611 h 10000"/>
                <a:gd name="connsiteX209" fmla="*/ 5977 w 10000"/>
                <a:gd name="connsiteY209" fmla="*/ 1507 h 10000"/>
                <a:gd name="connsiteX210" fmla="*/ 5984 w 10000"/>
                <a:gd name="connsiteY210" fmla="*/ 1383 h 10000"/>
                <a:gd name="connsiteX211" fmla="*/ 6091 w 10000"/>
                <a:gd name="connsiteY211" fmla="*/ 1486 h 10000"/>
                <a:gd name="connsiteX212" fmla="*/ 6264 w 10000"/>
                <a:gd name="connsiteY212" fmla="*/ 1507 h 10000"/>
                <a:gd name="connsiteX213" fmla="*/ 6409 w 10000"/>
                <a:gd name="connsiteY213" fmla="*/ 1455 h 10000"/>
                <a:gd name="connsiteX214" fmla="*/ 6340 w 10000"/>
                <a:gd name="connsiteY214" fmla="*/ 1362 h 10000"/>
                <a:gd name="connsiteX215" fmla="*/ 6431 w 10000"/>
                <a:gd name="connsiteY215" fmla="*/ 1084 h 10000"/>
                <a:gd name="connsiteX216" fmla="*/ 6687 w 10000"/>
                <a:gd name="connsiteY216" fmla="*/ 1207 h 10000"/>
                <a:gd name="connsiteX217" fmla="*/ 6945 w 10000"/>
                <a:gd name="connsiteY217" fmla="*/ 1331 h 10000"/>
                <a:gd name="connsiteX218" fmla="*/ 6967 w 10000"/>
                <a:gd name="connsiteY218" fmla="*/ 1362 h 10000"/>
                <a:gd name="connsiteX219" fmla="*/ 7194 w 10000"/>
                <a:gd name="connsiteY219" fmla="*/ 1611 h 10000"/>
                <a:gd name="connsiteX220" fmla="*/ 7367 w 10000"/>
                <a:gd name="connsiteY220" fmla="*/ 1507 h 10000"/>
                <a:gd name="connsiteX221" fmla="*/ 7582 w 10000"/>
                <a:gd name="connsiteY221" fmla="*/ 1538 h 10000"/>
                <a:gd name="connsiteX222" fmla="*/ 7657 w 10000"/>
                <a:gd name="connsiteY222" fmla="*/ 1611 h 10000"/>
                <a:gd name="connsiteX223" fmla="*/ 7928 w 10000"/>
                <a:gd name="connsiteY223" fmla="*/ 1930 h 10000"/>
                <a:gd name="connsiteX224" fmla="*/ 8231 w 10000"/>
                <a:gd name="connsiteY224" fmla="*/ 1879 h 10000"/>
                <a:gd name="connsiteX225" fmla="*/ 8339 w 10000"/>
                <a:gd name="connsiteY225" fmla="*/ 2033 h 10000"/>
                <a:gd name="connsiteX226" fmla="*/ 8490 w 10000"/>
                <a:gd name="connsiteY226" fmla="*/ 2157 h 10000"/>
                <a:gd name="connsiteX227" fmla="*/ 8519 w 10000"/>
                <a:gd name="connsiteY227" fmla="*/ 2105 h 10000"/>
                <a:gd name="connsiteX228" fmla="*/ 8497 w 10000"/>
                <a:gd name="connsiteY228" fmla="*/ 2074 h 10000"/>
                <a:gd name="connsiteX229" fmla="*/ 8383 w 10000"/>
                <a:gd name="connsiteY229" fmla="*/ 1930 h 10000"/>
                <a:gd name="connsiteX230" fmla="*/ 8465 w 10000"/>
                <a:gd name="connsiteY230" fmla="*/ 1755 h 10000"/>
                <a:gd name="connsiteX231" fmla="*/ 8664 w 10000"/>
                <a:gd name="connsiteY231" fmla="*/ 1910 h 10000"/>
                <a:gd name="connsiteX232" fmla="*/ 8950 w 10000"/>
                <a:gd name="connsiteY232" fmla="*/ 1982 h 10000"/>
                <a:gd name="connsiteX233" fmla="*/ 9206 w 10000"/>
                <a:gd name="connsiteY233" fmla="*/ 2260 h 10000"/>
                <a:gd name="connsiteX234" fmla="*/ 9344 w 10000"/>
                <a:gd name="connsiteY234" fmla="*/ 2332 h 10000"/>
                <a:gd name="connsiteX235" fmla="*/ 9451 w 10000"/>
                <a:gd name="connsiteY235" fmla="*/ 2446 h 10000"/>
                <a:gd name="connsiteX236" fmla="*/ 9574 w 10000"/>
                <a:gd name="connsiteY236" fmla="*/ 2632 h 10000"/>
                <a:gd name="connsiteX237" fmla="*/ 9631 w 10000"/>
                <a:gd name="connsiteY237" fmla="*/ 2756 h 10000"/>
                <a:gd name="connsiteX238" fmla="*/ 9726 w 10000"/>
                <a:gd name="connsiteY238" fmla="*/ 2787 h 10000"/>
                <a:gd name="connsiteX239" fmla="*/ 9590 w 10000"/>
                <a:gd name="connsiteY239" fmla="*/ 2570 h 10000"/>
                <a:gd name="connsiteX240" fmla="*/ 9915 w 10000"/>
                <a:gd name="connsiteY240" fmla="*/ 2756 h 10000"/>
                <a:gd name="connsiteX241" fmla="*/ 10000 w 10000"/>
                <a:gd name="connsiteY241" fmla="*/ 3014 h 10000"/>
                <a:gd name="connsiteX242" fmla="*/ 9934 w 10000"/>
                <a:gd name="connsiteY242" fmla="*/ 2941 h 10000"/>
                <a:gd name="connsiteX243" fmla="*/ 9874 w 10000"/>
                <a:gd name="connsiteY243" fmla="*/ 2952 h 10000"/>
                <a:gd name="connsiteX244" fmla="*/ 10000 w 10000"/>
                <a:gd name="connsiteY244" fmla="*/ 3292 h 10000"/>
                <a:gd name="connsiteX245" fmla="*/ 9845 w 10000"/>
                <a:gd name="connsiteY245" fmla="*/ 3220 h 10000"/>
                <a:gd name="connsiteX246" fmla="*/ 9745 w 10000"/>
                <a:gd name="connsiteY246" fmla="*/ 3075 h 10000"/>
                <a:gd name="connsiteX247" fmla="*/ 9641 w 10000"/>
                <a:gd name="connsiteY247" fmla="*/ 2972 h 10000"/>
                <a:gd name="connsiteX248" fmla="*/ 9555 w 10000"/>
                <a:gd name="connsiteY248" fmla="*/ 3003 h 10000"/>
                <a:gd name="connsiteX249" fmla="*/ 9470 w 10000"/>
                <a:gd name="connsiteY249" fmla="*/ 2787 h 10000"/>
                <a:gd name="connsiteX250" fmla="*/ 9366 w 10000"/>
                <a:gd name="connsiteY250" fmla="*/ 2725 h 10000"/>
                <a:gd name="connsiteX251" fmla="*/ 9461 w 10000"/>
                <a:gd name="connsiteY251" fmla="*/ 2972 h 10000"/>
                <a:gd name="connsiteX252" fmla="*/ 9470 w 10000"/>
                <a:gd name="connsiteY252" fmla="*/ 3230 h 10000"/>
                <a:gd name="connsiteX253" fmla="*/ 9288 w 10000"/>
                <a:gd name="connsiteY253" fmla="*/ 3065 h 10000"/>
                <a:gd name="connsiteX254" fmla="*/ 9262 w 10000"/>
                <a:gd name="connsiteY254" fmla="*/ 3230 h 10000"/>
                <a:gd name="connsiteX255" fmla="*/ 9363 w 10000"/>
                <a:gd name="connsiteY255" fmla="*/ 3230 h 10000"/>
                <a:gd name="connsiteX256" fmla="*/ 9451 w 10000"/>
                <a:gd name="connsiteY256" fmla="*/ 3354 h 10000"/>
                <a:gd name="connsiteX257" fmla="*/ 9659 w 10000"/>
                <a:gd name="connsiteY257" fmla="*/ 3685 h 10000"/>
                <a:gd name="connsiteX258" fmla="*/ 9735 w 10000"/>
                <a:gd name="connsiteY258" fmla="*/ 3839 h 10000"/>
                <a:gd name="connsiteX259" fmla="*/ 9552 w 10000"/>
                <a:gd name="connsiteY259" fmla="*/ 3757 h 10000"/>
                <a:gd name="connsiteX260" fmla="*/ 9451 w 10000"/>
                <a:gd name="connsiteY260" fmla="*/ 4025 h 10000"/>
                <a:gd name="connsiteX261" fmla="*/ 9385 w 10000"/>
                <a:gd name="connsiteY261" fmla="*/ 4283 h 10000"/>
                <a:gd name="connsiteX262" fmla="*/ 9376 w 10000"/>
                <a:gd name="connsiteY262" fmla="*/ 4499 h 10000"/>
                <a:gd name="connsiteX263" fmla="*/ 9335 w 10000"/>
                <a:gd name="connsiteY263" fmla="*/ 4303 h 10000"/>
                <a:gd name="connsiteX264" fmla="*/ 9149 w 10000"/>
                <a:gd name="connsiteY264" fmla="*/ 4314 h 10000"/>
                <a:gd name="connsiteX265" fmla="*/ 9155 w 10000"/>
                <a:gd name="connsiteY265" fmla="*/ 4531 h 10000"/>
                <a:gd name="connsiteX266" fmla="*/ 9061 w 10000"/>
                <a:gd name="connsiteY266" fmla="*/ 4365 h 10000"/>
                <a:gd name="connsiteX267" fmla="*/ 9054 w 10000"/>
                <a:gd name="connsiteY267" fmla="*/ 4521 h 10000"/>
                <a:gd name="connsiteX268" fmla="*/ 8998 w 10000"/>
                <a:gd name="connsiteY268" fmla="*/ 4458 h 10000"/>
                <a:gd name="connsiteX269" fmla="*/ 8966 w 10000"/>
                <a:gd name="connsiteY269" fmla="*/ 4562 h 10000"/>
                <a:gd name="connsiteX270" fmla="*/ 9007 w 10000"/>
                <a:gd name="connsiteY270" fmla="*/ 4686 h 10000"/>
                <a:gd name="connsiteX271" fmla="*/ 9004 w 10000"/>
                <a:gd name="connsiteY271" fmla="*/ 4995 h 10000"/>
                <a:gd name="connsiteX272" fmla="*/ 9073 w 10000"/>
                <a:gd name="connsiteY272" fmla="*/ 5211 h 10000"/>
                <a:gd name="connsiteX273" fmla="*/ 9130 w 10000"/>
                <a:gd name="connsiteY273" fmla="*/ 5150 h 10000"/>
                <a:gd name="connsiteX274" fmla="*/ 9158 w 10000"/>
                <a:gd name="connsiteY274" fmla="*/ 5211 h 10000"/>
                <a:gd name="connsiteX275" fmla="*/ 9231 w 10000"/>
                <a:gd name="connsiteY275" fmla="*/ 5428 h 10000"/>
                <a:gd name="connsiteX276" fmla="*/ 9215 w 10000"/>
                <a:gd name="connsiteY276" fmla="*/ 5604 h 10000"/>
                <a:gd name="connsiteX277" fmla="*/ 9221 w 10000"/>
                <a:gd name="connsiteY277" fmla="*/ 5769 h 10000"/>
                <a:gd name="connsiteX278" fmla="*/ 9269 w 10000"/>
                <a:gd name="connsiteY278" fmla="*/ 5883 h 10000"/>
                <a:gd name="connsiteX279" fmla="*/ 9344 w 10000"/>
                <a:gd name="connsiteY279" fmla="*/ 6068 h 10000"/>
                <a:gd name="connsiteX280" fmla="*/ 9269 w 10000"/>
                <a:gd name="connsiteY280" fmla="*/ 6068 h 10000"/>
                <a:gd name="connsiteX281" fmla="*/ 9253 w 10000"/>
                <a:gd name="connsiteY281" fmla="*/ 6223 h 10000"/>
                <a:gd name="connsiteX282" fmla="*/ 9319 w 10000"/>
                <a:gd name="connsiteY282" fmla="*/ 6408 h 10000"/>
                <a:gd name="connsiteX283" fmla="*/ 9250 w 10000"/>
                <a:gd name="connsiteY283" fmla="*/ 6502 h 10000"/>
                <a:gd name="connsiteX284" fmla="*/ 9297 w 10000"/>
                <a:gd name="connsiteY284" fmla="*/ 6729 h 10000"/>
                <a:gd name="connsiteX285" fmla="*/ 9281 w 10000"/>
                <a:gd name="connsiteY285" fmla="*/ 7069 h 10000"/>
                <a:gd name="connsiteX286" fmla="*/ 9061 w 10000"/>
                <a:gd name="connsiteY286" fmla="*/ 6408 h 10000"/>
                <a:gd name="connsiteX287" fmla="*/ 8824 w 10000"/>
                <a:gd name="connsiteY287" fmla="*/ 5759 h 10000"/>
                <a:gd name="connsiteX288" fmla="*/ 8771 w 10000"/>
                <a:gd name="connsiteY288" fmla="*/ 5459 h 10000"/>
                <a:gd name="connsiteX289" fmla="*/ 8768 w 10000"/>
                <a:gd name="connsiteY289" fmla="*/ 5211 h 10000"/>
                <a:gd name="connsiteX290" fmla="*/ 8692 w 10000"/>
                <a:gd name="connsiteY290" fmla="*/ 5047 h 10000"/>
                <a:gd name="connsiteX291" fmla="*/ 8771 w 10000"/>
                <a:gd name="connsiteY291" fmla="*/ 5088 h 10000"/>
                <a:gd name="connsiteX292" fmla="*/ 8809 w 10000"/>
                <a:gd name="connsiteY292" fmla="*/ 5108 h 10000"/>
                <a:gd name="connsiteX293" fmla="*/ 8809 w 10000"/>
                <a:gd name="connsiteY293" fmla="*/ 4840 h 10000"/>
                <a:gd name="connsiteX294" fmla="*/ 8827 w 10000"/>
                <a:gd name="connsiteY294" fmla="*/ 4437 h 10000"/>
                <a:gd name="connsiteX295" fmla="*/ 8853 w 10000"/>
                <a:gd name="connsiteY295" fmla="*/ 4252 h 10000"/>
                <a:gd name="connsiteX296" fmla="*/ 8909 w 10000"/>
                <a:gd name="connsiteY296" fmla="*/ 4221 h 10000"/>
                <a:gd name="connsiteX297" fmla="*/ 8786 w 10000"/>
                <a:gd name="connsiteY297" fmla="*/ 3901 h 10000"/>
                <a:gd name="connsiteX298" fmla="*/ 8853 w 10000"/>
                <a:gd name="connsiteY298" fmla="*/ 3839 h 10000"/>
                <a:gd name="connsiteX299" fmla="*/ 8739 w 10000"/>
                <a:gd name="connsiteY299" fmla="*/ 3788 h 10000"/>
                <a:gd name="connsiteX300" fmla="*/ 8755 w 10000"/>
                <a:gd name="connsiteY300" fmla="*/ 3984 h 10000"/>
                <a:gd name="connsiteX301" fmla="*/ 8692 w 10000"/>
                <a:gd name="connsiteY301" fmla="*/ 4303 h 10000"/>
                <a:gd name="connsiteX302" fmla="*/ 8604 w 10000"/>
                <a:gd name="connsiteY302" fmla="*/ 4210 h 10000"/>
                <a:gd name="connsiteX303" fmla="*/ 8550 w 10000"/>
                <a:gd name="connsiteY303" fmla="*/ 4056 h 10000"/>
                <a:gd name="connsiteX304" fmla="*/ 8481 w 10000"/>
                <a:gd name="connsiteY304" fmla="*/ 4138 h 10000"/>
                <a:gd name="connsiteX305" fmla="*/ 8389 w 10000"/>
                <a:gd name="connsiteY305" fmla="*/ 4107 h 10000"/>
                <a:gd name="connsiteX306" fmla="*/ 8352 w 10000"/>
                <a:gd name="connsiteY306" fmla="*/ 4406 h 10000"/>
                <a:gd name="connsiteX307" fmla="*/ 8481 w 10000"/>
                <a:gd name="connsiteY307" fmla="*/ 4655 h 10000"/>
                <a:gd name="connsiteX308" fmla="*/ 8405 w 10000"/>
                <a:gd name="connsiteY308" fmla="*/ 4830 h 10000"/>
                <a:gd name="connsiteX309" fmla="*/ 8225 w 10000"/>
                <a:gd name="connsiteY309" fmla="*/ 4799 h 10000"/>
                <a:gd name="connsiteX310" fmla="*/ 8209 w 10000"/>
                <a:gd name="connsiteY310" fmla="*/ 4655 h 10000"/>
                <a:gd name="connsiteX311" fmla="*/ 8102 w 10000"/>
                <a:gd name="connsiteY311" fmla="*/ 4634 h 10000"/>
                <a:gd name="connsiteX312" fmla="*/ 7641 w 10000"/>
                <a:gd name="connsiteY312" fmla="*/ 4779 h 10000"/>
                <a:gd name="connsiteX313" fmla="*/ 7610 w 10000"/>
                <a:gd name="connsiteY313" fmla="*/ 5005 h 10000"/>
                <a:gd name="connsiteX314" fmla="*/ 7550 w 10000"/>
                <a:gd name="connsiteY314" fmla="*/ 5666 h 10000"/>
                <a:gd name="connsiteX315" fmla="*/ 7496 w 10000"/>
                <a:gd name="connsiteY315" fmla="*/ 5965 h 10000"/>
                <a:gd name="connsiteX316" fmla="*/ 7701 w 10000"/>
                <a:gd name="connsiteY316" fmla="*/ 6161 h 10000"/>
                <a:gd name="connsiteX317" fmla="*/ 7745 w 10000"/>
                <a:gd name="connsiteY317" fmla="*/ 6243 h 10000"/>
                <a:gd name="connsiteX318" fmla="*/ 7771 w 10000"/>
                <a:gd name="connsiteY318" fmla="*/ 6285 h 10000"/>
                <a:gd name="connsiteX319" fmla="*/ 7793 w 10000"/>
                <a:gd name="connsiteY319" fmla="*/ 6068 h 10000"/>
                <a:gd name="connsiteX320" fmla="*/ 7912 w 10000"/>
                <a:gd name="connsiteY320" fmla="*/ 6089 h 10000"/>
                <a:gd name="connsiteX321" fmla="*/ 8004 w 10000"/>
                <a:gd name="connsiteY321" fmla="*/ 6367 h 10000"/>
                <a:gd name="connsiteX322" fmla="*/ 8064 w 10000"/>
                <a:gd name="connsiteY322" fmla="*/ 6616 h 10000"/>
                <a:gd name="connsiteX323" fmla="*/ 8111 w 10000"/>
                <a:gd name="connsiteY323" fmla="*/ 6781 h 10000"/>
                <a:gd name="connsiteX324" fmla="*/ 8048 w 10000"/>
                <a:gd name="connsiteY324" fmla="*/ 6491 h 10000"/>
                <a:gd name="connsiteX325" fmla="*/ 8124 w 10000"/>
                <a:gd name="connsiteY325" fmla="*/ 6336 h 10000"/>
                <a:gd name="connsiteX326" fmla="*/ 8177 w 10000"/>
                <a:gd name="connsiteY326" fmla="*/ 6512 h 10000"/>
                <a:gd name="connsiteX327" fmla="*/ 8300 w 10000"/>
                <a:gd name="connsiteY327" fmla="*/ 6987 h 10000"/>
                <a:gd name="connsiteX328" fmla="*/ 8361 w 10000"/>
                <a:gd name="connsiteY328" fmla="*/ 7152 h 10000"/>
                <a:gd name="connsiteX329" fmla="*/ 8490 w 10000"/>
                <a:gd name="connsiteY329" fmla="*/ 7482 h 10000"/>
                <a:gd name="connsiteX330" fmla="*/ 8604 w 10000"/>
                <a:gd name="connsiteY330" fmla="*/ 7854 h 10000"/>
                <a:gd name="connsiteX331" fmla="*/ 8474 w 10000"/>
                <a:gd name="connsiteY331" fmla="*/ 7647 h 10000"/>
                <a:gd name="connsiteX332" fmla="*/ 8443 w 10000"/>
                <a:gd name="connsiteY332" fmla="*/ 7678 h 10000"/>
                <a:gd name="connsiteX333" fmla="*/ 8512 w 10000"/>
                <a:gd name="connsiteY333" fmla="*/ 8050 h 10000"/>
                <a:gd name="connsiteX334" fmla="*/ 8588 w 10000"/>
                <a:gd name="connsiteY334" fmla="*/ 8266 h 10000"/>
                <a:gd name="connsiteX335" fmla="*/ 8642 w 10000"/>
                <a:gd name="connsiteY335" fmla="*/ 8472 h 10000"/>
                <a:gd name="connsiteX336" fmla="*/ 8566 w 10000"/>
                <a:gd name="connsiteY336" fmla="*/ 8421 h 10000"/>
                <a:gd name="connsiteX337" fmla="*/ 8556 w 10000"/>
                <a:gd name="connsiteY337" fmla="*/ 8669 h 10000"/>
                <a:gd name="connsiteX338" fmla="*/ 8497 w 10000"/>
                <a:gd name="connsiteY338" fmla="*/ 8493 h 10000"/>
                <a:gd name="connsiteX339" fmla="*/ 8481 w 10000"/>
                <a:gd name="connsiteY339" fmla="*/ 8421 h 10000"/>
                <a:gd name="connsiteX340" fmla="*/ 8361 w 10000"/>
                <a:gd name="connsiteY340" fmla="*/ 7751 h 10000"/>
                <a:gd name="connsiteX341" fmla="*/ 8322 w 10000"/>
                <a:gd name="connsiteY341" fmla="*/ 7524 h 10000"/>
                <a:gd name="connsiteX342" fmla="*/ 8291 w 10000"/>
                <a:gd name="connsiteY342" fmla="*/ 7378 h 10000"/>
                <a:gd name="connsiteX343" fmla="*/ 8275 w 10000"/>
                <a:gd name="connsiteY343" fmla="*/ 7306 h 10000"/>
                <a:gd name="connsiteX344" fmla="*/ 8139 w 10000"/>
                <a:gd name="connsiteY344" fmla="*/ 6863 h 10000"/>
                <a:gd name="connsiteX345" fmla="*/ 8199 w 10000"/>
                <a:gd name="connsiteY345" fmla="*/ 7451 h 10000"/>
                <a:gd name="connsiteX346" fmla="*/ 8247 w 10000"/>
                <a:gd name="connsiteY346" fmla="*/ 7998 h 10000"/>
                <a:gd name="connsiteX347" fmla="*/ 8177 w 10000"/>
                <a:gd name="connsiteY347" fmla="*/ 9133 h 10000"/>
                <a:gd name="connsiteX348" fmla="*/ 8124 w 10000"/>
                <a:gd name="connsiteY348" fmla="*/ 9484 h 10000"/>
                <a:gd name="connsiteX349" fmla="*/ 7972 w 10000"/>
                <a:gd name="connsiteY349" fmla="*/ 9432 h 10000"/>
                <a:gd name="connsiteX350" fmla="*/ 7897 w 10000"/>
                <a:gd name="connsiteY350" fmla="*/ 9660 h 10000"/>
                <a:gd name="connsiteX351" fmla="*/ 7868 w 10000"/>
                <a:gd name="connsiteY351" fmla="*/ 9588 h 10000"/>
                <a:gd name="connsiteX352" fmla="*/ 7884 w 10000"/>
                <a:gd name="connsiteY352" fmla="*/ 9536 h 10000"/>
                <a:gd name="connsiteX353" fmla="*/ 7897 w 10000"/>
                <a:gd name="connsiteY353" fmla="*/ 9380 h 10000"/>
                <a:gd name="connsiteX354" fmla="*/ 7884 w 10000"/>
                <a:gd name="connsiteY354" fmla="*/ 9236 h 10000"/>
                <a:gd name="connsiteX355" fmla="*/ 7793 w 10000"/>
                <a:gd name="connsiteY355" fmla="*/ 8865 h 10000"/>
                <a:gd name="connsiteX356" fmla="*/ 7831 w 10000"/>
                <a:gd name="connsiteY356" fmla="*/ 8741 h 10000"/>
                <a:gd name="connsiteX357" fmla="*/ 7928 w 10000"/>
                <a:gd name="connsiteY357" fmla="*/ 8844 h 10000"/>
                <a:gd name="connsiteX358" fmla="*/ 7912 w 10000"/>
                <a:gd name="connsiteY358" fmla="*/ 8318 h 10000"/>
                <a:gd name="connsiteX359" fmla="*/ 7906 w 10000"/>
                <a:gd name="connsiteY359" fmla="*/ 8019 h 10000"/>
                <a:gd name="connsiteX360" fmla="*/ 7846 w 10000"/>
                <a:gd name="connsiteY360" fmla="*/ 7802 h 10000"/>
                <a:gd name="connsiteX361" fmla="*/ 7723 w 10000"/>
                <a:gd name="connsiteY361" fmla="*/ 8050 h 10000"/>
                <a:gd name="connsiteX362" fmla="*/ 7619 w 10000"/>
                <a:gd name="connsiteY362" fmla="*/ 8019 h 10000"/>
                <a:gd name="connsiteX363" fmla="*/ 7528 w 10000"/>
                <a:gd name="connsiteY363" fmla="*/ 7699 h 10000"/>
                <a:gd name="connsiteX364" fmla="*/ 7355 w 10000"/>
                <a:gd name="connsiteY364" fmla="*/ 7482 h 10000"/>
                <a:gd name="connsiteX365" fmla="*/ 7279 w 10000"/>
                <a:gd name="connsiteY365" fmla="*/ 7482 h 10000"/>
                <a:gd name="connsiteX366" fmla="*/ 7080 w 10000"/>
                <a:gd name="connsiteY366" fmla="*/ 6781 h 10000"/>
                <a:gd name="connsiteX367" fmla="*/ 6901 w 10000"/>
                <a:gd name="connsiteY367" fmla="*/ 6460 h 10000"/>
                <a:gd name="connsiteX368" fmla="*/ 6724 w 10000"/>
                <a:gd name="connsiteY368" fmla="*/ 6336 h 10000"/>
                <a:gd name="connsiteX369" fmla="*/ 6583 w 10000"/>
                <a:gd name="connsiteY369" fmla="*/ 6408 h 10000"/>
                <a:gd name="connsiteX370" fmla="*/ 6567 w 10000"/>
                <a:gd name="connsiteY370" fmla="*/ 6585 h 10000"/>
                <a:gd name="connsiteX371" fmla="*/ 6664 w 10000"/>
                <a:gd name="connsiteY371" fmla="*/ 6760 h 10000"/>
                <a:gd name="connsiteX372" fmla="*/ 6636 w 10000"/>
                <a:gd name="connsiteY372" fmla="*/ 6935 h 10000"/>
                <a:gd name="connsiteX373" fmla="*/ 6636 w 10000"/>
                <a:gd name="connsiteY373" fmla="*/ 7399 h 10000"/>
                <a:gd name="connsiteX374" fmla="*/ 6560 w 10000"/>
                <a:gd name="connsiteY374" fmla="*/ 7482 h 10000"/>
                <a:gd name="connsiteX375" fmla="*/ 6485 w 10000"/>
                <a:gd name="connsiteY375" fmla="*/ 7378 h 10000"/>
                <a:gd name="connsiteX376" fmla="*/ 6400 w 10000"/>
                <a:gd name="connsiteY376" fmla="*/ 7399 h 10000"/>
                <a:gd name="connsiteX377" fmla="*/ 6334 w 10000"/>
                <a:gd name="connsiteY377" fmla="*/ 7275 h 10000"/>
                <a:gd name="connsiteX378" fmla="*/ 6258 w 10000"/>
                <a:gd name="connsiteY378" fmla="*/ 7358 h 10000"/>
                <a:gd name="connsiteX379" fmla="*/ 6220 w 10000"/>
                <a:gd name="connsiteY379" fmla="*/ 7524 h 10000"/>
                <a:gd name="connsiteX380" fmla="*/ 6081 w 10000"/>
                <a:gd name="connsiteY380" fmla="*/ 7606 h 10000"/>
                <a:gd name="connsiteX381" fmla="*/ 5892 w 10000"/>
                <a:gd name="connsiteY381" fmla="*/ 7575 h 10000"/>
                <a:gd name="connsiteX382" fmla="*/ 5855 w 10000"/>
                <a:gd name="connsiteY382" fmla="*/ 7327 h 10000"/>
                <a:gd name="connsiteX383" fmla="*/ 5643 w 10000"/>
                <a:gd name="connsiteY383" fmla="*/ 7255 h 10000"/>
                <a:gd name="connsiteX384" fmla="*/ 5539 w 10000"/>
                <a:gd name="connsiteY384" fmla="*/ 7358 h 10000"/>
                <a:gd name="connsiteX385" fmla="*/ 5416 w 10000"/>
                <a:gd name="connsiteY385" fmla="*/ 7203 h 10000"/>
                <a:gd name="connsiteX386" fmla="*/ 5372 w 10000"/>
                <a:gd name="connsiteY386"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2428 w 10000"/>
                <a:gd name="connsiteY22" fmla="*/ 6512 h 10000"/>
                <a:gd name="connsiteX23" fmla="*/ 1610 w 10000"/>
                <a:gd name="connsiteY23" fmla="*/ 7183 h 10000"/>
                <a:gd name="connsiteX24" fmla="*/ 1655 w 10000"/>
                <a:gd name="connsiteY24" fmla="*/ 7430 h 10000"/>
                <a:gd name="connsiteX25" fmla="*/ 1604 w 10000"/>
                <a:gd name="connsiteY25" fmla="*/ 7430 h 10000"/>
                <a:gd name="connsiteX26" fmla="*/ 1551 w 10000"/>
                <a:gd name="connsiteY26" fmla="*/ 7255 h 10000"/>
                <a:gd name="connsiteX27" fmla="*/ 1513 w 10000"/>
                <a:gd name="connsiteY27" fmla="*/ 7430 h 10000"/>
                <a:gd name="connsiteX28" fmla="*/ 1519 w 10000"/>
                <a:gd name="connsiteY28" fmla="*/ 7854 h 10000"/>
                <a:gd name="connsiteX29" fmla="*/ 1604 w 10000"/>
                <a:gd name="connsiteY29" fmla="*/ 8070 h 10000"/>
                <a:gd name="connsiteX30" fmla="*/ 1648 w 10000"/>
                <a:gd name="connsiteY30" fmla="*/ 8019 h 10000"/>
                <a:gd name="connsiteX31" fmla="*/ 1741 w 10000"/>
                <a:gd name="connsiteY31" fmla="*/ 8493 h 10000"/>
                <a:gd name="connsiteX32" fmla="*/ 1610 w 10000"/>
                <a:gd name="connsiteY32" fmla="*/ 8669 h 10000"/>
                <a:gd name="connsiteX33" fmla="*/ 1595 w 10000"/>
                <a:gd name="connsiteY33" fmla="*/ 9009 h 10000"/>
                <a:gd name="connsiteX34" fmla="*/ 1664 w 10000"/>
                <a:gd name="connsiteY34" fmla="*/ 9236 h 10000"/>
                <a:gd name="connsiteX35" fmla="*/ 1664 w 10000"/>
                <a:gd name="connsiteY35" fmla="*/ 9484 h 10000"/>
                <a:gd name="connsiteX36" fmla="*/ 1769 w 10000"/>
                <a:gd name="connsiteY36" fmla="*/ 9835 h 10000"/>
                <a:gd name="connsiteX37" fmla="*/ 1703 w 10000"/>
                <a:gd name="connsiteY37" fmla="*/ 10000 h 10000"/>
                <a:gd name="connsiteX38" fmla="*/ 1604 w 10000"/>
                <a:gd name="connsiteY38" fmla="*/ 9753 h 10000"/>
                <a:gd name="connsiteX39" fmla="*/ 1465 w 10000"/>
                <a:gd name="connsiteY39" fmla="*/ 9505 h 10000"/>
                <a:gd name="connsiteX40" fmla="*/ 1406 w 10000"/>
                <a:gd name="connsiteY40" fmla="*/ 9588 h 10000"/>
                <a:gd name="connsiteX41" fmla="*/ 1308 w 10000"/>
                <a:gd name="connsiteY41" fmla="*/ 9380 h 10000"/>
                <a:gd name="connsiteX42" fmla="*/ 1097 w 10000"/>
                <a:gd name="connsiteY42" fmla="*/ 9339 h 10000"/>
                <a:gd name="connsiteX43" fmla="*/ 848 w 10000"/>
                <a:gd name="connsiteY43" fmla="*/ 8813 h 10000"/>
                <a:gd name="connsiteX44" fmla="*/ 914 w 10000"/>
                <a:gd name="connsiteY44" fmla="*/ 8721 h 10000"/>
                <a:gd name="connsiteX45" fmla="*/ 961 w 10000"/>
                <a:gd name="connsiteY45" fmla="*/ 8493 h 10000"/>
                <a:gd name="connsiteX46" fmla="*/ 908 w 10000"/>
                <a:gd name="connsiteY46" fmla="*/ 8390 h 10000"/>
                <a:gd name="connsiteX47" fmla="*/ 1021 w 10000"/>
                <a:gd name="connsiteY47" fmla="*/ 8245 h 10000"/>
                <a:gd name="connsiteX48" fmla="*/ 945 w 10000"/>
                <a:gd name="connsiteY48" fmla="*/ 8194 h 10000"/>
                <a:gd name="connsiteX49" fmla="*/ 958 w 10000"/>
                <a:gd name="connsiteY49" fmla="*/ 8091 h 10000"/>
                <a:gd name="connsiteX50" fmla="*/ 1005 w 10000"/>
                <a:gd name="connsiteY50" fmla="*/ 8111 h 10000"/>
                <a:gd name="connsiteX51" fmla="*/ 1059 w 10000"/>
                <a:gd name="connsiteY51" fmla="*/ 8019 h 10000"/>
                <a:gd name="connsiteX52" fmla="*/ 1034 w 10000"/>
                <a:gd name="connsiteY52" fmla="*/ 7864 h 10000"/>
                <a:gd name="connsiteX53" fmla="*/ 1043 w 10000"/>
                <a:gd name="connsiteY53" fmla="*/ 7503 h 10000"/>
                <a:gd name="connsiteX54" fmla="*/ 930 w 10000"/>
                <a:gd name="connsiteY54" fmla="*/ 7440 h 10000"/>
                <a:gd name="connsiteX55" fmla="*/ 832 w 10000"/>
                <a:gd name="connsiteY55" fmla="*/ 7286 h 10000"/>
                <a:gd name="connsiteX56" fmla="*/ 700 w 10000"/>
                <a:gd name="connsiteY56" fmla="*/ 7275 h 10000"/>
                <a:gd name="connsiteX57" fmla="*/ 684 w 10000"/>
                <a:gd name="connsiteY57" fmla="*/ 7090 h 10000"/>
                <a:gd name="connsiteX58" fmla="*/ 596 w 10000"/>
                <a:gd name="connsiteY58" fmla="*/ 6945 h 10000"/>
                <a:gd name="connsiteX59" fmla="*/ 615 w 10000"/>
                <a:gd name="connsiteY59" fmla="*/ 6822 h 10000"/>
                <a:gd name="connsiteX60" fmla="*/ 561 w 10000"/>
                <a:gd name="connsiteY60" fmla="*/ 6698 h 10000"/>
                <a:gd name="connsiteX61" fmla="*/ 457 w 10000"/>
                <a:gd name="connsiteY61" fmla="*/ 6698 h 10000"/>
                <a:gd name="connsiteX62" fmla="*/ 425 w 10000"/>
                <a:gd name="connsiteY62" fmla="*/ 6791 h 10000"/>
                <a:gd name="connsiteX63" fmla="*/ 400 w 10000"/>
                <a:gd name="connsiteY63" fmla="*/ 6750 h 10000"/>
                <a:gd name="connsiteX64" fmla="*/ 378 w 10000"/>
                <a:gd name="connsiteY64" fmla="*/ 6439 h 10000"/>
                <a:gd name="connsiteX65" fmla="*/ 419 w 10000"/>
                <a:gd name="connsiteY65" fmla="*/ 6470 h 10000"/>
                <a:gd name="connsiteX66" fmla="*/ 466 w 10000"/>
                <a:gd name="connsiteY66" fmla="*/ 6347 h 10000"/>
                <a:gd name="connsiteX67" fmla="*/ 400 w 10000"/>
                <a:gd name="connsiteY67" fmla="*/ 6233 h 10000"/>
                <a:gd name="connsiteX68" fmla="*/ 315 w 10000"/>
                <a:gd name="connsiteY68" fmla="*/ 6017 h 10000"/>
                <a:gd name="connsiteX69" fmla="*/ 334 w 10000"/>
                <a:gd name="connsiteY69" fmla="*/ 5821 h 10000"/>
                <a:gd name="connsiteX70" fmla="*/ 274 w 10000"/>
                <a:gd name="connsiteY70" fmla="*/ 5697 h 10000"/>
                <a:gd name="connsiteX71" fmla="*/ 227 w 10000"/>
                <a:gd name="connsiteY71" fmla="*/ 5728 h 10000"/>
                <a:gd name="connsiteX72" fmla="*/ 202 w 10000"/>
                <a:gd name="connsiteY72" fmla="*/ 5604 h 10000"/>
                <a:gd name="connsiteX73" fmla="*/ 164 w 10000"/>
                <a:gd name="connsiteY73" fmla="*/ 5645 h 10000"/>
                <a:gd name="connsiteX74" fmla="*/ 117 w 10000"/>
                <a:gd name="connsiteY74" fmla="*/ 5604 h 10000"/>
                <a:gd name="connsiteX75" fmla="*/ 69 w 10000"/>
                <a:gd name="connsiteY75" fmla="*/ 5181 h 10000"/>
                <a:gd name="connsiteX76" fmla="*/ 85 w 10000"/>
                <a:gd name="connsiteY76" fmla="*/ 5057 h 10000"/>
                <a:gd name="connsiteX77" fmla="*/ 41 w 10000"/>
                <a:gd name="connsiteY77" fmla="*/ 4892 h 10000"/>
                <a:gd name="connsiteX78" fmla="*/ 66 w 10000"/>
                <a:gd name="connsiteY78" fmla="*/ 4655 h 10000"/>
                <a:gd name="connsiteX79" fmla="*/ 211 w 10000"/>
                <a:gd name="connsiteY79" fmla="*/ 4510 h 10000"/>
                <a:gd name="connsiteX80" fmla="*/ 129 w 10000"/>
                <a:gd name="connsiteY80" fmla="*/ 4406 h 10000"/>
                <a:gd name="connsiteX81" fmla="*/ 82 w 10000"/>
                <a:gd name="connsiteY81" fmla="*/ 4283 h 10000"/>
                <a:gd name="connsiteX82" fmla="*/ 205 w 10000"/>
                <a:gd name="connsiteY82" fmla="*/ 3912 h 10000"/>
                <a:gd name="connsiteX83" fmla="*/ 249 w 10000"/>
                <a:gd name="connsiteY83" fmla="*/ 3664 h 10000"/>
                <a:gd name="connsiteX84" fmla="*/ 151 w 10000"/>
                <a:gd name="connsiteY84" fmla="*/ 3488 h 10000"/>
                <a:gd name="connsiteX85" fmla="*/ 189 w 10000"/>
                <a:gd name="connsiteY85" fmla="*/ 3344 h 10000"/>
                <a:gd name="connsiteX86" fmla="*/ 113 w 10000"/>
                <a:gd name="connsiteY86" fmla="*/ 3148 h 10000"/>
                <a:gd name="connsiteX87" fmla="*/ 113 w 10000"/>
                <a:gd name="connsiteY87" fmla="*/ 2972 h 10000"/>
                <a:gd name="connsiteX88" fmla="*/ 60 w 10000"/>
                <a:gd name="connsiteY88" fmla="*/ 2622 h 10000"/>
                <a:gd name="connsiteX89" fmla="*/ 98 w 10000"/>
                <a:gd name="connsiteY89" fmla="*/ 2404 h 10000"/>
                <a:gd name="connsiteX90" fmla="*/ 38 w 10000"/>
                <a:gd name="connsiteY90" fmla="*/ 2301 h 10000"/>
                <a:gd name="connsiteX91" fmla="*/ 0 w 10000"/>
                <a:gd name="connsiteY91" fmla="*/ 2178 h 10000"/>
                <a:gd name="connsiteX92" fmla="*/ 54 w 10000"/>
                <a:gd name="connsiteY92" fmla="*/ 1951 h 10000"/>
                <a:gd name="connsiteX93" fmla="*/ 120 w 10000"/>
                <a:gd name="connsiteY93" fmla="*/ 1910 h 10000"/>
                <a:gd name="connsiteX94" fmla="*/ 195 w 10000"/>
                <a:gd name="connsiteY94" fmla="*/ 1858 h 10000"/>
                <a:gd name="connsiteX95" fmla="*/ 309 w 10000"/>
                <a:gd name="connsiteY95" fmla="*/ 1951 h 10000"/>
                <a:gd name="connsiteX96" fmla="*/ 482 w 10000"/>
                <a:gd name="connsiteY96" fmla="*/ 2054 h 10000"/>
                <a:gd name="connsiteX97" fmla="*/ 633 w 10000"/>
                <a:gd name="connsiteY97" fmla="*/ 2229 h 10000"/>
                <a:gd name="connsiteX98" fmla="*/ 756 w 10000"/>
                <a:gd name="connsiteY98" fmla="*/ 2373 h 10000"/>
                <a:gd name="connsiteX99" fmla="*/ 725 w 10000"/>
                <a:gd name="connsiteY99" fmla="*/ 2777 h 10000"/>
                <a:gd name="connsiteX100" fmla="*/ 362 w 10000"/>
                <a:gd name="connsiteY100" fmla="*/ 2673 h 10000"/>
                <a:gd name="connsiteX101" fmla="*/ 243 w 10000"/>
                <a:gd name="connsiteY101" fmla="*/ 2550 h 10000"/>
                <a:gd name="connsiteX102" fmla="*/ 287 w 10000"/>
                <a:gd name="connsiteY102" fmla="*/ 2622 h 10000"/>
                <a:gd name="connsiteX103" fmla="*/ 331 w 10000"/>
                <a:gd name="connsiteY103" fmla="*/ 2797 h 10000"/>
                <a:gd name="connsiteX104" fmla="*/ 400 w 10000"/>
                <a:gd name="connsiteY104" fmla="*/ 2921 h 10000"/>
                <a:gd name="connsiteX105" fmla="*/ 416 w 10000"/>
                <a:gd name="connsiteY105" fmla="*/ 3189 h 10000"/>
                <a:gd name="connsiteX106" fmla="*/ 507 w 10000"/>
                <a:gd name="connsiteY106" fmla="*/ 3313 h 10000"/>
                <a:gd name="connsiteX107" fmla="*/ 583 w 10000"/>
                <a:gd name="connsiteY107" fmla="*/ 3436 h 10000"/>
                <a:gd name="connsiteX108" fmla="*/ 605 w 10000"/>
                <a:gd name="connsiteY108" fmla="*/ 3467 h 10000"/>
                <a:gd name="connsiteX109" fmla="*/ 649 w 10000"/>
                <a:gd name="connsiteY109" fmla="*/ 3436 h 10000"/>
                <a:gd name="connsiteX110" fmla="*/ 633 w 10000"/>
                <a:gd name="connsiteY110" fmla="*/ 3364 h 10000"/>
                <a:gd name="connsiteX111" fmla="*/ 545 w 10000"/>
                <a:gd name="connsiteY111" fmla="*/ 3189 h 10000"/>
                <a:gd name="connsiteX112" fmla="*/ 801 w 10000"/>
                <a:gd name="connsiteY112" fmla="*/ 3344 h 10000"/>
                <a:gd name="connsiteX113" fmla="*/ 810 w 10000"/>
                <a:gd name="connsiteY113" fmla="*/ 3271 h 10000"/>
                <a:gd name="connsiteX114" fmla="*/ 785 w 10000"/>
                <a:gd name="connsiteY114" fmla="*/ 3220 h 10000"/>
                <a:gd name="connsiteX115" fmla="*/ 741 w 10000"/>
                <a:gd name="connsiteY115" fmla="*/ 2993 h 10000"/>
                <a:gd name="connsiteX116" fmla="*/ 870 w 10000"/>
                <a:gd name="connsiteY116" fmla="*/ 2777 h 10000"/>
                <a:gd name="connsiteX117" fmla="*/ 968 w 10000"/>
                <a:gd name="connsiteY117" fmla="*/ 2921 h 10000"/>
                <a:gd name="connsiteX118" fmla="*/ 999 w 10000"/>
                <a:gd name="connsiteY118" fmla="*/ 2725 h 10000"/>
                <a:gd name="connsiteX119" fmla="*/ 952 w 10000"/>
                <a:gd name="connsiteY119" fmla="*/ 2653 h 10000"/>
                <a:gd name="connsiteX120" fmla="*/ 936 w 10000"/>
                <a:gd name="connsiteY120" fmla="*/ 2281 h 10000"/>
                <a:gd name="connsiteX121" fmla="*/ 914 w 10000"/>
                <a:gd name="connsiteY121" fmla="*/ 2229 h 10000"/>
                <a:gd name="connsiteX122" fmla="*/ 1037 w 10000"/>
                <a:gd name="connsiteY122" fmla="*/ 2250 h 10000"/>
                <a:gd name="connsiteX123" fmla="*/ 1087 w 10000"/>
                <a:gd name="connsiteY123" fmla="*/ 2404 h 10000"/>
                <a:gd name="connsiteX124" fmla="*/ 1021 w 10000"/>
                <a:gd name="connsiteY124" fmla="*/ 2529 h 10000"/>
                <a:gd name="connsiteX125" fmla="*/ 1135 w 10000"/>
                <a:gd name="connsiteY125" fmla="*/ 2694 h 10000"/>
                <a:gd name="connsiteX126" fmla="*/ 1226 w 10000"/>
                <a:gd name="connsiteY126" fmla="*/ 2529 h 10000"/>
                <a:gd name="connsiteX127" fmla="*/ 1339 w 10000"/>
                <a:gd name="connsiteY127" fmla="*/ 2301 h 10000"/>
                <a:gd name="connsiteX128" fmla="*/ 1459 w 10000"/>
                <a:gd name="connsiteY128" fmla="*/ 2157 h 10000"/>
                <a:gd name="connsiteX129" fmla="*/ 1497 w 10000"/>
                <a:gd name="connsiteY129" fmla="*/ 2250 h 10000"/>
                <a:gd name="connsiteX130" fmla="*/ 1807 w 10000"/>
                <a:gd name="connsiteY130" fmla="*/ 2054 h 10000"/>
                <a:gd name="connsiteX131" fmla="*/ 1870 w 10000"/>
                <a:gd name="connsiteY131" fmla="*/ 2250 h 10000"/>
                <a:gd name="connsiteX132" fmla="*/ 1860 w 10000"/>
                <a:gd name="connsiteY132" fmla="*/ 2002 h 10000"/>
                <a:gd name="connsiteX133" fmla="*/ 1778 w 10000"/>
                <a:gd name="connsiteY133" fmla="*/ 1786 h 10000"/>
                <a:gd name="connsiteX134" fmla="*/ 1763 w 10000"/>
                <a:gd name="connsiteY134" fmla="*/ 1703 h 10000"/>
                <a:gd name="connsiteX135" fmla="*/ 1823 w 10000"/>
                <a:gd name="connsiteY135" fmla="*/ 1786 h 10000"/>
                <a:gd name="connsiteX136" fmla="*/ 2034 w 10000"/>
                <a:gd name="connsiteY136" fmla="*/ 1951 h 10000"/>
                <a:gd name="connsiteX137" fmla="*/ 2270 w 10000"/>
                <a:gd name="connsiteY137" fmla="*/ 2126 h 10000"/>
                <a:gd name="connsiteX138" fmla="*/ 2384 w 10000"/>
                <a:gd name="connsiteY138" fmla="*/ 2250 h 10000"/>
                <a:gd name="connsiteX139" fmla="*/ 2421 w 10000"/>
                <a:gd name="connsiteY139" fmla="*/ 2074 h 10000"/>
                <a:gd name="connsiteX140" fmla="*/ 2368 w 10000"/>
                <a:gd name="connsiteY140" fmla="*/ 2033 h 10000"/>
                <a:gd name="connsiteX141" fmla="*/ 2299 w 10000"/>
                <a:gd name="connsiteY141" fmla="*/ 1930 h 10000"/>
                <a:gd name="connsiteX142" fmla="*/ 2254 w 10000"/>
                <a:gd name="connsiteY142" fmla="*/ 1734 h 10000"/>
                <a:gd name="connsiteX143" fmla="*/ 2185 w 10000"/>
                <a:gd name="connsiteY143" fmla="*/ 1486 h 10000"/>
                <a:gd name="connsiteX144" fmla="*/ 2210 w 10000"/>
                <a:gd name="connsiteY144" fmla="*/ 1434 h 10000"/>
                <a:gd name="connsiteX145" fmla="*/ 2232 w 10000"/>
                <a:gd name="connsiteY145" fmla="*/ 1455 h 10000"/>
                <a:gd name="connsiteX146" fmla="*/ 2292 w 10000"/>
                <a:gd name="connsiteY146" fmla="*/ 1115 h 10000"/>
                <a:gd name="connsiteX147" fmla="*/ 2443 w 10000"/>
                <a:gd name="connsiteY147" fmla="*/ 1135 h 10000"/>
                <a:gd name="connsiteX148" fmla="*/ 2488 w 10000"/>
                <a:gd name="connsiteY148" fmla="*/ 1311 h 10000"/>
                <a:gd name="connsiteX149" fmla="*/ 2519 w 10000"/>
                <a:gd name="connsiteY149" fmla="*/ 1538 h 10000"/>
                <a:gd name="connsiteX150" fmla="*/ 2573 w 10000"/>
                <a:gd name="connsiteY150" fmla="*/ 1734 h 10000"/>
                <a:gd name="connsiteX151" fmla="*/ 2670 w 10000"/>
                <a:gd name="connsiteY151" fmla="*/ 2157 h 10000"/>
                <a:gd name="connsiteX152" fmla="*/ 2481 w 10000"/>
                <a:gd name="connsiteY152" fmla="*/ 2673 h 10000"/>
                <a:gd name="connsiteX153" fmla="*/ 2557 w 10000"/>
                <a:gd name="connsiteY153" fmla="*/ 2746 h 10000"/>
                <a:gd name="connsiteX154" fmla="*/ 2655 w 10000"/>
                <a:gd name="connsiteY154" fmla="*/ 2818 h 10000"/>
                <a:gd name="connsiteX155" fmla="*/ 2784 w 10000"/>
                <a:gd name="connsiteY155" fmla="*/ 2622 h 10000"/>
                <a:gd name="connsiteX156" fmla="*/ 2790 w 10000"/>
                <a:gd name="connsiteY156" fmla="*/ 2404 h 10000"/>
                <a:gd name="connsiteX157" fmla="*/ 2746 w 10000"/>
                <a:gd name="connsiteY157" fmla="*/ 2301 h 10000"/>
                <a:gd name="connsiteX158" fmla="*/ 2919 w 10000"/>
                <a:gd name="connsiteY158" fmla="*/ 2250 h 10000"/>
                <a:gd name="connsiteX159" fmla="*/ 2989 w 10000"/>
                <a:gd name="connsiteY159" fmla="*/ 2497 h 10000"/>
                <a:gd name="connsiteX160" fmla="*/ 2989 w 10000"/>
                <a:gd name="connsiteY160" fmla="*/ 2425 h 10000"/>
                <a:gd name="connsiteX161" fmla="*/ 2973 w 10000"/>
                <a:gd name="connsiteY161" fmla="*/ 2353 h 10000"/>
                <a:gd name="connsiteX162" fmla="*/ 2967 w 10000"/>
                <a:gd name="connsiteY162" fmla="*/ 2178 h 10000"/>
                <a:gd name="connsiteX163" fmla="*/ 2800 w 10000"/>
                <a:gd name="connsiteY163" fmla="*/ 1930 h 10000"/>
                <a:gd name="connsiteX164" fmla="*/ 2670 w 10000"/>
                <a:gd name="connsiteY164" fmla="*/ 2002 h 10000"/>
                <a:gd name="connsiteX165" fmla="*/ 2617 w 10000"/>
                <a:gd name="connsiteY165" fmla="*/ 1683 h 10000"/>
                <a:gd name="connsiteX166" fmla="*/ 2563 w 10000"/>
                <a:gd name="connsiteY166" fmla="*/ 1507 h 10000"/>
                <a:gd name="connsiteX167" fmla="*/ 2617 w 10000"/>
                <a:gd name="connsiteY167" fmla="*/ 1331 h 10000"/>
                <a:gd name="connsiteX168" fmla="*/ 2611 w 10000"/>
                <a:gd name="connsiteY168" fmla="*/ 1166 h 10000"/>
                <a:gd name="connsiteX169" fmla="*/ 2588 w 10000"/>
                <a:gd name="connsiteY169" fmla="*/ 1115 h 10000"/>
                <a:gd name="connsiteX170" fmla="*/ 2626 w 10000"/>
                <a:gd name="connsiteY170" fmla="*/ 1115 h 10000"/>
                <a:gd name="connsiteX171" fmla="*/ 2670 w 10000"/>
                <a:gd name="connsiteY171" fmla="*/ 1455 h 10000"/>
                <a:gd name="connsiteX172" fmla="*/ 2891 w 10000"/>
                <a:gd name="connsiteY172" fmla="*/ 1662 h 10000"/>
                <a:gd name="connsiteX173" fmla="*/ 2724 w 10000"/>
                <a:gd name="connsiteY173" fmla="*/ 1383 h 10000"/>
                <a:gd name="connsiteX174" fmla="*/ 3049 w 10000"/>
                <a:gd name="connsiteY174" fmla="*/ 1383 h 10000"/>
                <a:gd name="connsiteX175" fmla="*/ 3102 w 10000"/>
                <a:gd name="connsiteY175" fmla="*/ 1362 h 10000"/>
                <a:gd name="connsiteX176" fmla="*/ 2897 w 10000"/>
                <a:gd name="connsiteY176" fmla="*/ 1115 h 10000"/>
                <a:gd name="connsiteX177" fmla="*/ 2951 w 10000"/>
                <a:gd name="connsiteY177" fmla="*/ 888 h 10000"/>
                <a:gd name="connsiteX178" fmla="*/ 3178 w 10000"/>
                <a:gd name="connsiteY178" fmla="*/ 888 h 10000"/>
                <a:gd name="connsiteX179" fmla="*/ 3156 w 10000"/>
                <a:gd name="connsiteY179" fmla="*/ 713 h 10000"/>
                <a:gd name="connsiteX180" fmla="*/ 3231 w 10000"/>
                <a:gd name="connsiteY180" fmla="*/ 589 h 10000"/>
                <a:gd name="connsiteX181" fmla="*/ 3276 w 10000"/>
                <a:gd name="connsiteY181" fmla="*/ 548 h 10000"/>
                <a:gd name="connsiteX182" fmla="*/ 3443 w 10000"/>
                <a:gd name="connsiteY182" fmla="*/ 423 h 10000"/>
                <a:gd name="connsiteX183" fmla="*/ 3487 w 10000"/>
                <a:gd name="connsiteY183" fmla="*/ 371 h 10000"/>
                <a:gd name="connsiteX184" fmla="*/ 3480 w 10000"/>
                <a:gd name="connsiteY184" fmla="*/ 444 h 10000"/>
                <a:gd name="connsiteX185" fmla="*/ 3660 w 10000"/>
                <a:gd name="connsiteY185" fmla="*/ 371 h 10000"/>
                <a:gd name="connsiteX186" fmla="*/ 3805 w 10000"/>
                <a:gd name="connsiteY186" fmla="*/ 248 h 10000"/>
                <a:gd name="connsiteX187" fmla="*/ 3827 w 10000"/>
                <a:gd name="connsiteY187" fmla="*/ 0 h 10000"/>
                <a:gd name="connsiteX188" fmla="*/ 3988 w 10000"/>
                <a:gd name="connsiteY188" fmla="*/ 21 h 10000"/>
                <a:gd name="connsiteX189" fmla="*/ 3978 w 10000"/>
                <a:gd name="connsiteY189" fmla="*/ 93 h 10000"/>
                <a:gd name="connsiteX190" fmla="*/ 3988 w 10000"/>
                <a:gd name="connsiteY190" fmla="*/ 176 h 10000"/>
                <a:gd name="connsiteX191" fmla="*/ 4085 w 10000"/>
                <a:gd name="connsiteY191" fmla="*/ 248 h 10000"/>
                <a:gd name="connsiteX192" fmla="*/ 4379 w 10000"/>
                <a:gd name="connsiteY192" fmla="*/ 268 h 10000"/>
                <a:gd name="connsiteX193" fmla="*/ 4539 w 10000"/>
                <a:gd name="connsiteY193" fmla="*/ 392 h 10000"/>
                <a:gd name="connsiteX194" fmla="*/ 4486 w 10000"/>
                <a:gd name="connsiteY194" fmla="*/ 795 h 10000"/>
                <a:gd name="connsiteX195" fmla="*/ 4426 w 10000"/>
                <a:gd name="connsiteY195" fmla="*/ 919 h 10000"/>
                <a:gd name="connsiteX196" fmla="*/ 4356 w 10000"/>
                <a:gd name="connsiteY196" fmla="*/ 1043 h 10000"/>
                <a:gd name="connsiteX197" fmla="*/ 4372 w 10000"/>
                <a:gd name="connsiteY197" fmla="*/ 1115 h 10000"/>
                <a:gd name="connsiteX198" fmla="*/ 4583 w 10000"/>
                <a:gd name="connsiteY198" fmla="*/ 919 h 10000"/>
                <a:gd name="connsiteX199" fmla="*/ 5060 w 10000"/>
                <a:gd name="connsiteY199" fmla="*/ 991 h 10000"/>
                <a:gd name="connsiteX200" fmla="*/ 5108 w 10000"/>
                <a:gd name="connsiteY200" fmla="*/ 1063 h 10000"/>
                <a:gd name="connsiteX201" fmla="*/ 5212 w 10000"/>
                <a:gd name="connsiteY201" fmla="*/ 1187 h 10000"/>
                <a:gd name="connsiteX202" fmla="*/ 5357 w 10000"/>
                <a:gd name="connsiteY202" fmla="*/ 919 h 10000"/>
                <a:gd name="connsiteX203" fmla="*/ 5577 w 10000"/>
                <a:gd name="connsiteY203" fmla="*/ 1063 h 10000"/>
                <a:gd name="connsiteX204" fmla="*/ 5643 w 10000"/>
                <a:gd name="connsiteY204" fmla="*/ 1115 h 10000"/>
                <a:gd name="connsiteX205" fmla="*/ 5697 w 10000"/>
                <a:gd name="connsiteY205" fmla="*/ 1166 h 10000"/>
                <a:gd name="connsiteX206" fmla="*/ 5908 w 10000"/>
                <a:gd name="connsiteY206" fmla="*/ 1631 h 10000"/>
                <a:gd name="connsiteX207" fmla="*/ 5984 w 10000"/>
                <a:gd name="connsiteY207" fmla="*/ 1611 h 10000"/>
                <a:gd name="connsiteX208" fmla="*/ 5977 w 10000"/>
                <a:gd name="connsiteY208" fmla="*/ 1507 h 10000"/>
                <a:gd name="connsiteX209" fmla="*/ 5984 w 10000"/>
                <a:gd name="connsiteY209" fmla="*/ 1383 h 10000"/>
                <a:gd name="connsiteX210" fmla="*/ 6091 w 10000"/>
                <a:gd name="connsiteY210" fmla="*/ 1486 h 10000"/>
                <a:gd name="connsiteX211" fmla="*/ 6264 w 10000"/>
                <a:gd name="connsiteY211" fmla="*/ 1507 h 10000"/>
                <a:gd name="connsiteX212" fmla="*/ 6409 w 10000"/>
                <a:gd name="connsiteY212" fmla="*/ 1455 h 10000"/>
                <a:gd name="connsiteX213" fmla="*/ 6340 w 10000"/>
                <a:gd name="connsiteY213" fmla="*/ 1362 h 10000"/>
                <a:gd name="connsiteX214" fmla="*/ 6431 w 10000"/>
                <a:gd name="connsiteY214" fmla="*/ 1084 h 10000"/>
                <a:gd name="connsiteX215" fmla="*/ 6687 w 10000"/>
                <a:gd name="connsiteY215" fmla="*/ 1207 h 10000"/>
                <a:gd name="connsiteX216" fmla="*/ 6945 w 10000"/>
                <a:gd name="connsiteY216" fmla="*/ 1331 h 10000"/>
                <a:gd name="connsiteX217" fmla="*/ 6967 w 10000"/>
                <a:gd name="connsiteY217" fmla="*/ 1362 h 10000"/>
                <a:gd name="connsiteX218" fmla="*/ 7194 w 10000"/>
                <a:gd name="connsiteY218" fmla="*/ 1611 h 10000"/>
                <a:gd name="connsiteX219" fmla="*/ 7367 w 10000"/>
                <a:gd name="connsiteY219" fmla="*/ 1507 h 10000"/>
                <a:gd name="connsiteX220" fmla="*/ 7582 w 10000"/>
                <a:gd name="connsiteY220" fmla="*/ 1538 h 10000"/>
                <a:gd name="connsiteX221" fmla="*/ 7657 w 10000"/>
                <a:gd name="connsiteY221" fmla="*/ 1611 h 10000"/>
                <a:gd name="connsiteX222" fmla="*/ 7928 w 10000"/>
                <a:gd name="connsiteY222" fmla="*/ 1930 h 10000"/>
                <a:gd name="connsiteX223" fmla="*/ 8231 w 10000"/>
                <a:gd name="connsiteY223" fmla="*/ 1879 h 10000"/>
                <a:gd name="connsiteX224" fmla="*/ 8339 w 10000"/>
                <a:gd name="connsiteY224" fmla="*/ 2033 h 10000"/>
                <a:gd name="connsiteX225" fmla="*/ 8490 w 10000"/>
                <a:gd name="connsiteY225" fmla="*/ 2157 h 10000"/>
                <a:gd name="connsiteX226" fmla="*/ 8519 w 10000"/>
                <a:gd name="connsiteY226" fmla="*/ 2105 h 10000"/>
                <a:gd name="connsiteX227" fmla="*/ 8497 w 10000"/>
                <a:gd name="connsiteY227" fmla="*/ 2074 h 10000"/>
                <a:gd name="connsiteX228" fmla="*/ 8383 w 10000"/>
                <a:gd name="connsiteY228" fmla="*/ 1930 h 10000"/>
                <a:gd name="connsiteX229" fmla="*/ 8465 w 10000"/>
                <a:gd name="connsiteY229" fmla="*/ 1755 h 10000"/>
                <a:gd name="connsiteX230" fmla="*/ 8664 w 10000"/>
                <a:gd name="connsiteY230" fmla="*/ 1910 h 10000"/>
                <a:gd name="connsiteX231" fmla="*/ 8950 w 10000"/>
                <a:gd name="connsiteY231" fmla="*/ 1982 h 10000"/>
                <a:gd name="connsiteX232" fmla="*/ 9206 w 10000"/>
                <a:gd name="connsiteY232" fmla="*/ 2260 h 10000"/>
                <a:gd name="connsiteX233" fmla="*/ 9344 w 10000"/>
                <a:gd name="connsiteY233" fmla="*/ 2332 h 10000"/>
                <a:gd name="connsiteX234" fmla="*/ 9451 w 10000"/>
                <a:gd name="connsiteY234" fmla="*/ 2446 h 10000"/>
                <a:gd name="connsiteX235" fmla="*/ 9574 w 10000"/>
                <a:gd name="connsiteY235" fmla="*/ 2632 h 10000"/>
                <a:gd name="connsiteX236" fmla="*/ 9631 w 10000"/>
                <a:gd name="connsiteY236" fmla="*/ 2756 h 10000"/>
                <a:gd name="connsiteX237" fmla="*/ 9726 w 10000"/>
                <a:gd name="connsiteY237" fmla="*/ 2787 h 10000"/>
                <a:gd name="connsiteX238" fmla="*/ 9590 w 10000"/>
                <a:gd name="connsiteY238" fmla="*/ 2570 h 10000"/>
                <a:gd name="connsiteX239" fmla="*/ 9915 w 10000"/>
                <a:gd name="connsiteY239" fmla="*/ 2756 h 10000"/>
                <a:gd name="connsiteX240" fmla="*/ 10000 w 10000"/>
                <a:gd name="connsiteY240" fmla="*/ 3014 h 10000"/>
                <a:gd name="connsiteX241" fmla="*/ 9934 w 10000"/>
                <a:gd name="connsiteY241" fmla="*/ 2941 h 10000"/>
                <a:gd name="connsiteX242" fmla="*/ 9874 w 10000"/>
                <a:gd name="connsiteY242" fmla="*/ 2952 h 10000"/>
                <a:gd name="connsiteX243" fmla="*/ 10000 w 10000"/>
                <a:gd name="connsiteY243" fmla="*/ 3292 h 10000"/>
                <a:gd name="connsiteX244" fmla="*/ 9845 w 10000"/>
                <a:gd name="connsiteY244" fmla="*/ 3220 h 10000"/>
                <a:gd name="connsiteX245" fmla="*/ 9745 w 10000"/>
                <a:gd name="connsiteY245" fmla="*/ 3075 h 10000"/>
                <a:gd name="connsiteX246" fmla="*/ 9641 w 10000"/>
                <a:gd name="connsiteY246" fmla="*/ 2972 h 10000"/>
                <a:gd name="connsiteX247" fmla="*/ 9555 w 10000"/>
                <a:gd name="connsiteY247" fmla="*/ 3003 h 10000"/>
                <a:gd name="connsiteX248" fmla="*/ 9470 w 10000"/>
                <a:gd name="connsiteY248" fmla="*/ 2787 h 10000"/>
                <a:gd name="connsiteX249" fmla="*/ 9366 w 10000"/>
                <a:gd name="connsiteY249" fmla="*/ 2725 h 10000"/>
                <a:gd name="connsiteX250" fmla="*/ 9461 w 10000"/>
                <a:gd name="connsiteY250" fmla="*/ 2972 h 10000"/>
                <a:gd name="connsiteX251" fmla="*/ 9470 w 10000"/>
                <a:gd name="connsiteY251" fmla="*/ 3230 h 10000"/>
                <a:gd name="connsiteX252" fmla="*/ 9288 w 10000"/>
                <a:gd name="connsiteY252" fmla="*/ 3065 h 10000"/>
                <a:gd name="connsiteX253" fmla="*/ 9262 w 10000"/>
                <a:gd name="connsiteY253" fmla="*/ 3230 h 10000"/>
                <a:gd name="connsiteX254" fmla="*/ 9363 w 10000"/>
                <a:gd name="connsiteY254" fmla="*/ 3230 h 10000"/>
                <a:gd name="connsiteX255" fmla="*/ 9451 w 10000"/>
                <a:gd name="connsiteY255" fmla="*/ 3354 h 10000"/>
                <a:gd name="connsiteX256" fmla="*/ 9659 w 10000"/>
                <a:gd name="connsiteY256" fmla="*/ 3685 h 10000"/>
                <a:gd name="connsiteX257" fmla="*/ 9735 w 10000"/>
                <a:gd name="connsiteY257" fmla="*/ 3839 h 10000"/>
                <a:gd name="connsiteX258" fmla="*/ 9552 w 10000"/>
                <a:gd name="connsiteY258" fmla="*/ 3757 h 10000"/>
                <a:gd name="connsiteX259" fmla="*/ 9451 w 10000"/>
                <a:gd name="connsiteY259" fmla="*/ 4025 h 10000"/>
                <a:gd name="connsiteX260" fmla="*/ 9385 w 10000"/>
                <a:gd name="connsiteY260" fmla="*/ 4283 h 10000"/>
                <a:gd name="connsiteX261" fmla="*/ 9376 w 10000"/>
                <a:gd name="connsiteY261" fmla="*/ 4499 h 10000"/>
                <a:gd name="connsiteX262" fmla="*/ 9335 w 10000"/>
                <a:gd name="connsiteY262" fmla="*/ 4303 h 10000"/>
                <a:gd name="connsiteX263" fmla="*/ 9149 w 10000"/>
                <a:gd name="connsiteY263" fmla="*/ 4314 h 10000"/>
                <a:gd name="connsiteX264" fmla="*/ 9155 w 10000"/>
                <a:gd name="connsiteY264" fmla="*/ 4531 h 10000"/>
                <a:gd name="connsiteX265" fmla="*/ 9061 w 10000"/>
                <a:gd name="connsiteY265" fmla="*/ 4365 h 10000"/>
                <a:gd name="connsiteX266" fmla="*/ 9054 w 10000"/>
                <a:gd name="connsiteY266" fmla="*/ 4521 h 10000"/>
                <a:gd name="connsiteX267" fmla="*/ 8998 w 10000"/>
                <a:gd name="connsiteY267" fmla="*/ 4458 h 10000"/>
                <a:gd name="connsiteX268" fmla="*/ 8966 w 10000"/>
                <a:gd name="connsiteY268" fmla="*/ 4562 h 10000"/>
                <a:gd name="connsiteX269" fmla="*/ 9007 w 10000"/>
                <a:gd name="connsiteY269" fmla="*/ 4686 h 10000"/>
                <a:gd name="connsiteX270" fmla="*/ 9004 w 10000"/>
                <a:gd name="connsiteY270" fmla="*/ 4995 h 10000"/>
                <a:gd name="connsiteX271" fmla="*/ 9073 w 10000"/>
                <a:gd name="connsiteY271" fmla="*/ 5211 h 10000"/>
                <a:gd name="connsiteX272" fmla="*/ 9130 w 10000"/>
                <a:gd name="connsiteY272" fmla="*/ 5150 h 10000"/>
                <a:gd name="connsiteX273" fmla="*/ 9158 w 10000"/>
                <a:gd name="connsiteY273" fmla="*/ 5211 h 10000"/>
                <a:gd name="connsiteX274" fmla="*/ 9231 w 10000"/>
                <a:gd name="connsiteY274" fmla="*/ 5428 h 10000"/>
                <a:gd name="connsiteX275" fmla="*/ 9215 w 10000"/>
                <a:gd name="connsiteY275" fmla="*/ 5604 h 10000"/>
                <a:gd name="connsiteX276" fmla="*/ 9221 w 10000"/>
                <a:gd name="connsiteY276" fmla="*/ 5769 h 10000"/>
                <a:gd name="connsiteX277" fmla="*/ 9269 w 10000"/>
                <a:gd name="connsiteY277" fmla="*/ 5883 h 10000"/>
                <a:gd name="connsiteX278" fmla="*/ 9344 w 10000"/>
                <a:gd name="connsiteY278" fmla="*/ 6068 h 10000"/>
                <a:gd name="connsiteX279" fmla="*/ 9269 w 10000"/>
                <a:gd name="connsiteY279" fmla="*/ 6068 h 10000"/>
                <a:gd name="connsiteX280" fmla="*/ 9253 w 10000"/>
                <a:gd name="connsiteY280" fmla="*/ 6223 h 10000"/>
                <a:gd name="connsiteX281" fmla="*/ 9319 w 10000"/>
                <a:gd name="connsiteY281" fmla="*/ 6408 h 10000"/>
                <a:gd name="connsiteX282" fmla="*/ 9250 w 10000"/>
                <a:gd name="connsiteY282" fmla="*/ 6502 h 10000"/>
                <a:gd name="connsiteX283" fmla="*/ 9297 w 10000"/>
                <a:gd name="connsiteY283" fmla="*/ 6729 h 10000"/>
                <a:gd name="connsiteX284" fmla="*/ 9281 w 10000"/>
                <a:gd name="connsiteY284" fmla="*/ 7069 h 10000"/>
                <a:gd name="connsiteX285" fmla="*/ 9061 w 10000"/>
                <a:gd name="connsiteY285" fmla="*/ 6408 h 10000"/>
                <a:gd name="connsiteX286" fmla="*/ 8824 w 10000"/>
                <a:gd name="connsiteY286" fmla="*/ 5759 h 10000"/>
                <a:gd name="connsiteX287" fmla="*/ 8771 w 10000"/>
                <a:gd name="connsiteY287" fmla="*/ 5459 h 10000"/>
                <a:gd name="connsiteX288" fmla="*/ 8768 w 10000"/>
                <a:gd name="connsiteY288" fmla="*/ 5211 h 10000"/>
                <a:gd name="connsiteX289" fmla="*/ 8692 w 10000"/>
                <a:gd name="connsiteY289" fmla="*/ 5047 h 10000"/>
                <a:gd name="connsiteX290" fmla="*/ 8771 w 10000"/>
                <a:gd name="connsiteY290" fmla="*/ 5088 h 10000"/>
                <a:gd name="connsiteX291" fmla="*/ 8809 w 10000"/>
                <a:gd name="connsiteY291" fmla="*/ 5108 h 10000"/>
                <a:gd name="connsiteX292" fmla="*/ 8809 w 10000"/>
                <a:gd name="connsiteY292" fmla="*/ 4840 h 10000"/>
                <a:gd name="connsiteX293" fmla="*/ 8827 w 10000"/>
                <a:gd name="connsiteY293" fmla="*/ 4437 h 10000"/>
                <a:gd name="connsiteX294" fmla="*/ 8853 w 10000"/>
                <a:gd name="connsiteY294" fmla="*/ 4252 h 10000"/>
                <a:gd name="connsiteX295" fmla="*/ 8909 w 10000"/>
                <a:gd name="connsiteY295" fmla="*/ 4221 h 10000"/>
                <a:gd name="connsiteX296" fmla="*/ 8786 w 10000"/>
                <a:gd name="connsiteY296" fmla="*/ 3901 h 10000"/>
                <a:gd name="connsiteX297" fmla="*/ 8853 w 10000"/>
                <a:gd name="connsiteY297" fmla="*/ 3839 h 10000"/>
                <a:gd name="connsiteX298" fmla="*/ 8739 w 10000"/>
                <a:gd name="connsiteY298" fmla="*/ 3788 h 10000"/>
                <a:gd name="connsiteX299" fmla="*/ 8755 w 10000"/>
                <a:gd name="connsiteY299" fmla="*/ 3984 h 10000"/>
                <a:gd name="connsiteX300" fmla="*/ 8692 w 10000"/>
                <a:gd name="connsiteY300" fmla="*/ 4303 h 10000"/>
                <a:gd name="connsiteX301" fmla="*/ 8604 w 10000"/>
                <a:gd name="connsiteY301" fmla="*/ 4210 h 10000"/>
                <a:gd name="connsiteX302" fmla="*/ 8550 w 10000"/>
                <a:gd name="connsiteY302" fmla="*/ 4056 h 10000"/>
                <a:gd name="connsiteX303" fmla="*/ 8481 w 10000"/>
                <a:gd name="connsiteY303" fmla="*/ 4138 h 10000"/>
                <a:gd name="connsiteX304" fmla="*/ 8389 w 10000"/>
                <a:gd name="connsiteY304" fmla="*/ 4107 h 10000"/>
                <a:gd name="connsiteX305" fmla="*/ 8352 w 10000"/>
                <a:gd name="connsiteY305" fmla="*/ 4406 h 10000"/>
                <a:gd name="connsiteX306" fmla="*/ 8481 w 10000"/>
                <a:gd name="connsiteY306" fmla="*/ 4655 h 10000"/>
                <a:gd name="connsiteX307" fmla="*/ 8405 w 10000"/>
                <a:gd name="connsiteY307" fmla="*/ 4830 h 10000"/>
                <a:gd name="connsiteX308" fmla="*/ 8225 w 10000"/>
                <a:gd name="connsiteY308" fmla="*/ 4799 h 10000"/>
                <a:gd name="connsiteX309" fmla="*/ 8209 w 10000"/>
                <a:gd name="connsiteY309" fmla="*/ 4655 h 10000"/>
                <a:gd name="connsiteX310" fmla="*/ 8102 w 10000"/>
                <a:gd name="connsiteY310" fmla="*/ 4634 h 10000"/>
                <a:gd name="connsiteX311" fmla="*/ 7641 w 10000"/>
                <a:gd name="connsiteY311" fmla="*/ 4779 h 10000"/>
                <a:gd name="connsiteX312" fmla="*/ 7610 w 10000"/>
                <a:gd name="connsiteY312" fmla="*/ 5005 h 10000"/>
                <a:gd name="connsiteX313" fmla="*/ 7550 w 10000"/>
                <a:gd name="connsiteY313" fmla="*/ 5666 h 10000"/>
                <a:gd name="connsiteX314" fmla="*/ 7496 w 10000"/>
                <a:gd name="connsiteY314" fmla="*/ 5965 h 10000"/>
                <a:gd name="connsiteX315" fmla="*/ 7701 w 10000"/>
                <a:gd name="connsiteY315" fmla="*/ 6161 h 10000"/>
                <a:gd name="connsiteX316" fmla="*/ 7745 w 10000"/>
                <a:gd name="connsiteY316" fmla="*/ 6243 h 10000"/>
                <a:gd name="connsiteX317" fmla="*/ 7771 w 10000"/>
                <a:gd name="connsiteY317" fmla="*/ 6285 h 10000"/>
                <a:gd name="connsiteX318" fmla="*/ 7793 w 10000"/>
                <a:gd name="connsiteY318" fmla="*/ 6068 h 10000"/>
                <a:gd name="connsiteX319" fmla="*/ 7912 w 10000"/>
                <a:gd name="connsiteY319" fmla="*/ 6089 h 10000"/>
                <a:gd name="connsiteX320" fmla="*/ 8004 w 10000"/>
                <a:gd name="connsiteY320" fmla="*/ 6367 h 10000"/>
                <a:gd name="connsiteX321" fmla="*/ 8064 w 10000"/>
                <a:gd name="connsiteY321" fmla="*/ 6616 h 10000"/>
                <a:gd name="connsiteX322" fmla="*/ 8111 w 10000"/>
                <a:gd name="connsiteY322" fmla="*/ 6781 h 10000"/>
                <a:gd name="connsiteX323" fmla="*/ 8048 w 10000"/>
                <a:gd name="connsiteY323" fmla="*/ 6491 h 10000"/>
                <a:gd name="connsiteX324" fmla="*/ 8124 w 10000"/>
                <a:gd name="connsiteY324" fmla="*/ 6336 h 10000"/>
                <a:gd name="connsiteX325" fmla="*/ 8177 w 10000"/>
                <a:gd name="connsiteY325" fmla="*/ 6512 h 10000"/>
                <a:gd name="connsiteX326" fmla="*/ 8300 w 10000"/>
                <a:gd name="connsiteY326" fmla="*/ 6987 h 10000"/>
                <a:gd name="connsiteX327" fmla="*/ 8361 w 10000"/>
                <a:gd name="connsiteY327" fmla="*/ 7152 h 10000"/>
                <a:gd name="connsiteX328" fmla="*/ 8490 w 10000"/>
                <a:gd name="connsiteY328" fmla="*/ 7482 h 10000"/>
                <a:gd name="connsiteX329" fmla="*/ 8604 w 10000"/>
                <a:gd name="connsiteY329" fmla="*/ 7854 h 10000"/>
                <a:gd name="connsiteX330" fmla="*/ 8474 w 10000"/>
                <a:gd name="connsiteY330" fmla="*/ 7647 h 10000"/>
                <a:gd name="connsiteX331" fmla="*/ 8443 w 10000"/>
                <a:gd name="connsiteY331" fmla="*/ 7678 h 10000"/>
                <a:gd name="connsiteX332" fmla="*/ 8512 w 10000"/>
                <a:gd name="connsiteY332" fmla="*/ 8050 h 10000"/>
                <a:gd name="connsiteX333" fmla="*/ 8588 w 10000"/>
                <a:gd name="connsiteY333" fmla="*/ 8266 h 10000"/>
                <a:gd name="connsiteX334" fmla="*/ 8642 w 10000"/>
                <a:gd name="connsiteY334" fmla="*/ 8472 h 10000"/>
                <a:gd name="connsiteX335" fmla="*/ 8566 w 10000"/>
                <a:gd name="connsiteY335" fmla="*/ 8421 h 10000"/>
                <a:gd name="connsiteX336" fmla="*/ 8556 w 10000"/>
                <a:gd name="connsiteY336" fmla="*/ 8669 h 10000"/>
                <a:gd name="connsiteX337" fmla="*/ 8497 w 10000"/>
                <a:gd name="connsiteY337" fmla="*/ 8493 h 10000"/>
                <a:gd name="connsiteX338" fmla="*/ 8481 w 10000"/>
                <a:gd name="connsiteY338" fmla="*/ 8421 h 10000"/>
                <a:gd name="connsiteX339" fmla="*/ 8361 w 10000"/>
                <a:gd name="connsiteY339" fmla="*/ 7751 h 10000"/>
                <a:gd name="connsiteX340" fmla="*/ 8322 w 10000"/>
                <a:gd name="connsiteY340" fmla="*/ 7524 h 10000"/>
                <a:gd name="connsiteX341" fmla="*/ 8291 w 10000"/>
                <a:gd name="connsiteY341" fmla="*/ 7378 h 10000"/>
                <a:gd name="connsiteX342" fmla="*/ 8275 w 10000"/>
                <a:gd name="connsiteY342" fmla="*/ 7306 h 10000"/>
                <a:gd name="connsiteX343" fmla="*/ 8139 w 10000"/>
                <a:gd name="connsiteY343" fmla="*/ 6863 h 10000"/>
                <a:gd name="connsiteX344" fmla="*/ 8199 w 10000"/>
                <a:gd name="connsiteY344" fmla="*/ 7451 h 10000"/>
                <a:gd name="connsiteX345" fmla="*/ 8247 w 10000"/>
                <a:gd name="connsiteY345" fmla="*/ 7998 h 10000"/>
                <a:gd name="connsiteX346" fmla="*/ 8177 w 10000"/>
                <a:gd name="connsiteY346" fmla="*/ 9133 h 10000"/>
                <a:gd name="connsiteX347" fmla="*/ 8124 w 10000"/>
                <a:gd name="connsiteY347" fmla="*/ 9484 h 10000"/>
                <a:gd name="connsiteX348" fmla="*/ 7972 w 10000"/>
                <a:gd name="connsiteY348" fmla="*/ 9432 h 10000"/>
                <a:gd name="connsiteX349" fmla="*/ 7897 w 10000"/>
                <a:gd name="connsiteY349" fmla="*/ 9660 h 10000"/>
                <a:gd name="connsiteX350" fmla="*/ 7868 w 10000"/>
                <a:gd name="connsiteY350" fmla="*/ 9588 h 10000"/>
                <a:gd name="connsiteX351" fmla="*/ 7884 w 10000"/>
                <a:gd name="connsiteY351" fmla="*/ 9536 h 10000"/>
                <a:gd name="connsiteX352" fmla="*/ 7897 w 10000"/>
                <a:gd name="connsiteY352" fmla="*/ 9380 h 10000"/>
                <a:gd name="connsiteX353" fmla="*/ 7884 w 10000"/>
                <a:gd name="connsiteY353" fmla="*/ 9236 h 10000"/>
                <a:gd name="connsiteX354" fmla="*/ 7793 w 10000"/>
                <a:gd name="connsiteY354" fmla="*/ 8865 h 10000"/>
                <a:gd name="connsiteX355" fmla="*/ 7831 w 10000"/>
                <a:gd name="connsiteY355" fmla="*/ 8741 h 10000"/>
                <a:gd name="connsiteX356" fmla="*/ 7928 w 10000"/>
                <a:gd name="connsiteY356" fmla="*/ 8844 h 10000"/>
                <a:gd name="connsiteX357" fmla="*/ 7912 w 10000"/>
                <a:gd name="connsiteY357" fmla="*/ 8318 h 10000"/>
                <a:gd name="connsiteX358" fmla="*/ 7906 w 10000"/>
                <a:gd name="connsiteY358" fmla="*/ 8019 h 10000"/>
                <a:gd name="connsiteX359" fmla="*/ 7846 w 10000"/>
                <a:gd name="connsiteY359" fmla="*/ 7802 h 10000"/>
                <a:gd name="connsiteX360" fmla="*/ 7723 w 10000"/>
                <a:gd name="connsiteY360" fmla="*/ 8050 h 10000"/>
                <a:gd name="connsiteX361" fmla="*/ 7619 w 10000"/>
                <a:gd name="connsiteY361" fmla="*/ 8019 h 10000"/>
                <a:gd name="connsiteX362" fmla="*/ 7528 w 10000"/>
                <a:gd name="connsiteY362" fmla="*/ 7699 h 10000"/>
                <a:gd name="connsiteX363" fmla="*/ 7355 w 10000"/>
                <a:gd name="connsiteY363" fmla="*/ 7482 h 10000"/>
                <a:gd name="connsiteX364" fmla="*/ 7279 w 10000"/>
                <a:gd name="connsiteY364" fmla="*/ 7482 h 10000"/>
                <a:gd name="connsiteX365" fmla="*/ 7080 w 10000"/>
                <a:gd name="connsiteY365" fmla="*/ 6781 h 10000"/>
                <a:gd name="connsiteX366" fmla="*/ 6901 w 10000"/>
                <a:gd name="connsiteY366" fmla="*/ 6460 h 10000"/>
                <a:gd name="connsiteX367" fmla="*/ 6724 w 10000"/>
                <a:gd name="connsiteY367" fmla="*/ 6336 h 10000"/>
                <a:gd name="connsiteX368" fmla="*/ 6583 w 10000"/>
                <a:gd name="connsiteY368" fmla="*/ 6408 h 10000"/>
                <a:gd name="connsiteX369" fmla="*/ 6567 w 10000"/>
                <a:gd name="connsiteY369" fmla="*/ 6585 h 10000"/>
                <a:gd name="connsiteX370" fmla="*/ 6664 w 10000"/>
                <a:gd name="connsiteY370" fmla="*/ 6760 h 10000"/>
                <a:gd name="connsiteX371" fmla="*/ 6636 w 10000"/>
                <a:gd name="connsiteY371" fmla="*/ 6935 h 10000"/>
                <a:gd name="connsiteX372" fmla="*/ 6636 w 10000"/>
                <a:gd name="connsiteY372" fmla="*/ 7399 h 10000"/>
                <a:gd name="connsiteX373" fmla="*/ 6560 w 10000"/>
                <a:gd name="connsiteY373" fmla="*/ 7482 h 10000"/>
                <a:gd name="connsiteX374" fmla="*/ 6485 w 10000"/>
                <a:gd name="connsiteY374" fmla="*/ 7378 h 10000"/>
                <a:gd name="connsiteX375" fmla="*/ 6400 w 10000"/>
                <a:gd name="connsiteY375" fmla="*/ 7399 h 10000"/>
                <a:gd name="connsiteX376" fmla="*/ 6334 w 10000"/>
                <a:gd name="connsiteY376" fmla="*/ 7275 h 10000"/>
                <a:gd name="connsiteX377" fmla="*/ 6258 w 10000"/>
                <a:gd name="connsiteY377" fmla="*/ 7358 h 10000"/>
                <a:gd name="connsiteX378" fmla="*/ 6220 w 10000"/>
                <a:gd name="connsiteY378" fmla="*/ 7524 h 10000"/>
                <a:gd name="connsiteX379" fmla="*/ 6081 w 10000"/>
                <a:gd name="connsiteY379" fmla="*/ 7606 h 10000"/>
                <a:gd name="connsiteX380" fmla="*/ 5892 w 10000"/>
                <a:gd name="connsiteY380" fmla="*/ 7575 h 10000"/>
                <a:gd name="connsiteX381" fmla="*/ 5855 w 10000"/>
                <a:gd name="connsiteY381" fmla="*/ 7327 h 10000"/>
                <a:gd name="connsiteX382" fmla="*/ 5643 w 10000"/>
                <a:gd name="connsiteY382" fmla="*/ 7255 h 10000"/>
                <a:gd name="connsiteX383" fmla="*/ 5539 w 10000"/>
                <a:gd name="connsiteY383" fmla="*/ 7358 h 10000"/>
                <a:gd name="connsiteX384" fmla="*/ 5416 w 10000"/>
                <a:gd name="connsiteY384" fmla="*/ 7203 h 10000"/>
                <a:gd name="connsiteX385" fmla="*/ 5372 w 10000"/>
                <a:gd name="connsiteY385"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2525 w 10000"/>
                <a:gd name="connsiteY21" fmla="*/ 6512 h 10000"/>
                <a:gd name="connsiteX22" fmla="*/ 1610 w 10000"/>
                <a:gd name="connsiteY22" fmla="*/ 7183 h 10000"/>
                <a:gd name="connsiteX23" fmla="*/ 1655 w 10000"/>
                <a:gd name="connsiteY23" fmla="*/ 7430 h 10000"/>
                <a:gd name="connsiteX24" fmla="*/ 1604 w 10000"/>
                <a:gd name="connsiteY24" fmla="*/ 7430 h 10000"/>
                <a:gd name="connsiteX25" fmla="*/ 1551 w 10000"/>
                <a:gd name="connsiteY25" fmla="*/ 7255 h 10000"/>
                <a:gd name="connsiteX26" fmla="*/ 1513 w 10000"/>
                <a:gd name="connsiteY26" fmla="*/ 7430 h 10000"/>
                <a:gd name="connsiteX27" fmla="*/ 1519 w 10000"/>
                <a:gd name="connsiteY27" fmla="*/ 7854 h 10000"/>
                <a:gd name="connsiteX28" fmla="*/ 1604 w 10000"/>
                <a:gd name="connsiteY28" fmla="*/ 8070 h 10000"/>
                <a:gd name="connsiteX29" fmla="*/ 1648 w 10000"/>
                <a:gd name="connsiteY29" fmla="*/ 8019 h 10000"/>
                <a:gd name="connsiteX30" fmla="*/ 1741 w 10000"/>
                <a:gd name="connsiteY30" fmla="*/ 8493 h 10000"/>
                <a:gd name="connsiteX31" fmla="*/ 1610 w 10000"/>
                <a:gd name="connsiteY31" fmla="*/ 8669 h 10000"/>
                <a:gd name="connsiteX32" fmla="*/ 1595 w 10000"/>
                <a:gd name="connsiteY32" fmla="*/ 9009 h 10000"/>
                <a:gd name="connsiteX33" fmla="*/ 1664 w 10000"/>
                <a:gd name="connsiteY33" fmla="*/ 9236 h 10000"/>
                <a:gd name="connsiteX34" fmla="*/ 1664 w 10000"/>
                <a:gd name="connsiteY34" fmla="*/ 9484 h 10000"/>
                <a:gd name="connsiteX35" fmla="*/ 1769 w 10000"/>
                <a:gd name="connsiteY35" fmla="*/ 9835 h 10000"/>
                <a:gd name="connsiteX36" fmla="*/ 1703 w 10000"/>
                <a:gd name="connsiteY36" fmla="*/ 10000 h 10000"/>
                <a:gd name="connsiteX37" fmla="*/ 1604 w 10000"/>
                <a:gd name="connsiteY37" fmla="*/ 9753 h 10000"/>
                <a:gd name="connsiteX38" fmla="*/ 1465 w 10000"/>
                <a:gd name="connsiteY38" fmla="*/ 9505 h 10000"/>
                <a:gd name="connsiteX39" fmla="*/ 1406 w 10000"/>
                <a:gd name="connsiteY39" fmla="*/ 9588 h 10000"/>
                <a:gd name="connsiteX40" fmla="*/ 1308 w 10000"/>
                <a:gd name="connsiteY40" fmla="*/ 9380 h 10000"/>
                <a:gd name="connsiteX41" fmla="*/ 1097 w 10000"/>
                <a:gd name="connsiteY41" fmla="*/ 9339 h 10000"/>
                <a:gd name="connsiteX42" fmla="*/ 848 w 10000"/>
                <a:gd name="connsiteY42" fmla="*/ 8813 h 10000"/>
                <a:gd name="connsiteX43" fmla="*/ 914 w 10000"/>
                <a:gd name="connsiteY43" fmla="*/ 8721 h 10000"/>
                <a:gd name="connsiteX44" fmla="*/ 961 w 10000"/>
                <a:gd name="connsiteY44" fmla="*/ 8493 h 10000"/>
                <a:gd name="connsiteX45" fmla="*/ 908 w 10000"/>
                <a:gd name="connsiteY45" fmla="*/ 8390 h 10000"/>
                <a:gd name="connsiteX46" fmla="*/ 1021 w 10000"/>
                <a:gd name="connsiteY46" fmla="*/ 8245 h 10000"/>
                <a:gd name="connsiteX47" fmla="*/ 945 w 10000"/>
                <a:gd name="connsiteY47" fmla="*/ 8194 h 10000"/>
                <a:gd name="connsiteX48" fmla="*/ 958 w 10000"/>
                <a:gd name="connsiteY48" fmla="*/ 8091 h 10000"/>
                <a:gd name="connsiteX49" fmla="*/ 1005 w 10000"/>
                <a:gd name="connsiteY49" fmla="*/ 8111 h 10000"/>
                <a:gd name="connsiteX50" fmla="*/ 1059 w 10000"/>
                <a:gd name="connsiteY50" fmla="*/ 8019 h 10000"/>
                <a:gd name="connsiteX51" fmla="*/ 1034 w 10000"/>
                <a:gd name="connsiteY51" fmla="*/ 7864 h 10000"/>
                <a:gd name="connsiteX52" fmla="*/ 1043 w 10000"/>
                <a:gd name="connsiteY52" fmla="*/ 7503 h 10000"/>
                <a:gd name="connsiteX53" fmla="*/ 930 w 10000"/>
                <a:gd name="connsiteY53" fmla="*/ 7440 h 10000"/>
                <a:gd name="connsiteX54" fmla="*/ 832 w 10000"/>
                <a:gd name="connsiteY54" fmla="*/ 7286 h 10000"/>
                <a:gd name="connsiteX55" fmla="*/ 700 w 10000"/>
                <a:gd name="connsiteY55" fmla="*/ 7275 h 10000"/>
                <a:gd name="connsiteX56" fmla="*/ 684 w 10000"/>
                <a:gd name="connsiteY56" fmla="*/ 7090 h 10000"/>
                <a:gd name="connsiteX57" fmla="*/ 596 w 10000"/>
                <a:gd name="connsiteY57" fmla="*/ 6945 h 10000"/>
                <a:gd name="connsiteX58" fmla="*/ 615 w 10000"/>
                <a:gd name="connsiteY58" fmla="*/ 6822 h 10000"/>
                <a:gd name="connsiteX59" fmla="*/ 561 w 10000"/>
                <a:gd name="connsiteY59" fmla="*/ 6698 h 10000"/>
                <a:gd name="connsiteX60" fmla="*/ 457 w 10000"/>
                <a:gd name="connsiteY60" fmla="*/ 6698 h 10000"/>
                <a:gd name="connsiteX61" fmla="*/ 425 w 10000"/>
                <a:gd name="connsiteY61" fmla="*/ 6791 h 10000"/>
                <a:gd name="connsiteX62" fmla="*/ 400 w 10000"/>
                <a:gd name="connsiteY62" fmla="*/ 6750 h 10000"/>
                <a:gd name="connsiteX63" fmla="*/ 378 w 10000"/>
                <a:gd name="connsiteY63" fmla="*/ 6439 h 10000"/>
                <a:gd name="connsiteX64" fmla="*/ 419 w 10000"/>
                <a:gd name="connsiteY64" fmla="*/ 6470 h 10000"/>
                <a:gd name="connsiteX65" fmla="*/ 466 w 10000"/>
                <a:gd name="connsiteY65" fmla="*/ 6347 h 10000"/>
                <a:gd name="connsiteX66" fmla="*/ 400 w 10000"/>
                <a:gd name="connsiteY66" fmla="*/ 6233 h 10000"/>
                <a:gd name="connsiteX67" fmla="*/ 315 w 10000"/>
                <a:gd name="connsiteY67" fmla="*/ 6017 h 10000"/>
                <a:gd name="connsiteX68" fmla="*/ 334 w 10000"/>
                <a:gd name="connsiteY68" fmla="*/ 5821 h 10000"/>
                <a:gd name="connsiteX69" fmla="*/ 274 w 10000"/>
                <a:gd name="connsiteY69" fmla="*/ 5697 h 10000"/>
                <a:gd name="connsiteX70" fmla="*/ 227 w 10000"/>
                <a:gd name="connsiteY70" fmla="*/ 5728 h 10000"/>
                <a:gd name="connsiteX71" fmla="*/ 202 w 10000"/>
                <a:gd name="connsiteY71" fmla="*/ 5604 h 10000"/>
                <a:gd name="connsiteX72" fmla="*/ 164 w 10000"/>
                <a:gd name="connsiteY72" fmla="*/ 5645 h 10000"/>
                <a:gd name="connsiteX73" fmla="*/ 117 w 10000"/>
                <a:gd name="connsiteY73" fmla="*/ 5604 h 10000"/>
                <a:gd name="connsiteX74" fmla="*/ 69 w 10000"/>
                <a:gd name="connsiteY74" fmla="*/ 5181 h 10000"/>
                <a:gd name="connsiteX75" fmla="*/ 85 w 10000"/>
                <a:gd name="connsiteY75" fmla="*/ 5057 h 10000"/>
                <a:gd name="connsiteX76" fmla="*/ 41 w 10000"/>
                <a:gd name="connsiteY76" fmla="*/ 4892 h 10000"/>
                <a:gd name="connsiteX77" fmla="*/ 66 w 10000"/>
                <a:gd name="connsiteY77" fmla="*/ 4655 h 10000"/>
                <a:gd name="connsiteX78" fmla="*/ 211 w 10000"/>
                <a:gd name="connsiteY78" fmla="*/ 4510 h 10000"/>
                <a:gd name="connsiteX79" fmla="*/ 129 w 10000"/>
                <a:gd name="connsiteY79" fmla="*/ 4406 h 10000"/>
                <a:gd name="connsiteX80" fmla="*/ 82 w 10000"/>
                <a:gd name="connsiteY80" fmla="*/ 4283 h 10000"/>
                <a:gd name="connsiteX81" fmla="*/ 205 w 10000"/>
                <a:gd name="connsiteY81" fmla="*/ 3912 h 10000"/>
                <a:gd name="connsiteX82" fmla="*/ 249 w 10000"/>
                <a:gd name="connsiteY82" fmla="*/ 3664 h 10000"/>
                <a:gd name="connsiteX83" fmla="*/ 151 w 10000"/>
                <a:gd name="connsiteY83" fmla="*/ 3488 h 10000"/>
                <a:gd name="connsiteX84" fmla="*/ 189 w 10000"/>
                <a:gd name="connsiteY84" fmla="*/ 3344 h 10000"/>
                <a:gd name="connsiteX85" fmla="*/ 113 w 10000"/>
                <a:gd name="connsiteY85" fmla="*/ 3148 h 10000"/>
                <a:gd name="connsiteX86" fmla="*/ 113 w 10000"/>
                <a:gd name="connsiteY86" fmla="*/ 2972 h 10000"/>
                <a:gd name="connsiteX87" fmla="*/ 60 w 10000"/>
                <a:gd name="connsiteY87" fmla="*/ 2622 h 10000"/>
                <a:gd name="connsiteX88" fmla="*/ 98 w 10000"/>
                <a:gd name="connsiteY88" fmla="*/ 2404 h 10000"/>
                <a:gd name="connsiteX89" fmla="*/ 38 w 10000"/>
                <a:gd name="connsiteY89" fmla="*/ 2301 h 10000"/>
                <a:gd name="connsiteX90" fmla="*/ 0 w 10000"/>
                <a:gd name="connsiteY90" fmla="*/ 2178 h 10000"/>
                <a:gd name="connsiteX91" fmla="*/ 54 w 10000"/>
                <a:gd name="connsiteY91" fmla="*/ 1951 h 10000"/>
                <a:gd name="connsiteX92" fmla="*/ 120 w 10000"/>
                <a:gd name="connsiteY92" fmla="*/ 1910 h 10000"/>
                <a:gd name="connsiteX93" fmla="*/ 195 w 10000"/>
                <a:gd name="connsiteY93" fmla="*/ 1858 h 10000"/>
                <a:gd name="connsiteX94" fmla="*/ 309 w 10000"/>
                <a:gd name="connsiteY94" fmla="*/ 1951 h 10000"/>
                <a:gd name="connsiteX95" fmla="*/ 482 w 10000"/>
                <a:gd name="connsiteY95" fmla="*/ 2054 h 10000"/>
                <a:gd name="connsiteX96" fmla="*/ 633 w 10000"/>
                <a:gd name="connsiteY96" fmla="*/ 2229 h 10000"/>
                <a:gd name="connsiteX97" fmla="*/ 756 w 10000"/>
                <a:gd name="connsiteY97" fmla="*/ 2373 h 10000"/>
                <a:gd name="connsiteX98" fmla="*/ 725 w 10000"/>
                <a:gd name="connsiteY98" fmla="*/ 2777 h 10000"/>
                <a:gd name="connsiteX99" fmla="*/ 362 w 10000"/>
                <a:gd name="connsiteY99" fmla="*/ 2673 h 10000"/>
                <a:gd name="connsiteX100" fmla="*/ 243 w 10000"/>
                <a:gd name="connsiteY100" fmla="*/ 2550 h 10000"/>
                <a:gd name="connsiteX101" fmla="*/ 287 w 10000"/>
                <a:gd name="connsiteY101" fmla="*/ 2622 h 10000"/>
                <a:gd name="connsiteX102" fmla="*/ 331 w 10000"/>
                <a:gd name="connsiteY102" fmla="*/ 2797 h 10000"/>
                <a:gd name="connsiteX103" fmla="*/ 400 w 10000"/>
                <a:gd name="connsiteY103" fmla="*/ 2921 h 10000"/>
                <a:gd name="connsiteX104" fmla="*/ 416 w 10000"/>
                <a:gd name="connsiteY104" fmla="*/ 3189 h 10000"/>
                <a:gd name="connsiteX105" fmla="*/ 507 w 10000"/>
                <a:gd name="connsiteY105" fmla="*/ 3313 h 10000"/>
                <a:gd name="connsiteX106" fmla="*/ 583 w 10000"/>
                <a:gd name="connsiteY106" fmla="*/ 3436 h 10000"/>
                <a:gd name="connsiteX107" fmla="*/ 605 w 10000"/>
                <a:gd name="connsiteY107" fmla="*/ 3467 h 10000"/>
                <a:gd name="connsiteX108" fmla="*/ 649 w 10000"/>
                <a:gd name="connsiteY108" fmla="*/ 3436 h 10000"/>
                <a:gd name="connsiteX109" fmla="*/ 633 w 10000"/>
                <a:gd name="connsiteY109" fmla="*/ 3364 h 10000"/>
                <a:gd name="connsiteX110" fmla="*/ 545 w 10000"/>
                <a:gd name="connsiteY110" fmla="*/ 3189 h 10000"/>
                <a:gd name="connsiteX111" fmla="*/ 801 w 10000"/>
                <a:gd name="connsiteY111" fmla="*/ 3344 h 10000"/>
                <a:gd name="connsiteX112" fmla="*/ 810 w 10000"/>
                <a:gd name="connsiteY112" fmla="*/ 3271 h 10000"/>
                <a:gd name="connsiteX113" fmla="*/ 785 w 10000"/>
                <a:gd name="connsiteY113" fmla="*/ 3220 h 10000"/>
                <a:gd name="connsiteX114" fmla="*/ 741 w 10000"/>
                <a:gd name="connsiteY114" fmla="*/ 2993 h 10000"/>
                <a:gd name="connsiteX115" fmla="*/ 870 w 10000"/>
                <a:gd name="connsiteY115" fmla="*/ 2777 h 10000"/>
                <a:gd name="connsiteX116" fmla="*/ 968 w 10000"/>
                <a:gd name="connsiteY116" fmla="*/ 2921 h 10000"/>
                <a:gd name="connsiteX117" fmla="*/ 999 w 10000"/>
                <a:gd name="connsiteY117" fmla="*/ 2725 h 10000"/>
                <a:gd name="connsiteX118" fmla="*/ 952 w 10000"/>
                <a:gd name="connsiteY118" fmla="*/ 2653 h 10000"/>
                <a:gd name="connsiteX119" fmla="*/ 936 w 10000"/>
                <a:gd name="connsiteY119" fmla="*/ 2281 h 10000"/>
                <a:gd name="connsiteX120" fmla="*/ 914 w 10000"/>
                <a:gd name="connsiteY120" fmla="*/ 2229 h 10000"/>
                <a:gd name="connsiteX121" fmla="*/ 1037 w 10000"/>
                <a:gd name="connsiteY121" fmla="*/ 2250 h 10000"/>
                <a:gd name="connsiteX122" fmla="*/ 1087 w 10000"/>
                <a:gd name="connsiteY122" fmla="*/ 2404 h 10000"/>
                <a:gd name="connsiteX123" fmla="*/ 1021 w 10000"/>
                <a:gd name="connsiteY123" fmla="*/ 2529 h 10000"/>
                <a:gd name="connsiteX124" fmla="*/ 1135 w 10000"/>
                <a:gd name="connsiteY124" fmla="*/ 2694 h 10000"/>
                <a:gd name="connsiteX125" fmla="*/ 1226 w 10000"/>
                <a:gd name="connsiteY125" fmla="*/ 2529 h 10000"/>
                <a:gd name="connsiteX126" fmla="*/ 1339 w 10000"/>
                <a:gd name="connsiteY126" fmla="*/ 2301 h 10000"/>
                <a:gd name="connsiteX127" fmla="*/ 1459 w 10000"/>
                <a:gd name="connsiteY127" fmla="*/ 2157 h 10000"/>
                <a:gd name="connsiteX128" fmla="*/ 1497 w 10000"/>
                <a:gd name="connsiteY128" fmla="*/ 2250 h 10000"/>
                <a:gd name="connsiteX129" fmla="*/ 1807 w 10000"/>
                <a:gd name="connsiteY129" fmla="*/ 2054 h 10000"/>
                <a:gd name="connsiteX130" fmla="*/ 1870 w 10000"/>
                <a:gd name="connsiteY130" fmla="*/ 2250 h 10000"/>
                <a:gd name="connsiteX131" fmla="*/ 1860 w 10000"/>
                <a:gd name="connsiteY131" fmla="*/ 2002 h 10000"/>
                <a:gd name="connsiteX132" fmla="*/ 1778 w 10000"/>
                <a:gd name="connsiteY132" fmla="*/ 1786 h 10000"/>
                <a:gd name="connsiteX133" fmla="*/ 1763 w 10000"/>
                <a:gd name="connsiteY133" fmla="*/ 1703 h 10000"/>
                <a:gd name="connsiteX134" fmla="*/ 1823 w 10000"/>
                <a:gd name="connsiteY134" fmla="*/ 1786 h 10000"/>
                <a:gd name="connsiteX135" fmla="*/ 2034 w 10000"/>
                <a:gd name="connsiteY135" fmla="*/ 1951 h 10000"/>
                <a:gd name="connsiteX136" fmla="*/ 2270 w 10000"/>
                <a:gd name="connsiteY136" fmla="*/ 2126 h 10000"/>
                <a:gd name="connsiteX137" fmla="*/ 2384 w 10000"/>
                <a:gd name="connsiteY137" fmla="*/ 2250 h 10000"/>
                <a:gd name="connsiteX138" fmla="*/ 2421 w 10000"/>
                <a:gd name="connsiteY138" fmla="*/ 2074 h 10000"/>
                <a:gd name="connsiteX139" fmla="*/ 2368 w 10000"/>
                <a:gd name="connsiteY139" fmla="*/ 2033 h 10000"/>
                <a:gd name="connsiteX140" fmla="*/ 2299 w 10000"/>
                <a:gd name="connsiteY140" fmla="*/ 1930 h 10000"/>
                <a:gd name="connsiteX141" fmla="*/ 2254 w 10000"/>
                <a:gd name="connsiteY141" fmla="*/ 1734 h 10000"/>
                <a:gd name="connsiteX142" fmla="*/ 2185 w 10000"/>
                <a:gd name="connsiteY142" fmla="*/ 1486 h 10000"/>
                <a:gd name="connsiteX143" fmla="*/ 2210 w 10000"/>
                <a:gd name="connsiteY143" fmla="*/ 1434 h 10000"/>
                <a:gd name="connsiteX144" fmla="*/ 2232 w 10000"/>
                <a:gd name="connsiteY144" fmla="*/ 1455 h 10000"/>
                <a:gd name="connsiteX145" fmla="*/ 2292 w 10000"/>
                <a:gd name="connsiteY145" fmla="*/ 1115 h 10000"/>
                <a:gd name="connsiteX146" fmla="*/ 2443 w 10000"/>
                <a:gd name="connsiteY146" fmla="*/ 1135 h 10000"/>
                <a:gd name="connsiteX147" fmla="*/ 2488 w 10000"/>
                <a:gd name="connsiteY147" fmla="*/ 1311 h 10000"/>
                <a:gd name="connsiteX148" fmla="*/ 2519 w 10000"/>
                <a:gd name="connsiteY148" fmla="*/ 1538 h 10000"/>
                <a:gd name="connsiteX149" fmla="*/ 2573 w 10000"/>
                <a:gd name="connsiteY149" fmla="*/ 1734 h 10000"/>
                <a:gd name="connsiteX150" fmla="*/ 2670 w 10000"/>
                <a:gd name="connsiteY150" fmla="*/ 2157 h 10000"/>
                <a:gd name="connsiteX151" fmla="*/ 2481 w 10000"/>
                <a:gd name="connsiteY151" fmla="*/ 2673 h 10000"/>
                <a:gd name="connsiteX152" fmla="*/ 2557 w 10000"/>
                <a:gd name="connsiteY152" fmla="*/ 2746 h 10000"/>
                <a:gd name="connsiteX153" fmla="*/ 2655 w 10000"/>
                <a:gd name="connsiteY153" fmla="*/ 2818 h 10000"/>
                <a:gd name="connsiteX154" fmla="*/ 2784 w 10000"/>
                <a:gd name="connsiteY154" fmla="*/ 2622 h 10000"/>
                <a:gd name="connsiteX155" fmla="*/ 2790 w 10000"/>
                <a:gd name="connsiteY155" fmla="*/ 2404 h 10000"/>
                <a:gd name="connsiteX156" fmla="*/ 2746 w 10000"/>
                <a:gd name="connsiteY156" fmla="*/ 2301 h 10000"/>
                <a:gd name="connsiteX157" fmla="*/ 2919 w 10000"/>
                <a:gd name="connsiteY157" fmla="*/ 2250 h 10000"/>
                <a:gd name="connsiteX158" fmla="*/ 2989 w 10000"/>
                <a:gd name="connsiteY158" fmla="*/ 2497 h 10000"/>
                <a:gd name="connsiteX159" fmla="*/ 2989 w 10000"/>
                <a:gd name="connsiteY159" fmla="*/ 2425 h 10000"/>
                <a:gd name="connsiteX160" fmla="*/ 2973 w 10000"/>
                <a:gd name="connsiteY160" fmla="*/ 2353 h 10000"/>
                <a:gd name="connsiteX161" fmla="*/ 2967 w 10000"/>
                <a:gd name="connsiteY161" fmla="*/ 2178 h 10000"/>
                <a:gd name="connsiteX162" fmla="*/ 2800 w 10000"/>
                <a:gd name="connsiteY162" fmla="*/ 1930 h 10000"/>
                <a:gd name="connsiteX163" fmla="*/ 2670 w 10000"/>
                <a:gd name="connsiteY163" fmla="*/ 2002 h 10000"/>
                <a:gd name="connsiteX164" fmla="*/ 2617 w 10000"/>
                <a:gd name="connsiteY164" fmla="*/ 1683 h 10000"/>
                <a:gd name="connsiteX165" fmla="*/ 2563 w 10000"/>
                <a:gd name="connsiteY165" fmla="*/ 1507 h 10000"/>
                <a:gd name="connsiteX166" fmla="*/ 2617 w 10000"/>
                <a:gd name="connsiteY166" fmla="*/ 1331 h 10000"/>
                <a:gd name="connsiteX167" fmla="*/ 2611 w 10000"/>
                <a:gd name="connsiteY167" fmla="*/ 1166 h 10000"/>
                <a:gd name="connsiteX168" fmla="*/ 2588 w 10000"/>
                <a:gd name="connsiteY168" fmla="*/ 1115 h 10000"/>
                <a:gd name="connsiteX169" fmla="*/ 2626 w 10000"/>
                <a:gd name="connsiteY169" fmla="*/ 1115 h 10000"/>
                <a:gd name="connsiteX170" fmla="*/ 2670 w 10000"/>
                <a:gd name="connsiteY170" fmla="*/ 1455 h 10000"/>
                <a:gd name="connsiteX171" fmla="*/ 2891 w 10000"/>
                <a:gd name="connsiteY171" fmla="*/ 1662 h 10000"/>
                <a:gd name="connsiteX172" fmla="*/ 2724 w 10000"/>
                <a:gd name="connsiteY172" fmla="*/ 1383 h 10000"/>
                <a:gd name="connsiteX173" fmla="*/ 3049 w 10000"/>
                <a:gd name="connsiteY173" fmla="*/ 1383 h 10000"/>
                <a:gd name="connsiteX174" fmla="*/ 3102 w 10000"/>
                <a:gd name="connsiteY174" fmla="*/ 1362 h 10000"/>
                <a:gd name="connsiteX175" fmla="*/ 2897 w 10000"/>
                <a:gd name="connsiteY175" fmla="*/ 1115 h 10000"/>
                <a:gd name="connsiteX176" fmla="*/ 2951 w 10000"/>
                <a:gd name="connsiteY176" fmla="*/ 888 h 10000"/>
                <a:gd name="connsiteX177" fmla="*/ 3178 w 10000"/>
                <a:gd name="connsiteY177" fmla="*/ 888 h 10000"/>
                <a:gd name="connsiteX178" fmla="*/ 3156 w 10000"/>
                <a:gd name="connsiteY178" fmla="*/ 713 h 10000"/>
                <a:gd name="connsiteX179" fmla="*/ 3231 w 10000"/>
                <a:gd name="connsiteY179" fmla="*/ 589 h 10000"/>
                <a:gd name="connsiteX180" fmla="*/ 3276 w 10000"/>
                <a:gd name="connsiteY180" fmla="*/ 548 h 10000"/>
                <a:gd name="connsiteX181" fmla="*/ 3443 w 10000"/>
                <a:gd name="connsiteY181" fmla="*/ 423 h 10000"/>
                <a:gd name="connsiteX182" fmla="*/ 3487 w 10000"/>
                <a:gd name="connsiteY182" fmla="*/ 371 h 10000"/>
                <a:gd name="connsiteX183" fmla="*/ 3480 w 10000"/>
                <a:gd name="connsiteY183" fmla="*/ 444 h 10000"/>
                <a:gd name="connsiteX184" fmla="*/ 3660 w 10000"/>
                <a:gd name="connsiteY184" fmla="*/ 371 h 10000"/>
                <a:gd name="connsiteX185" fmla="*/ 3805 w 10000"/>
                <a:gd name="connsiteY185" fmla="*/ 248 h 10000"/>
                <a:gd name="connsiteX186" fmla="*/ 3827 w 10000"/>
                <a:gd name="connsiteY186" fmla="*/ 0 h 10000"/>
                <a:gd name="connsiteX187" fmla="*/ 3988 w 10000"/>
                <a:gd name="connsiteY187" fmla="*/ 21 h 10000"/>
                <a:gd name="connsiteX188" fmla="*/ 3978 w 10000"/>
                <a:gd name="connsiteY188" fmla="*/ 93 h 10000"/>
                <a:gd name="connsiteX189" fmla="*/ 3988 w 10000"/>
                <a:gd name="connsiteY189" fmla="*/ 176 h 10000"/>
                <a:gd name="connsiteX190" fmla="*/ 4085 w 10000"/>
                <a:gd name="connsiteY190" fmla="*/ 248 h 10000"/>
                <a:gd name="connsiteX191" fmla="*/ 4379 w 10000"/>
                <a:gd name="connsiteY191" fmla="*/ 268 h 10000"/>
                <a:gd name="connsiteX192" fmla="*/ 4539 w 10000"/>
                <a:gd name="connsiteY192" fmla="*/ 392 h 10000"/>
                <a:gd name="connsiteX193" fmla="*/ 4486 w 10000"/>
                <a:gd name="connsiteY193" fmla="*/ 795 h 10000"/>
                <a:gd name="connsiteX194" fmla="*/ 4426 w 10000"/>
                <a:gd name="connsiteY194" fmla="*/ 919 h 10000"/>
                <a:gd name="connsiteX195" fmla="*/ 4356 w 10000"/>
                <a:gd name="connsiteY195" fmla="*/ 1043 h 10000"/>
                <a:gd name="connsiteX196" fmla="*/ 4372 w 10000"/>
                <a:gd name="connsiteY196" fmla="*/ 1115 h 10000"/>
                <a:gd name="connsiteX197" fmla="*/ 4583 w 10000"/>
                <a:gd name="connsiteY197" fmla="*/ 919 h 10000"/>
                <a:gd name="connsiteX198" fmla="*/ 5060 w 10000"/>
                <a:gd name="connsiteY198" fmla="*/ 991 h 10000"/>
                <a:gd name="connsiteX199" fmla="*/ 5108 w 10000"/>
                <a:gd name="connsiteY199" fmla="*/ 1063 h 10000"/>
                <a:gd name="connsiteX200" fmla="*/ 5212 w 10000"/>
                <a:gd name="connsiteY200" fmla="*/ 1187 h 10000"/>
                <a:gd name="connsiteX201" fmla="*/ 5357 w 10000"/>
                <a:gd name="connsiteY201" fmla="*/ 919 h 10000"/>
                <a:gd name="connsiteX202" fmla="*/ 5577 w 10000"/>
                <a:gd name="connsiteY202" fmla="*/ 1063 h 10000"/>
                <a:gd name="connsiteX203" fmla="*/ 5643 w 10000"/>
                <a:gd name="connsiteY203" fmla="*/ 1115 h 10000"/>
                <a:gd name="connsiteX204" fmla="*/ 5697 w 10000"/>
                <a:gd name="connsiteY204" fmla="*/ 1166 h 10000"/>
                <a:gd name="connsiteX205" fmla="*/ 5908 w 10000"/>
                <a:gd name="connsiteY205" fmla="*/ 1631 h 10000"/>
                <a:gd name="connsiteX206" fmla="*/ 5984 w 10000"/>
                <a:gd name="connsiteY206" fmla="*/ 1611 h 10000"/>
                <a:gd name="connsiteX207" fmla="*/ 5977 w 10000"/>
                <a:gd name="connsiteY207" fmla="*/ 1507 h 10000"/>
                <a:gd name="connsiteX208" fmla="*/ 5984 w 10000"/>
                <a:gd name="connsiteY208" fmla="*/ 1383 h 10000"/>
                <a:gd name="connsiteX209" fmla="*/ 6091 w 10000"/>
                <a:gd name="connsiteY209" fmla="*/ 1486 h 10000"/>
                <a:gd name="connsiteX210" fmla="*/ 6264 w 10000"/>
                <a:gd name="connsiteY210" fmla="*/ 1507 h 10000"/>
                <a:gd name="connsiteX211" fmla="*/ 6409 w 10000"/>
                <a:gd name="connsiteY211" fmla="*/ 1455 h 10000"/>
                <a:gd name="connsiteX212" fmla="*/ 6340 w 10000"/>
                <a:gd name="connsiteY212" fmla="*/ 1362 h 10000"/>
                <a:gd name="connsiteX213" fmla="*/ 6431 w 10000"/>
                <a:gd name="connsiteY213" fmla="*/ 1084 h 10000"/>
                <a:gd name="connsiteX214" fmla="*/ 6687 w 10000"/>
                <a:gd name="connsiteY214" fmla="*/ 1207 h 10000"/>
                <a:gd name="connsiteX215" fmla="*/ 6945 w 10000"/>
                <a:gd name="connsiteY215" fmla="*/ 1331 h 10000"/>
                <a:gd name="connsiteX216" fmla="*/ 6967 w 10000"/>
                <a:gd name="connsiteY216" fmla="*/ 1362 h 10000"/>
                <a:gd name="connsiteX217" fmla="*/ 7194 w 10000"/>
                <a:gd name="connsiteY217" fmla="*/ 1611 h 10000"/>
                <a:gd name="connsiteX218" fmla="*/ 7367 w 10000"/>
                <a:gd name="connsiteY218" fmla="*/ 1507 h 10000"/>
                <a:gd name="connsiteX219" fmla="*/ 7582 w 10000"/>
                <a:gd name="connsiteY219" fmla="*/ 1538 h 10000"/>
                <a:gd name="connsiteX220" fmla="*/ 7657 w 10000"/>
                <a:gd name="connsiteY220" fmla="*/ 1611 h 10000"/>
                <a:gd name="connsiteX221" fmla="*/ 7928 w 10000"/>
                <a:gd name="connsiteY221" fmla="*/ 1930 h 10000"/>
                <a:gd name="connsiteX222" fmla="*/ 8231 w 10000"/>
                <a:gd name="connsiteY222" fmla="*/ 1879 h 10000"/>
                <a:gd name="connsiteX223" fmla="*/ 8339 w 10000"/>
                <a:gd name="connsiteY223" fmla="*/ 2033 h 10000"/>
                <a:gd name="connsiteX224" fmla="*/ 8490 w 10000"/>
                <a:gd name="connsiteY224" fmla="*/ 2157 h 10000"/>
                <a:gd name="connsiteX225" fmla="*/ 8519 w 10000"/>
                <a:gd name="connsiteY225" fmla="*/ 2105 h 10000"/>
                <a:gd name="connsiteX226" fmla="*/ 8497 w 10000"/>
                <a:gd name="connsiteY226" fmla="*/ 2074 h 10000"/>
                <a:gd name="connsiteX227" fmla="*/ 8383 w 10000"/>
                <a:gd name="connsiteY227" fmla="*/ 1930 h 10000"/>
                <a:gd name="connsiteX228" fmla="*/ 8465 w 10000"/>
                <a:gd name="connsiteY228" fmla="*/ 1755 h 10000"/>
                <a:gd name="connsiteX229" fmla="*/ 8664 w 10000"/>
                <a:gd name="connsiteY229" fmla="*/ 1910 h 10000"/>
                <a:gd name="connsiteX230" fmla="*/ 8950 w 10000"/>
                <a:gd name="connsiteY230" fmla="*/ 1982 h 10000"/>
                <a:gd name="connsiteX231" fmla="*/ 9206 w 10000"/>
                <a:gd name="connsiteY231" fmla="*/ 2260 h 10000"/>
                <a:gd name="connsiteX232" fmla="*/ 9344 w 10000"/>
                <a:gd name="connsiteY232" fmla="*/ 2332 h 10000"/>
                <a:gd name="connsiteX233" fmla="*/ 9451 w 10000"/>
                <a:gd name="connsiteY233" fmla="*/ 2446 h 10000"/>
                <a:gd name="connsiteX234" fmla="*/ 9574 w 10000"/>
                <a:gd name="connsiteY234" fmla="*/ 2632 h 10000"/>
                <a:gd name="connsiteX235" fmla="*/ 9631 w 10000"/>
                <a:gd name="connsiteY235" fmla="*/ 2756 h 10000"/>
                <a:gd name="connsiteX236" fmla="*/ 9726 w 10000"/>
                <a:gd name="connsiteY236" fmla="*/ 2787 h 10000"/>
                <a:gd name="connsiteX237" fmla="*/ 9590 w 10000"/>
                <a:gd name="connsiteY237" fmla="*/ 2570 h 10000"/>
                <a:gd name="connsiteX238" fmla="*/ 9915 w 10000"/>
                <a:gd name="connsiteY238" fmla="*/ 2756 h 10000"/>
                <a:gd name="connsiteX239" fmla="*/ 10000 w 10000"/>
                <a:gd name="connsiteY239" fmla="*/ 3014 h 10000"/>
                <a:gd name="connsiteX240" fmla="*/ 9934 w 10000"/>
                <a:gd name="connsiteY240" fmla="*/ 2941 h 10000"/>
                <a:gd name="connsiteX241" fmla="*/ 9874 w 10000"/>
                <a:gd name="connsiteY241" fmla="*/ 2952 h 10000"/>
                <a:gd name="connsiteX242" fmla="*/ 10000 w 10000"/>
                <a:gd name="connsiteY242" fmla="*/ 3292 h 10000"/>
                <a:gd name="connsiteX243" fmla="*/ 9845 w 10000"/>
                <a:gd name="connsiteY243" fmla="*/ 3220 h 10000"/>
                <a:gd name="connsiteX244" fmla="*/ 9745 w 10000"/>
                <a:gd name="connsiteY244" fmla="*/ 3075 h 10000"/>
                <a:gd name="connsiteX245" fmla="*/ 9641 w 10000"/>
                <a:gd name="connsiteY245" fmla="*/ 2972 h 10000"/>
                <a:gd name="connsiteX246" fmla="*/ 9555 w 10000"/>
                <a:gd name="connsiteY246" fmla="*/ 3003 h 10000"/>
                <a:gd name="connsiteX247" fmla="*/ 9470 w 10000"/>
                <a:gd name="connsiteY247" fmla="*/ 2787 h 10000"/>
                <a:gd name="connsiteX248" fmla="*/ 9366 w 10000"/>
                <a:gd name="connsiteY248" fmla="*/ 2725 h 10000"/>
                <a:gd name="connsiteX249" fmla="*/ 9461 w 10000"/>
                <a:gd name="connsiteY249" fmla="*/ 2972 h 10000"/>
                <a:gd name="connsiteX250" fmla="*/ 9470 w 10000"/>
                <a:gd name="connsiteY250" fmla="*/ 3230 h 10000"/>
                <a:gd name="connsiteX251" fmla="*/ 9288 w 10000"/>
                <a:gd name="connsiteY251" fmla="*/ 3065 h 10000"/>
                <a:gd name="connsiteX252" fmla="*/ 9262 w 10000"/>
                <a:gd name="connsiteY252" fmla="*/ 3230 h 10000"/>
                <a:gd name="connsiteX253" fmla="*/ 9363 w 10000"/>
                <a:gd name="connsiteY253" fmla="*/ 3230 h 10000"/>
                <a:gd name="connsiteX254" fmla="*/ 9451 w 10000"/>
                <a:gd name="connsiteY254" fmla="*/ 3354 h 10000"/>
                <a:gd name="connsiteX255" fmla="*/ 9659 w 10000"/>
                <a:gd name="connsiteY255" fmla="*/ 3685 h 10000"/>
                <a:gd name="connsiteX256" fmla="*/ 9735 w 10000"/>
                <a:gd name="connsiteY256" fmla="*/ 3839 h 10000"/>
                <a:gd name="connsiteX257" fmla="*/ 9552 w 10000"/>
                <a:gd name="connsiteY257" fmla="*/ 3757 h 10000"/>
                <a:gd name="connsiteX258" fmla="*/ 9451 w 10000"/>
                <a:gd name="connsiteY258" fmla="*/ 4025 h 10000"/>
                <a:gd name="connsiteX259" fmla="*/ 9385 w 10000"/>
                <a:gd name="connsiteY259" fmla="*/ 4283 h 10000"/>
                <a:gd name="connsiteX260" fmla="*/ 9376 w 10000"/>
                <a:gd name="connsiteY260" fmla="*/ 4499 h 10000"/>
                <a:gd name="connsiteX261" fmla="*/ 9335 w 10000"/>
                <a:gd name="connsiteY261" fmla="*/ 4303 h 10000"/>
                <a:gd name="connsiteX262" fmla="*/ 9149 w 10000"/>
                <a:gd name="connsiteY262" fmla="*/ 4314 h 10000"/>
                <a:gd name="connsiteX263" fmla="*/ 9155 w 10000"/>
                <a:gd name="connsiteY263" fmla="*/ 4531 h 10000"/>
                <a:gd name="connsiteX264" fmla="*/ 9061 w 10000"/>
                <a:gd name="connsiteY264" fmla="*/ 4365 h 10000"/>
                <a:gd name="connsiteX265" fmla="*/ 9054 w 10000"/>
                <a:gd name="connsiteY265" fmla="*/ 4521 h 10000"/>
                <a:gd name="connsiteX266" fmla="*/ 8998 w 10000"/>
                <a:gd name="connsiteY266" fmla="*/ 4458 h 10000"/>
                <a:gd name="connsiteX267" fmla="*/ 8966 w 10000"/>
                <a:gd name="connsiteY267" fmla="*/ 4562 h 10000"/>
                <a:gd name="connsiteX268" fmla="*/ 9007 w 10000"/>
                <a:gd name="connsiteY268" fmla="*/ 4686 h 10000"/>
                <a:gd name="connsiteX269" fmla="*/ 9004 w 10000"/>
                <a:gd name="connsiteY269" fmla="*/ 4995 h 10000"/>
                <a:gd name="connsiteX270" fmla="*/ 9073 w 10000"/>
                <a:gd name="connsiteY270" fmla="*/ 5211 h 10000"/>
                <a:gd name="connsiteX271" fmla="*/ 9130 w 10000"/>
                <a:gd name="connsiteY271" fmla="*/ 5150 h 10000"/>
                <a:gd name="connsiteX272" fmla="*/ 9158 w 10000"/>
                <a:gd name="connsiteY272" fmla="*/ 5211 h 10000"/>
                <a:gd name="connsiteX273" fmla="*/ 9231 w 10000"/>
                <a:gd name="connsiteY273" fmla="*/ 5428 h 10000"/>
                <a:gd name="connsiteX274" fmla="*/ 9215 w 10000"/>
                <a:gd name="connsiteY274" fmla="*/ 5604 h 10000"/>
                <a:gd name="connsiteX275" fmla="*/ 9221 w 10000"/>
                <a:gd name="connsiteY275" fmla="*/ 5769 h 10000"/>
                <a:gd name="connsiteX276" fmla="*/ 9269 w 10000"/>
                <a:gd name="connsiteY276" fmla="*/ 5883 h 10000"/>
                <a:gd name="connsiteX277" fmla="*/ 9344 w 10000"/>
                <a:gd name="connsiteY277" fmla="*/ 6068 h 10000"/>
                <a:gd name="connsiteX278" fmla="*/ 9269 w 10000"/>
                <a:gd name="connsiteY278" fmla="*/ 6068 h 10000"/>
                <a:gd name="connsiteX279" fmla="*/ 9253 w 10000"/>
                <a:gd name="connsiteY279" fmla="*/ 6223 h 10000"/>
                <a:gd name="connsiteX280" fmla="*/ 9319 w 10000"/>
                <a:gd name="connsiteY280" fmla="*/ 6408 h 10000"/>
                <a:gd name="connsiteX281" fmla="*/ 9250 w 10000"/>
                <a:gd name="connsiteY281" fmla="*/ 6502 h 10000"/>
                <a:gd name="connsiteX282" fmla="*/ 9297 w 10000"/>
                <a:gd name="connsiteY282" fmla="*/ 6729 h 10000"/>
                <a:gd name="connsiteX283" fmla="*/ 9281 w 10000"/>
                <a:gd name="connsiteY283" fmla="*/ 7069 h 10000"/>
                <a:gd name="connsiteX284" fmla="*/ 9061 w 10000"/>
                <a:gd name="connsiteY284" fmla="*/ 6408 h 10000"/>
                <a:gd name="connsiteX285" fmla="*/ 8824 w 10000"/>
                <a:gd name="connsiteY285" fmla="*/ 5759 h 10000"/>
                <a:gd name="connsiteX286" fmla="*/ 8771 w 10000"/>
                <a:gd name="connsiteY286" fmla="*/ 5459 h 10000"/>
                <a:gd name="connsiteX287" fmla="*/ 8768 w 10000"/>
                <a:gd name="connsiteY287" fmla="*/ 5211 h 10000"/>
                <a:gd name="connsiteX288" fmla="*/ 8692 w 10000"/>
                <a:gd name="connsiteY288" fmla="*/ 5047 h 10000"/>
                <a:gd name="connsiteX289" fmla="*/ 8771 w 10000"/>
                <a:gd name="connsiteY289" fmla="*/ 5088 h 10000"/>
                <a:gd name="connsiteX290" fmla="*/ 8809 w 10000"/>
                <a:gd name="connsiteY290" fmla="*/ 5108 h 10000"/>
                <a:gd name="connsiteX291" fmla="*/ 8809 w 10000"/>
                <a:gd name="connsiteY291" fmla="*/ 4840 h 10000"/>
                <a:gd name="connsiteX292" fmla="*/ 8827 w 10000"/>
                <a:gd name="connsiteY292" fmla="*/ 4437 h 10000"/>
                <a:gd name="connsiteX293" fmla="*/ 8853 w 10000"/>
                <a:gd name="connsiteY293" fmla="*/ 4252 h 10000"/>
                <a:gd name="connsiteX294" fmla="*/ 8909 w 10000"/>
                <a:gd name="connsiteY294" fmla="*/ 4221 h 10000"/>
                <a:gd name="connsiteX295" fmla="*/ 8786 w 10000"/>
                <a:gd name="connsiteY295" fmla="*/ 3901 h 10000"/>
                <a:gd name="connsiteX296" fmla="*/ 8853 w 10000"/>
                <a:gd name="connsiteY296" fmla="*/ 3839 h 10000"/>
                <a:gd name="connsiteX297" fmla="*/ 8739 w 10000"/>
                <a:gd name="connsiteY297" fmla="*/ 3788 h 10000"/>
                <a:gd name="connsiteX298" fmla="*/ 8755 w 10000"/>
                <a:gd name="connsiteY298" fmla="*/ 3984 h 10000"/>
                <a:gd name="connsiteX299" fmla="*/ 8692 w 10000"/>
                <a:gd name="connsiteY299" fmla="*/ 4303 h 10000"/>
                <a:gd name="connsiteX300" fmla="*/ 8604 w 10000"/>
                <a:gd name="connsiteY300" fmla="*/ 4210 h 10000"/>
                <a:gd name="connsiteX301" fmla="*/ 8550 w 10000"/>
                <a:gd name="connsiteY301" fmla="*/ 4056 h 10000"/>
                <a:gd name="connsiteX302" fmla="*/ 8481 w 10000"/>
                <a:gd name="connsiteY302" fmla="*/ 4138 h 10000"/>
                <a:gd name="connsiteX303" fmla="*/ 8389 w 10000"/>
                <a:gd name="connsiteY303" fmla="*/ 4107 h 10000"/>
                <a:gd name="connsiteX304" fmla="*/ 8352 w 10000"/>
                <a:gd name="connsiteY304" fmla="*/ 4406 h 10000"/>
                <a:gd name="connsiteX305" fmla="*/ 8481 w 10000"/>
                <a:gd name="connsiteY305" fmla="*/ 4655 h 10000"/>
                <a:gd name="connsiteX306" fmla="*/ 8405 w 10000"/>
                <a:gd name="connsiteY306" fmla="*/ 4830 h 10000"/>
                <a:gd name="connsiteX307" fmla="*/ 8225 w 10000"/>
                <a:gd name="connsiteY307" fmla="*/ 4799 h 10000"/>
                <a:gd name="connsiteX308" fmla="*/ 8209 w 10000"/>
                <a:gd name="connsiteY308" fmla="*/ 4655 h 10000"/>
                <a:gd name="connsiteX309" fmla="*/ 8102 w 10000"/>
                <a:gd name="connsiteY309" fmla="*/ 4634 h 10000"/>
                <a:gd name="connsiteX310" fmla="*/ 7641 w 10000"/>
                <a:gd name="connsiteY310" fmla="*/ 4779 h 10000"/>
                <a:gd name="connsiteX311" fmla="*/ 7610 w 10000"/>
                <a:gd name="connsiteY311" fmla="*/ 5005 h 10000"/>
                <a:gd name="connsiteX312" fmla="*/ 7550 w 10000"/>
                <a:gd name="connsiteY312" fmla="*/ 5666 h 10000"/>
                <a:gd name="connsiteX313" fmla="*/ 7496 w 10000"/>
                <a:gd name="connsiteY313" fmla="*/ 5965 h 10000"/>
                <a:gd name="connsiteX314" fmla="*/ 7701 w 10000"/>
                <a:gd name="connsiteY314" fmla="*/ 6161 h 10000"/>
                <a:gd name="connsiteX315" fmla="*/ 7745 w 10000"/>
                <a:gd name="connsiteY315" fmla="*/ 6243 h 10000"/>
                <a:gd name="connsiteX316" fmla="*/ 7771 w 10000"/>
                <a:gd name="connsiteY316" fmla="*/ 6285 h 10000"/>
                <a:gd name="connsiteX317" fmla="*/ 7793 w 10000"/>
                <a:gd name="connsiteY317" fmla="*/ 6068 h 10000"/>
                <a:gd name="connsiteX318" fmla="*/ 7912 w 10000"/>
                <a:gd name="connsiteY318" fmla="*/ 6089 h 10000"/>
                <a:gd name="connsiteX319" fmla="*/ 8004 w 10000"/>
                <a:gd name="connsiteY319" fmla="*/ 6367 h 10000"/>
                <a:gd name="connsiteX320" fmla="*/ 8064 w 10000"/>
                <a:gd name="connsiteY320" fmla="*/ 6616 h 10000"/>
                <a:gd name="connsiteX321" fmla="*/ 8111 w 10000"/>
                <a:gd name="connsiteY321" fmla="*/ 6781 h 10000"/>
                <a:gd name="connsiteX322" fmla="*/ 8048 w 10000"/>
                <a:gd name="connsiteY322" fmla="*/ 6491 h 10000"/>
                <a:gd name="connsiteX323" fmla="*/ 8124 w 10000"/>
                <a:gd name="connsiteY323" fmla="*/ 6336 h 10000"/>
                <a:gd name="connsiteX324" fmla="*/ 8177 w 10000"/>
                <a:gd name="connsiteY324" fmla="*/ 6512 h 10000"/>
                <a:gd name="connsiteX325" fmla="*/ 8300 w 10000"/>
                <a:gd name="connsiteY325" fmla="*/ 6987 h 10000"/>
                <a:gd name="connsiteX326" fmla="*/ 8361 w 10000"/>
                <a:gd name="connsiteY326" fmla="*/ 7152 h 10000"/>
                <a:gd name="connsiteX327" fmla="*/ 8490 w 10000"/>
                <a:gd name="connsiteY327" fmla="*/ 7482 h 10000"/>
                <a:gd name="connsiteX328" fmla="*/ 8604 w 10000"/>
                <a:gd name="connsiteY328" fmla="*/ 7854 h 10000"/>
                <a:gd name="connsiteX329" fmla="*/ 8474 w 10000"/>
                <a:gd name="connsiteY329" fmla="*/ 7647 h 10000"/>
                <a:gd name="connsiteX330" fmla="*/ 8443 w 10000"/>
                <a:gd name="connsiteY330" fmla="*/ 7678 h 10000"/>
                <a:gd name="connsiteX331" fmla="*/ 8512 w 10000"/>
                <a:gd name="connsiteY331" fmla="*/ 8050 h 10000"/>
                <a:gd name="connsiteX332" fmla="*/ 8588 w 10000"/>
                <a:gd name="connsiteY332" fmla="*/ 8266 h 10000"/>
                <a:gd name="connsiteX333" fmla="*/ 8642 w 10000"/>
                <a:gd name="connsiteY333" fmla="*/ 8472 h 10000"/>
                <a:gd name="connsiteX334" fmla="*/ 8566 w 10000"/>
                <a:gd name="connsiteY334" fmla="*/ 8421 h 10000"/>
                <a:gd name="connsiteX335" fmla="*/ 8556 w 10000"/>
                <a:gd name="connsiteY335" fmla="*/ 8669 h 10000"/>
                <a:gd name="connsiteX336" fmla="*/ 8497 w 10000"/>
                <a:gd name="connsiteY336" fmla="*/ 8493 h 10000"/>
                <a:gd name="connsiteX337" fmla="*/ 8481 w 10000"/>
                <a:gd name="connsiteY337" fmla="*/ 8421 h 10000"/>
                <a:gd name="connsiteX338" fmla="*/ 8361 w 10000"/>
                <a:gd name="connsiteY338" fmla="*/ 7751 h 10000"/>
                <a:gd name="connsiteX339" fmla="*/ 8322 w 10000"/>
                <a:gd name="connsiteY339" fmla="*/ 7524 h 10000"/>
                <a:gd name="connsiteX340" fmla="*/ 8291 w 10000"/>
                <a:gd name="connsiteY340" fmla="*/ 7378 h 10000"/>
                <a:gd name="connsiteX341" fmla="*/ 8275 w 10000"/>
                <a:gd name="connsiteY341" fmla="*/ 7306 h 10000"/>
                <a:gd name="connsiteX342" fmla="*/ 8139 w 10000"/>
                <a:gd name="connsiteY342" fmla="*/ 6863 h 10000"/>
                <a:gd name="connsiteX343" fmla="*/ 8199 w 10000"/>
                <a:gd name="connsiteY343" fmla="*/ 7451 h 10000"/>
                <a:gd name="connsiteX344" fmla="*/ 8247 w 10000"/>
                <a:gd name="connsiteY344" fmla="*/ 7998 h 10000"/>
                <a:gd name="connsiteX345" fmla="*/ 8177 w 10000"/>
                <a:gd name="connsiteY345" fmla="*/ 9133 h 10000"/>
                <a:gd name="connsiteX346" fmla="*/ 8124 w 10000"/>
                <a:gd name="connsiteY346" fmla="*/ 9484 h 10000"/>
                <a:gd name="connsiteX347" fmla="*/ 7972 w 10000"/>
                <a:gd name="connsiteY347" fmla="*/ 9432 h 10000"/>
                <a:gd name="connsiteX348" fmla="*/ 7897 w 10000"/>
                <a:gd name="connsiteY348" fmla="*/ 9660 h 10000"/>
                <a:gd name="connsiteX349" fmla="*/ 7868 w 10000"/>
                <a:gd name="connsiteY349" fmla="*/ 9588 h 10000"/>
                <a:gd name="connsiteX350" fmla="*/ 7884 w 10000"/>
                <a:gd name="connsiteY350" fmla="*/ 9536 h 10000"/>
                <a:gd name="connsiteX351" fmla="*/ 7897 w 10000"/>
                <a:gd name="connsiteY351" fmla="*/ 9380 h 10000"/>
                <a:gd name="connsiteX352" fmla="*/ 7884 w 10000"/>
                <a:gd name="connsiteY352" fmla="*/ 9236 h 10000"/>
                <a:gd name="connsiteX353" fmla="*/ 7793 w 10000"/>
                <a:gd name="connsiteY353" fmla="*/ 8865 h 10000"/>
                <a:gd name="connsiteX354" fmla="*/ 7831 w 10000"/>
                <a:gd name="connsiteY354" fmla="*/ 8741 h 10000"/>
                <a:gd name="connsiteX355" fmla="*/ 7928 w 10000"/>
                <a:gd name="connsiteY355" fmla="*/ 8844 h 10000"/>
                <a:gd name="connsiteX356" fmla="*/ 7912 w 10000"/>
                <a:gd name="connsiteY356" fmla="*/ 8318 h 10000"/>
                <a:gd name="connsiteX357" fmla="*/ 7906 w 10000"/>
                <a:gd name="connsiteY357" fmla="*/ 8019 h 10000"/>
                <a:gd name="connsiteX358" fmla="*/ 7846 w 10000"/>
                <a:gd name="connsiteY358" fmla="*/ 7802 h 10000"/>
                <a:gd name="connsiteX359" fmla="*/ 7723 w 10000"/>
                <a:gd name="connsiteY359" fmla="*/ 8050 h 10000"/>
                <a:gd name="connsiteX360" fmla="*/ 7619 w 10000"/>
                <a:gd name="connsiteY360" fmla="*/ 8019 h 10000"/>
                <a:gd name="connsiteX361" fmla="*/ 7528 w 10000"/>
                <a:gd name="connsiteY361" fmla="*/ 7699 h 10000"/>
                <a:gd name="connsiteX362" fmla="*/ 7355 w 10000"/>
                <a:gd name="connsiteY362" fmla="*/ 7482 h 10000"/>
                <a:gd name="connsiteX363" fmla="*/ 7279 w 10000"/>
                <a:gd name="connsiteY363" fmla="*/ 7482 h 10000"/>
                <a:gd name="connsiteX364" fmla="*/ 7080 w 10000"/>
                <a:gd name="connsiteY364" fmla="*/ 6781 h 10000"/>
                <a:gd name="connsiteX365" fmla="*/ 6901 w 10000"/>
                <a:gd name="connsiteY365" fmla="*/ 6460 h 10000"/>
                <a:gd name="connsiteX366" fmla="*/ 6724 w 10000"/>
                <a:gd name="connsiteY366" fmla="*/ 6336 h 10000"/>
                <a:gd name="connsiteX367" fmla="*/ 6583 w 10000"/>
                <a:gd name="connsiteY367" fmla="*/ 6408 h 10000"/>
                <a:gd name="connsiteX368" fmla="*/ 6567 w 10000"/>
                <a:gd name="connsiteY368" fmla="*/ 6585 h 10000"/>
                <a:gd name="connsiteX369" fmla="*/ 6664 w 10000"/>
                <a:gd name="connsiteY369" fmla="*/ 6760 h 10000"/>
                <a:gd name="connsiteX370" fmla="*/ 6636 w 10000"/>
                <a:gd name="connsiteY370" fmla="*/ 6935 h 10000"/>
                <a:gd name="connsiteX371" fmla="*/ 6636 w 10000"/>
                <a:gd name="connsiteY371" fmla="*/ 7399 h 10000"/>
                <a:gd name="connsiteX372" fmla="*/ 6560 w 10000"/>
                <a:gd name="connsiteY372" fmla="*/ 7482 h 10000"/>
                <a:gd name="connsiteX373" fmla="*/ 6485 w 10000"/>
                <a:gd name="connsiteY373" fmla="*/ 7378 h 10000"/>
                <a:gd name="connsiteX374" fmla="*/ 6400 w 10000"/>
                <a:gd name="connsiteY374" fmla="*/ 7399 h 10000"/>
                <a:gd name="connsiteX375" fmla="*/ 6334 w 10000"/>
                <a:gd name="connsiteY375" fmla="*/ 7275 h 10000"/>
                <a:gd name="connsiteX376" fmla="*/ 6258 w 10000"/>
                <a:gd name="connsiteY376" fmla="*/ 7358 h 10000"/>
                <a:gd name="connsiteX377" fmla="*/ 6220 w 10000"/>
                <a:gd name="connsiteY377" fmla="*/ 7524 h 10000"/>
                <a:gd name="connsiteX378" fmla="*/ 6081 w 10000"/>
                <a:gd name="connsiteY378" fmla="*/ 7606 h 10000"/>
                <a:gd name="connsiteX379" fmla="*/ 5892 w 10000"/>
                <a:gd name="connsiteY379" fmla="*/ 7575 h 10000"/>
                <a:gd name="connsiteX380" fmla="*/ 5855 w 10000"/>
                <a:gd name="connsiteY380" fmla="*/ 7327 h 10000"/>
                <a:gd name="connsiteX381" fmla="*/ 5643 w 10000"/>
                <a:gd name="connsiteY381" fmla="*/ 7255 h 10000"/>
                <a:gd name="connsiteX382" fmla="*/ 5539 w 10000"/>
                <a:gd name="connsiteY382" fmla="*/ 7358 h 10000"/>
                <a:gd name="connsiteX383" fmla="*/ 5416 w 10000"/>
                <a:gd name="connsiteY383" fmla="*/ 7203 h 10000"/>
                <a:gd name="connsiteX384" fmla="*/ 5372 w 10000"/>
                <a:gd name="connsiteY384"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1610 w 10000"/>
                <a:gd name="connsiteY21" fmla="*/ 7183 h 10000"/>
                <a:gd name="connsiteX22" fmla="*/ 1655 w 10000"/>
                <a:gd name="connsiteY22" fmla="*/ 7430 h 10000"/>
                <a:gd name="connsiteX23" fmla="*/ 1604 w 10000"/>
                <a:gd name="connsiteY23" fmla="*/ 7430 h 10000"/>
                <a:gd name="connsiteX24" fmla="*/ 1551 w 10000"/>
                <a:gd name="connsiteY24" fmla="*/ 7255 h 10000"/>
                <a:gd name="connsiteX25" fmla="*/ 1513 w 10000"/>
                <a:gd name="connsiteY25" fmla="*/ 7430 h 10000"/>
                <a:gd name="connsiteX26" fmla="*/ 1519 w 10000"/>
                <a:gd name="connsiteY26" fmla="*/ 7854 h 10000"/>
                <a:gd name="connsiteX27" fmla="*/ 1604 w 10000"/>
                <a:gd name="connsiteY27" fmla="*/ 8070 h 10000"/>
                <a:gd name="connsiteX28" fmla="*/ 1648 w 10000"/>
                <a:gd name="connsiteY28" fmla="*/ 8019 h 10000"/>
                <a:gd name="connsiteX29" fmla="*/ 1741 w 10000"/>
                <a:gd name="connsiteY29" fmla="*/ 8493 h 10000"/>
                <a:gd name="connsiteX30" fmla="*/ 1610 w 10000"/>
                <a:gd name="connsiteY30" fmla="*/ 8669 h 10000"/>
                <a:gd name="connsiteX31" fmla="*/ 1595 w 10000"/>
                <a:gd name="connsiteY31" fmla="*/ 9009 h 10000"/>
                <a:gd name="connsiteX32" fmla="*/ 1664 w 10000"/>
                <a:gd name="connsiteY32" fmla="*/ 9236 h 10000"/>
                <a:gd name="connsiteX33" fmla="*/ 1664 w 10000"/>
                <a:gd name="connsiteY33" fmla="*/ 9484 h 10000"/>
                <a:gd name="connsiteX34" fmla="*/ 1769 w 10000"/>
                <a:gd name="connsiteY34" fmla="*/ 9835 h 10000"/>
                <a:gd name="connsiteX35" fmla="*/ 1703 w 10000"/>
                <a:gd name="connsiteY35" fmla="*/ 10000 h 10000"/>
                <a:gd name="connsiteX36" fmla="*/ 1604 w 10000"/>
                <a:gd name="connsiteY36" fmla="*/ 9753 h 10000"/>
                <a:gd name="connsiteX37" fmla="*/ 1465 w 10000"/>
                <a:gd name="connsiteY37" fmla="*/ 9505 h 10000"/>
                <a:gd name="connsiteX38" fmla="*/ 1406 w 10000"/>
                <a:gd name="connsiteY38" fmla="*/ 9588 h 10000"/>
                <a:gd name="connsiteX39" fmla="*/ 1308 w 10000"/>
                <a:gd name="connsiteY39" fmla="*/ 9380 h 10000"/>
                <a:gd name="connsiteX40" fmla="*/ 1097 w 10000"/>
                <a:gd name="connsiteY40" fmla="*/ 9339 h 10000"/>
                <a:gd name="connsiteX41" fmla="*/ 848 w 10000"/>
                <a:gd name="connsiteY41" fmla="*/ 8813 h 10000"/>
                <a:gd name="connsiteX42" fmla="*/ 914 w 10000"/>
                <a:gd name="connsiteY42" fmla="*/ 8721 h 10000"/>
                <a:gd name="connsiteX43" fmla="*/ 961 w 10000"/>
                <a:gd name="connsiteY43" fmla="*/ 8493 h 10000"/>
                <a:gd name="connsiteX44" fmla="*/ 908 w 10000"/>
                <a:gd name="connsiteY44" fmla="*/ 8390 h 10000"/>
                <a:gd name="connsiteX45" fmla="*/ 1021 w 10000"/>
                <a:gd name="connsiteY45" fmla="*/ 8245 h 10000"/>
                <a:gd name="connsiteX46" fmla="*/ 945 w 10000"/>
                <a:gd name="connsiteY46" fmla="*/ 8194 h 10000"/>
                <a:gd name="connsiteX47" fmla="*/ 958 w 10000"/>
                <a:gd name="connsiteY47" fmla="*/ 8091 h 10000"/>
                <a:gd name="connsiteX48" fmla="*/ 1005 w 10000"/>
                <a:gd name="connsiteY48" fmla="*/ 8111 h 10000"/>
                <a:gd name="connsiteX49" fmla="*/ 1059 w 10000"/>
                <a:gd name="connsiteY49" fmla="*/ 8019 h 10000"/>
                <a:gd name="connsiteX50" fmla="*/ 1034 w 10000"/>
                <a:gd name="connsiteY50" fmla="*/ 7864 h 10000"/>
                <a:gd name="connsiteX51" fmla="*/ 1043 w 10000"/>
                <a:gd name="connsiteY51" fmla="*/ 7503 h 10000"/>
                <a:gd name="connsiteX52" fmla="*/ 930 w 10000"/>
                <a:gd name="connsiteY52" fmla="*/ 7440 h 10000"/>
                <a:gd name="connsiteX53" fmla="*/ 832 w 10000"/>
                <a:gd name="connsiteY53" fmla="*/ 7286 h 10000"/>
                <a:gd name="connsiteX54" fmla="*/ 700 w 10000"/>
                <a:gd name="connsiteY54" fmla="*/ 7275 h 10000"/>
                <a:gd name="connsiteX55" fmla="*/ 684 w 10000"/>
                <a:gd name="connsiteY55" fmla="*/ 7090 h 10000"/>
                <a:gd name="connsiteX56" fmla="*/ 596 w 10000"/>
                <a:gd name="connsiteY56" fmla="*/ 6945 h 10000"/>
                <a:gd name="connsiteX57" fmla="*/ 615 w 10000"/>
                <a:gd name="connsiteY57" fmla="*/ 6822 h 10000"/>
                <a:gd name="connsiteX58" fmla="*/ 561 w 10000"/>
                <a:gd name="connsiteY58" fmla="*/ 6698 h 10000"/>
                <a:gd name="connsiteX59" fmla="*/ 457 w 10000"/>
                <a:gd name="connsiteY59" fmla="*/ 6698 h 10000"/>
                <a:gd name="connsiteX60" fmla="*/ 425 w 10000"/>
                <a:gd name="connsiteY60" fmla="*/ 6791 h 10000"/>
                <a:gd name="connsiteX61" fmla="*/ 400 w 10000"/>
                <a:gd name="connsiteY61" fmla="*/ 6750 h 10000"/>
                <a:gd name="connsiteX62" fmla="*/ 378 w 10000"/>
                <a:gd name="connsiteY62" fmla="*/ 6439 h 10000"/>
                <a:gd name="connsiteX63" fmla="*/ 419 w 10000"/>
                <a:gd name="connsiteY63" fmla="*/ 6470 h 10000"/>
                <a:gd name="connsiteX64" fmla="*/ 466 w 10000"/>
                <a:gd name="connsiteY64" fmla="*/ 6347 h 10000"/>
                <a:gd name="connsiteX65" fmla="*/ 400 w 10000"/>
                <a:gd name="connsiteY65" fmla="*/ 6233 h 10000"/>
                <a:gd name="connsiteX66" fmla="*/ 315 w 10000"/>
                <a:gd name="connsiteY66" fmla="*/ 6017 h 10000"/>
                <a:gd name="connsiteX67" fmla="*/ 334 w 10000"/>
                <a:gd name="connsiteY67" fmla="*/ 5821 h 10000"/>
                <a:gd name="connsiteX68" fmla="*/ 274 w 10000"/>
                <a:gd name="connsiteY68" fmla="*/ 5697 h 10000"/>
                <a:gd name="connsiteX69" fmla="*/ 227 w 10000"/>
                <a:gd name="connsiteY69" fmla="*/ 5728 h 10000"/>
                <a:gd name="connsiteX70" fmla="*/ 202 w 10000"/>
                <a:gd name="connsiteY70" fmla="*/ 5604 h 10000"/>
                <a:gd name="connsiteX71" fmla="*/ 164 w 10000"/>
                <a:gd name="connsiteY71" fmla="*/ 5645 h 10000"/>
                <a:gd name="connsiteX72" fmla="*/ 117 w 10000"/>
                <a:gd name="connsiteY72" fmla="*/ 5604 h 10000"/>
                <a:gd name="connsiteX73" fmla="*/ 69 w 10000"/>
                <a:gd name="connsiteY73" fmla="*/ 5181 h 10000"/>
                <a:gd name="connsiteX74" fmla="*/ 85 w 10000"/>
                <a:gd name="connsiteY74" fmla="*/ 5057 h 10000"/>
                <a:gd name="connsiteX75" fmla="*/ 41 w 10000"/>
                <a:gd name="connsiteY75" fmla="*/ 4892 h 10000"/>
                <a:gd name="connsiteX76" fmla="*/ 66 w 10000"/>
                <a:gd name="connsiteY76" fmla="*/ 4655 h 10000"/>
                <a:gd name="connsiteX77" fmla="*/ 211 w 10000"/>
                <a:gd name="connsiteY77" fmla="*/ 4510 h 10000"/>
                <a:gd name="connsiteX78" fmla="*/ 129 w 10000"/>
                <a:gd name="connsiteY78" fmla="*/ 4406 h 10000"/>
                <a:gd name="connsiteX79" fmla="*/ 82 w 10000"/>
                <a:gd name="connsiteY79" fmla="*/ 4283 h 10000"/>
                <a:gd name="connsiteX80" fmla="*/ 205 w 10000"/>
                <a:gd name="connsiteY80" fmla="*/ 3912 h 10000"/>
                <a:gd name="connsiteX81" fmla="*/ 249 w 10000"/>
                <a:gd name="connsiteY81" fmla="*/ 3664 h 10000"/>
                <a:gd name="connsiteX82" fmla="*/ 151 w 10000"/>
                <a:gd name="connsiteY82" fmla="*/ 3488 h 10000"/>
                <a:gd name="connsiteX83" fmla="*/ 189 w 10000"/>
                <a:gd name="connsiteY83" fmla="*/ 3344 h 10000"/>
                <a:gd name="connsiteX84" fmla="*/ 113 w 10000"/>
                <a:gd name="connsiteY84" fmla="*/ 3148 h 10000"/>
                <a:gd name="connsiteX85" fmla="*/ 113 w 10000"/>
                <a:gd name="connsiteY85" fmla="*/ 2972 h 10000"/>
                <a:gd name="connsiteX86" fmla="*/ 60 w 10000"/>
                <a:gd name="connsiteY86" fmla="*/ 2622 h 10000"/>
                <a:gd name="connsiteX87" fmla="*/ 98 w 10000"/>
                <a:gd name="connsiteY87" fmla="*/ 2404 h 10000"/>
                <a:gd name="connsiteX88" fmla="*/ 38 w 10000"/>
                <a:gd name="connsiteY88" fmla="*/ 2301 h 10000"/>
                <a:gd name="connsiteX89" fmla="*/ 0 w 10000"/>
                <a:gd name="connsiteY89" fmla="*/ 2178 h 10000"/>
                <a:gd name="connsiteX90" fmla="*/ 54 w 10000"/>
                <a:gd name="connsiteY90" fmla="*/ 1951 h 10000"/>
                <a:gd name="connsiteX91" fmla="*/ 120 w 10000"/>
                <a:gd name="connsiteY91" fmla="*/ 1910 h 10000"/>
                <a:gd name="connsiteX92" fmla="*/ 195 w 10000"/>
                <a:gd name="connsiteY92" fmla="*/ 1858 h 10000"/>
                <a:gd name="connsiteX93" fmla="*/ 309 w 10000"/>
                <a:gd name="connsiteY93" fmla="*/ 1951 h 10000"/>
                <a:gd name="connsiteX94" fmla="*/ 482 w 10000"/>
                <a:gd name="connsiteY94" fmla="*/ 2054 h 10000"/>
                <a:gd name="connsiteX95" fmla="*/ 633 w 10000"/>
                <a:gd name="connsiteY95" fmla="*/ 2229 h 10000"/>
                <a:gd name="connsiteX96" fmla="*/ 756 w 10000"/>
                <a:gd name="connsiteY96" fmla="*/ 2373 h 10000"/>
                <a:gd name="connsiteX97" fmla="*/ 725 w 10000"/>
                <a:gd name="connsiteY97" fmla="*/ 2777 h 10000"/>
                <a:gd name="connsiteX98" fmla="*/ 362 w 10000"/>
                <a:gd name="connsiteY98" fmla="*/ 2673 h 10000"/>
                <a:gd name="connsiteX99" fmla="*/ 243 w 10000"/>
                <a:gd name="connsiteY99" fmla="*/ 2550 h 10000"/>
                <a:gd name="connsiteX100" fmla="*/ 287 w 10000"/>
                <a:gd name="connsiteY100" fmla="*/ 2622 h 10000"/>
                <a:gd name="connsiteX101" fmla="*/ 331 w 10000"/>
                <a:gd name="connsiteY101" fmla="*/ 2797 h 10000"/>
                <a:gd name="connsiteX102" fmla="*/ 400 w 10000"/>
                <a:gd name="connsiteY102" fmla="*/ 2921 h 10000"/>
                <a:gd name="connsiteX103" fmla="*/ 416 w 10000"/>
                <a:gd name="connsiteY103" fmla="*/ 3189 h 10000"/>
                <a:gd name="connsiteX104" fmla="*/ 507 w 10000"/>
                <a:gd name="connsiteY104" fmla="*/ 3313 h 10000"/>
                <a:gd name="connsiteX105" fmla="*/ 583 w 10000"/>
                <a:gd name="connsiteY105" fmla="*/ 3436 h 10000"/>
                <a:gd name="connsiteX106" fmla="*/ 605 w 10000"/>
                <a:gd name="connsiteY106" fmla="*/ 3467 h 10000"/>
                <a:gd name="connsiteX107" fmla="*/ 649 w 10000"/>
                <a:gd name="connsiteY107" fmla="*/ 3436 h 10000"/>
                <a:gd name="connsiteX108" fmla="*/ 633 w 10000"/>
                <a:gd name="connsiteY108" fmla="*/ 3364 h 10000"/>
                <a:gd name="connsiteX109" fmla="*/ 545 w 10000"/>
                <a:gd name="connsiteY109" fmla="*/ 3189 h 10000"/>
                <a:gd name="connsiteX110" fmla="*/ 801 w 10000"/>
                <a:gd name="connsiteY110" fmla="*/ 3344 h 10000"/>
                <a:gd name="connsiteX111" fmla="*/ 810 w 10000"/>
                <a:gd name="connsiteY111" fmla="*/ 3271 h 10000"/>
                <a:gd name="connsiteX112" fmla="*/ 785 w 10000"/>
                <a:gd name="connsiteY112" fmla="*/ 3220 h 10000"/>
                <a:gd name="connsiteX113" fmla="*/ 741 w 10000"/>
                <a:gd name="connsiteY113" fmla="*/ 2993 h 10000"/>
                <a:gd name="connsiteX114" fmla="*/ 870 w 10000"/>
                <a:gd name="connsiteY114" fmla="*/ 2777 h 10000"/>
                <a:gd name="connsiteX115" fmla="*/ 968 w 10000"/>
                <a:gd name="connsiteY115" fmla="*/ 2921 h 10000"/>
                <a:gd name="connsiteX116" fmla="*/ 999 w 10000"/>
                <a:gd name="connsiteY116" fmla="*/ 2725 h 10000"/>
                <a:gd name="connsiteX117" fmla="*/ 952 w 10000"/>
                <a:gd name="connsiteY117" fmla="*/ 2653 h 10000"/>
                <a:gd name="connsiteX118" fmla="*/ 936 w 10000"/>
                <a:gd name="connsiteY118" fmla="*/ 2281 h 10000"/>
                <a:gd name="connsiteX119" fmla="*/ 914 w 10000"/>
                <a:gd name="connsiteY119" fmla="*/ 2229 h 10000"/>
                <a:gd name="connsiteX120" fmla="*/ 1037 w 10000"/>
                <a:gd name="connsiteY120" fmla="*/ 2250 h 10000"/>
                <a:gd name="connsiteX121" fmla="*/ 1087 w 10000"/>
                <a:gd name="connsiteY121" fmla="*/ 2404 h 10000"/>
                <a:gd name="connsiteX122" fmla="*/ 1021 w 10000"/>
                <a:gd name="connsiteY122" fmla="*/ 2529 h 10000"/>
                <a:gd name="connsiteX123" fmla="*/ 1135 w 10000"/>
                <a:gd name="connsiteY123" fmla="*/ 2694 h 10000"/>
                <a:gd name="connsiteX124" fmla="*/ 1226 w 10000"/>
                <a:gd name="connsiteY124" fmla="*/ 2529 h 10000"/>
                <a:gd name="connsiteX125" fmla="*/ 1339 w 10000"/>
                <a:gd name="connsiteY125" fmla="*/ 2301 h 10000"/>
                <a:gd name="connsiteX126" fmla="*/ 1459 w 10000"/>
                <a:gd name="connsiteY126" fmla="*/ 2157 h 10000"/>
                <a:gd name="connsiteX127" fmla="*/ 1497 w 10000"/>
                <a:gd name="connsiteY127" fmla="*/ 2250 h 10000"/>
                <a:gd name="connsiteX128" fmla="*/ 1807 w 10000"/>
                <a:gd name="connsiteY128" fmla="*/ 2054 h 10000"/>
                <a:gd name="connsiteX129" fmla="*/ 1870 w 10000"/>
                <a:gd name="connsiteY129" fmla="*/ 2250 h 10000"/>
                <a:gd name="connsiteX130" fmla="*/ 1860 w 10000"/>
                <a:gd name="connsiteY130" fmla="*/ 2002 h 10000"/>
                <a:gd name="connsiteX131" fmla="*/ 1778 w 10000"/>
                <a:gd name="connsiteY131" fmla="*/ 1786 h 10000"/>
                <a:gd name="connsiteX132" fmla="*/ 1763 w 10000"/>
                <a:gd name="connsiteY132" fmla="*/ 1703 h 10000"/>
                <a:gd name="connsiteX133" fmla="*/ 1823 w 10000"/>
                <a:gd name="connsiteY133" fmla="*/ 1786 h 10000"/>
                <a:gd name="connsiteX134" fmla="*/ 2034 w 10000"/>
                <a:gd name="connsiteY134" fmla="*/ 1951 h 10000"/>
                <a:gd name="connsiteX135" fmla="*/ 2270 w 10000"/>
                <a:gd name="connsiteY135" fmla="*/ 2126 h 10000"/>
                <a:gd name="connsiteX136" fmla="*/ 2384 w 10000"/>
                <a:gd name="connsiteY136" fmla="*/ 2250 h 10000"/>
                <a:gd name="connsiteX137" fmla="*/ 2421 w 10000"/>
                <a:gd name="connsiteY137" fmla="*/ 2074 h 10000"/>
                <a:gd name="connsiteX138" fmla="*/ 2368 w 10000"/>
                <a:gd name="connsiteY138" fmla="*/ 2033 h 10000"/>
                <a:gd name="connsiteX139" fmla="*/ 2299 w 10000"/>
                <a:gd name="connsiteY139" fmla="*/ 1930 h 10000"/>
                <a:gd name="connsiteX140" fmla="*/ 2254 w 10000"/>
                <a:gd name="connsiteY140" fmla="*/ 1734 h 10000"/>
                <a:gd name="connsiteX141" fmla="*/ 2185 w 10000"/>
                <a:gd name="connsiteY141" fmla="*/ 1486 h 10000"/>
                <a:gd name="connsiteX142" fmla="*/ 2210 w 10000"/>
                <a:gd name="connsiteY142" fmla="*/ 1434 h 10000"/>
                <a:gd name="connsiteX143" fmla="*/ 2232 w 10000"/>
                <a:gd name="connsiteY143" fmla="*/ 1455 h 10000"/>
                <a:gd name="connsiteX144" fmla="*/ 2292 w 10000"/>
                <a:gd name="connsiteY144" fmla="*/ 1115 h 10000"/>
                <a:gd name="connsiteX145" fmla="*/ 2443 w 10000"/>
                <a:gd name="connsiteY145" fmla="*/ 1135 h 10000"/>
                <a:gd name="connsiteX146" fmla="*/ 2488 w 10000"/>
                <a:gd name="connsiteY146" fmla="*/ 1311 h 10000"/>
                <a:gd name="connsiteX147" fmla="*/ 2519 w 10000"/>
                <a:gd name="connsiteY147" fmla="*/ 1538 h 10000"/>
                <a:gd name="connsiteX148" fmla="*/ 2573 w 10000"/>
                <a:gd name="connsiteY148" fmla="*/ 1734 h 10000"/>
                <a:gd name="connsiteX149" fmla="*/ 2670 w 10000"/>
                <a:gd name="connsiteY149" fmla="*/ 2157 h 10000"/>
                <a:gd name="connsiteX150" fmla="*/ 2481 w 10000"/>
                <a:gd name="connsiteY150" fmla="*/ 2673 h 10000"/>
                <a:gd name="connsiteX151" fmla="*/ 2557 w 10000"/>
                <a:gd name="connsiteY151" fmla="*/ 2746 h 10000"/>
                <a:gd name="connsiteX152" fmla="*/ 2655 w 10000"/>
                <a:gd name="connsiteY152" fmla="*/ 2818 h 10000"/>
                <a:gd name="connsiteX153" fmla="*/ 2784 w 10000"/>
                <a:gd name="connsiteY153" fmla="*/ 2622 h 10000"/>
                <a:gd name="connsiteX154" fmla="*/ 2790 w 10000"/>
                <a:gd name="connsiteY154" fmla="*/ 2404 h 10000"/>
                <a:gd name="connsiteX155" fmla="*/ 2746 w 10000"/>
                <a:gd name="connsiteY155" fmla="*/ 2301 h 10000"/>
                <a:gd name="connsiteX156" fmla="*/ 2919 w 10000"/>
                <a:gd name="connsiteY156" fmla="*/ 2250 h 10000"/>
                <a:gd name="connsiteX157" fmla="*/ 2989 w 10000"/>
                <a:gd name="connsiteY157" fmla="*/ 2497 h 10000"/>
                <a:gd name="connsiteX158" fmla="*/ 2989 w 10000"/>
                <a:gd name="connsiteY158" fmla="*/ 2425 h 10000"/>
                <a:gd name="connsiteX159" fmla="*/ 2973 w 10000"/>
                <a:gd name="connsiteY159" fmla="*/ 2353 h 10000"/>
                <a:gd name="connsiteX160" fmla="*/ 2967 w 10000"/>
                <a:gd name="connsiteY160" fmla="*/ 2178 h 10000"/>
                <a:gd name="connsiteX161" fmla="*/ 2800 w 10000"/>
                <a:gd name="connsiteY161" fmla="*/ 1930 h 10000"/>
                <a:gd name="connsiteX162" fmla="*/ 2670 w 10000"/>
                <a:gd name="connsiteY162" fmla="*/ 2002 h 10000"/>
                <a:gd name="connsiteX163" fmla="*/ 2617 w 10000"/>
                <a:gd name="connsiteY163" fmla="*/ 1683 h 10000"/>
                <a:gd name="connsiteX164" fmla="*/ 2563 w 10000"/>
                <a:gd name="connsiteY164" fmla="*/ 1507 h 10000"/>
                <a:gd name="connsiteX165" fmla="*/ 2617 w 10000"/>
                <a:gd name="connsiteY165" fmla="*/ 1331 h 10000"/>
                <a:gd name="connsiteX166" fmla="*/ 2611 w 10000"/>
                <a:gd name="connsiteY166" fmla="*/ 1166 h 10000"/>
                <a:gd name="connsiteX167" fmla="*/ 2588 w 10000"/>
                <a:gd name="connsiteY167" fmla="*/ 1115 h 10000"/>
                <a:gd name="connsiteX168" fmla="*/ 2626 w 10000"/>
                <a:gd name="connsiteY168" fmla="*/ 1115 h 10000"/>
                <a:gd name="connsiteX169" fmla="*/ 2670 w 10000"/>
                <a:gd name="connsiteY169" fmla="*/ 1455 h 10000"/>
                <a:gd name="connsiteX170" fmla="*/ 2891 w 10000"/>
                <a:gd name="connsiteY170" fmla="*/ 1662 h 10000"/>
                <a:gd name="connsiteX171" fmla="*/ 2724 w 10000"/>
                <a:gd name="connsiteY171" fmla="*/ 1383 h 10000"/>
                <a:gd name="connsiteX172" fmla="*/ 3049 w 10000"/>
                <a:gd name="connsiteY172" fmla="*/ 1383 h 10000"/>
                <a:gd name="connsiteX173" fmla="*/ 3102 w 10000"/>
                <a:gd name="connsiteY173" fmla="*/ 1362 h 10000"/>
                <a:gd name="connsiteX174" fmla="*/ 2897 w 10000"/>
                <a:gd name="connsiteY174" fmla="*/ 1115 h 10000"/>
                <a:gd name="connsiteX175" fmla="*/ 2951 w 10000"/>
                <a:gd name="connsiteY175" fmla="*/ 888 h 10000"/>
                <a:gd name="connsiteX176" fmla="*/ 3178 w 10000"/>
                <a:gd name="connsiteY176" fmla="*/ 888 h 10000"/>
                <a:gd name="connsiteX177" fmla="*/ 3156 w 10000"/>
                <a:gd name="connsiteY177" fmla="*/ 713 h 10000"/>
                <a:gd name="connsiteX178" fmla="*/ 3231 w 10000"/>
                <a:gd name="connsiteY178" fmla="*/ 589 h 10000"/>
                <a:gd name="connsiteX179" fmla="*/ 3276 w 10000"/>
                <a:gd name="connsiteY179" fmla="*/ 548 h 10000"/>
                <a:gd name="connsiteX180" fmla="*/ 3443 w 10000"/>
                <a:gd name="connsiteY180" fmla="*/ 423 h 10000"/>
                <a:gd name="connsiteX181" fmla="*/ 3487 w 10000"/>
                <a:gd name="connsiteY181" fmla="*/ 371 h 10000"/>
                <a:gd name="connsiteX182" fmla="*/ 3480 w 10000"/>
                <a:gd name="connsiteY182" fmla="*/ 444 h 10000"/>
                <a:gd name="connsiteX183" fmla="*/ 3660 w 10000"/>
                <a:gd name="connsiteY183" fmla="*/ 371 h 10000"/>
                <a:gd name="connsiteX184" fmla="*/ 3805 w 10000"/>
                <a:gd name="connsiteY184" fmla="*/ 248 h 10000"/>
                <a:gd name="connsiteX185" fmla="*/ 3827 w 10000"/>
                <a:gd name="connsiteY185" fmla="*/ 0 h 10000"/>
                <a:gd name="connsiteX186" fmla="*/ 3988 w 10000"/>
                <a:gd name="connsiteY186" fmla="*/ 21 h 10000"/>
                <a:gd name="connsiteX187" fmla="*/ 3978 w 10000"/>
                <a:gd name="connsiteY187" fmla="*/ 93 h 10000"/>
                <a:gd name="connsiteX188" fmla="*/ 3988 w 10000"/>
                <a:gd name="connsiteY188" fmla="*/ 176 h 10000"/>
                <a:gd name="connsiteX189" fmla="*/ 4085 w 10000"/>
                <a:gd name="connsiteY189" fmla="*/ 248 h 10000"/>
                <a:gd name="connsiteX190" fmla="*/ 4379 w 10000"/>
                <a:gd name="connsiteY190" fmla="*/ 268 h 10000"/>
                <a:gd name="connsiteX191" fmla="*/ 4539 w 10000"/>
                <a:gd name="connsiteY191" fmla="*/ 392 h 10000"/>
                <a:gd name="connsiteX192" fmla="*/ 4486 w 10000"/>
                <a:gd name="connsiteY192" fmla="*/ 795 h 10000"/>
                <a:gd name="connsiteX193" fmla="*/ 4426 w 10000"/>
                <a:gd name="connsiteY193" fmla="*/ 919 h 10000"/>
                <a:gd name="connsiteX194" fmla="*/ 4356 w 10000"/>
                <a:gd name="connsiteY194" fmla="*/ 1043 h 10000"/>
                <a:gd name="connsiteX195" fmla="*/ 4372 w 10000"/>
                <a:gd name="connsiteY195" fmla="*/ 1115 h 10000"/>
                <a:gd name="connsiteX196" fmla="*/ 4583 w 10000"/>
                <a:gd name="connsiteY196" fmla="*/ 919 h 10000"/>
                <a:gd name="connsiteX197" fmla="*/ 5060 w 10000"/>
                <a:gd name="connsiteY197" fmla="*/ 991 h 10000"/>
                <a:gd name="connsiteX198" fmla="*/ 5108 w 10000"/>
                <a:gd name="connsiteY198" fmla="*/ 1063 h 10000"/>
                <a:gd name="connsiteX199" fmla="*/ 5212 w 10000"/>
                <a:gd name="connsiteY199" fmla="*/ 1187 h 10000"/>
                <a:gd name="connsiteX200" fmla="*/ 5357 w 10000"/>
                <a:gd name="connsiteY200" fmla="*/ 919 h 10000"/>
                <a:gd name="connsiteX201" fmla="*/ 5577 w 10000"/>
                <a:gd name="connsiteY201" fmla="*/ 1063 h 10000"/>
                <a:gd name="connsiteX202" fmla="*/ 5643 w 10000"/>
                <a:gd name="connsiteY202" fmla="*/ 1115 h 10000"/>
                <a:gd name="connsiteX203" fmla="*/ 5697 w 10000"/>
                <a:gd name="connsiteY203" fmla="*/ 1166 h 10000"/>
                <a:gd name="connsiteX204" fmla="*/ 5908 w 10000"/>
                <a:gd name="connsiteY204" fmla="*/ 1631 h 10000"/>
                <a:gd name="connsiteX205" fmla="*/ 5984 w 10000"/>
                <a:gd name="connsiteY205" fmla="*/ 1611 h 10000"/>
                <a:gd name="connsiteX206" fmla="*/ 5977 w 10000"/>
                <a:gd name="connsiteY206" fmla="*/ 1507 h 10000"/>
                <a:gd name="connsiteX207" fmla="*/ 5984 w 10000"/>
                <a:gd name="connsiteY207" fmla="*/ 1383 h 10000"/>
                <a:gd name="connsiteX208" fmla="*/ 6091 w 10000"/>
                <a:gd name="connsiteY208" fmla="*/ 1486 h 10000"/>
                <a:gd name="connsiteX209" fmla="*/ 6264 w 10000"/>
                <a:gd name="connsiteY209" fmla="*/ 1507 h 10000"/>
                <a:gd name="connsiteX210" fmla="*/ 6409 w 10000"/>
                <a:gd name="connsiteY210" fmla="*/ 1455 h 10000"/>
                <a:gd name="connsiteX211" fmla="*/ 6340 w 10000"/>
                <a:gd name="connsiteY211" fmla="*/ 1362 h 10000"/>
                <a:gd name="connsiteX212" fmla="*/ 6431 w 10000"/>
                <a:gd name="connsiteY212" fmla="*/ 1084 h 10000"/>
                <a:gd name="connsiteX213" fmla="*/ 6687 w 10000"/>
                <a:gd name="connsiteY213" fmla="*/ 1207 h 10000"/>
                <a:gd name="connsiteX214" fmla="*/ 6945 w 10000"/>
                <a:gd name="connsiteY214" fmla="*/ 1331 h 10000"/>
                <a:gd name="connsiteX215" fmla="*/ 6967 w 10000"/>
                <a:gd name="connsiteY215" fmla="*/ 1362 h 10000"/>
                <a:gd name="connsiteX216" fmla="*/ 7194 w 10000"/>
                <a:gd name="connsiteY216" fmla="*/ 1611 h 10000"/>
                <a:gd name="connsiteX217" fmla="*/ 7367 w 10000"/>
                <a:gd name="connsiteY217" fmla="*/ 1507 h 10000"/>
                <a:gd name="connsiteX218" fmla="*/ 7582 w 10000"/>
                <a:gd name="connsiteY218" fmla="*/ 1538 h 10000"/>
                <a:gd name="connsiteX219" fmla="*/ 7657 w 10000"/>
                <a:gd name="connsiteY219" fmla="*/ 1611 h 10000"/>
                <a:gd name="connsiteX220" fmla="*/ 7928 w 10000"/>
                <a:gd name="connsiteY220" fmla="*/ 1930 h 10000"/>
                <a:gd name="connsiteX221" fmla="*/ 8231 w 10000"/>
                <a:gd name="connsiteY221" fmla="*/ 1879 h 10000"/>
                <a:gd name="connsiteX222" fmla="*/ 8339 w 10000"/>
                <a:gd name="connsiteY222" fmla="*/ 2033 h 10000"/>
                <a:gd name="connsiteX223" fmla="*/ 8490 w 10000"/>
                <a:gd name="connsiteY223" fmla="*/ 2157 h 10000"/>
                <a:gd name="connsiteX224" fmla="*/ 8519 w 10000"/>
                <a:gd name="connsiteY224" fmla="*/ 2105 h 10000"/>
                <a:gd name="connsiteX225" fmla="*/ 8497 w 10000"/>
                <a:gd name="connsiteY225" fmla="*/ 2074 h 10000"/>
                <a:gd name="connsiteX226" fmla="*/ 8383 w 10000"/>
                <a:gd name="connsiteY226" fmla="*/ 1930 h 10000"/>
                <a:gd name="connsiteX227" fmla="*/ 8465 w 10000"/>
                <a:gd name="connsiteY227" fmla="*/ 1755 h 10000"/>
                <a:gd name="connsiteX228" fmla="*/ 8664 w 10000"/>
                <a:gd name="connsiteY228" fmla="*/ 1910 h 10000"/>
                <a:gd name="connsiteX229" fmla="*/ 8950 w 10000"/>
                <a:gd name="connsiteY229" fmla="*/ 1982 h 10000"/>
                <a:gd name="connsiteX230" fmla="*/ 9206 w 10000"/>
                <a:gd name="connsiteY230" fmla="*/ 2260 h 10000"/>
                <a:gd name="connsiteX231" fmla="*/ 9344 w 10000"/>
                <a:gd name="connsiteY231" fmla="*/ 2332 h 10000"/>
                <a:gd name="connsiteX232" fmla="*/ 9451 w 10000"/>
                <a:gd name="connsiteY232" fmla="*/ 2446 h 10000"/>
                <a:gd name="connsiteX233" fmla="*/ 9574 w 10000"/>
                <a:gd name="connsiteY233" fmla="*/ 2632 h 10000"/>
                <a:gd name="connsiteX234" fmla="*/ 9631 w 10000"/>
                <a:gd name="connsiteY234" fmla="*/ 2756 h 10000"/>
                <a:gd name="connsiteX235" fmla="*/ 9726 w 10000"/>
                <a:gd name="connsiteY235" fmla="*/ 2787 h 10000"/>
                <a:gd name="connsiteX236" fmla="*/ 9590 w 10000"/>
                <a:gd name="connsiteY236" fmla="*/ 2570 h 10000"/>
                <a:gd name="connsiteX237" fmla="*/ 9915 w 10000"/>
                <a:gd name="connsiteY237" fmla="*/ 2756 h 10000"/>
                <a:gd name="connsiteX238" fmla="*/ 10000 w 10000"/>
                <a:gd name="connsiteY238" fmla="*/ 3014 h 10000"/>
                <a:gd name="connsiteX239" fmla="*/ 9934 w 10000"/>
                <a:gd name="connsiteY239" fmla="*/ 2941 h 10000"/>
                <a:gd name="connsiteX240" fmla="*/ 9874 w 10000"/>
                <a:gd name="connsiteY240" fmla="*/ 2952 h 10000"/>
                <a:gd name="connsiteX241" fmla="*/ 10000 w 10000"/>
                <a:gd name="connsiteY241" fmla="*/ 3292 h 10000"/>
                <a:gd name="connsiteX242" fmla="*/ 9845 w 10000"/>
                <a:gd name="connsiteY242" fmla="*/ 3220 h 10000"/>
                <a:gd name="connsiteX243" fmla="*/ 9745 w 10000"/>
                <a:gd name="connsiteY243" fmla="*/ 3075 h 10000"/>
                <a:gd name="connsiteX244" fmla="*/ 9641 w 10000"/>
                <a:gd name="connsiteY244" fmla="*/ 2972 h 10000"/>
                <a:gd name="connsiteX245" fmla="*/ 9555 w 10000"/>
                <a:gd name="connsiteY245" fmla="*/ 3003 h 10000"/>
                <a:gd name="connsiteX246" fmla="*/ 9470 w 10000"/>
                <a:gd name="connsiteY246" fmla="*/ 2787 h 10000"/>
                <a:gd name="connsiteX247" fmla="*/ 9366 w 10000"/>
                <a:gd name="connsiteY247" fmla="*/ 2725 h 10000"/>
                <a:gd name="connsiteX248" fmla="*/ 9461 w 10000"/>
                <a:gd name="connsiteY248" fmla="*/ 2972 h 10000"/>
                <a:gd name="connsiteX249" fmla="*/ 9470 w 10000"/>
                <a:gd name="connsiteY249" fmla="*/ 3230 h 10000"/>
                <a:gd name="connsiteX250" fmla="*/ 9288 w 10000"/>
                <a:gd name="connsiteY250" fmla="*/ 3065 h 10000"/>
                <a:gd name="connsiteX251" fmla="*/ 9262 w 10000"/>
                <a:gd name="connsiteY251" fmla="*/ 3230 h 10000"/>
                <a:gd name="connsiteX252" fmla="*/ 9363 w 10000"/>
                <a:gd name="connsiteY252" fmla="*/ 3230 h 10000"/>
                <a:gd name="connsiteX253" fmla="*/ 9451 w 10000"/>
                <a:gd name="connsiteY253" fmla="*/ 3354 h 10000"/>
                <a:gd name="connsiteX254" fmla="*/ 9659 w 10000"/>
                <a:gd name="connsiteY254" fmla="*/ 3685 h 10000"/>
                <a:gd name="connsiteX255" fmla="*/ 9735 w 10000"/>
                <a:gd name="connsiteY255" fmla="*/ 3839 h 10000"/>
                <a:gd name="connsiteX256" fmla="*/ 9552 w 10000"/>
                <a:gd name="connsiteY256" fmla="*/ 3757 h 10000"/>
                <a:gd name="connsiteX257" fmla="*/ 9451 w 10000"/>
                <a:gd name="connsiteY257" fmla="*/ 4025 h 10000"/>
                <a:gd name="connsiteX258" fmla="*/ 9385 w 10000"/>
                <a:gd name="connsiteY258" fmla="*/ 4283 h 10000"/>
                <a:gd name="connsiteX259" fmla="*/ 9376 w 10000"/>
                <a:gd name="connsiteY259" fmla="*/ 4499 h 10000"/>
                <a:gd name="connsiteX260" fmla="*/ 9335 w 10000"/>
                <a:gd name="connsiteY260" fmla="*/ 4303 h 10000"/>
                <a:gd name="connsiteX261" fmla="*/ 9149 w 10000"/>
                <a:gd name="connsiteY261" fmla="*/ 4314 h 10000"/>
                <a:gd name="connsiteX262" fmla="*/ 9155 w 10000"/>
                <a:gd name="connsiteY262" fmla="*/ 4531 h 10000"/>
                <a:gd name="connsiteX263" fmla="*/ 9061 w 10000"/>
                <a:gd name="connsiteY263" fmla="*/ 4365 h 10000"/>
                <a:gd name="connsiteX264" fmla="*/ 9054 w 10000"/>
                <a:gd name="connsiteY264" fmla="*/ 4521 h 10000"/>
                <a:gd name="connsiteX265" fmla="*/ 8998 w 10000"/>
                <a:gd name="connsiteY265" fmla="*/ 4458 h 10000"/>
                <a:gd name="connsiteX266" fmla="*/ 8966 w 10000"/>
                <a:gd name="connsiteY266" fmla="*/ 4562 h 10000"/>
                <a:gd name="connsiteX267" fmla="*/ 9007 w 10000"/>
                <a:gd name="connsiteY267" fmla="*/ 4686 h 10000"/>
                <a:gd name="connsiteX268" fmla="*/ 9004 w 10000"/>
                <a:gd name="connsiteY268" fmla="*/ 4995 h 10000"/>
                <a:gd name="connsiteX269" fmla="*/ 9073 w 10000"/>
                <a:gd name="connsiteY269" fmla="*/ 5211 h 10000"/>
                <a:gd name="connsiteX270" fmla="*/ 9130 w 10000"/>
                <a:gd name="connsiteY270" fmla="*/ 5150 h 10000"/>
                <a:gd name="connsiteX271" fmla="*/ 9158 w 10000"/>
                <a:gd name="connsiteY271" fmla="*/ 5211 h 10000"/>
                <a:gd name="connsiteX272" fmla="*/ 9231 w 10000"/>
                <a:gd name="connsiteY272" fmla="*/ 5428 h 10000"/>
                <a:gd name="connsiteX273" fmla="*/ 9215 w 10000"/>
                <a:gd name="connsiteY273" fmla="*/ 5604 h 10000"/>
                <a:gd name="connsiteX274" fmla="*/ 9221 w 10000"/>
                <a:gd name="connsiteY274" fmla="*/ 5769 h 10000"/>
                <a:gd name="connsiteX275" fmla="*/ 9269 w 10000"/>
                <a:gd name="connsiteY275" fmla="*/ 5883 h 10000"/>
                <a:gd name="connsiteX276" fmla="*/ 9344 w 10000"/>
                <a:gd name="connsiteY276" fmla="*/ 6068 h 10000"/>
                <a:gd name="connsiteX277" fmla="*/ 9269 w 10000"/>
                <a:gd name="connsiteY277" fmla="*/ 6068 h 10000"/>
                <a:gd name="connsiteX278" fmla="*/ 9253 w 10000"/>
                <a:gd name="connsiteY278" fmla="*/ 6223 h 10000"/>
                <a:gd name="connsiteX279" fmla="*/ 9319 w 10000"/>
                <a:gd name="connsiteY279" fmla="*/ 6408 h 10000"/>
                <a:gd name="connsiteX280" fmla="*/ 9250 w 10000"/>
                <a:gd name="connsiteY280" fmla="*/ 6502 h 10000"/>
                <a:gd name="connsiteX281" fmla="*/ 9297 w 10000"/>
                <a:gd name="connsiteY281" fmla="*/ 6729 h 10000"/>
                <a:gd name="connsiteX282" fmla="*/ 9281 w 10000"/>
                <a:gd name="connsiteY282" fmla="*/ 7069 h 10000"/>
                <a:gd name="connsiteX283" fmla="*/ 9061 w 10000"/>
                <a:gd name="connsiteY283" fmla="*/ 6408 h 10000"/>
                <a:gd name="connsiteX284" fmla="*/ 8824 w 10000"/>
                <a:gd name="connsiteY284" fmla="*/ 5759 h 10000"/>
                <a:gd name="connsiteX285" fmla="*/ 8771 w 10000"/>
                <a:gd name="connsiteY285" fmla="*/ 5459 h 10000"/>
                <a:gd name="connsiteX286" fmla="*/ 8768 w 10000"/>
                <a:gd name="connsiteY286" fmla="*/ 5211 h 10000"/>
                <a:gd name="connsiteX287" fmla="*/ 8692 w 10000"/>
                <a:gd name="connsiteY287" fmla="*/ 5047 h 10000"/>
                <a:gd name="connsiteX288" fmla="*/ 8771 w 10000"/>
                <a:gd name="connsiteY288" fmla="*/ 5088 h 10000"/>
                <a:gd name="connsiteX289" fmla="*/ 8809 w 10000"/>
                <a:gd name="connsiteY289" fmla="*/ 5108 h 10000"/>
                <a:gd name="connsiteX290" fmla="*/ 8809 w 10000"/>
                <a:gd name="connsiteY290" fmla="*/ 4840 h 10000"/>
                <a:gd name="connsiteX291" fmla="*/ 8827 w 10000"/>
                <a:gd name="connsiteY291" fmla="*/ 4437 h 10000"/>
                <a:gd name="connsiteX292" fmla="*/ 8853 w 10000"/>
                <a:gd name="connsiteY292" fmla="*/ 4252 h 10000"/>
                <a:gd name="connsiteX293" fmla="*/ 8909 w 10000"/>
                <a:gd name="connsiteY293" fmla="*/ 4221 h 10000"/>
                <a:gd name="connsiteX294" fmla="*/ 8786 w 10000"/>
                <a:gd name="connsiteY294" fmla="*/ 3901 h 10000"/>
                <a:gd name="connsiteX295" fmla="*/ 8853 w 10000"/>
                <a:gd name="connsiteY295" fmla="*/ 3839 h 10000"/>
                <a:gd name="connsiteX296" fmla="*/ 8739 w 10000"/>
                <a:gd name="connsiteY296" fmla="*/ 3788 h 10000"/>
                <a:gd name="connsiteX297" fmla="*/ 8755 w 10000"/>
                <a:gd name="connsiteY297" fmla="*/ 3984 h 10000"/>
                <a:gd name="connsiteX298" fmla="*/ 8692 w 10000"/>
                <a:gd name="connsiteY298" fmla="*/ 4303 h 10000"/>
                <a:gd name="connsiteX299" fmla="*/ 8604 w 10000"/>
                <a:gd name="connsiteY299" fmla="*/ 4210 h 10000"/>
                <a:gd name="connsiteX300" fmla="*/ 8550 w 10000"/>
                <a:gd name="connsiteY300" fmla="*/ 4056 h 10000"/>
                <a:gd name="connsiteX301" fmla="*/ 8481 w 10000"/>
                <a:gd name="connsiteY301" fmla="*/ 4138 h 10000"/>
                <a:gd name="connsiteX302" fmla="*/ 8389 w 10000"/>
                <a:gd name="connsiteY302" fmla="*/ 4107 h 10000"/>
                <a:gd name="connsiteX303" fmla="*/ 8352 w 10000"/>
                <a:gd name="connsiteY303" fmla="*/ 4406 h 10000"/>
                <a:gd name="connsiteX304" fmla="*/ 8481 w 10000"/>
                <a:gd name="connsiteY304" fmla="*/ 4655 h 10000"/>
                <a:gd name="connsiteX305" fmla="*/ 8405 w 10000"/>
                <a:gd name="connsiteY305" fmla="*/ 4830 h 10000"/>
                <a:gd name="connsiteX306" fmla="*/ 8225 w 10000"/>
                <a:gd name="connsiteY306" fmla="*/ 4799 h 10000"/>
                <a:gd name="connsiteX307" fmla="*/ 8209 w 10000"/>
                <a:gd name="connsiteY307" fmla="*/ 4655 h 10000"/>
                <a:gd name="connsiteX308" fmla="*/ 8102 w 10000"/>
                <a:gd name="connsiteY308" fmla="*/ 4634 h 10000"/>
                <a:gd name="connsiteX309" fmla="*/ 7641 w 10000"/>
                <a:gd name="connsiteY309" fmla="*/ 4779 h 10000"/>
                <a:gd name="connsiteX310" fmla="*/ 7610 w 10000"/>
                <a:gd name="connsiteY310" fmla="*/ 5005 h 10000"/>
                <a:gd name="connsiteX311" fmla="*/ 7550 w 10000"/>
                <a:gd name="connsiteY311" fmla="*/ 5666 h 10000"/>
                <a:gd name="connsiteX312" fmla="*/ 7496 w 10000"/>
                <a:gd name="connsiteY312" fmla="*/ 5965 h 10000"/>
                <a:gd name="connsiteX313" fmla="*/ 7701 w 10000"/>
                <a:gd name="connsiteY313" fmla="*/ 6161 h 10000"/>
                <a:gd name="connsiteX314" fmla="*/ 7745 w 10000"/>
                <a:gd name="connsiteY314" fmla="*/ 6243 h 10000"/>
                <a:gd name="connsiteX315" fmla="*/ 7771 w 10000"/>
                <a:gd name="connsiteY315" fmla="*/ 6285 h 10000"/>
                <a:gd name="connsiteX316" fmla="*/ 7793 w 10000"/>
                <a:gd name="connsiteY316" fmla="*/ 6068 h 10000"/>
                <a:gd name="connsiteX317" fmla="*/ 7912 w 10000"/>
                <a:gd name="connsiteY317" fmla="*/ 6089 h 10000"/>
                <a:gd name="connsiteX318" fmla="*/ 8004 w 10000"/>
                <a:gd name="connsiteY318" fmla="*/ 6367 h 10000"/>
                <a:gd name="connsiteX319" fmla="*/ 8064 w 10000"/>
                <a:gd name="connsiteY319" fmla="*/ 6616 h 10000"/>
                <a:gd name="connsiteX320" fmla="*/ 8111 w 10000"/>
                <a:gd name="connsiteY320" fmla="*/ 6781 h 10000"/>
                <a:gd name="connsiteX321" fmla="*/ 8048 w 10000"/>
                <a:gd name="connsiteY321" fmla="*/ 6491 h 10000"/>
                <a:gd name="connsiteX322" fmla="*/ 8124 w 10000"/>
                <a:gd name="connsiteY322" fmla="*/ 6336 h 10000"/>
                <a:gd name="connsiteX323" fmla="*/ 8177 w 10000"/>
                <a:gd name="connsiteY323" fmla="*/ 6512 h 10000"/>
                <a:gd name="connsiteX324" fmla="*/ 8300 w 10000"/>
                <a:gd name="connsiteY324" fmla="*/ 6987 h 10000"/>
                <a:gd name="connsiteX325" fmla="*/ 8361 w 10000"/>
                <a:gd name="connsiteY325" fmla="*/ 7152 h 10000"/>
                <a:gd name="connsiteX326" fmla="*/ 8490 w 10000"/>
                <a:gd name="connsiteY326" fmla="*/ 7482 h 10000"/>
                <a:gd name="connsiteX327" fmla="*/ 8604 w 10000"/>
                <a:gd name="connsiteY327" fmla="*/ 7854 h 10000"/>
                <a:gd name="connsiteX328" fmla="*/ 8474 w 10000"/>
                <a:gd name="connsiteY328" fmla="*/ 7647 h 10000"/>
                <a:gd name="connsiteX329" fmla="*/ 8443 w 10000"/>
                <a:gd name="connsiteY329" fmla="*/ 7678 h 10000"/>
                <a:gd name="connsiteX330" fmla="*/ 8512 w 10000"/>
                <a:gd name="connsiteY330" fmla="*/ 8050 h 10000"/>
                <a:gd name="connsiteX331" fmla="*/ 8588 w 10000"/>
                <a:gd name="connsiteY331" fmla="*/ 8266 h 10000"/>
                <a:gd name="connsiteX332" fmla="*/ 8642 w 10000"/>
                <a:gd name="connsiteY332" fmla="*/ 8472 h 10000"/>
                <a:gd name="connsiteX333" fmla="*/ 8566 w 10000"/>
                <a:gd name="connsiteY333" fmla="*/ 8421 h 10000"/>
                <a:gd name="connsiteX334" fmla="*/ 8556 w 10000"/>
                <a:gd name="connsiteY334" fmla="*/ 8669 h 10000"/>
                <a:gd name="connsiteX335" fmla="*/ 8497 w 10000"/>
                <a:gd name="connsiteY335" fmla="*/ 8493 h 10000"/>
                <a:gd name="connsiteX336" fmla="*/ 8481 w 10000"/>
                <a:gd name="connsiteY336" fmla="*/ 8421 h 10000"/>
                <a:gd name="connsiteX337" fmla="*/ 8361 w 10000"/>
                <a:gd name="connsiteY337" fmla="*/ 7751 h 10000"/>
                <a:gd name="connsiteX338" fmla="*/ 8322 w 10000"/>
                <a:gd name="connsiteY338" fmla="*/ 7524 h 10000"/>
                <a:gd name="connsiteX339" fmla="*/ 8291 w 10000"/>
                <a:gd name="connsiteY339" fmla="*/ 7378 h 10000"/>
                <a:gd name="connsiteX340" fmla="*/ 8275 w 10000"/>
                <a:gd name="connsiteY340" fmla="*/ 7306 h 10000"/>
                <a:gd name="connsiteX341" fmla="*/ 8139 w 10000"/>
                <a:gd name="connsiteY341" fmla="*/ 6863 h 10000"/>
                <a:gd name="connsiteX342" fmla="*/ 8199 w 10000"/>
                <a:gd name="connsiteY342" fmla="*/ 7451 h 10000"/>
                <a:gd name="connsiteX343" fmla="*/ 8247 w 10000"/>
                <a:gd name="connsiteY343" fmla="*/ 7998 h 10000"/>
                <a:gd name="connsiteX344" fmla="*/ 8177 w 10000"/>
                <a:gd name="connsiteY344" fmla="*/ 9133 h 10000"/>
                <a:gd name="connsiteX345" fmla="*/ 8124 w 10000"/>
                <a:gd name="connsiteY345" fmla="*/ 9484 h 10000"/>
                <a:gd name="connsiteX346" fmla="*/ 7972 w 10000"/>
                <a:gd name="connsiteY346" fmla="*/ 9432 h 10000"/>
                <a:gd name="connsiteX347" fmla="*/ 7897 w 10000"/>
                <a:gd name="connsiteY347" fmla="*/ 9660 h 10000"/>
                <a:gd name="connsiteX348" fmla="*/ 7868 w 10000"/>
                <a:gd name="connsiteY348" fmla="*/ 9588 h 10000"/>
                <a:gd name="connsiteX349" fmla="*/ 7884 w 10000"/>
                <a:gd name="connsiteY349" fmla="*/ 9536 h 10000"/>
                <a:gd name="connsiteX350" fmla="*/ 7897 w 10000"/>
                <a:gd name="connsiteY350" fmla="*/ 9380 h 10000"/>
                <a:gd name="connsiteX351" fmla="*/ 7884 w 10000"/>
                <a:gd name="connsiteY351" fmla="*/ 9236 h 10000"/>
                <a:gd name="connsiteX352" fmla="*/ 7793 w 10000"/>
                <a:gd name="connsiteY352" fmla="*/ 8865 h 10000"/>
                <a:gd name="connsiteX353" fmla="*/ 7831 w 10000"/>
                <a:gd name="connsiteY353" fmla="*/ 8741 h 10000"/>
                <a:gd name="connsiteX354" fmla="*/ 7928 w 10000"/>
                <a:gd name="connsiteY354" fmla="*/ 8844 h 10000"/>
                <a:gd name="connsiteX355" fmla="*/ 7912 w 10000"/>
                <a:gd name="connsiteY355" fmla="*/ 8318 h 10000"/>
                <a:gd name="connsiteX356" fmla="*/ 7906 w 10000"/>
                <a:gd name="connsiteY356" fmla="*/ 8019 h 10000"/>
                <a:gd name="connsiteX357" fmla="*/ 7846 w 10000"/>
                <a:gd name="connsiteY357" fmla="*/ 7802 h 10000"/>
                <a:gd name="connsiteX358" fmla="*/ 7723 w 10000"/>
                <a:gd name="connsiteY358" fmla="*/ 8050 h 10000"/>
                <a:gd name="connsiteX359" fmla="*/ 7619 w 10000"/>
                <a:gd name="connsiteY359" fmla="*/ 8019 h 10000"/>
                <a:gd name="connsiteX360" fmla="*/ 7528 w 10000"/>
                <a:gd name="connsiteY360" fmla="*/ 7699 h 10000"/>
                <a:gd name="connsiteX361" fmla="*/ 7355 w 10000"/>
                <a:gd name="connsiteY361" fmla="*/ 7482 h 10000"/>
                <a:gd name="connsiteX362" fmla="*/ 7279 w 10000"/>
                <a:gd name="connsiteY362" fmla="*/ 7482 h 10000"/>
                <a:gd name="connsiteX363" fmla="*/ 7080 w 10000"/>
                <a:gd name="connsiteY363" fmla="*/ 6781 h 10000"/>
                <a:gd name="connsiteX364" fmla="*/ 6901 w 10000"/>
                <a:gd name="connsiteY364" fmla="*/ 6460 h 10000"/>
                <a:gd name="connsiteX365" fmla="*/ 6724 w 10000"/>
                <a:gd name="connsiteY365" fmla="*/ 6336 h 10000"/>
                <a:gd name="connsiteX366" fmla="*/ 6583 w 10000"/>
                <a:gd name="connsiteY366" fmla="*/ 6408 h 10000"/>
                <a:gd name="connsiteX367" fmla="*/ 6567 w 10000"/>
                <a:gd name="connsiteY367" fmla="*/ 6585 h 10000"/>
                <a:gd name="connsiteX368" fmla="*/ 6664 w 10000"/>
                <a:gd name="connsiteY368" fmla="*/ 6760 h 10000"/>
                <a:gd name="connsiteX369" fmla="*/ 6636 w 10000"/>
                <a:gd name="connsiteY369" fmla="*/ 6935 h 10000"/>
                <a:gd name="connsiteX370" fmla="*/ 6636 w 10000"/>
                <a:gd name="connsiteY370" fmla="*/ 7399 h 10000"/>
                <a:gd name="connsiteX371" fmla="*/ 6560 w 10000"/>
                <a:gd name="connsiteY371" fmla="*/ 7482 h 10000"/>
                <a:gd name="connsiteX372" fmla="*/ 6485 w 10000"/>
                <a:gd name="connsiteY372" fmla="*/ 7378 h 10000"/>
                <a:gd name="connsiteX373" fmla="*/ 6400 w 10000"/>
                <a:gd name="connsiteY373" fmla="*/ 7399 h 10000"/>
                <a:gd name="connsiteX374" fmla="*/ 6334 w 10000"/>
                <a:gd name="connsiteY374" fmla="*/ 7275 h 10000"/>
                <a:gd name="connsiteX375" fmla="*/ 6258 w 10000"/>
                <a:gd name="connsiteY375" fmla="*/ 7358 h 10000"/>
                <a:gd name="connsiteX376" fmla="*/ 6220 w 10000"/>
                <a:gd name="connsiteY376" fmla="*/ 7524 h 10000"/>
                <a:gd name="connsiteX377" fmla="*/ 6081 w 10000"/>
                <a:gd name="connsiteY377" fmla="*/ 7606 h 10000"/>
                <a:gd name="connsiteX378" fmla="*/ 5892 w 10000"/>
                <a:gd name="connsiteY378" fmla="*/ 7575 h 10000"/>
                <a:gd name="connsiteX379" fmla="*/ 5855 w 10000"/>
                <a:gd name="connsiteY379" fmla="*/ 7327 h 10000"/>
                <a:gd name="connsiteX380" fmla="*/ 5643 w 10000"/>
                <a:gd name="connsiteY380" fmla="*/ 7255 h 10000"/>
                <a:gd name="connsiteX381" fmla="*/ 5539 w 10000"/>
                <a:gd name="connsiteY381" fmla="*/ 7358 h 10000"/>
                <a:gd name="connsiteX382" fmla="*/ 5416 w 10000"/>
                <a:gd name="connsiteY382" fmla="*/ 7203 h 10000"/>
                <a:gd name="connsiteX383" fmla="*/ 5372 w 10000"/>
                <a:gd name="connsiteY383"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2443 w 10000"/>
                <a:gd name="connsiteY20" fmla="*/ 6408 h 10000"/>
                <a:gd name="connsiteX21" fmla="*/ 1610 w 10000"/>
                <a:gd name="connsiteY21" fmla="*/ 7183 h 10000"/>
                <a:gd name="connsiteX22" fmla="*/ 1655 w 10000"/>
                <a:gd name="connsiteY22" fmla="*/ 7430 h 10000"/>
                <a:gd name="connsiteX23" fmla="*/ 1604 w 10000"/>
                <a:gd name="connsiteY23" fmla="*/ 7430 h 10000"/>
                <a:gd name="connsiteX24" fmla="*/ 1551 w 10000"/>
                <a:gd name="connsiteY24" fmla="*/ 7255 h 10000"/>
                <a:gd name="connsiteX25" fmla="*/ 1513 w 10000"/>
                <a:gd name="connsiteY25" fmla="*/ 7430 h 10000"/>
                <a:gd name="connsiteX26" fmla="*/ 1519 w 10000"/>
                <a:gd name="connsiteY26" fmla="*/ 7854 h 10000"/>
                <a:gd name="connsiteX27" fmla="*/ 1604 w 10000"/>
                <a:gd name="connsiteY27" fmla="*/ 8070 h 10000"/>
                <a:gd name="connsiteX28" fmla="*/ 1648 w 10000"/>
                <a:gd name="connsiteY28" fmla="*/ 8019 h 10000"/>
                <a:gd name="connsiteX29" fmla="*/ 1741 w 10000"/>
                <a:gd name="connsiteY29" fmla="*/ 8493 h 10000"/>
                <a:gd name="connsiteX30" fmla="*/ 1610 w 10000"/>
                <a:gd name="connsiteY30" fmla="*/ 8669 h 10000"/>
                <a:gd name="connsiteX31" fmla="*/ 1595 w 10000"/>
                <a:gd name="connsiteY31" fmla="*/ 9009 h 10000"/>
                <a:gd name="connsiteX32" fmla="*/ 1664 w 10000"/>
                <a:gd name="connsiteY32" fmla="*/ 9236 h 10000"/>
                <a:gd name="connsiteX33" fmla="*/ 1664 w 10000"/>
                <a:gd name="connsiteY33" fmla="*/ 9484 h 10000"/>
                <a:gd name="connsiteX34" fmla="*/ 1769 w 10000"/>
                <a:gd name="connsiteY34" fmla="*/ 9835 h 10000"/>
                <a:gd name="connsiteX35" fmla="*/ 1703 w 10000"/>
                <a:gd name="connsiteY35" fmla="*/ 10000 h 10000"/>
                <a:gd name="connsiteX36" fmla="*/ 1604 w 10000"/>
                <a:gd name="connsiteY36" fmla="*/ 9753 h 10000"/>
                <a:gd name="connsiteX37" fmla="*/ 1465 w 10000"/>
                <a:gd name="connsiteY37" fmla="*/ 9505 h 10000"/>
                <a:gd name="connsiteX38" fmla="*/ 1406 w 10000"/>
                <a:gd name="connsiteY38" fmla="*/ 9588 h 10000"/>
                <a:gd name="connsiteX39" fmla="*/ 1308 w 10000"/>
                <a:gd name="connsiteY39" fmla="*/ 9380 h 10000"/>
                <a:gd name="connsiteX40" fmla="*/ 1097 w 10000"/>
                <a:gd name="connsiteY40" fmla="*/ 9339 h 10000"/>
                <a:gd name="connsiteX41" fmla="*/ 848 w 10000"/>
                <a:gd name="connsiteY41" fmla="*/ 8813 h 10000"/>
                <a:gd name="connsiteX42" fmla="*/ 914 w 10000"/>
                <a:gd name="connsiteY42" fmla="*/ 8721 h 10000"/>
                <a:gd name="connsiteX43" fmla="*/ 961 w 10000"/>
                <a:gd name="connsiteY43" fmla="*/ 8493 h 10000"/>
                <a:gd name="connsiteX44" fmla="*/ 908 w 10000"/>
                <a:gd name="connsiteY44" fmla="*/ 8390 h 10000"/>
                <a:gd name="connsiteX45" fmla="*/ 1021 w 10000"/>
                <a:gd name="connsiteY45" fmla="*/ 8245 h 10000"/>
                <a:gd name="connsiteX46" fmla="*/ 945 w 10000"/>
                <a:gd name="connsiteY46" fmla="*/ 8194 h 10000"/>
                <a:gd name="connsiteX47" fmla="*/ 958 w 10000"/>
                <a:gd name="connsiteY47" fmla="*/ 8091 h 10000"/>
                <a:gd name="connsiteX48" fmla="*/ 1005 w 10000"/>
                <a:gd name="connsiteY48" fmla="*/ 8111 h 10000"/>
                <a:gd name="connsiteX49" fmla="*/ 1059 w 10000"/>
                <a:gd name="connsiteY49" fmla="*/ 8019 h 10000"/>
                <a:gd name="connsiteX50" fmla="*/ 1034 w 10000"/>
                <a:gd name="connsiteY50" fmla="*/ 7864 h 10000"/>
                <a:gd name="connsiteX51" fmla="*/ 1043 w 10000"/>
                <a:gd name="connsiteY51" fmla="*/ 7503 h 10000"/>
                <a:gd name="connsiteX52" fmla="*/ 930 w 10000"/>
                <a:gd name="connsiteY52" fmla="*/ 7440 h 10000"/>
                <a:gd name="connsiteX53" fmla="*/ 832 w 10000"/>
                <a:gd name="connsiteY53" fmla="*/ 7286 h 10000"/>
                <a:gd name="connsiteX54" fmla="*/ 700 w 10000"/>
                <a:gd name="connsiteY54" fmla="*/ 7275 h 10000"/>
                <a:gd name="connsiteX55" fmla="*/ 684 w 10000"/>
                <a:gd name="connsiteY55" fmla="*/ 7090 h 10000"/>
                <a:gd name="connsiteX56" fmla="*/ 596 w 10000"/>
                <a:gd name="connsiteY56" fmla="*/ 6945 h 10000"/>
                <a:gd name="connsiteX57" fmla="*/ 615 w 10000"/>
                <a:gd name="connsiteY57" fmla="*/ 6822 h 10000"/>
                <a:gd name="connsiteX58" fmla="*/ 561 w 10000"/>
                <a:gd name="connsiteY58" fmla="*/ 6698 h 10000"/>
                <a:gd name="connsiteX59" fmla="*/ 457 w 10000"/>
                <a:gd name="connsiteY59" fmla="*/ 6698 h 10000"/>
                <a:gd name="connsiteX60" fmla="*/ 425 w 10000"/>
                <a:gd name="connsiteY60" fmla="*/ 6791 h 10000"/>
                <a:gd name="connsiteX61" fmla="*/ 400 w 10000"/>
                <a:gd name="connsiteY61" fmla="*/ 6750 h 10000"/>
                <a:gd name="connsiteX62" fmla="*/ 378 w 10000"/>
                <a:gd name="connsiteY62" fmla="*/ 6439 h 10000"/>
                <a:gd name="connsiteX63" fmla="*/ 419 w 10000"/>
                <a:gd name="connsiteY63" fmla="*/ 6470 h 10000"/>
                <a:gd name="connsiteX64" fmla="*/ 466 w 10000"/>
                <a:gd name="connsiteY64" fmla="*/ 6347 h 10000"/>
                <a:gd name="connsiteX65" fmla="*/ 400 w 10000"/>
                <a:gd name="connsiteY65" fmla="*/ 6233 h 10000"/>
                <a:gd name="connsiteX66" fmla="*/ 315 w 10000"/>
                <a:gd name="connsiteY66" fmla="*/ 6017 h 10000"/>
                <a:gd name="connsiteX67" fmla="*/ 334 w 10000"/>
                <a:gd name="connsiteY67" fmla="*/ 5821 h 10000"/>
                <a:gd name="connsiteX68" fmla="*/ 274 w 10000"/>
                <a:gd name="connsiteY68" fmla="*/ 5697 h 10000"/>
                <a:gd name="connsiteX69" fmla="*/ 227 w 10000"/>
                <a:gd name="connsiteY69" fmla="*/ 5728 h 10000"/>
                <a:gd name="connsiteX70" fmla="*/ 202 w 10000"/>
                <a:gd name="connsiteY70" fmla="*/ 5604 h 10000"/>
                <a:gd name="connsiteX71" fmla="*/ 164 w 10000"/>
                <a:gd name="connsiteY71" fmla="*/ 5645 h 10000"/>
                <a:gd name="connsiteX72" fmla="*/ 117 w 10000"/>
                <a:gd name="connsiteY72" fmla="*/ 5604 h 10000"/>
                <a:gd name="connsiteX73" fmla="*/ 69 w 10000"/>
                <a:gd name="connsiteY73" fmla="*/ 5181 h 10000"/>
                <a:gd name="connsiteX74" fmla="*/ 85 w 10000"/>
                <a:gd name="connsiteY74" fmla="*/ 5057 h 10000"/>
                <a:gd name="connsiteX75" fmla="*/ 41 w 10000"/>
                <a:gd name="connsiteY75" fmla="*/ 4892 h 10000"/>
                <a:gd name="connsiteX76" fmla="*/ 66 w 10000"/>
                <a:gd name="connsiteY76" fmla="*/ 4655 h 10000"/>
                <a:gd name="connsiteX77" fmla="*/ 211 w 10000"/>
                <a:gd name="connsiteY77" fmla="*/ 4510 h 10000"/>
                <a:gd name="connsiteX78" fmla="*/ 129 w 10000"/>
                <a:gd name="connsiteY78" fmla="*/ 4406 h 10000"/>
                <a:gd name="connsiteX79" fmla="*/ 82 w 10000"/>
                <a:gd name="connsiteY79" fmla="*/ 4283 h 10000"/>
                <a:gd name="connsiteX80" fmla="*/ 205 w 10000"/>
                <a:gd name="connsiteY80" fmla="*/ 3912 h 10000"/>
                <a:gd name="connsiteX81" fmla="*/ 249 w 10000"/>
                <a:gd name="connsiteY81" fmla="*/ 3664 h 10000"/>
                <a:gd name="connsiteX82" fmla="*/ 151 w 10000"/>
                <a:gd name="connsiteY82" fmla="*/ 3488 h 10000"/>
                <a:gd name="connsiteX83" fmla="*/ 189 w 10000"/>
                <a:gd name="connsiteY83" fmla="*/ 3344 h 10000"/>
                <a:gd name="connsiteX84" fmla="*/ 113 w 10000"/>
                <a:gd name="connsiteY84" fmla="*/ 3148 h 10000"/>
                <a:gd name="connsiteX85" fmla="*/ 113 w 10000"/>
                <a:gd name="connsiteY85" fmla="*/ 2972 h 10000"/>
                <a:gd name="connsiteX86" fmla="*/ 60 w 10000"/>
                <a:gd name="connsiteY86" fmla="*/ 2622 h 10000"/>
                <a:gd name="connsiteX87" fmla="*/ 98 w 10000"/>
                <a:gd name="connsiteY87" fmla="*/ 2404 h 10000"/>
                <a:gd name="connsiteX88" fmla="*/ 38 w 10000"/>
                <a:gd name="connsiteY88" fmla="*/ 2301 h 10000"/>
                <a:gd name="connsiteX89" fmla="*/ 0 w 10000"/>
                <a:gd name="connsiteY89" fmla="*/ 2178 h 10000"/>
                <a:gd name="connsiteX90" fmla="*/ 54 w 10000"/>
                <a:gd name="connsiteY90" fmla="*/ 1951 h 10000"/>
                <a:gd name="connsiteX91" fmla="*/ 120 w 10000"/>
                <a:gd name="connsiteY91" fmla="*/ 1910 h 10000"/>
                <a:gd name="connsiteX92" fmla="*/ 195 w 10000"/>
                <a:gd name="connsiteY92" fmla="*/ 1858 h 10000"/>
                <a:gd name="connsiteX93" fmla="*/ 309 w 10000"/>
                <a:gd name="connsiteY93" fmla="*/ 1951 h 10000"/>
                <a:gd name="connsiteX94" fmla="*/ 482 w 10000"/>
                <a:gd name="connsiteY94" fmla="*/ 2054 h 10000"/>
                <a:gd name="connsiteX95" fmla="*/ 633 w 10000"/>
                <a:gd name="connsiteY95" fmla="*/ 2229 h 10000"/>
                <a:gd name="connsiteX96" fmla="*/ 756 w 10000"/>
                <a:gd name="connsiteY96" fmla="*/ 2373 h 10000"/>
                <a:gd name="connsiteX97" fmla="*/ 725 w 10000"/>
                <a:gd name="connsiteY97" fmla="*/ 2777 h 10000"/>
                <a:gd name="connsiteX98" fmla="*/ 362 w 10000"/>
                <a:gd name="connsiteY98" fmla="*/ 2673 h 10000"/>
                <a:gd name="connsiteX99" fmla="*/ 243 w 10000"/>
                <a:gd name="connsiteY99" fmla="*/ 2550 h 10000"/>
                <a:gd name="connsiteX100" fmla="*/ 287 w 10000"/>
                <a:gd name="connsiteY100" fmla="*/ 2622 h 10000"/>
                <a:gd name="connsiteX101" fmla="*/ 331 w 10000"/>
                <a:gd name="connsiteY101" fmla="*/ 2797 h 10000"/>
                <a:gd name="connsiteX102" fmla="*/ 400 w 10000"/>
                <a:gd name="connsiteY102" fmla="*/ 2921 h 10000"/>
                <a:gd name="connsiteX103" fmla="*/ 416 w 10000"/>
                <a:gd name="connsiteY103" fmla="*/ 3189 h 10000"/>
                <a:gd name="connsiteX104" fmla="*/ 507 w 10000"/>
                <a:gd name="connsiteY104" fmla="*/ 3313 h 10000"/>
                <a:gd name="connsiteX105" fmla="*/ 583 w 10000"/>
                <a:gd name="connsiteY105" fmla="*/ 3436 h 10000"/>
                <a:gd name="connsiteX106" fmla="*/ 605 w 10000"/>
                <a:gd name="connsiteY106" fmla="*/ 3467 h 10000"/>
                <a:gd name="connsiteX107" fmla="*/ 649 w 10000"/>
                <a:gd name="connsiteY107" fmla="*/ 3436 h 10000"/>
                <a:gd name="connsiteX108" fmla="*/ 633 w 10000"/>
                <a:gd name="connsiteY108" fmla="*/ 3364 h 10000"/>
                <a:gd name="connsiteX109" fmla="*/ 545 w 10000"/>
                <a:gd name="connsiteY109" fmla="*/ 3189 h 10000"/>
                <a:gd name="connsiteX110" fmla="*/ 801 w 10000"/>
                <a:gd name="connsiteY110" fmla="*/ 3344 h 10000"/>
                <a:gd name="connsiteX111" fmla="*/ 810 w 10000"/>
                <a:gd name="connsiteY111" fmla="*/ 3271 h 10000"/>
                <a:gd name="connsiteX112" fmla="*/ 785 w 10000"/>
                <a:gd name="connsiteY112" fmla="*/ 3220 h 10000"/>
                <a:gd name="connsiteX113" fmla="*/ 741 w 10000"/>
                <a:gd name="connsiteY113" fmla="*/ 2993 h 10000"/>
                <a:gd name="connsiteX114" fmla="*/ 870 w 10000"/>
                <a:gd name="connsiteY114" fmla="*/ 2777 h 10000"/>
                <a:gd name="connsiteX115" fmla="*/ 968 w 10000"/>
                <a:gd name="connsiteY115" fmla="*/ 2921 h 10000"/>
                <a:gd name="connsiteX116" fmla="*/ 999 w 10000"/>
                <a:gd name="connsiteY116" fmla="*/ 2725 h 10000"/>
                <a:gd name="connsiteX117" fmla="*/ 952 w 10000"/>
                <a:gd name="connsiteY117" fmla="*/ 2653 h 10000"/>
                <a:gd name="connsiteX118" fmla="*/ 936 w 10000"/>
                <a:gd name="connsiteY118" fmla="*/ 2281 h 10000"/>
                <a:gd name="connsiteX119" fmla="*/ 914 w 10000"/>
                <a:gd name="connsiteY119" fmla="*/ 2229 h 10000"/>
                <a:gd name="connsiteX120" fmla="*/ 1037 w 10000"/>
                <a:gd name="connsiteY120" fmla="*/ 2250 h 10000"/>
                <a:gd name="connsiteX121" fmla="*/ 1087 w 10000"/>
                <a:gd name="connsiteY121" fmla="*/ 2404 h 10000"/>
                <a:gd name="connsiteX122" fmla="*/ 1021 w 10000"/>
                <a:gd name="connsiteY122" fmla="*/ 2529 h 10000"/>
                <a:gd name="connsiteX123" fmla="*/ 1135 w 10000"/>
                <a:gd name="connsiteY123" fmla="*/ 2694 h 10000"/>
                <a:gd name="connsiteX124" fmla="*/ 1226 w 10000"/>
                <a:gd name="connsiteY124" fmla="*/ 2529 h 10000"/>
                <a:gd name="connsiteX125" fmla="*/ 1339 w 10000"/>
                <a:gd name="connsiteY125" fmla="*/ 2301 h 10000"/>
                <a:gd name="connsiteX126" fmla="*/ 1459 w 10000"/>
                <a:gd name="connsiteY126" fmla="*/ 2157 h 10000"/>
                <a:gd name="connsiteX127" fmla="*/ 1497 w 10000"/>
                <a:gd name="connsiteY127" fmla="*/ 2250 h 10000"/>
                <a:gd name="connsiteX128" fmla="*/ 1807 w 10000"/>
                <a:gd name="connsiteY128" fmla="*/ 2054 h 10000"/>
                <a:gd name="connsiteX129" fmla="*/ 1870 w 10000"/>
                <a:gd name="connsiteY129" fmla="*/ 2250 h 10000"/>
                <a:gd name="connsiteX130" fmla="*/ 1860 w 10000"/>
                <a:gd name="connsiteY130" fmla="*/ 2002 h 10000"/>
                <a:gd name="connsiteX131" fmla="*/ 1778 w 10000"/>
                <a:gd name="connsiteY131" fmla="*/ 1786 h 10000"/>
                <a:gd name="connsiteX132" fmla="*/ 1763 w 10000"/>
                <a:gd name="connsiteY132" fmla="*/ 1703 h 10000"/>
                <a:gd name="connsiteX133" fmla="*/ 1823 w 10000"/>
                <a:gd name="connsiteY133" fmla="*/ 1786 h 10000"/>
                <a:gd name="connsiteX134" fmla="*/ 2034 w 10000"/>
                <a:gd name="connsiteY134" fmla="*/ 1951 h 10000"/>
                <a:gd name="connsiteX135" fmla="*/ 2270 w 10000"/>
                <a:gd name="connsiteY135" fmla="*/ 2126 h 10000"/>
                <a:gd name="connsiteX136" fmla="*/ 2384 w 10000"/>
                <a:gd name="connsiteY136" fmla="*/ 2250 h 10000"/>
                <a:gd name="connsiteX137" fmla="*/ 2421 w 10000"/>
                <a:gd name="connsiteY137" fmla="*/ 2074 h 10000"/>
                <a:gd name="connsiteX138" fmla="*/ 2368 w 10000"/>
                <a:gd name="connsiteY138" fmla="*/ 2033 h 10000"/>
                <a:gd name="connsiteX139" fmla="*/ 2299 w 10000"/>
                <a:gd name="connsiteY139" fmla="*/ 1930 h 10000"/>
                <a:gd name="connsiteX140" fmla="*/ 2254 w 10000"/>
                <a:gd name="connsiteY140" fmla="*/ 1734 h 10000"/>
                <a:gd name="connsiteX141" fmla="*/ 2185 w 10000"/>
                <a:gd name="connsiteY141" fmla="*/ 1486 h 10000"/>
                <a:gd name="connsiteX142" fmla="*/ 2210 w 10000"/>
                <a:gd name="connsiteY142" fmla="*/ 1434 h 10000"/>
                <a:gd name="connsiteX143" fmla="*/ 2232 w 10000"/>
                <a:gd name="connsiteY143" fmla="*/ 1455 h 10000"/>
                <a:gd name="connsiteX144" fmla="*/ 2292 w 10000"/>
                <a:gd name="connsiteY144" fmla="*/ 1115 h 10000"/>
                <a:gd name="connsiteX145" fmla="*/ 2443 w 10000"/>
                <a:gd name="connsiteY145" fmla="*/ 1135 h 10000"/>
                <a:gd name="connsiteX146" fmla="*/ 2488 w 10000"/>
                <a:gd name="connsiteY146" fmla="*/ 1311 h 10000"/>
                <a:gd name="connsiteX147" fmla="*/ 2519 w 10000"/>
                <a:gd name="connsiteY147" fmla="*/ 1538 h 10000"/>
                <a:gd name="connsiteX148" fmla="*/ 2573 w 10000"/>
                <a:gd name="connsiteY148" fmla="*/ 1734 h 10000"/>
                <a:gd name="connsiteX149" fmla="*/ 2670 w 10000"/>
                <a:gd name="connsiteY149" fmla="*/ 2157 h 10000"/>
                <a:gd name="connsiteX150" fmla="*/ 2481 w 10000"/>
                <a:gd name="connsiteY150" fmla="*/ 2673 h 10000"/>
                <a:gd name="connsiteX151" fmla="*/ 2557 w 10000"/>
                <a:gd name="connsiteY151" fmla="*/ 2746 h 10000"/>
                <a:gd name="connsiteX152" fmla="*/ 2655 w 10000"/>
                <a:gd name="connsiteY152" fmla="*/ 2818 h 10000"/>
                <a:gd name="connsiteX153" fmla="*/ 2784 w 10000"/>
                <a:gd name="connsiteY153" fmla="*/ 2622 h 10000"/>
                <a:gd name="connsiteX154" fmla="*/ 2790 w 10000"/>
                <a:gd name="connsiteY154" fmla="*/ 2404 h 10000"/>
                <a:gd name="connsiteX155" fmla="*/ 2746 w 10000"/>
                <a:gd name="connsiteY155" fmla="*/ 2301 h 10000"/>
                <a:gd name="connsiteX156" fmla="*/ 2919 w 10000"/>
                <a:gd name="connsiteY156" fmla="*/ 2250 h 10000"/>
                <a:gd name="connsiteX157" fmla="*/ 2989 w 10000"/>
                <a:gd name="connsiteY157" fmla="*/ 2497 h 10000"/>
                <a:gd name="connsiteX158" fmla="*/ 2989 w 10000"/>
                <a:gd name="connsiteY158" fmla="*/ 2425 h 10000"/>
                <a:gd name="connsiteX159" fmla="*/ 2973 w 10000"/>
                <a:gd name="connsiteY159" fmla="*/ 2353 h 10000"/>
                <a:gd name="connsiteX160" fmla="*/ 2967 w 10000"/>
                <a:gd name="connsiteY160" fmla="*/ 2178 h 10000"/>
                <a:gd name="connsiteX161" fmla="*/ 2800 w 10000"/>
                <a:gd name="connsiteY161" fmla="*/ 1930 h 10000"/>
                <a:gd name="connsiteX162" fmla="*/ 2670 w 10000"/>
                <a:gd name="connsiteY162" fmla="*/ 2002 h 10000"/>
                <a:gd name="connsiteX163" fmla="*/ 2617 w 10000"/>
                <a:gd name="connsiteY163" fmla="*/ 1683 h 10000"/>
                <a:gd name="connsiteX164" fmla="*/ 2563 w 10000"/>
                <a:gd name="connsiteY164" fmla="*/ 1507 h 10000"/>
                <a:gd name="connsiteX165" fmla="*/ 2617 w 10000"/>
                <a:gd name="connsiteY165" fmla="*/ 1331 h 10000"/>
                <a:gd name="connsiteX166" fmla="*/ 2611 w 10000"/>
                <a:gd name="connsiteY166" fmla="*/ 1166 h 10000"/>
                <a:gd name="connsiteX167" fmla="*/ 2588 w 10000"/>
                <a:gd name="connsiteY167" fmla="*/ 1115 h 10000"/>
                <a:gd name="connsiteX168" fmla="*/ 2626 w 10000"/>
                <a:gd name="connsiteY168" fmla="*/ 1115 h 10000"/>
                <a:gd name="connsiteX169" fmla="*/ 2670 w 10000"/>
                <a:gd name="connsiteY169" fmla="*/ 1455 h 10000"/>
                <a:gd name="connsiteX170" fmla="*/ 2891 w 10000"/>
                <a:gd name="connsiteY170" fmla="*/ 1662 h 10000"/>
                <a:gd name="connsiteX171" fmla="*/ 2724 w 10000"/>
                <a:gd name="connsiteY171" fmla="*/ 1383 h 10000"/>
                <a:gd name="connsiteX172" fmla="*/ 3049 w 10000"/>
                <a:gd name="connsiteY172" fmla="*/ 1383 h 10000"/>
                <a:gd name="connsiteX173" fmla="*/ 3102 w 10000"/>
                <a:gd name="connsiteY173" fmla="*/ 1362 h 10000"/>
                <a:gd name="connsiteX174" fmla="*/ 2897 w 10000"/>
                <a:gd name="connsiteY174" fmla="*/ 1115 h 10000"/>
                <a:gd name="connsiteX175" fmla="*/ 2951 w 10000"/>
                <a:gd name="connsiteY175" fmla="*/ 888 h 10000"/>
                <a:gd name="connsiteX176" fmla="*/ 3178 w 10000"/>
                <a:gd name="connsiteY176" fmla="*/ 888 h 10000"/>
                <a:gd name="connsiteX177" fmla="*/ 3156 w 10000"/>
                <a:gd name="connsiteY177" fmla="*/ 713 h 10000"/>
                <a:gd name="connsiteX178" fmla="*/ 3231 w 10000"/>
                <a:gd name="connsiteY178" fmla="*/ 589 h 10000"/>
                <a:gd name="connsiteX179" fmla="*/ 3276 w 10000"/>
                <a:gd name="connsiteY179" fmla="*/ 548 h 10000"/>
                <a:gd name="connsiteX180" fmla="*/ 3443 w 10000"/>
                <a:gd name="connsiteY180" fmla="*/ 423 h 10000"/>
                <a:gd name="connsiteX181" fmla="*/ 3487 w 10000"/>
                <a:gd name="connsiteY181" fmla="*/ 371 h 10000"/>
                <a:gd name="connsiteX182" fmla="*/ 3480 w 10000"/>
                <a:gd name="connsiteY182" fmla="*/ 444 h 10000"/>
                <a:gd name="connsiteX183" fmla="*/ 3660 w 10000"/>
                <a:gd name="connsiteY183" fmla="*/ 371 h 10000"/>
                <a:gd name="connsiteX184" fmla="*/ 3805 w 10000"/>
                <a:gd name="connsiteY184" fmla="*/ 248 h 10000"/>
                <a:gd name="connsiteX185" fmla="*/ 3827 w 10000"/>
                <a:gd name="connsiteY185" fmla="*/ 0 h 10000"/>
                <a:gd name="connsiteX186" fmla="*/ 3988 w 10000"/>
                <a:gd name="connsiteY186" fmla="*/ 21 h 10000"/>
                <a:gd name="connsiteX187" fmla="*/ 3978 w 10000"/>
                <a:gd name="connsiteY187" fmla="*/ 93 h 10000"/>
                <a:gd name="connsiteX188" fmla="*/ 3988 w 10000"/>
                <a:gd name="connsiteY188" fmla="*/ 176 h 10000"/>
                <a:gd name="connsiteX189" fmla="*/ 4085 w 10000"/>
                <a:gd name="connsiteY189" fmla="*/ 248 h 10000"/>
                <a:gd name="connsiteX190" fmla="*/ 4379 w 10000"/>
                <a:gd name="connsiteY190" fmla="*/ 268 h 10000"/>
                <a:gd name="connsiteX191" fmla="*/ 4539 w 10000"/>
                <a:gd name="connsiteY191" fmla="*/ 392 h 10000"/>
                <a:gd name="connsiteX192" fmla="*/ 4486 w 10000"/>
                <a:gd name="connsiteY192" fmla="*/ 795 h 10000"/>
                <a:gd name="connsiteX193" fmla="*/ 4426 w 10000"/>
                <a:gd name="connsiteY193" fmla="*/ 919 h 10000"/>
                <a:gd name="connsiteX194" fmla="*/ 4356 w 10000"/>
                <a:gd name="connsiteY194" fmla="*/ 1043 h 10000"/>
                <a:gd name="connsiteX195" fmla="*/ 4372 w 10000"/>
                <a:gd name="connsiteY195" fmla="*/ 1115 h 10000"/>
                <a:gd name="connsiteX196" fmla="*/ 4583 w 10000"/>
                <a:gd name="connsiteY196" fmla="*/ 919 h 10000"/>
                <a:gd name="connsiteX197" fmla="*/ 5060 w 10000"/>
                <a:gd name="connsiteY197" fmla="*/ 991 h 10000"/>
                <a:gd name="connsiteX198" fmla="*/ 5108 w 10000"/>
                <a:gd name="connsiteY198" fmla="*/ 1063 h 10000"/>
                <a:gd name="connsiteX199" fmla="*/ 5212 w 10000"/>
                <a:gd name="connsiteY199" fmla="*/ 1187 h 10000"/>
                <a:gd name="connsiteX200" fmla="*/ 5357 w 10000"/>
                <a:gd name="connsiteY200" fmla="*/ 919 h 10000"/>
                <a:gd name="connsiteX201" fmla="*/ 5577 w 10000"/>
                <a:gd name="connsiteY201" fmla="*/ 1063 h 10000"/>
                <a:gd name="connsiteX202" fmla="*/ 5643 w 10000"/>
                <a:gd name="connsiteY202" fmla="*/ 1115 h 10000"/>
                <a:gd name="connsiteX203" fmla="*/ 5697 w 10000"/>
                <a:gd name="connsiteY203" fmla="*/ 1166 h 10000"/>
                <a:gd name="connsiteX204" fmla="*/ 5908 w 10000"/>
                <a:gd name="connsiteY204" fmla="*/ 1631 h 10000"/>
                <a:gd name="connsiteX205" fmla="*/ 5984 w 10000"/>
                <a:gd name="connsiteY205" fmla="*/ 1611 h 10000"/>
                <a:gd name="connsiteX206" fmla="*/ 5977 w 10000"/>
                <a:gd name="connsiteY206" fmla="*/ 1507 h 10000"/>
                <a:gd name="connsiteX207" fmla="*/ 5984 w 10000"/>
                <a:gd name="connsiteY207" fmla="*/ 1383 h 10000"/>
                <a:gd name="connsiteX208" fmla="*/ 6091 w 10000"/>
                <a:gd name="connsiteY208" fmla="*/ 1486 h 10000"/>
                <a:gd name="connsiteX209" fmla="*/ 6264 w 10000"/>
                <a:gd name="connsiteY209" fmla="*/ 1507 h 10000"/>
                <a:gd name="connsiteX210" fmla="*/ 6409 w 10000"/>
                <a:gd name="connsiteY210" fmla="*/ 1455 h 10000"/>
                <a:gd name="connsiteX211" fmla="*/ 6340 w 10000"/>
                <a:gd name="connsiteY211" fmla="*/ 1362 h 10000"/>
                <a:gd name="connsiteX212" fmla="*/ 6431 w 10000"/>
                <a:gd name="connsiteY212" fmla="*/ 1084 h 10000"/>
                <a:gd name="connsiteX213" fmla="*/ 6687 w 10000"/>
                <a:gd name="connsiteY213" fmla="*/ 1207 h 10000"/>
                <a:gd name="connsiteX214" fmla="*/ 6945 w 10000"/>
                <a:gd name="connsiteY214" fmla="*/ 1331 h 10000"/>
                <a:gd name="connsiteX215" fmla="*/ 6967 w 10000"/>
                <a:gd name="connsiteY215" fmla="*/ 1362 h 10000"/>
                <a:gd name="connsiteX216" fmla="*/ 7194 w 10000"/>
                <a:gd name="connsiteY216" fmla="*/ 1611 h 10000"/>
                <a:gd name="connsiteX217" fmla="*/ 7367 w 10000"/>
                <a:gd name="connsiteY217" fmla="*/ 1507 h 10000"/>
                <a:gd name="connsiteX218" fmla="*/ 7582 w 10000"/>
                <a:gd name="connsiteY218" fmla="*/ 1538 h 10000"/>
                <a:gd name="connsiteX219" fmla="*/ 7657 w 10000"/>
                <a:gd name="connsiteY219" fmla="*/ 1611 h 10000"/>
                <a:gd name="connsiteX220" fmla="*/ 7928 w 10000"/>
                <a:gd name="connsiteY220" fmla="*/ 1930 h 10000"/>
                <a:gd name="connsiteX221" fmla="*/ 8231 w 10000"/>
                <a:gd name="connsiteY221" fmla="*/ 1879 h 10000"/>
                <a:gd name="connsiteX222" fmla="*/ 8339 w 10000"/>
                <a:gd name="connsiteY222" fmla="*/ 2033 h 10000"/>
                <a:gd name="connsiteX223" fmla="*/ 8490 w 10000"/>
                <a:gd name="connsiteY223" fmla="*/ 2157 h 10000"/>
                <a:gd name="connsiteX224" fmla="*/ 8519 w 10000"/>
                <a:gd name="connsiteY224" fmla="*/ 2105 h 10000"/>
                <a:gd name="connsiteX225" fmla="*/ 8497 w 10000"/>
                <a:gd name="connsiteY225" fmla="*/ 2074 h 10000"/>
                <a:gd name="connsiteX226" fmla="*/ 8383 w 10000"/>
                <a:gd name="connsiteY226" fmla="*/ 1930 h 10000"/>
                <a:gd name="connsiteX227" fmla="*/ 8465 w 10000"/>
                <a:gd name="connsiteY227" fmla="*/ 1755 h 10000"/>
                <a:gd name="connsiteX228" fmla="*/ 8664 w 10000"/>
                <a:gd name="connsiteY228" fmla="*/ 1910 h 10000"/>
                <a:gd name="connsiteX229" fmla="*/ 8950 w 10000"/>
                <a:gd name="connsiteY229" fmla="*/ 1982 h 10000"/>
                <a:gd name="connsiteX230" fmla="*/ 9206 w 10000"/>
                <a:gd name="connsiteY230" fmla="*/ 2260 h 10000"/>
                <a:gd name="connsiteX231" fmla="*/ 9344 w 10000"/>
                <a:gd name="connsiteY231" fmla="*/ 2332 h 10000"/>
                <a:gd name="connsiteX232" fmla="*/ 9451 w 10000"/>
                <a:gd name="connsiteY232" fmla="*/ 2446 h 10000"/>
                <a:gd name="connsiteX233" fmla="*/ 9574 w 10000"/>
                <a:gd name="connsiteY233" fmla="*/ 2632 h 10000"/>
                <a:gd name="connsiteX234" fmla="*/ 9631 w 10000"/>
                <a:gd name="connsiteY234" fmla="*/ 2756 h 10000"/>
                <a:gd name="connsiteX235" fmla="*/ 9726 w 10000"/>
                <a:gd name="connsiteY235" fmla="*/ 2787 h 10000"/>
                <a:gd name="connsiteX236" fmla="*/ 9590 w 10000"/>
                <a:gd name="connsiteY236" fmla="*/ 2570 h 10000"/>
                <a:gd name="connsiteX237" fmla="*/ 9915 w 10000"/>
                <a:gd name="connsiteY237" fmla="*/ 2756 h 10000"/>
                <a:gd name="connsiteX238" fmla="*/ 10000 w 10000"/>
                <a:gd name="connsiteY238" fmla="*/ 3014 h 10000"/>
                <a:gd name="connsiteX239" fmla="*/ 9934 w 10000"/>
                <a:gd name="connsiteY239" fmla="*/ 2941 h 10000"/>
                <a:gd name="connsiteX240" fmla="*/ 9874 w 10000"/>
                <a:gd name="connsiteY240" fmla="*/ 2952 h 10000"/>
                <a:gd name="connsiteX241" fmla="*/ 10000 w 10000"/>
                <a:gd name="connsiteY241" fmla="*/ 3292 h 10000"/>
                <a:gd name="connsiteX242" fmla="*/ 9845 w 10000"/>
                <a:gd name="connsiteY242" fmla="*/ 3220 h 10000"/>
                <a:gd name="connsiteX243" fmla="*/ 9745 w 10000"/>
                <a:gd name="connsiteY243" fmla="*/ 3075 h 10000"/>
                <a:gd name="connsiteX244" fmla="*/ 9641 w 10000"/>
                <a:gd name="connsiteY244" fmla="*/ 2972 h 10000"/>
                <a:gd name="connsiteX245" fmla="*/ 9555 w 10000"/>
                <a:gd name="connsiteY245" fmla="*/ 3003 h 10000"/>
                <a:gd name="connsiteX246" fmla="*/ 9470 w 10000"/>
                <a:gd name="connsiteY246" fmla="*/ 2787 h 10000"/>
                <a:gd name="connsiteX247" fmla="*/ 9366 w 10000"/>
                <a:gd name="connsiteY247" fmla="*/ 2725 h 10000"/>
                <a:gd name="connsiteX248" fmla="*/ 9461 w 10000"/>
                <a:gd name="connsiteY248" fmla="*/ 2972 h 10000"/>
                <a:gd name="connsiteX249" fmla="*/ 9470 w 10000"/>
                <a:gd name="connsiteY249" fmla="*/ 3230 h 10000"/>
                <a:gd name="connsiteX250" fmla="*/ 9288 w 10000"/>
                <a:gd name="connsiteY250" fmla="*/ 3065 h 10000"/>
                <a:gd name="connsiteX251" fmla="*/ 9262 w 10000"/>
                <a:gd name="connsiteY251" fmla="*/ 3230 h 10000"/>
                <a:gd name="connsiteX252" fmla="*/ 9363 w 10000"/>
                <a:gd name="connsiteY252" fmla="*/ 3230 h 10000"/>
                <a:gd name="connsiteX253" fmla="*/ 9451 w 10000"/>
                <a:gd name="connsiteY253" fmla="*/ 3354 h 10000"/>
                <a:gd name="connsiteX254" fmla="*/ 9659 w 10000"/>
                <a:gd name="connsiteY254" fmla="*/ 3685 h 10000"/>
                <a:gd name="connsiteX255" fmla="*/ 9735 w 10000"/>
                <a:gd name="connsiteY255" fmla="*/ 3839 h 10000"/>
                <a:gd name="connsiteX256" fmla="*/ 9552 w 10000"/>
                <a:gd name="connsiteY256" fmla="*/ 3757 h 10000"/>
                <a:gd name="connsiteX257" fmla="*/ 9451 w 10000"/>
                <a:gd name="connsiteY257" fmla="*/ 4025 h 10000"/>
                <a:gd name="connsiteX258" fmla="*/ 9385 w 10000"/>
                <a:gd name="connsiteY258" fmla="*/ 4283 h 10000"/>
                <a:gd name="connsiteX259" fmla="*/ 9376 w 10000"/>
                <a:gd name="connsiteY259" fmla="*/ 4499 h 10000"/>
                <a:gd name="connsiteX260" fmla="*/ 9335 w 10000"/>
                <a:gd name="connsiteY260" fmla="*/ 4303 h 10000"/>
                <a:gd name="connsiteX261" fmla="*/ 9149 w 10000"/>
                <a:gd name="connsiteY261" fmla="*/ 4314 h 10000"/>
                <a:gd name="connsiteX262" fmla="*/ 9155 w 10000"/>
                <a:gd name="connsiteY262" fmla="*/ 4531 h 10000"/>
                <a:gd name="connsiteX263" fmla="*/ 9061 w 10000"/>
                <a:gd name="connsiteY263" fmla="*/ 4365 h 10000"/>
                <a:gd name="connsiteX264" fmla="*/ 9054 w 10000"/>
                <a:gd name="connsiteY264" fmla="*/ 4521 h 10000"/>
                <a:gd name="connsiteX265" fmla="*/ 8998 w 10000"/>
                <a:gd name="connsiteY265" fmla="*/ 4458 h 10000"/>
                <a:gd name="connsiteX266" fmla="*/ 8966 w 10000"/>
                <a:gd name="connsiteY266" fmla="*/ 4562 h 10000"/>
                <a:gd name="connsiteX267" fmla="*/ 9007 w 10000"/>
                <a:gd name="connsiteY267" fmla="*/ 4686 h 10000"/>
                <a:gd name="connsiteX268" fmla="*/ 9004 w 10000"/>
                <a:gd name="connsiteY268" fmla="*/ 4995 h 10000"/>
                <a:gd name="connsiteX269" fmla="*/ 9073 w 10000"/>
                <a:gd name="connsiteY269" fmla="*/ 5211 h 10000"/>
                <a:gd name="connsiteX270" fmla="*/ 9130 w 10000"/>
                <a:gd name="connsiteY270" fmla="*/ 5150 h 10000"/>
                <a:gd name="connsiteX271" fmla="*/ 9158 w 10000"/>
                <a:gd name="connsiteY271" fmla="*/ 5211 h 10000"/>
                <a:gd name="connsiteX272" fmla="*/ 9231 w 10000"/>
                <a:gd name="connsiteY272" fmla="*/ 5428 h 10000"/>
                <a:gd name="connsiteX273" fmla="*/ 9215 w 10000"/>
                <a:gd name="connsiteY273" fmla="*/ 5604 h 10000"/>
                <a:gd name="connsiteX274" fmla="*/ 9221 w 10000"/>
                <a:gd name="connsiteY274" fmla="*/ 5769 h 10000"/>
                <a:gd name="connsiteX275" fmla="*/ 9269 w 10000"/>
                <a:gd name="connsiteY275" fmla="*/ 5883 h 10000"/>
                <a:gd name="connsiteX276" fmla="*/ 9344 w 10000"/>
                <a:gd name="connsiteY276" fmla="*/ 6068 h 10000"/>
                <a:gd name="connsiteX277" fmla="*/ 9269 w 10000"/>
                <a:gd name="connsiteY277" fmla="*/ 6068 h 10000"/>
                <a:gd name="connsiteX278" fmla="*/ 9253 w 10000"/>
                <a:gd name="connsiteY278" fmla="*/ 6223 h 10000"/>
                <a:gd name="connsiteX279" fmla="*/ 9319 w 10000"/>
                <a:gd name="connsiteY279" fmla="*/ 6408 h 10000"/>
                <a:gd name="connsiteX280" fmla="*/ 9250 w 10000"/>
                <a:gd name="connsiteY280" fmla="*/ 6502 h 10000"/>
                <a:gd name="connsiteX281" fmla="*/ 9297 w 10000"/>
                <a:gd name="connsiteY281" fmla="*/ 6729 h 10000"/>
                <a:gd name="connsiteX282" fmla="*/ 9281 w 10000"/>
                <a:gd name="connsiteY282" fmla="*/ 7069 h 10000"/>
                <a:gd name="connsiteX283" fmla="*/ 9061 w 10000"/>
                <a:gd name="connsiteY283" fmla="*/ 6408 h 10000"/>
                <a:gd name="connsiteX284" fmla="*/ 8824 w 10000"/>
                <a:gd name="connsiteY284" fmla="*/ 5759 h 10000"/>
                <a:gd name="connsiteX285" fmla="*/ 8771 w 10000"/>
                <a:gd name="connsiteY285" fmla="*/ 5459 h 10000"/>
                <a:gd name="connsiteX286" fmla="*/ 8768 w 10000"/>
                <a:gd name="connsiteY286" fmla="*/ 5211 h 10000"/>
                <a:gd name="connsiteX287" fmla="*/ 8692 w 10000"/>
                <a:gd name="connsiteY287" fmla="*/ 5047 h 10000"/>
                <a:gd name="connsiteX288" fmla="*/ 8771 w 10000"/>
                <a:gd name="connsiteY288" fmla="*/ 5088 h 10000"/>
                <a:gd name="connsiteX289" fmla="*/ 8809 w 10000"/>
                <a:gd name="connsiteY289" fmla="*/ 5108 h 10000"/>
                <a:gd name="connsiteX290" fmla="*/ 8809 w 10000"/>
                <a:gd name="connsiteY290" fmla="*/ 4840 h 10000"/>
                <a:gd name="connsiteX291" fmla="*/ 8827 w 10000"/>
                <a:gd name="connsiteY291" fmla="*/ 4437 h 10000"/>
                <a:gd name="connsiteX292" fmla="*/ 8853 w 10000"/>
                <a:gd name="connsiteY292" fmla="*/ 4252 h 10000"/>
                <a:gd name="connsiteX293" fmla="*/ 8909 w 10000"/>
                <a:gd name="connsiteY293" fmla="*/ 4221 h 10000"/>
                <a:gd name="connsiteX294" fmla="*/ 8786 w 10000"/>
                <a:gd name="connsiteY294" fmla="*/ 3901 h 10000"/>
                <a:gd name="connsiteX295" fmla="*/ 8853 w 10000"/>
                <a:gd name="connsiteY295" fmla="*/ 3839 h 10000"/>
                <a:gd name="connsiteX296" fmla="*/ 8739 w 10000"/>
                <a:gd name="connsiteY296" fmla="*/ 3788 h 10000"/>
                <a:gd name="connsiteX297" fmla="*/ 8755 w 10000"/>
                <a:gd name="connsiteY297" fmla="*/ 3984 h 10000"/>
                <a:gd name="connsiteX298" fmla="*/ 8692 w 10000"/>
                <a:gd name="connsiteY298" fmla="*/ 4303 h 10000"/>
                <a:gd name="connsiteX299" fmla="*/ 8604 w 10000"/>
                <a:gd name="connsiteY299" fmla="*/ 4210 h 10000"/>
                <a:gd name="connsiteX300" fmla="*/ 8550 w 10000"/>
                <a:gd name="connsiteY300" fmla="*/ 4056 h 10000"/>
                <a:gd name="connsiteX301" fmla="*/ 8481 w 10000"/>
                <a:gd name="connsiteY301" fmla="*/ 4138 h 10000"/>
                <a:gd name="connsiteX302" fmla="*/ 8389 w 10000"/>
                <a:gd name="connsiteY302" fmla="*/ 4107 h 10000"/>
                <a:gd name="connsiteX303" fmla="*/ 8352 w 10000"/>
                <a:gd name="connsiteY303" fmla="*/ 4406 h 10000"/>
                <a:gd name="connsiteX304" fmla="*/ 8481 w 10000"/>
                <a:gd name="connsiteY304" fmla="*/ 4655 h 10000"/>
                <a:gd name="connsiteX305" fmla="*/ 8405 w 10000"/>
                <a:gd name="connsiteY305" fmla="*/ 4830 h 10000"/>
                <a:gd name="connsiteX306" fmla="*/ 8225 w 10000"/>
                <a:gd name="connsiteY306" fmla="*/ 4799 h 10000"/>
                <a:gd name="connsiteX307" fmla="*/ 8209 w 10000"/>
                <a:gd name="connsiteY307" fmla="*/ 4655 h 10000"/>
                <a:gd name="connsiteX308" fmla="*/ 8102 w 10000"/>
                <a:gd name="connsiteY308" fmla="*/ 4634 h 10000"/>
                <a:gd name="connsiteX309" fmla="*/ 7641 w 10000"/>
                <a:gd name="connsiteY309" fmla="*/ 4779 h 10000"/>
                <a:gd name="connsiteX310" fmla="*/ 7610 w 10000"/>
                <a:gd name="connsiteY310" fmla="*/ 5005 h 10000"/>
                <a:gd name="connsiteX311" fmla="*/ 7550 w 10000"/>
                <a:gd name="connsiteY311" fmla="*/ 5666 h 10000"/>
                <a:gd name="connsiteX312" fmla="*/ 7496 w 10000"/>
                <a:gd name="connsiteY312" fmla="*/ 5965 h 10000"/>
                <a:gd name="connsiteX313" fmla="*/ 7701 w 10000"/>
                <a:gd name="connsiteY313" fmla="*/ 6161 h 10000"/>
                <a:gd name="connsiteX314" fmla="*/ 7745 w 10000"/>
                <a:gd name="connsiteY314" fmla="*/ 6243 h 10000"/>
                <a:gd name="connsiteX315" fmla="*/ 7771 w 10000"/>
                <a:gd name="connsiteY315" fmla="*/ 6285 h 10000"/>
                <a:gd name="connsiteX316" fmla="*/ 7793 w 10000"/>
                <a:gd name="connsiteY316" fmla="*/ 6068 h 10000"/>
                <a:gd name="connsiteX317" fmla="*/ 7912 w 10000"/>
                <a:gd name="connsiteY317" fmla="*/ 6089 h 10000"/>
                <a:gd name="connsiteX318" fmla="*/ 8004 w 10000"/>
                <a:gd name="connsiteY318" fmla="*/ 6367 h 10000"/>
                <a:gd name="connsiteX319" fmla="*/ 8064 w 10000"/>
                <a:gd name="connsiteY319" fmla="*/ 6616 h 10000"/>
                <a:gd name="connsiteX320" fmla="*/ 8111 w 10000"/>
                <a:gd name="connsiteY320" fmla="*/ 6781 h 10000"/>
                <a:gd name="connsiteX321" fmla="*/ 8048 w 10000"/>
                <a:gd name="connsiteY321" fmla="*/ 6491 h 10000"/>
                <a:gd name="connsiteX322" fmla="*/ 8124 w 10000"/>
                <a:gd name="connsiteY322" fmla="*/ 6336 h 10000"/>
                <a:gd name="connsiteX323" fmla="*/ 8177 w 10000"/>
                <a:gd name="connsiteY323" fmla="*/ 6512 h 10000"/>
                <a:gd name="connsiteX324" fmla="*/ 8300 w 10000"/>
                <a:gd name="connsiteY324" fmla="*/ 6987 h 10000"/>
                <a:gd name="connsiteX325" fmla="*/ 8361 w 10000"/>
                <a:gd name="connsiteY325" fmla="*/ 7152 h 10000"/>
                <a:gd name="connsiteX326" fmla="*/ 8490 w 10000"/>
                <a:gd name="connsiteY326" fmla="*/ 7482 h 10000"/>
                <a:gd name="connsiteX327" fmla="*/ 8604 w 10000"/>
                <a:gd name="connsiteY327" fmla="*/ 7854 h 10000"/>
                <a:gd name="connsiteX328" fmla="*/ 8474 w 10000"/>
                <a:gd name="connsiteY328" fmla="*/ 7647 h 10000"/>
                <a:gd name="connsiteX329" fmla="*/ 8443 w 10000"/>
                <a:gd name="connsiteY329" fmla="*/ 7678 h 10000"/>
                <a:gd name="connsiteX330" fmla="*/ 8512 w 10000"/>
                <a:gd name="connsiteY330" fmla="*/ 8050 h 10000"/>
                <a:gd name="connsiteX331" fmla="*/ 8588 w 10000"/>
                <a:gd name="connsiteY331" fmla="*/ 8266 h 10000"/>
                <a:gd name="connsiteX332" fmla="*/ 8642 w 10000"/>
                <a:gd name="connsiteY332" fmla="*/ 8472 h 10000"/>
                <a:gd name="connsiteX333" fmla="*/ 8566 w 10000"/>
                <a:gd name="connsiteY333" fmla="*/ 8421 h 10000"/>
                <a:gd name="connsiteX334" fmla="*/ 8556 w 10000"/>
                <a:gd name="connsiteY334" fmla="*/ 8669 h 10000"/>
                <a:gd name="connsiteX335" fmla="*/ 8497 w 10000"/>
                <a:gd name="connsiteY335" fmla="*/ 8493 h 10000"/>
                <a:gd name="connsiteX336" fmla="*/ 8481 w 10000"/>
                <a:gd name="connsiteY336" fmla="*/ 8421 h 10000"/>
                <a:gd name="connsiteX337" fmla="*/ 8361 w 10000"/>
                <a:gd name="connsiteY337" fmla="*/ 7751 h 10000"/>
                <a:gd name="connsiteX338" fmla="*/ 8322 w 10000"/>
                <a:gd name="connsiteY338" fmla="*/ 7524 h 10000"/>
                <a:gd name="connsiteX339" fmla="*/ 8291 w 10000"/>
                <a:gd name="connsiteY339" fmla="*/ 7378 h 10000"/>
                <a:gd name="connsiteX340" fmla="*/ 8275 w 10000"/>
                <a:gd name="connsiteY340" fmla="*/ 7306 h 10000"/>
                <a:gd name="connsiteX341" fmla="*/ 8139 w 10000"/>
                <a:gd name="connsiteY341" fmla="*/ 6863 h 10000"/>
                <a:gd name="connsiteX342" fmla="*/ 8199 w 10000"/>
                <a:gd name="connsiteY342" fmla="*/ 7451 h 10000"/>
                <a:gd name="connsiteX343" fmla="*/ 8247 w 10000"/>
                <a:gd name="connsiteY343" fmla="*/ 7998 h 10000"/>
                <a:gd name="connsiteX344" fmla="*/ 8177 w 10000"/>
                <a:gd name="connsiteY344" fmla="*/ 9133 h 10000"/>
                <a:gd name="connsiteX345" fmla="*/ 8124 w 10000"/>
                <a:gd name="connsiteY345" fmla="*/ 9484 h 10000"/>
                <a:gd name="connsiteX346" fmla="*/ 7972 w 10000"/>
                <a:gd name="connsiteY346" fmla="*/ 9432 h 10000"/>
                <a:gd name="connsiteX347" fmla="*/ 7897 w 10000"/>
                <a:gd name="connsiteY347" fmla="*/ 9660 h 10000"/>
                <a:gd name="connsiteX348" fmla="*/ 7868 w 10000"/>
                <a:gd name="connsiteY348" fmla="*/ 9588 h 10000"/>
                <a:gd name="connsiteX349" fmla="*/ 7884 w 10000"/>
                <a:gd name="connsiteY349" fmla="*/ 9536 h 10000"/>
                <a:gd name="connsiteX350" fmla="*/ 7897 w 10000"/>
                <a:gd name="connsiteY350" fmla="*/ 9380 h 10000"/>
                <a:gd name="connsiteX351" fmla="*/ 7884 w 10000"/>
                <a:gd name="connsiteY351" fmla="*/ 9236 h 10000"/>
                <a:gd name="connsiteX352" fmla="*/ 7793 w 10000"/>
                <a:gd name="connsiteY352" fmla="*/ 8865 h 10000"/>
                <a:gd name="connsiteX353" fmla="*/ 7831 w 10000"/>
                <a:gd name="connsiteY353" fmla="*/ 8741 h 10000"/>
                <a:gd name="connsiteX354" fmla="*/ 7928 w 10000"/>
                <a:gd name="connsiteY354" fmla="*/ 8844 h 10000"/>
                <a:gd name="connsiteX355" fmla="*/ 7912 w 10000"/>
                <a:gd name="connsiteY355" fmla="*/ 8318 h 10000"/>
                <a:gd name="connsiteX356" fmla="*/ 7906 w 10000"/>
                <a:gd name="connsiteY356" fmla="*/ 8019 h 10000"/>
                <a:gd name="connsiteX357" fmla="*/ 7846 w 10000"/>
                <a:gd name="connsiteY357" fmla="*/ 7802 h 10000"/>
                <a:gd name="connsiteX358" fmla="*/ 7723 w 10000"/>
                <a:gd name="connsiteY358" fmla="*/ 8050 h 10000"/>
                <a:gd name="connsiteX359" fmla="*/ 7619 w 10000"/>
                <a:gd name="connsiteY359" fmla="*/ 8019 h 10000"/>
                <a:gd name="connsiteX360" fmla="*/ 7528 w 10000"/>
                <a:gd name="connsiteY360" fmla="*/ 7699 h 10000"/>
                <a:gd name="connsiteX361" fmla="*/ 7355 w 10000"/>
                <a:gd name="connsiteY361" fmla="*/ 7482 h 10000"/>
                <a:gd name="connsiteX362" fmla="*/ 7279 w 10000"/>
                <a:gd name="connsiteY362" fmla="*/ 7482 h 10000"/>
                <a:gd name="connsiteX363" fmla="*/ 7080 w 10000"/>
                <a:gd name="connsiteY363" fmla="*/ 6781 h 10000"/>
                <a:gd name="connsiteX364" fmla="*/ 6901 w 10000"/>
                <a:gd name="connsiteY364" fmla="*/ 6460 h 10000"/>
                <a:gd name="connsiteX365" fmla="*/ 6724 w 10000"/>
                <a:gd name="connsiteY365" fmla="*/ 6336 h 10000"/>
                <a:gd name="connsiteX366" fmla="*/ 6583 w 10000"/>
                <a:gd name="connsiteY366" fmla="*/ 6408 h 10000"/>
                <a:gd name="connsiteX367" fmla="*/ 6567 w 10000"/>
                <a:gd name="connsiteY367" fmla="*/ 6585 h 10000"/>
                <a:gd name="connsiteX368" fmla="*/ 6664 w 10000"/>
                <a:gd name="connsiteY368" fmla="*/ 6760 h 10000"/>
                <a:gd name="connsiteX369" fmla="*/ 6636 w 10000"/>
                <a:gd name="connsiteY369" fmla="*/ 6935 h 10000"/>
                <a:gd name="connsiteX370" fmla="*/ 6636 w 10000"/>
                <a:gd name="connsiteY370" fmla="*/ 7399 h 10000"/>
                <a:gd name="connsiteX371" fmla="*/ 6560 w 10000"/>
                <a:gd name="connsiteY371" fmla="*/ 7482 h 10000"/>
                <a:gd name="connsiteX372" fmla="*/ 6485 w 10000"/>
                <a:gd name="connsiteY372" fmla="*/ 7378 h 10000"/>
                <a:gd name="connsiteX373" fmla="*/ 6400 w 10000"/>
                <a:gd name="connsiteY373" fmla="*/ 7399 h 10000"/>
                <a:gd name="connsiteX374" fmla="*/ 6334 w 10000"/>
                <a:gd name="connsiteY374" fmla="*/ 7275 h 10000"/>
                <a:gd name="connsiteX375" fmla="*/ 6258 w 10000"/>
                <a:gd name="connsiteY375" fmla="*/ 7358 h 10000"/>
                <a:gd name="connsiteX376" fmla="*/ 6220 w 10000"/>
                <a:gd name="connsiteY376" fmla="*/ 7524 h 10000"/>
                <a:gd name="connsiteX377" fmla="*/ 6081 w 10000"/>
                <a:gd name="connsiteY377" fmla="*/ 7606 h 10000"/>
                <a:gd name="connsiteX378" fmla="*/ 5892 w 10000"/>
                <a:gd name="connsiteY378" fmla="*/ 7575 h 10000"/>
                <a:gd name="connsiteX379" fmla="*/ 5855 w 10000"/>
                <a:gd name="connsiteY379" fmla="*/ 7327 h 10000"/>
                <a:gd name="connsiteX380" fmla="*/ 5643 w 10000"/>
                <a:gd name="connsiteY380" fmla="*/ 7255 h 10000"/>
                <a:gd name="connsiteX381" fmla="*/ 5539 w 10000"/>
                <a:gd name="connsiteY381" fmla="*/ 7358 h 10000"/>
                <a:gd name="connsiteX382" fmla="*/ 5416 w 10000"/>
                <a:gd name="connsiteY382" fmla="*/ 7203 h 10000"/>
                <a:gd name="connsiteX383" fmla="*/ 5372 w 10000"/>
                <a:gd name="connsiteY383"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2412 w 10000"/>
                <a:gd name="connsiteY19" fmla="*/ 6212 h 10000"/>
                <a:gd name="connsiteX20" fmla="*/ 1610 w 10000"/>
                <a:gd name="connsiteY20" fmla="*/ 7183 h 10000"/>
                <a:gd name="connsiteX21" fmla="*/ 1655 w 10000"/>
                <a:gd name="connsiteY21" fmla="*/ 7430 h 10000"/>
                <a:gd name="connsiteX22" fmla="*/ 1604 w 10000"/>
                <a:gd name="connsiteY22" fmla="*/ 7430 h 10000"/>
                <a:gd name="connsiteX23" fmla="*/ 1551 w 10000"/>
                <a:gd name="connsiteY23" fmla="*/ 7255 h 10000"/>
                <a:gd name="connsiteX24" fmla="*/ 1513 w 10000"/>
                <a:gd name="connsiteY24" fmla="*/ 7430 h 10000"/>
                <a:gd name="connsiteX25" fmla="*/ 1519 w 10000"/>
                <a:gd name="connsiteY25" fmla="*/ 7854 h 10000"/>
                <a:gd name="connsiteX26" fmla="*/ 1604 w 10000"/>
                <a:gd name="connsiteY26" fmla="*/ 8070 h 10000"/>
                <a:gd name="connsiteX27" fmla="*/ 1648 w 10000"/>
                <a:gd name="connsiteY27" fmla="*/ 8019 h 10000"/>
                <a:gd name="connsiteX28" fmla="*/ 1741 w 10000"/>
                <a:gd name="connsiteY28" fmla="*/ 8493 h 10000"/>
                <a:gd name="connsiteX29" fmla="*/ 1610 w 10000"/>
                <a:gd name="connsiteY29" fmla="*/ 8669 h 10000"/>
                <a:gd name="connsiteX30" fmla="*/ 1595 w 10000"/>
                <a:gd name="connsiteY30" fmla="*/ 9009 h 10000"/>
                <a:gd name="connsiteX31" fmla="*/ 1664 w 10000"/>
                <a:gd name="connsiteY31" fmla="*/ 9236 h 10000"/>
                <a:gd name="connsiteX32" fmla="*/ 1664 w 10000"/>
                <a:gd name="connsiteY32" fmla="*/ 9484 h 10000"/>
                <a:gd name="connsiteX33" fmla="*/ 1769 w 10000"/>
                <a:gd name="connsiteY33" fmla="*/ 9835 h 10000"/>
                <a:gd name="connsiteX34" fmla="*/ 1703 w 10000"/>
                <a:gd name="connsiteY34" fmla="*/ 10000 h 10000"/>
                <a:gd name="connsiteX35" fmla="*/ 1604 w 10000"/>
                <a:gd name="connsiteY35" fmla="*/ 9753 h 10000"/>
                <a:gd name="connsiteX36" fmla="*/ 1465 w 10000"/>
                <a:gd name="connsiteY36" fmla="*/ 9505 h 10000"/>
                <a:gd name="connsiteX37" fmla="*/ 1406 w 10000"/>
                <a:gd name="connsiteY37" fmla="*/ 9588 h 10000"/>
                <a:gd name="connsiteX38" fmla="*/ 1308 w 10000"/>
                <a:gd name="connsiteY38" fmla="*/ 9380 h 10000"/>
                <a:gd name="connsiteX39" fmla="*/ 1097 w 10000"/>
                <a:gd name="connsiteY39" fmla="*/ 9339 h 10000"/>
                <a:gd name="connsiteX40" fmla="*/ 848 w 10000"/>
                <a:gd name="connsiteY40" fmla="*/ 8813 h 10000"/>
                <a:gd name="connsiteX41" fmla="*/ 914 w 10000"/>
                <a:gd name="connsiteY41" fmla="*/ 8721 h 10000"/>
                <a:gd name="connsiteX42" fmla="*/ 961 w 10000"/>
                <a:gd name="connsiteY42" fmla="*/ 8493 h 10000"/>
                <a:gd name="connsiteX43" fmla="*/ 908 w 10000"/>
                <a:gd name="connsiteY43" fmla="*/ 8390 h 10000"/>
                <a:gd name="connsiteX44" fmla="*/ 1021 w 10000"/>
                <a:gd name="connsiteY44" fmla="*/ 8245 h 10000"/>
                <a:gd name="connsiteX45" fmla="*/ 945 w 10000"/>
                <a:gd name="connsiteY45" fmla="*/ 8194 h 10000"/>
                <a:gd name="connsiteX46" fmla="*/ 958 w 10000"/>
                <a:gd name="connsiteY46" fmla="*/ 8091 h 10000"/>
                <a:gd name="connsiteX47" fmla="*/ 1005 w 10000"/>
                <a:gd name="connsiteY47" fmla="*/ 8111 h 10000"/>
                <a:gd name="connsiteX48" fmla="*/ 1059 w 10000"/>
                <a:gd name="connsiteY48" fmla="*/ 8019 h 10000"/>
                <a:gd name="connsiteX49" fmla="*/ 1034 w 10000"/>
                <a:gd name="connsiteY49" fmla="*/ 7864 h 10000"/>
                <a:gd name="connsiteX50" fmla="*/ 1043 w 10000"/>
                <a:gd name="connsiteY50" fmla="*/ 7503 h 10000"/>
                <a:gd name="connsiteX51" fmla="*/ 930 w 10000"/>
                <a:gd name="connsiteY51" fmla="*/ 7440 h 10000"/>
                <a:gd name="connsiteX52" fmla="*/ 832 w 10000"/>
                <a:gd name="connsiteY52" fmla="*/ 7286 h 10000"/>
                <a:gd name="connsiteX53" fmla="*/ 700 w 10000"/>
                <a:gd name="connsiteY53" fmla="*/ 7275 h 10000"/>
                <a:gd name="connsiteX54" fmla="*/ 684 w 10000"/>
                <a:gd name="connsiteY54" fmla="*/ 7090 h 10000"/>
                <a:gd name="connsiteX55" fmla="*/ 596 w 10000"/>
                <a:gd name="connsiteY55" fmla="*/ 6945 h 10000"/>
                <a:gd name="connsiteX56" fmla="*/ 615 w 10000"/>
                <a:gd name="connsiteY56" fmla="*/ 6822 h 10000"/>
                <a:gd name="connsiteX57" fmla="*/ 561 w 10000"/>
                <a:gd name="connsiteY57" fmla="*/ 6698 h 10000"/>
                <a:gd name="connsiteX58" fmla="*/ 457 w 10000"/>
                <a:gd name="connsiteY58" fmla="*/ 6698 h 10000"/>
                <a:gd name="connsiteX59" fmla="*/ 425 w 10000"/>
                <a:gd name="connsiteY59" fmla="*/ 6791 h 10000"/>
                <a:gd name="connsiteX60" fmla="*/ 400 w 10000"/>
                <a:gd name="connsiteY60" fmla="*/ 6750 h 10000"/>
                <a:gd name="connsiteX61" fmla="*/ 378 w 10000"/>
                <a:gd name="connsiteY61" fmla="*/ 6439 h 10000"/>
                <a:gd name="connsiteX62" fmla="*/ 419 w 10000"/>
                <a:gd name="connsiteY62" fmla="*/ 6470 h 10000"/>
                <a:gd name="connsiteX63" fmla="*/ 466 w 10000"/>
                <a:gd name="connsiteY63" fmla="*/ 6347 h 10000"/>
                <a:gd name="connsiteX64" fmla="*/ 400 w 10000"/>
                <a:gd name="connsiteY64" fmla="*/ 6233 h 10000"/>
                <a:gd name="connsiteX65" fmla="*/ 315 w 10000"/>
                <a:gd name="connsiteY65" fmla="*/ 6017 h 10000"/>
                <a:gd name="connsiteX66" fmla="*/ 334 w 10000"/>
                <a:gd name="connsiteY66" fmla="*/ 5821 h 10000"/>
                <a:gd name="connsiteX67" fmla="*/ 274 w 10000"/>
                <a:gd name="connsiteY67" fmla="*/ 5697 h 10000"/>
                <a:gd name="connsiteX68" fmla="*/ 227 w 10000"/>
                <a:gd name="connsiteY68" fmla="*/ 5728 h 10000"/>
                <a:gd name="connsiteX69" fmla="*/ 202 w 10000"/>
                <a:gd name="connsiteY69" fmla="*/ 5604 h 10000"/>
                <a:gd name="connsiteX70" fmla="*/ 164 w 10000"/>
                <a:gd name="connsiteY70" fmla="*/ 5645 h 10000"/>
                <a:gd name="connsiteX71" fmla="*/ 117 w 10000"/>
                <a:gd name="connsiteY71" fmla="*/ 5604 h 10000"/>
                <a:gd name="connsiteX72" fmla="*/ 69 w 10000"/>
                <a:gd name="connsiteY72" fmla="*/ 5181 h 10000"/>
                <a:gd name="connsiteX73" fmla="*/ 85 w 10000"/>
                <a:gd name="connsiteY73" fmla="*/ 5057 h 10000"/>
                <a:gd name="connsiteX74" fmla="*/ 41 w 10000"/>
                <a:gd name="connsiteY74" fmla="*/ 4892 h 10000"/>
                <a:gd name="connsiteX75" fmla="*/ 66 w 10000"/>
                <a:gd name="connsiteY75" fmla="*/ 4655 h 10000"/>
                <a:gd name="connsiteX76" fmla="*/ 211 w 10000"/>
                <a:gd name="connsiteY76" fmla="*/ 4510 h 10000"/>
                <a:gd name="connsiteX77" fmla="*/ 129 w 10000"/>
                <a:gd name="connsiteY77" fmla="*/ 4406 h 10000"/>
                <a:gd name="connsiteX78" fmla="*/ 82 w 10000"/>
                <a:gd name="connsiteY78" fmla="*/ 4283 h 10000"/>
                <a:gd name="connsiteX79" fmla="*/ 205 w 10000"/>
                <a:gd name="connsiteY79" fmla="*/ 3912 h 10000"/>
                <a:gd name="connsiteX80" fmla="*/ 249 w 10000"/>
                <a:gd name="connsiteY80" fmla="*/ 3664 h 10000"/>
                <a:gd name="connsiteX81" fmla="*/ 151 w 10000"/>
                <a:gd name="connsiteY81" fmla="*/ 3488 h 10000"/>
                <a:gd name="connsiteX82" fmla="*/ 189 w 10000"/>
                <a:gd name="connsiteY82" fmla="*/ 3344 h 10000"/>
                <a:gd name="connsiteX83" fmla="*/ 113 w 10000"/>
                <a:gd name="connsiteY83" fmla="*/ 3148 h 10000"/>
                <a:gd name="connsiteX84" fmla="*/ 113 w 10000"/>
                <a:gd name="connsiteY84" fmla="*/ 2972 h 10000"/>
                <a:gd name="connsiteX85" fmla="*/ 60 w 10000"/>
                <a:gd name="connsiteY85" fmla="*/ 2622 h 10000"/>
                <a:gd name="connsiteX86" fmla="*/ 98 w 10000"/>
                <a:gd name="connsiteY86" fmla="*/ 2404 h 10000"/>
                <a:gd name="connsiteX87" fmla="*/ 38 w 10000"/>
                <a:gd name="connsiteY87" fmla="*/ 2301 h 10000"/>
                <a:gd name="connsiteX88" fmla="*/ 0 w 10000"/>
                <a:gd name="connsiteY88" fmla="*/ 2178 h 10000"/>
                <a:gd name="connsiteX89" fmla="*/ 54 w 10000"/>
                <a:gd name="connsiteY89" fmla="*/ 1951 h 10000"/>
                <a:gd name="connsiteX90" fmla="*/ 120 w 10000"/>
                <a:gd name="connsiteY90" fmla="*/ 1910 h 10000"/>
                <a:gd name="connsiteX91" fmla="*/ 195 w 10000"/>
                <a:gd name="connsiteY91" fmla="*/ 1858 h 10000"/>
                <a:gd name="connsiteX92" fmla="*/ 309 w 10000"/>
                <a:gd name="connsiteY92" fmla="*/ 1951 h 10000"/>
                <a:gd name="connsiteX93" fmla="*/ 482 w 10000"/>
                <a:gd name="connsiteY93" fmla="*/ 2054 h 10000"/>
                <a:gd name="connsiteX94" fmla="*/ 633 w 10000"/>
                <a:gd name="connsiteY94" fmla="*/ 2229 h 10000"/>
                <a:gd name="connsiteX95" fmla="*/ 756 w 10000"/>
                <a:gd name="connsiteY95" fmla="*/ 2373 h 10000"/>
                <a:gd name="connsiteX96" fmla="*/ 725 w 10000"/>
                <a:gd name="connsiteY96" fmla="*/ 2777 h 10000"/>
                <a:gd name="connsiteX97" fmla="*/ 362 w 10000"/>
                <a:gd name="connsiteY97" fmla="*/ 2673 h 10000"/>
                <a:gd name="connsiteX98" fmla="*/ 243 w 10000"/>
                <a:gd name="connsiteY98" fmla="*/ 2550 h 10000"/>
                <a:gd name="connsiteX99" fmla="*/ 287 w 10000"/>
                <a:gd name="connsiteY99" fmla="*/ 2622 h 10000"/>
                <a:gd name="connsiteX100" fmla="*/ 331 w 10000"/>
                <a:gd name="connsiteY100" fmla="*/ 2797 h 10000"/>
                <a:gd name="connsiteX101" fmla="*/ 400 w 10000"/>
                <a:gd name="connsiteY101" fmla="*/ 2921 h 10000"/>
                <a:gd name="connsiteX102" fmla="*/ 416 w 10000"/>
                <a:gd name="connsiteY102" fmla="*/ 3189 h 10000"/>
                <a:gd name="connsiteX103" fmla="*/ 507 w 10000"/>
                <a:gd name="connsiteY103" fmla="*/ 3313 h 10000"/>
                <a:gd name="connsiteX104" fmla="*/ 583 w 10000"/>
                <a:gd name="connsiteY104" fmla="*/ 3436 h 10000"/>
                <a:gd name="connsiteX105" fmla="*/ 605 w 10000"/>
                <a:gd name="connsiteY105" fmla="*/ 3467 h 10000"/>
                <a:gd name="connsiteX106" fmla="*/ 649 w 10000"/>
                <a:gd name="connsiteY106" fmla="*/ 3436 h 10000"/>
                <a:gd name="connsiteX107" fmla="*/ 633 w 10000"/>
                <a:gd name="connsiteY107" fmla="*/ 3364 h 10000"/>
                <a:gd name="connsiteX108" fmla="*/ 545 w 10000"/>
                <a:gd name="connsiteY108" fmla="*/ 3189 h 10000"/>
                <a:gd name="connsiteX109" fmla="*/ 801 w 10000"/>
                <a:gd name="connsiteY109" fmla="*/ 3344 h 10000"/>
                <a:gd name="connsiteX110" fmla="*/ 810 w 10000"/>
                <a:gd name="connsiteY110" fmla="*/ 3271 h 10000"/>
                <a:gd name="connsiteX111" fmla="*/ 785 w 10000"/>
                <a:gd name="connsiteY111" fmla="*/ 3220 h 10000"/>
                <a:gd name="connsiteX112" fmla="*/ 741 w 10000"/>
                <a:gd name="connsiteY112" fmla="*/ 2993 h 10000"/>
                <a:gd name="connsiteX113" fmla="*/ 870 w 10000"/>
                <a:gd name="connsiteY113" fmla="*/ 2777 h 10000"/>
                <a:gd name="connsiteX114" fmla="*/ 968 w 10000"/>
                <a:gd name="connsiteY114" fmla="*/ 2921 h 10000"/>
                <a:gd name="connsiteX115" fmla="*/ 999 w 10000"/>
                <a:gd name="connsiteY115" fmla="*/ 2725 h 10000"/>
                <a:gd name="connsiteX116" fmla="*/ 952 w 10000"/>
                <a:gd name="connsiteY116" fmla="*/ 2653 h 10000"/>
                <a:gd name="connsiteX117" fmla="*/ 936 w 10000"/>
                <a:gd name="connsiteY117" fmla="*/ 2281 h 10000"/>
                <a:gd name="connsiteX118" fmla="*/ 914 w 10000"/>
                <a:gd name="connsiteY118" fmla="*/ 2229 h 10000"/>
                <a:gd name="connsiteX119" fmla="*/ 1037 w 10000"/>
                <a:gd name="connsiteY119" fmla="*/ 2250 h 10000"/>
                <a:gd name="connsiteX120" fmla="*/ 1087 w 10000"/>
                <a:gd name="connsiteY120" fmla="*/ 2404 h 10000"/>
                <a:gd name="connsiteX121" fmla="*/ 1021 w 10000"/>
                <a:gd name="connsiteY121" fmla="*/ 2529 h 10000"/>
                <a:gd name="connsiteX122" fmla="*/ 1135 w 10000"/>
                <a:gd name="connsiteY122" fmla="*/ 2694 h 10000"/>
                <a:gd name="connsiteX123" fmla="*/ 1226 w 10000"/>
                <a:gd name="connsiteY123" fmla="*/ 2529 h 10000"/>
                <a:gd name="connsiteX124" fmla="*/ 1339 w 10000"/>
                <a:gd name="connsiteY124" fmla="*/ 2301 h 10000"/>
                <a:gd name="connsiteX125" fmla="*/ 1459 w 10000"/>
                <a:gd name="connsiteY125" fmla="*/ 2157 h 10000"/>
                <a:gd name="connsiteX126" fmla="*/ 1497 w 10000"/>
                <a:gd name="connsiteY126" fmla="*/ 2250 h 10000"/>
                <a:gd name="connsiteX127" fmla="*/ 1807 w 10000"/>
                <a:gd name="connsiteY127" fmla="*/ 2054 h 10000"/>
                <a:gd name="connsiteX128" fmla="*/ 1870 w 10000"/>
                <a:gd name="connsiteY128" fmla="*/ 2250 h 10000"/>
                <a:gd name="connsiteX129" fmla="*/ 1860 w 10000"/>
                <a:gd name="connsiteY129" fmla="*/ 2002 h 10000"/>
                <a:gd name="connsiteX130" fmla="*/ 1778 w 10000"/>
                <a:gd name="connsiteY130" fmla="*/ 1786 h 10000"/>
                <a:gd name="connsiteX131" fmla="*/ 1763 w 10000"/>
                <a:gd name="connsiteY131" fmla="*/ 1703 h 10000"/>
                <a:gd name="connsiteX132" fmla="*/ 1823 w 10000"/>
                <a:gd name="connsiteY132" fmla="*/ 1786 h 10000"/>
                <a:gd name="connsiteX133" fmla="*/ 2034 w 10000"/>
                <a:gd name="connsiteY133" fmla="*/ 1951 h 10000"/>
                <a:gd name="connsiteX134" fmla="*/ 2270 w 10000"/>
                <a:gd name="connsiteY134" fmla="*/ 2126 h 10000"/>
                <a:gd name="connsiteX135" fmla="*/ 2384 w 10000"/>
                <a:gd name="connsiteY135" fmla="*/ 2250 h 10000"/>
                <a:gd name="connsiteX136" fmla="*/ 2421 w 10000"/>
                <a:gd name="connsiteY136" fmla="*/ 2074 h 10000"/>
                <a:gd name="connsiteX137" fmla="*/ 2368 w 10000"/>
                <a:gd name="connsiteY137" fmla="*/ 2033 h 10000"/>
                <a:gd name="connsiteX138" fmla="*/ 2299 w 10000"/>
                <a:gd name="connsiteY138" fmla="*/ 1930 h 10000"/>
                <a:gd name="connsiteX139" fmla="*/ 2254 w 10000"/>
                <a:gd name="connsiteY139" fmla="*/ 1734 h 10000"/>
                <a:gd name="connsiteX140" fmla="*/ 2185 w 10000"/>
                <a:gd name="connsiteY140" fmla="*/ 1486 h 10000"/>
                <a:gd name="connsiteX141" fmla="*/ 2210 w 10000"/>
                <a:gd name="connsiteY141" fmla="*/ 1434 h 10000"/>
                <a:gd name="connsiteX142" fmla="*/ 2232 w 10000"/>
                <a:gd name="connsiteY142" fmla="*/ 1455 h 10000"/>
                <a:gd name="connsiteX143" fmla="*/ 2292 w 10000"/>
                <a:gd name="connsiteY143" fmla="*/ 1115 h 10000"/>
                <a:gd name="connsiteX144" fmla="*/ 2443 w 10000"/>
                <a:gd name="connsiteY144" fmla="*/ 1135 h 10000"/>
                <a:gd name="connsiteX145" fmla="*/ 2488 w 10000"/>
                <a:gd name="connsiteY145" fmla="*/ 1311 h 10000"/>
                <a:gd name="connsiteX146" fmla="*/ 2519 w 10000"/>
                <a:gd name="connsiteY146" fmla="*/ 1538 h 10000"/>
                <a:gd name="connsiteX147" fmla="*/ 2573 w 10000"/>
                <a:gd name="connsiteY147" fmla="*/ 1734 h 10000"/>
                <a:gd name="connsiteX148" fmla="*/ 2670 w 10000"/>
                <a:gd name="connsiteY148" fmla="*/ 2157 h 10000"/>
                <a:gd name="connsiteX149" fmla="*/ 2481 w 10000"/>
                <a:gd name="connsiteY149" fmla="*/ 2673 h 10000"/>
                <a:gd name="connsiteX150" fmla="*/ 2557 w 10000"/>
                <a:gd name="connsiteY150" fmla="*/ 2746 h 10000"/>
                <a:gd name="connsiteX151" fmla="*/ 2655 w 10000"/>
                <a:gd name="connsiteY151" fmla="*/ 2818 h 10000"/>
                <a:gd name="connsiteX152" fmla="*/ 2784 w 10000"/>
                <a:gd name="connsiteY152" fmla="*/ 2622 h 10000"/>
                <a:gd name="connsiteX153" fmla="*/ 2790 w 10000"/>
                <a:gd name="connsiteY153" fmla="*/ 2404 h 10000"/>
                <a:gd name="connsiteX154" fmla="*/ 2746 w 10000"/>
                <a:gd name="connsiteY154" fmla="*/ 2301 h 10000"/>
                <a:gd name="connsiteX155" fmla="*/ 2919 w 10000"/>
                <a:gd name="connsiteY155" fmla="*/ 2250 h 10000"/>
                <a:gd name="connsiteX156" fmla="*/ 2989 w 10000"/>
                <a:gd name="connsiteY156" fmla="*/ 2497 h 10000"/>
                <a:gd name="connsiteX157" fmla="*/ 2989 w 10000"/>
                <a:gd name="connsiteY157" fmla="*/ 2425 h 10000"/>
                <a:gd name="connsiteX158" fmla="*/ 2973 w 10000"/>
                <a:gd name="connsiteY158" fmla="*/ 2353 h 10000"/>
                <a:gd name="connsiteX159" fmla="*/ 2967 w 10000"/>
                <a:gd name="connsiteY159" fmla="*/ 2178 h 10000"/>
                <a:gd name="connsiteX160" fmla="*/ 2800 w 10000"/>
                <a:gd name="connsiteY160" fmla="*/ 1930 h 10000"/>
                <a:gd name="connsiteX161" fmla="*/ 2670 w 10000"/>
                <a:gd name="connsiteY161" fmla="*/ 2002 h 10000"/>
                <a:gd name="connsiteX162" fmla="*/ 2617 w 10000"/>
                <a:gd name="connsiteY162" fmla="*/ 1683 h 10000"/>
                <a:gd name="connsiteX163" fmla="*/ 2563 w 10000"/>
                <a:gd name="connsiteY163" fmla="*/ 1507 h 10000"/>
                <a:gd name="connsiteX164" fmla="*/ 2617 w 10000"/>
                <a:gd name="connsiteY164" fmla="*/ 1331 h 10000"/>
                <a:gd name="connsiteX165" fmla="*/ 2611 w 10000"/>
                <a:gd name="connsiteY165" fmla="*/ 1166 h 10000"/>
                <a:gd name="connsiteX166" fmla="*/ 2588 w 10000"/>
                <a:gd name="connsiteY166" fmla="*/ 1115 h 10000"/>
                <a:gd name="connsiteX167" fmla="*/ 2626 w 10000"/>
                <a:gd name="connsiteY167" fmla="*/ 1115 h 10000"/>
                <a:gd name="connsiteX168" fmla="*/ 2670 w 10000"/>
                <a:gd name="connsiteY168" fmla="*/ 1455 h 10000"/>
                <a:gd name="connsiteX169" fmla="*/ 2891 w 10000"/>
                <a:gd name="connsiteY169" fmla="*/ 1662 h 10000"/>
                <a:gd name="connsiteX170" fmla="*/ 2724 w 10000"/>
                <a:gd name="connsiteY170" fmla="*/ 1383 h 10000"/>
                <a:gd name="connsiteX171" fmla="*/ 3049 w 10000"/>
                <a:gd name="connsiteY171" fmla="*/ 1383 h 10000"/>
                <a:gd name="connsiteX172" fmla="*/ 3102 w 10000"/>
                <a:gd name="connsiteY172" fmla="*/ 1362 h 10000"/>
                <a:gd name="connsiteX173" fmla="*/ 2897 w 10000"/>
                <a:gd name="connsiteY173" fmla="*/ 1115 h 10000"/>
                <a:gd name="connsiteX174" fmla="*/ 2951 w 10000"/>
                <a:gd name="connsiteY174" fmla="*/ 888 h 10000"/>
                <a:gd name="connsiteX175" fmla="*/ 3178 w 10000"/>
                <a:gd name="connsiteY175" fmla="*/ 888 h 10000"/>
                <a:gd name="connsiteX176" fmla="*/ 3156 w 10000"/>
                <a:gd name="connsiteY176" fmla="*/ 713 h 10000"/>
                <a:gd name="connsiteX177" fmla="*/ 3231 w 10000"/>
                <a:gd name="connsiteY177" fmla="*/ 589 h 10000"/>
                <a:gd name="connsiteX178" fmla="*/ 3276 w 10000"/>
                <a:gd name="connsiteY178" fmla="*/ 548 h 10000"/>
                <a:gd name="connsiteX179" fmla="*/ 3443 w 10000"/>
                <a:gd name="connsiteY179" fmla="*/ 423 h 10000"/>
                <a:gd name="connsiteX180" fmla="*/ 3487 w 10000"/>
                <a:gd name="connsiteY180" fmla="*/ 371 h 10000"/>
                <a:gd name="connsiteX181" fmla="*/ 3480 w 10000"/>
                <a:gd name="connsiteY181" fmla="*/ 444 h 10000"/>
                <a:gd name="connsiteX182" fmla="*/ 3660 w 10000"/>
                <a:gd name="connsiteY182" fmla="*/ 371 h 10000"/>
                <a:gd name="connsiteX183" fmla="*/ 3805 w 10000"/>
                <a:gd name="connsiteY183" fmla="*/ 248 h 10000"/>
                <a:gd name="connsiteX184" fmla="*/ 3827 w 10000"/>
                <a:gd name="connsiteY184" fmla="*/ 0 h 10000"/>
                <a:gd name="connsiteX185" fmla="*/ 3988 w 10000"/>
                <a:gd name="connsiteY185" fmla="*/ 21 h 10000"/>
                <a:gd name="connsiteX186" fmla="*/ 3978 w 10000"/>
                <a:gd name="connsiteY186" fmla="*/ 93 h 10000"/>
                <a:gd name="connsiteX187" fmla="*/ 3988 w 10000"/>
                <a:gd name="connsiteY187" fmla="*/ 176 h 10000"/>
                <a:gd name="connsiteX188" fmla="*/ 4085 w 10000"/>
                <a:gd name="connsiteY188" fmla="*/ 248 h 10000"/>
                <a:gd name="connsiteX189" fmla="*/ 4379 w 10000"/>
                <a:gd name="connsiteY189" fmla="*/ 268 h 10000"/>
                <a:gd name="connsiteX190" fmla="*/ 4539 w 10000"/>
                <a:gd name="connsiteY190" fmla="*/ 392 h 10000"/>
                <a:gd name="connsiteX191" fmla="*/ 4486 w 10000"/>
                <a:gd name="connsiteY191" fmla="*/ 795 h 10000"/>
                <a:gd name="connsiteX192" fmla="*/ 4426 w 10000"/>
                <a:gd name="connsiteY192" fmla="*/ 919 h 10000"/>
                <a:gd name="connsiteX193" fmla="*/ 4356 w 10000"/>
                <a:gd name="connsiteY193" fmla="*/ 1043 h 10000"/>
                <a:gd name="connsiteX194" fmla="*/ 4372 w 10000"/>
                <a:gd name="connsiteY194" fmla="*/ 1115 h 10000"/>
                <a:gd name="connsiteX195" fmla="*/ 4583 w 10000"/>
                <a:gd name="connsiteY195" fmla="*/ 919 h 10000"/>
                <a:gd name="connsiteX196" fmla="*/ 5060 w 10000"/>
                <a:gd name="connsiteY196" fmla="*/ 991 h 10000"/>
                <a:gd name="connsiteX197" fmla="*/ 5108 w 10000"/>
                <a:gd name="connsiteY197" fmla="*/ 1063 h 10000"/>
                <a:gd name="connsiteX198" fmla="*/ 5212 w 10000"/>
                <a:gd name="connsiteY198" fmla="*/ 1187 h 10000"/>
                <a:gd name="connsiteX199" fmla="*/ 5357 w 10000"/>
                <a:gd name="connsiteY199" fmla="*/ 919 h 10000"/>
                <a:gd name="connsiteX200" fmla="*/ 5577 w 10000"/>
                <a:gd name="connsiteY200" fmla="*/ 1063 h 10000"/>
                <a:gd name="connsiteX201" fmla="*/ 5643 w 10000"/>
                <a:gd name="connsiteY201" fmla="*/ 1115 h 10000"/>
                <a:gd name="connsiteX202" fmla="*/ 5697 w 10000"/>
                <a:gd name="connsiteY202" fmla="*/ 1166 h 10000"/>
                <a:gd name="connsiteX203" fmla="*/ 5908 w 10000"/>
                <a:gd name="connsiteY203" fmla="*/ 1631 h 10000"/>
                <a:gd name="connsiteX204" fmla="*/ 5984 w 10000"/>
                <a:gd name="connsiteY204" fmla="*/ 1611 h 10000"/>
                <a:gd name="connsiteX205" fmla="*/ 5977 w 10000"/>
                <a:gd name="connsiteY205" fmla="*/ 1507 h 10000"/>
                <a:gd name="connsiteX206" fmla="*/ 5984 w 10000"/>
                <a:gd name="connsiteY206" fmla="*/ 1383 h 10000"/>
                <a:gd name="connsiteX207" fmla="*/ 6091 w 10000"/>
                <a:gd name="connsiteY207" fmla="*/ 1486 h 10000"/>
                <a:gd name="connsiteX208" fmla="*/ 6264 w 10000"/>
                <a:gd name="connsiteY208" fmla="*/ 1507 h 10000"/>
                <a:gd name="connsiteX209" fmla="*/ 6409 w 10000"/>
                <a:gd name="connsiteY209" fmla="*/ 1455 h 10000"/>
                <a:gd name="connsiteX210" fmla="*/ 6340 w 10000"/>
                <a:gd name="connsiteY210" fmla="*/ 1362 h 10000"/>
                <a:gd name="connsiteX211" fmla="*/ 6431 w 10000"/>
                <a:gd name="connsiteY211" fmla="*/ 1084 h 10000"/>
                <a:gd name="connsiteX212" fmla="*/ 6687 w 10000"/>
                <a:gd name="connsiteY212" fmla="*/ 1207 h 10000"/>
                <a:gd name="connsiteX213" fmla="*/ 6945 w 10000"/>
                <a:gd name="connsiteY213" fmla="*/ 1331 h 10000"/>
                <a:gd name="connsiteX214" fmla="*/ 6967 w 10000"/>
                <a:gd name="connsiteY214" fmla="*/ 1362 h 10000"/>
                <a:gd name="connsiteX215" fmla="*/ 7194 w 10000"/>
                <a:gd name="connsiteY215" fmla="*/ 1611 h 10000"/>
                <a:gd name="connsiteX216" fmla="*/ 7367 w 10000"/>
                <a:gd name="connsiteY216" fmla="*/ 1507 h 10000"/>
                <a:gd name="connsiteX217" fmla="*/ 7582 w 10000"/>
                <a:gd name="connsiteY217" fmla="*/ 1538 h 10000"/>
                <a:gd name="connsiteX218" fmla="*/ 7657 w 10000"/>
                <a:gd name="connsiteY218" fmla="*/ 1611 h 10000"/>
                <a:gd name="connsiteX219" fmla="*/ 7928 w 10000"/>
                <a:gd name="connsiteY219" fmla="*/ 1930 h 10000"/>
                <a:gd name="connsiteX220" fmla="*/ 8231 w 10000"/>
                <a:gd name="connsiteY220" fmla="*/ 1879 h 10000"/>
                <a:gd name="connsiteX221" fmla="*/ 8339 w 10000"/>
                <a:gd name="connsiteY221" fmla="*/ 2033 h 10000"/>
                <a:gd name="connsiteX222" fmla="*/ 8490 w 10000"/>
                <a:gd name="connsiteY222" fmla="*/ 2157 h 10000"/>
                <a:gd name="connsiteX223" fmla="*/ 8519 w 10000"/>
                <a:gd name="connsiteY223" fmla="*/ 2105 h 10000"/>
                <a:gd name="connsiteX224" fmla="*/ 8497 w 10000"/>
                <a:gd name="connsiteY224" fmla="*/ 2074 h 10000"/>
                <a:gd name="connsiteX225" fmla="*/ 8383 w 10000"/>
                <a:gd name="connsiteY225" fmla="*/ 1930 h 10000"/>
                <a:gd name="connsiteX226" fmla="*/ 8465 w 10000"/>
                <a:gd name="connsiteY226" fmla="*/ 1755 h 10000"/>
                <a:gd name="connsiteX227" fmla="*/ 8664 w 10000"/>
                <a:gd name="connsiteY227" fmla="*/ 1910 h 10000"/>
                <a:gd name="connsiteX228" fmla="*/ 8950 w 10000"/>
                <a:gd name="connsiteY228" fmla="*/ 1982 h 10000"/>
                <a:gd name="connsiteX229" fmla="*/ 9206 w 10000"/>
                <a:gd name="connsiteY229" fmla="*/ 2260 h 10000"/>
                <a:gd name="connsiteX230" fmla="*/ 9344 w 10000"/>
                <a:gd name="connsiteY230" fmla="*/ 2332 h 10000"/>
                <a:gd name="connsiteX231" fmla="*/ 9451 w 10000"/>
                <a:gd name="connsiteY231" fmla="*/ 2446 h 10000"/>
                <a:gd name="connsiteX232" fmla="*/ 9574 w 10000"/>
                <a:gd name="connsiteY232" fmla="*/ 2632 h 10000"/>
                <a:gd name="connsiteX233" fmla="*/ 9631 w 10000"/>
                <a:gd name="connsiteY233" fmla="*/ 2756 h 10000"/>
                <a:gd name="connsiteX234" fmla="*/ 9726 w 10000"/>
                <a:gd name="connsiteY234" fmla="*/ 2787 h 10000"/>
                <a:gd name="connsiteX235" fmla="*/ 9590 w 10000"/>
                <a:gd name="connsiteY235" fmla="*/ 2570 h 10000"/>
                <a:gd name="connsiteX236" fmla="*/ 9915 w 10000"/>
                <a:gd name="connsiteY236" fmla="*/ 2756 h 10000"/>
                <a:gd name="connsiteX237" fmla="*/ 10000 w 10000"/>
                <a:gd name="connsiteY237" fmla="*/ 3014 h 10000"/>
                <a:gd name="connsiteX238" fmla="*/ 9934 w 10000"/>
                <a:gd name="connsiteY238" fmla="*/ 2941 h 10000"/>
                <a:gd name="connsiteX239" fmla="*/ 9874 w 10000"/>
                <a:gd name="connsiteY239" fmla="*/ 2952 h 10000"/>
                <a:gd name="connsiteX240" fmla="*/ 10000 w 10000"/>
                <a:gd name="connsiteY240" fmla="*/ 3292 h 10000"/>
                <a:gd name="connsiteX241" fmla="*/ 9845 w 10000"/>
                <a:gd name="connsiteY241" fmla="*/ 3220 h 10000"/>
                <a:gd name="connsiteX242" fmla="*/ 9745 w 10000"/>
                <a:gd name="connsiteY242" fmla="*/ 3075 h 10000"/>
                <a:gd name="connsiteX243" fmla="*/ 9641 w 10000"/>
                <a:gd name="connsiteY243" fmla="*/ 2972 h 10000"/>
                <a:gd name="connsiteX244" fmla="*/ 9555 w 10000"/>
                <a:gd name="connsiteY244" fmla="*/ 3003 h 10000"/>
                <a:gd name="connsiteX245" fmla="*/ 9470 w 10000"/>
                <a:gd name="connsiteY245" fmla="*/ 2787 h 10000"/>
                <a:gd name="connsiteX246" fmla="*/ 9366 w 10000"/>
                <a:gd name="connsiteY246" fmla="*/ 2725 h 10000"/>
                <a:gd name="connsiteX247" fmla="*/ 9461 w 10000"/>
                <a:gd name="connsiteY247" fmla="*/ 2972 h 10000"/>
                <a:gd name="connsiteX248" fmla="*/ 9470 w 10000"/>
                <a:gd name="connsiteY248" fmla="*/ 3230 h 10000"/>
                <a:gd name="connsiteX249" fmla="*/ 9288 w 10000"/>
                <a:gd name="connsiteY249" fmla="*/ 3065 h 10000"/>
                <a:gd name="connsiteX250" fmla="*/ 9262 w 10000"/>
                <a:gd name="connsiteY250" fmla="*/ 3230 h 10000"/>
                <a:gd name="connsiteX251" fmla="*/ 9363 w 10000"/>
                <a:gd name="connsiteY251" fmla="*/ 3230 h 10000"/>
                <a:gd name="connsiteX252" fmla="*/ 9451 w 10000"/>
                <a:gd name="connsiteY252" fmla="*/ 3354 h 10000"/>
                <a:gd name="connsiteX253" fmla="*/ 9659 w 10000"/>
                <a:gd name="connsiteY253" fmla="*/ 3685 h 10000"/>
                <a:gd name="connsiteX254" fmla="*/ 9735 w 10000"/>
                <a:gd name="connsiteY254" fmla="*/ 3839 h 10000"/>
                <a:gd name="connsiteX255" fmla="*/ 9552 w 10000"/>
                <a:gd name="connsiteY255" fmla="*/ 3757 h 10000"/>
                <a:gd name="connsiteX256" fmla="*/ 9451 w 10000"/>
                <a:gd name="connsiteY256" fmla="*/ 4025 h 10000"/>
                <a:gd name="connsiteX257" fmla="*/ 9385 w 10000"/>
                <a:gd name="connsiteY257" fmla="*/ 4283 h 10000"/>
                <a:gd name="connsiteX258" fmla="*/ 9376 w 10000"/>
                <a:gd name="connsiteY258" fmla="*/ 4499 h 10000"/>
                <a:gd name="connsiteX259" fmla="*/ 9335 w 10000"/>
                <a:gd name="connsiteY259" fmla="*/ 4303 h 10000"/>
                <a:gd name="connsiteX260" fmla="*/ 9149 w 10000"/>
                <a:gd name="connsiteY260" fmla="*/ 4314 h 10000"/>
                <a:gd name="connsiteX261" fmla="*/ 9155 w 10000"/>
                <a:gd name="connsiteY261" fmla="*/ 4531 h 10000"/>
                <a:gd name="connsiteX262" fmla="*/ 9061 w 10000"/>
                <a:gd name="connsiteY262" fmla="*/ 4365 h 10000"/>
                <a:gd name="connsiteX263" fmla="*/ 9054 w 10000"/>
                <a:gd name="connsiteY263" fmla="*/ 4521 h 10000"/>
                <a:gd name="connsiteX264" fmla="*/ 8998 w 10000"/>
                <a:gd name="connsiteY264" fmla="*/ 4458 h 10000"/>
                <a:gd name="connsiteX265" fmla="*/ 8966 w 10000"/>
                <a:gd name="connsiteY265" fmla="*/ 4562 h 10000"/>
                <a:gd name="connsiteX266" fmla="*/ 9007 w 10000"/>
                <a:gd name="connsiteY266" fmla="*/ 4686 h 10000"/>
                <a:gd name="connsiteX267" fmla="*/ 9004 w 10000"/>
                <a:gd name="connsiteY267" fmla="*/ 4995 h 10000"/>
                <a:gd name="connsiteX268" fmla="*/ 9073 w 10000"/>
                <a:gd name="connsiteY268" fmla="*/ 5211 h 10000"/>
                <a:gd name="connsiteX269" fmla="*/ 9130 w 10000"/>
                <a:gd name="connsiteY269" fmla="*/ 5150 h 10000"/>
                <a:gd name="connsiteX270" fmla="*/ 9158 w 10000"/>
                <a:gd name="connsiteY270" fmla="*/ 5211 h 10000"/>
                <a:gd name="connsiteX271" fmla="*/ 9231 w 10000"/>
                <a:gd name="connsiteY271" fmla="*/ 5428 h 10000"/>
                <a:gd name="connsiteX272" fmla="*/ 9215 w 10000"/>
                <a:gd name="connsiteY272" fmla="*/ 5604 h 10000"/>
                <a:gd name="connsiteX273" fmla="*/ 9221 w 10000"/>
                <a:gd name="connsiteY273" fmla="*/ 5769 h 10000"/>
                <a:gd name="connsiteX274" fmla="*/ 9269 w 10000"/>
                <a:gd name="connsiteY274" fmla="*/ 5883 h 10000"/>
                <a:gd name="connsiteX275" fmla="*/ 9344 w 10000"/>
                <a:gd name="connsiteY275" fmla="*/ 6068 h 10000"/>
                <a:gd name="connsiteX276" fmla="*/ 9269 w 10000"/>
                <a:gd name="connsiteY276" fmla="*/ 6068 h 10000"/>
                <a:gd name="connsiteX277" fmla="*/ 9253 w 10000"/>
                <a:gd name="connsiteY277" fmla="*/ 6223 h 10000"/>
                <a:gd name="connsiteX278" fmla="*/ 9319 w 10000"/>
                <a:gd name="connsiteY278" fmla="*/ 6408 h 10000"/>
                <a:gd name="connsiteX279" fmla="*/ 9250 w 10000"/>
                <a:gd name="connsiteY279" fmla="*/ 6502 h 10000"/>
                <a:gd name="connsiteX280" fmla="*/ 9297 w 10000"/>
                <a:gd name="connsiteY280" fmla="*/ 6729 h 10000"/>
                <a:gd name="connsiteX281" fmla="*/ 9281 w 10000"/>
                <a:gd name="connsiteY281" fmla="*/ 7069 h 10000"/>
                <a:gd name="connsiteX282" fmla="*/ 9061 w 10000"/>
                <a:gd name="connsiteY282" fmla="*/ 6408 h 10000"/>
                <a:gd name="connsiteX283" fmla="*/ 8824 w 10000"/>
                <a:gd name="connsiteY283" fmla="*/ 5759 h 10000"/>
                <a:gd name="connsiteX284" fmla="*/ 8771 w 10000"/>
                <a:gd name="connsiteY284" fmla="*/ 5459 h 10000"/>
                <a:gd name="connsiteX285" fmla="*/ 8768 w 10000"/>
                <a:gd name="connsiteY285" fmla="*/ 5211 h 10000"/>
                <a:gd name="connsiteX286" fmla="*/ 8692 w 10000"/>
                <a:gd name="connsiteY286" fmla="*/ 5047 h 10000"/>
                <a:gd name="connsiteX287" fmla="*/ 8771 w 10000"/>
                <a:gd name="connsiteY287" fmla="*/ 5088 h 10000"/>
                <a:gd name="connsiteX288" fmla="*/ 8809 w 10000"/>
                <a:gd name="connsiteY288" fmla="*/ 5108 h 10000"/>
                <a:gd name="connsiteX289" fmla="*/ 8809 w 10000"/>
                <a:gd name="connsiteY289" fmla="*/ 4840 h 10000"/>
                <a:gd name="connsiteX290" fmla="*/ 8827 w 10000"/>
                <a:gd name="connsiteY290" fmla="*/ 4437 h 10000"/>
                <a:gd name="connsiteX291" fmla="*/ 8853 w 10000"/>
                <a:gd name="connsiteY291" fmla="*/ 4252 h 10000"/>
                <a:gd name="connsiteX292" fmla="*/ 8909 w 10000"/>
                <a:gd name="connsiteY292" fmla="*/ 4221 h 10000"/>
                <a:gd name="connsiteX293" fmla="*/ 8786 w 10000"/>
                <a:gd name="connsiteY293" fmla="*/ 3901 h 10000"/>
                <a:gd name="connsiteX294" fmla="*/ 8853 w 10000"/>
                <a:gd name="connsiteY294" fmla="*/ 3839 h 10000"/>
                <a:gd name="connsiteX295" fmla="*/ 8739 w 10000"/>
                <a:gd name="connsiteY295" fmla="*/ 3788 h 10000"/>
                <a:gd name="connsiteX296" fmla="*/ 8755 w 10000"/>
                <a:gd name="connsiteY296" fmla="*/ 3984 h 10000"/>
                <a:gd name="connsiteX297" fmla="*/ 8692 w 10000"/>
                <a:gd name="connsiteY297" fmla="*/ 4303 h 10000"/>
                <a:gd name="connsiteX298" fmla="*/ 8604 w 10000"/>
                <a:gd name="connsiteY298" fmla="*/ 4210 h 10000"/>
                <a:gd name="connsiteX299" fmla="*/ 8550 w 10000"/>
                <a:gd name="connsiteY299" fmla="*/ 4056 h 10000"/>
                <a:gd name="connsiteX300" fmla="*/ 8481 w 10000"/>
                <a:gd name="connsiteY300" fmla="*/ 4138 h 10000"/>
                <a:gd name="connsiteX301" fmla="*/ 8389 w 10000"/>
                <a:gd name="connsiteY301" fmla="*/ 4107 h 10000"/>
                <a:gd name="connsiteX302" fmla="*/ 8352 w 10000"/>
                <a:gd name="connsiteY302" fmla="*/ 4406 h 10000"/>
                <a:gd name="connsiteX303" fmla="*/ 8481 w 10000"/>
                <a:gd name="connsiteY303" fmla="*/ 4655 h 10000"/>
                <a:gd name="connsiteX304" fmla="*/ 8405 w 10000"/>
                <a:gd name="connsiteY304" fmla="*/ 4830 h 10000"/>
                <a:gd name="connsiteX305" fmla="*/ 8225 w 10000"/>
                <a:gd name="connsiteY305" fmla="*/ 4799 h 10000"/>
                <a:gd name="connsiteX306" fmla="*/ 8209 w 10000"/>
                <a:gd name="connsiteY306" fmla="*/ 4655 h 10000"/>
                <a:gd name="connsiteX307" fmla="*/ 8102 w 10000"/>
                <a:gd name="connsiteY307" fmla="*/ 4634 h 10000"/>
                <a:gd name="connsiteX308" fmla="*/ 7641 w 10000"/>
                <a:gd name="connsiteY308" fmla="*/ 4779 h 10000"/>
                <a:gd name="connsiteX309" fmla="*/ 7610 w 10000"/>
                <a:gd name="connsiteY309" fmla="*/ 5005 h 10000"/>
                <a:gd name="connsiteX310" fmla="*/ 7550 w 10000"/>
                <a:gd name="connsiteY310" fmla="*/ 5666 h 10000"/>
                <a:gd name="connsiteX311" fmla="*/ 7496 w 10000"/>
                <a:gd name="connsiteY311" fmla="*/ 5965 h 10000"/>
                <a:gd name="connsiteX312" fmla="*/ 7701 w 10000"/>
                <a:gd name="connsiteY312" fmla="*/ 6161 h 10000"/>
                <a:gd name="connsiteX313" fmla="*/ 7745 w 10000"/>
                <a:gd name="connsiteY313" fmla="*/ 6243 h 10000"/>
                <a:gd name="connsiteX314" fmla="*/ 7771 w 10000"/>
                <a:gd name="connsiteY314" fmla="*/ 6285 h 10000"/>
                <a:gd name="connsiteX315" fmla="*/ 7793 w 10000"/>
                <a:gd name="connsiteY315" fmla="*/ 6068 h 10000"/>
                <a:gd name="connsiteX316" fmla="*/ 7912 w 10000"/>
                <a:gd name="connsiteY316" fmla="*/ 6089 h 10000"/>
                <a:gd name="connsiteX317" fmla="*/ 8004 w 10000"/>
                <a:gd name="connsiteY317" fmla="*/ 6367 h 10000"/>
                <a:gd name="connsiteX318" fmla="*/ 8064 w 10000"/>
                <a:gd name="connsiteY318" fmla="*/ 6616 h 10000"/>
                <a:gd name="connsiteX319" fmla="*/ 8111 w 10000"/>
                <a:gd name="connsiteY319" fmla="*/ 6781 h 10000"/>
                <a:gd name="connsiteX320" fmla="*/ 8048 w 10000"/>
                <a:gd name="connsiteY320" fmla="*/ 6491 h 10000"/>
                <a:gd name="connsiteX321" fmla="*/ 8124 w 10000"/>
                <a:gd name="connsiteY321" fmla="*/ 6336 h 10000"/>
                <a:gd name="connsiteX322" fmla="*/ 8177 w 10000"/>
                <a:gd name="connsiteY322" fmla="*/ 6512 h 10000"/>
                <a:gd name="connsiteX323" fmla="*/ 8300 w 10000"/>
                <a:gd name="connsiteY323" fmla="*/ 6987 h 10000"/>
                <a:gd name="connsiteX324" fmla="*/ 8361 w 10000"/>
                <a:gd name="connsiteY324" fmla="*/ 7152 h 10000"/>
                <a:gd name="connsiteX325" fmla="*/ 8490 w 10000"/>
                <a:gd name="connsiteY325" fmla="*/ 7482 h 10000"/>
                <a:gd name="connsiteX326" fmla="*/ 8604 w 10000"/>
                <a:gd name="connsiteY326" fmla="*/ 7854 h 10000"/>
                <a:gd name="connsiteX327" fmla="*/ 8474 w 10000"/>
                <a:gd name="connsiteY327" fmla="*/ 7647 h 10000"/>
                <a:gd name="connsiteX328" fmla="*/ 8443 w 10000"/>
                <a:gd name="connsiteY328" fmla="*/ 7678 h 10000"/>
                <a:gd name="connsiteX329" fmla="*/ 8512 w 10000"/>
                <a:gd name="connsiteY329" fmla="*/ 8050 h 10000"/>
                <a:gd name="connsiteX330" fmla="*/ 8588 w 10000"/>
                <a:gd name="connsiteY330" fmla="*/ 8266 h 10000"/>
                <a:gd name="connsiteX331" fmla="*/ 8642 w 10000"/>
                <a:gd name="connsiteY331" fmla="*/ 8472 h 10000"/>
                <a:gd name="connsiteX332" fmla="*/ 8566 w 10000"/>
                <a:gd name="connsiteY332" fmla="*/ 8421 h 10000"/>
                <a:gd name="connsiteX333" fmla="*/ 8556 w 10000"/>
                <a:gd name="connsiteY333" fmla="*/ 8669 h 10000"/>
                <a:gd name="connsiteX334" fmla="*/ 8497 w 10000"/>
                <a:gd name="connsiteY334" fmla="*/ 8493 h 10000"/>
                <a:gd name="connsiteX335" fmla="*/ 8481 w 10000"/>
                <a:gd name="connsiteY335" fmla="*/ 8421 h 10000"/>
                <a:gd name="connsiteX336" fmla="*/ 8361 w 10000"/>
                <a:gd name="connsiteY336" fmla="*/ 7751 h 10000"/>
                <a:gd name="connsiteX337" fmla="*/ 8322 w 10000"/>
                <a:gd name="connsiteY337" fmla="*/ 7524 h 10000"/>
                <a:gd name="connsiteX338" fmla="*/ 8291 w 10000"/>
                <a:gd name="connsiteY338" fmla="*/ 7378 h 10000"/>
                <a:gd name="connsiteX339" fmla="*/ 8275 w 10000"/>
                <a:gd name="connsiteY339" fmla="*/ 7306 h 10000"/>
                <a:gd name="connsiteX340" fmla="*/ 8139 w 10000"/>
                <a:gd name="connsiteY340" fmla="*/ 6863 h 10000"/>
                <a:gd name="connsiteX341" fmla="*/ 8199 w 10000"/>
                <a:gd name="connsiteY341" fmla="*/ 7451 h 10000"/>
                <a:gd name="connsiteX342" fmla="*/ 8247 w 10000"/>
                <a:gd name="connsiteY342" fmla="*/ 7998 h 10000"/>
                <a:gd name="connsiteX343" fmla="*/ 8177 w 10000"/>
                <a:gd name="connsiteY343" fmla="*/ 9133 h 10000"/>
                <a:gd name="connsiteX344" fmla="*/ 8124 w 10000"/>
                <a:gd name="connsiteY344" fmla="*/ 9484 h 10000"/>
                <a:gd name="connsiteX345" fmla="*/ 7972 w 10000"/>
                <a:gd name="connsiteY345" fmla="*/ 9432 h 10000"/>
                <a:gd name="connsiteX346" fmla="*/ 7897 w 10000"/>
                <a:gd name="connsiteY346" fmla="*/ 9660 h 10000"/>
                <a:gd name="connsiteX347" fmla="*/ 7868 w 10000"/>
                <a:gd name="connsiteY347" fmla="*/ 9588 h 10000"/>
                <a:gd name="connsiteX348" fmla="*/ 7884 w 10000"/>
                <a:gd name="connsiteY348" fmla="*/ 9536 h 10000"/>
                <a:gd name="connsiteX349" fmla="*/ 7897 w 10000"/>
                <a:gd name="connsiteY349" fmla="*/ 9380 h 10000"/>
                <a:gd name="connsiteX350" fmla="*/ 7884 w 10000"/>
                <a:gd name="connsiteY350" fmla="*/ 9236 h 10000"/>
                <a:gd name="connsiteX351" fmla="*/ 7793 w 10000"/>
                <a:gd name="connsiteY351" fmla="*/ 8865 h 10000"/>
                <a:gd name="connsiteX352" fmla="*/ 7831 w 10000"/>
                <a:gd name="connsiteY352" fmla="*/ 8741 h 10000"/>
                <a:gd name="connsiteX353" fmla="*/ 7928 w 10000"/>
                <a:gd name="connsiteY353" fmla="*/ 8844 h 10000"/>
                <a:gd name="connsiteX354" fmla="*/ 7912 w 10000"/>
                <a:gd name="connsiteY354" fmla="*/ 8318 h 10000"/>
                <a:gd name="connsiteX355" fmla="*/ 7906 w 10000"/>
                <a:gd name="connsiteY355" fmla="*/ 8019 h 10000"/>
                <a:gd name="connsiteX356" fmla="*/ 7846 w 10000"/>
                <a:gd name="connsiteY356" fmla="*/ 7802 h 10000"/>
                <a:gd name="connsiteX357" fmla="*/ 7723 w 10000"/>
                <a:gd name="connsiteY357" fmla="*/ 8050 h 10000"/>
                <a:gd name="connsiteX358" fmla="*/ 7619 w 10000"/>
                <a:gd name="connsiteY358" fmla="*/ 8019 h 10000"/>
                <a:gd name="connsiteX359" fmla="*/ 7528 w 10000"/>
                <a:gd name="connsiteY359" fmla="*/ 7699 h 10000"/>
                <a:gd name="connsiteX360" fmla="*/ 7355 w 10000"/>
                <a:gd name="connsiteY360" fmla="*/ 7482 h 10000"/>
                <a:gd name="connsiteX361" fmla="*/ 7279 w 10000"/>
                <a:gd name="connsiteY361" fmla="*/ 7482 h 10000"/>
                <a:gd name="connsiteX362" fmla="*/ 7080 w 10000"/>
                <a:gd name="connsiteY362" fmla="*/ 6781 h 10000"/>
                <a:gd name="connsiteX363" fmla="*/ 6901 w 10000"/>
                <a:gd name="connsiteY363" fmla="*/ 6460 h 10000"/>
                <a:gd name="connsiteX364" fmla="*/ 6724 w 10000"/>
                <a:gd name="connsiteY364" fmla="*/ 6336 h 10000"/>
                <a:gd name="connsiteX365" fmla="*/ 6583 w 10000"/>
                <a:gd name="connsiteY365" fmla="*/ 6408 h 10000"/>
                <a:gd name="connsiteX366" fmla="*/ 6567 w 10000"/>
                <a:gd name="connsiteY366" fmla="*/ 6585 h 10000"/>
                <a:gd name="connsiteX367" fmla="*/ 6664 w 10000"/>
                <a:gd name="connsiteY367" fmla="*/ 6760 h 10000"/>
                <a:gd name="connsiteX368" fmla="*/ 6636 w 10000"/>
                <a:gd name="connsiteY368" fmla="*/ 6935 h 10000"/>
                <a:gd name="connsiteX369" fmla="*/ 6636 w 10000"/>
                <a:gd name="connsiteY369" fmla="*/ 7399 h 10000"/>
                <a:gd name="connsiteX370" fmla="*/ 6560 w 10000"/>
                <a:gd name="connsiteY370" fmla="*/ 7482 h 10000"/>
                <a:gd name="connsiteX371" fmla="*/ 6485 w 10000"/>
                <a:gd name="connsiteY371" fmla="*/ 7378 h 10000"/>
                <a:gd name="connsiteX372" fmla="*/ 6400 w 10000"/>
                <a:gd name="connsiteY372" fmla="*/ 7399 h 10000"/>
                <a:gd name="connsiteX373" fmla="*/ 6334 w 10000"/>
                <a:gd name="connsiteY373" fmla="*/ 7275 h 10000"/>
                <a:gd name="connsiteX374" fmla="*/ 6258 w 10000"/>
                <a:gd name="connsiteY374" fmla="*/ 7358 h 10000"/>
                <a:gd name="connsiteX375" fmla="*/ 6220 w 10000"/>
                <a:gd name="connsiteY375" fmla="*/ 7524 h 10000"/>
                <a:gd name="connsiteX376" fmla="*/ 6081 w 10000"/>
                <a:gd name="connsiteY376" fmla="*/ 7606 h 10000"/>
                <a:gd name="connsiteX377" fmla="*/ 5892 w 10000"/>
                <a:gd name="connsiteY377" fmla="*/ 7575 h 10000"/>
                <a:gd name="connsiteX378" fmla="*/ 5855 w 10000"/>
                <a:gd name="connsiteY378" fmla="*/ 7327 h 10000"/>
                <a:gd name="connsiteX379" fmla="*/ 5643 w 10000"/>
                <a:gd name="connsiteY379" fmla="*/ 7255 h 10000"/>
                <a:gd name="connsiteX380" fmla="*/ 5539 w 10000"/>
                <a:gd name="connsiteY380" fmla="*/ 7358 h 10000"/>
                <a:gd name="connsiteX381" fmla="*/ 5416 w 10000"/>
                <a:gd name="connsiteY381" fmla="*/ 7203 h 10000"/>
                <a:gd name="connsiteX382" fmla="*/ 5372 w 10000"/>
                <a:gd name="connsiteY382"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2633 w 10000"/>
                <a:gd name="connsiteY18" fmla="*/ 6120 h 10000"/>
                <a:gd name="connsiteX19" fmla="*/ 1610 w 10000"/>
                <a:gd name="connsiteY19" fmla="*/ 7183 h 10000"/>
                <a:gd name="connsiteX20" fmla="*/ 1655 w 10000"/>
                <a:gd name="connsiteY20" fmla="*/ 7430 h 10000"/>
                <a:gd name="connsiteX21" fmla="*/ 1604 w 10000"/>
                <a:gd name="connsiteY21" fmla="*/ 7430 h 10000"/>
                <a:gd name="connsiteX22" fmla="*/ 1551 w 10000"/>
                <a:gd name="connsiteY22" fmla="*/ 7255 h 10000"/>
                <a:gd name="connsiteX23" fmla="*/ 1513 w 10000"/>
                <a:gd name="connsiteY23" fmla="*/ 7430 h 10000"/>
                <a:gd name="connsiteX24" fmla="*/ 1519 w 10000"/>
                <a:gd name="connsiteY24" fmla="*/ 7854 h 10000"/>
                <a:gd name="connsiteX25" fmla="*/ 1604 w 10000"/>
                <a:gd name="connsiteY25" fmla="*/ 8070 h 10000"/>
                <a:gd name="connsiteX26" fmla="*/ 1648 w 10000"/>
                <a:gd name="connsiteY26" fmla="*/ 8019 h 10000"/>
                <a:gd name="connsiteX27" fmla="*/ 1741 w 10000"/>
                <a:gd name="connsiteY27" fmla="*/ 8493 h 10000"/>
                <a:gd name="connsiteX28" fmla="*/ 1610 w 10000"/>
                <a:gd name="connsiteY28" fmla="*/ 8669 h 10000"/>
                <a:gd name="connsiteX29" fmla="*/ 1595 w 10000"/>
                <a:gd name="connsiteY29" fmla="*/ 9009 h 10000"/>
                <a:gd name="connsiteX30" fmla="*/ 1664 w 10000"/>
                <a:gd name="connsiteY30" fmla="*/ 9236 h 10000"/>
                <a:gd name="connsiteX31" fmla="*/ 1664 w 10000"/>
                <a:gd name="connsiteY31" fmla="*/ 9484 h 10000"/>
                <a:gd name="connsiteX32" fmla="*/ 1769 w 10000"/>
                <a:gd name="connsiteY32" fmla="*/ 9835 h 10000"/>
                <a:gd name="connsiteX33" fmla="*/ 1703 w 10000"/>
                <a:gd name="connsiteY33" fmla="*/ 10000 h 10000"/>
                <a:gd name="connsiteX34" fmla="*/ 1604 w 10000"/>
                <a:gd name="connsiteY34" fmla="*/ 9753 h 10000"/>
                <a:gd name="connsiteX35" fmla="*/ 1465 w 10000"/>
                <a:gd name="connsiteY35" fmla="*/ 9505 h 10000"/>
                <a:gd name="connsiteX36" fmla="*/ 1406 w 10000"/>
                <a:gd name="connsiteY36" fmla="*/ 9588 h 10000"/>
                <a:gd name="connsiteX37" fmla="*/ 1308 w 10000"/>
                <a:gd name="connsiteY37" fmla="*/ 9380 h 10000"/>
                <a:gd name="connsiteX38" fmla="*/ 1097 w 10000"/>
                <a:gd name="connsiteY38" fmla="*/ 9339 h 10000"/>
                <a:gd name="connsiteX39" fmla="*/ 848 w 10000"/>
                <a:gd name="connsiteY39" fmla="*/ 8813 h 10000"/>
                <a:gd name="connsiteX40" fmla="*/ 914 w 10000"/>
                <a:gd name="connsiteY40" fmla="*/ 8721 h 10000"/>
                <a:gd name="connsiteX41" fmla="*/ 961 w 10000"/>
                <a:gd name="connsiteY41" fmla="*/ 8493 h 10000"/>
                <a:gd name="connsiteX42" fmla="*/ 908 w 10000"/>
                <a:gd name="connsiteY42" fmla="*/ 8390 h 10000"/>
                <a:gd name="connsiteX43" fmla="*/ 1021 w 10000"/>
                <a:gd name="connsiteY43" fmla="*/ 8245 h 10000"/>
                <a:gd name="connsiteX44" fmla="*/ 945 w 10000"/>
                <a:gd name="connsiteY44" fmla="*/ 8194 h 10000"/>
                <a:gd name="connsiteX45" fmla="*/ 958 w 10000"/>
                <a:gd name="connsiteY45" fmla="*/ 8091 h 10000"/>
                <a:gd name="connsiteX46" fmla="*/ 1005 w 10000"/>
                <a:gd name="connsiteY46" fmla="*/ 8111 h 10000"/>
                <a:gd name="connsiteX47" fmla="*/ 1059 w 10000"/>
                <a:gd name="connsiteY47" fmla="*/ 8019 h 10000"/>
                <a:gd name="connsiteX48" fmla="*/ 1034 w 10000"/>
                <a:gd name="connsiteY48" fmla="*/ 7864 h 10000"/>
                <a:gd name="connsiteX49" fmla="*/ 1043 w 10000"/>
                <a:gd name="connsiteY49" fmla="*/ 7503 h 10000"/>
                <a:gd name="connsiteX50" fmla="*/ 930 w 10000"/>
                <a:gd name="connsiteY50" fmla="*/ 7440 h 10000"/>
                <a:gd name="connsiteX51" fmla="*/ 832 w 10000"/>
                <a:gd name="connsiteY51" fmla="*/ 7286 h 10000"/>
                <a:gd name="connsiteX52" fmla="*/ 700 w 10000"/>
                <a:gd name="connsiteY52" fmla="*/ 7275 h 10000"/>
                <a:gd name="connsiteX53" fmla="*/ 684 w 10000"/>
                <a:gd name="connsiteY53" fmla="*/ 7090 h 10000"/>
                <a:gd name="connsiteX54" fmla="*/ 596 w 10000"/>
                <a:gd name="connsiteY54" fmla="*/ 6945 h 10000"/>
                <a:gd name="connsiteX55" fmla="*/ 615 w 10000"/>
                <a:gd name="connsiteY55" fmla="*/ 6822 h 10000"/>
                <a:gd name="connsiteX56" fmla="*/ 561 w 10000"/>
                <a:gd name="connsiteY56" fmla="*/ 6698 h 10000"/>
                <a:gd name="connsiteX57" fmla="*/ 457 w 10000"/>
                <a:gd name="connsiteY57" fmla="*/ 6698 h 10000"/>
                <a:gd name="connsiteX58" fmla="*/ 425 w 10000"/>
                <a:gd name="connsiteY58" fmla="*/ 6791 h 10000"/>
                <a:gd name="connsiteX59" fmla="*/ 400 w 10000"/>
                <a:gd name="connsiteY59" fmla="*/ 6750 h 10000"/>
                <a:gd name="connsiteX60" fmla="*/ 378 w 10000"/>
                <a:gd name="connsiteY60" fmla="*/ 6439 h 10000"/>
                <a:gd name="connsiteX61" fmla="*/ 419 w 10000"/>
                <a:gd name="connsiteY61" fmla="*/ 6470 h 10000"/>
                <a:gd name="connsiteX62" fmla="*/ 466 w 10000"/>
                <a:gd name="connsiteY62" fmla="*/ 6347 h 10000"/>
                <a:gd name="connsiteX63" fmla="*/ 400 w 10000"/>
                <a:gd name="connsiteY63" fmla="*/ 6233 h 10000"/>
                <a:gd name="connsiteX64" fmla="*/ 315 w 10000"/>
                <a:gd name="connsiteY64" fmla="*/ 6017 h 10000"/>
                <a:gd name="connsiteX65" fmla="*/ 334 w 10000"/>
                <a:gd name="connsiteY65" fmla="*/ 5821 h 10000"/>
                <a:gd name="connsiteX66" fmla="*/ 274 w 10000"/>
                <a:gd name="connsiteY66" fmla="*/ 5697 h 10000"/>
                <a:gd name="connsiteX67" fmla="*/ 227 w 10000"/>
                <a:gd name="connsiteY67" fmla="*/ 5728 h 10000"/>
                <a:gd name="connsiteX68" fmla="*/ 202 w 10000"/>
                <a:gd name="connsiteY68" fmla="*/ 5604 h 10000"/>
                <a:gd name="connsiteX69" fmla="*/ 164 w 10000"/>
                <a:gd name="connsiteY69" fmla="*/ 5645 h 10000"/>
                <a:gd name="connsiteX70" fmla="*/ 117 w 10000"/>
                <a:gd name="connsiteY70" fmla="*/ 5604 h 10000"/>
                <a:gd name="connsiteX71" fmla="*/ 69 w 10000"/>
                <a:gd name="connsiteY71" fmla="*/ 5181 h 10000"/>
                <a:gd name="connsiteX72" fmla="*/ 85 w 10000"/>
                <a:gd name="connsiteY72" fmla="*/ 5057 h 10000"/>
                <a:gd name="connsiteX73" fmla="*/ 41 w 10000"/>
                <a:gd name="connsiteY73" fmla="*/ 4892 h 10000"/>
                <a:gd name="connsiteX74" fmla="*/ 66 w 10000"/>
                <a:gd name="connsiteY74" fmla="*/ 4655 h 10000"/>
                <a:gd name="connsiteX75" fmla="*/ 211 w 10000"/>
                <a:gd name="connsiteY75" fmla="*/ 4510 h 10000"/>
                <a:gd name="connsiteX76" fmla="*/ 129 w 10000"/>
                <a:gd name="connsiteY76" fmla="*/ 4406 h 10000"/>
                <a:gd name="connsiteX77" fmla="*/ 82 w 10000"/>
                <a:gd name="connsiteY77" fmla="*/ 4283 h 10000"/>
                <a:gd name="connsiteX78" fmla="*/ 205 w 10000"/>
                <a:gd name="connsiteY78" fmla="*/ 3912 h 10000"/>
                <a:gd name="connsiteX79" fmla="*/ 249 w 10000"/>
                <a:gd name="connsiteY79" fmla="*/ 3664 h 10000"/>
                <a:gd name="connsiteX80" fmla="*/ 151 w 10000"/>
                <a:gd name="connsiteY80" fmla="*/ 3488 h 10000"/>
                <a:gd name="connsiteX81" fmla="*/ 189 w 10000"/>
                <a:gd name="connsiteY81" fmla="*/ 3344 h 10000"/>
                <a:gd name="connsiteX82" fmla="*/ 113 w 10000"/>
                <a:gd name="connsiteY82" fmla="*/ 3148 h 10000"/>
                <a:gd name="connsiteX83" fmla="*/ 113 w 10000"/>
                <a:gd name="connsiteY83" fmla="*/ 2972 h 10000"/>
                <a:gd name="connsiteX84" fmla="*/ 60 w 10000"/>
                <a:gd name="connsiteY84" fmla="*/ 2622 h 10000"/>
                <a:gd name="connsiteX85" fmla="*/ 98 w 10000"/>
                <a:gd name="connsiteY85" fmla="*/ 2404 h 10000"/>
                <a:gd name="connsiteX86" fmla="*/ 38 w 10000"/>
                <a:gd name="connsiteY86" fmla="*/ 2301 h 10000"/>
                <a:gd name="connsiteX87" fmla="*/ 0 w 10000"/>
                <a:gd name="connsiteY87" fmla="*/ 2178 h 10000"/>
                <a:gd name="connsiteX88" fmla="*/ 54 w 10000"/>
                <a:gd name="connsiteY88" fmla="*/ 1951 h 10000"/>
                <a:gd name="connsiteX89" fmla="*/ 120 w 10000"/>
                <a:gd name="connsiteY89" fmla="*/ 1910 h 10000"/>
                <a:gd name="connsiteX90" fmla="*/ 195 w 10000"/>
                <a:gd name="connsiteY90" fmla="*/ 1858 h 10000"/>
                <a:gd name="connsiteX91" fmla="*/ 309 w 10000"/>
                <a:gd name="connsiteY91" fmla="*/ 1951 h 10000"/>
                <a:gd name="connsiteX92" fmla="*/ 482 w 10000"/>
                <a:gd name="connsiteY92" fmla="*/ 2054 h 10000"/>
                <a:gd name="connsiteX93" fmla="*/ 633 w 10000"/>
                <a:gd name="connsiteY93" fmla="*/ 2229 h 10000"/>
                <a:gd name="connsiteX94" fmla="*/ 756 w 10000"/>
                <a:gd name="connsiteY94" fmla="*/ 2373 h 10000"/>
                <a:gd name="connsiteX95" fmla="*/ 725 w 10000"/>
                <a:gd name="connsiteY95" fmla="*/ 2777 h 10000"/>
                <a:gd name="connsiteX96" fmla="*/ 362 w 10000"/>
                <a:gd name="connsiteY96" fmla="*/ 2673 h 10000"/>
                <a:gd name="connsiteX97" fmla="*/ 243 w 10000"/>
                <a:gd name="connsiteY97" fmla="*/ 2550 h 10000"/>
                <a:gd name="connsiteX98" fmla="*/ 287 w 10000"/>
                <a:gd name="connsiteY98" fmla="*/ 2622 h 10000"/>
                <a:gd name="connsiteX99" fmla="*/ 331 w 10000"/>
                <a:gd name="connsiteY99" fmla="*/ 2797 h 10000"/>
                <a:gd name="connsiteX100" fmla="*/ 400 w 10000"/>
                <a:gd name="connsiteY100" fmla="*/ 2921 h 10000"/>
                <a:gd name="connsiteX101" fmla="*/ 416 w 10000"/>
                <a:gd name="connsiteY101" fmla="*/ 3189 h 10000"/>
                <a:gd name="connsiteX102" fmla="*/ 507 w 10000"/>
                <a:gd name="connsiteY102" fmla="*/ 3313 h 10000"/>
                <a:gd name="connsiteX103" fmla="*/ 583 w 10000"/>
                <a:gd name="connsiteY103" fmla="*/ 3436 h 10000"/>
                <a:gd name="connsiteX104" fmla="*/ 605 w 10000"/>
                <a:gd name="connsiteY104" fmla="*/ 3467 h 10000"/>
                <a:gd name="connsiteX105" fmla="*/ 649 w 10000"/>
                <a:gd name="connsiteY105" fmla="*/ 3436 h 10000"/>
                <a:gd name="connsiteX106" fmla="*/ 633 w 10000"/>
                <a:gd name="connsiteY106" fmla="*/ 3364 h 10000"/>
                <a:gd name="connsiteX107" fmla="*/ 545 w 10000"/>
                <a:gd name="connsiteY107" fmla="*/ 3189 h 10000"/>
                <a:gd name="connsiteX108" fmla="*/ 801 w 10000"/>
                <a:gd name="connsiteY108" fmla="*/ 3344 h 10000"/>
                <a:gd name="connsiteX109" fmla="*/ 810 w 10000"/>
                <a:gd name="connsiteY109" fmla="*/ 3271 h 10000"/>
                <a:gd name="connsiteX110" fmla="*/ 785 w 10000"/>
                <a:gd name="connsiteY110" fmla="*/ 3220 h 10000"/>
                <a:gd name="connsiteX111" fmla="*/ 741 w 10000"/>
                <a:gd name="connsiteY111" fmla="*/ 2993 h 10000"/>
                <a:gd name="connsiteX112" fmla="*/ 870 w 10000"/>
                <a:gd name="connsiteY112" fmla="*/ 2777 h 10000"/>
                <a:gd name="connsiteX113" fmla="*/ 968 w 10000"/>
                <a:gd name="connsiteY113" fmla="*/ 2921 h 10000"/>
                <a:gd name="connsiteX114" fmla="*/ 999 w 10000"/>
                <a:gd name="connsiteY114" fmla="*/ 2725 h 10000"/>
                <a:gd name="connsiteX115" fmla="*/ 952 w 10000"/>
                <a:gd name="connsiteY115" fmla="*/ 2653 h 10000"/>
                <a:gd name="connsiteX116" fmla="*/ 936 w 10000"/>
                <a:gd name="connsiteY116" fmla="*/ 2281 h 10000"/>
                <a:gd name="connsiteX117" fmla="*/ 914 w 10000"/>
                <a:gd name="connsiteY117" fmla="*/ 2229 h 10000"/>
                <a:gd name="connsiteX118" fmla="*/ 1037 w 10000"/>
                <a:gd name="connsiteY118" fmla="*/ 2250 h 10000"/>
                <a:gd name="connsiteX119" fmla="*/ 1087 w 10000"/>
                <a:gd name="connsiteY119" fmla="*/ 2404 h 10000"/>
                <a:gd name="connsiteX120" fmla="*/ 1021 w 10000"/>
                <a:gd name="connsiteY120" fmla="*/ 2529 h 10000"/>
                <a:gd name="connsiteX121" fmla="*/ 1135 w 10000"/>
                <a:gd name="connsiteY121" fmla="*/ 2694 h 10000"/>
                <a:gd name="connsiteX122" fmla="*/ 1226 w 10000"/>
                <a:gd name="connsiteY122" fmla="*/ 2529 h 10000"/>
                <a:gd name="connsiteX123" fmla="*/ 1339 w 10000"/>
                <a:gd name="connsiteY123" fmla="*/ 2301 h 10000"/>
                <a:gd name="connsiteX124" fmla="*/ 1459 w 10000"/>
                <a:gd name="connsiteY124" fmla="*/ 2157 h 10000"/>
                <a:gd name="connsiteX125" fmla="*/ 1497 w 10000"/>
                <a:gd name="connsiteY125" fmla="*/ 2250 h 10000"/>
                <a:gd name="connsiteX126" fmla="*/ 1807 w 10000"/>
                <a:gd name="connsiteY126" fmla="*/ 2054 h 10000"/>
                <a:gd name="connsiteX127" fmla="*/ 1870 w 10000"/>
                <a:gd name="connsiteY127" fmla="*/ 2250 h 10000"/>
                <a:gd name="connsiteX128" fmla="*/ 1860 w 10000"/>
                <a:gd name="connsiteY128" fmla="*/ 2002 h 10000"/>
                <a:gd name="connsiteX129" fmla="*/ 1778 w 10000"/>
                <a:gd name="connsiteY129" fmla="*/ 1786 h 10000"/>
                <a:gd name="connsiteX130" fmla="*/ 1763 w 10000"/>
                <a:gd name="connsiteY130" fmla="*/ 1703 h 10000"/>
                <a:gd name="connsiteX131" fmla="*/ 1823 w 10000"/>
                <a:gd name="connsiteY131" fmla="*/ 1786 h 10000"/>
                <a:gd name="connsiteX132" fmla="*/ 2034 w 10000"/>
                <a:gd name="connsiteY132" fmla="*/ 1951 h 10000"/>
                <a:gd name="connsiteX133" fmla="*/ 2270 w 10000"/>
                <a:gd name="connsiteY133" fmla="*/ 2126 h 10000"/>
                <a:gd name="connsiteX134" fmla="*/ 2384 w 10000"/>
                <a:gd name="connsiteY134" fmla="*/ 2250 h 10000"/>
                <a:gd name="connsiteX135" fmla="*/ 2421 w 10000"/>
                <a:gd name="connsiteY135" fmla="*/ 2074 h 10000"/>
                <a:gd name="connsiteX136" fmla="*/ 2368 w 10000"/>
                <a:gd name="connsiteY136" fmla="*/ 2033 h 10000"/>
                <a:gd name="connsiteX137" fmla="*/ 2299 w 10000"/>
                <a:gd name="connsiteY137" fmla="*/ 1930 h 10000"/>
                <a:gd name="connsiteX138" fmla="*/ 2254 w 10000"/>
                <a:gd name="connsiteY138" fmla="*/ 1734 h 10000"/>
                <a:gd name="connsiteX139" fmla="*/ 2185 w 10000"/>
                <a:gd name="connsiteY139" fmla="*/ 1486 h 10000"/>
                <a:gd name="connsiteX140" fmla="*/ 2210 w 10000"/>
                <a:gd name="connsiteY140" fmla="*/ 1434 h 10000"/>
                <a:gd name="connsiteX141" fmla="*/ 2232 w 10000"/>
                <a:gd name="connsiteY141" fmla="*/ 1455 h 10000"/>
                <a:gd name="connsiteX142" fmla="*/ 2292 w 10000"/>
                <a:gd name="connsiteY142" fmla="*/ 1115 h 10000"/>
                <a:gd name="connsiteX143" fmla="*/ 2443 w 10000"/>
                <a:gd name="connsiteY143" fmla="*/ 1135 h 10000"/>
                <a:gd name="connsiteX144" fmla="*/ 2488 w 10000"/>
                <a:gd name="connsiteY144" fmla="*/ 1311 h 10000"/>
                <a:gd name="connsiteX145" fmla="*/ 2519 w 10000"/>
                <a:gd name="connsiteY145" fmla="*/ 1538 h 10000"/>
                <a:gd name="connsiteX146" fmla="*/ 2573 w 10000"/>
                <a:gd name="connsiteY146" fmla="*/ 1734 h 10000"/>
                <a:gd name="connsiteX147" fmla="*/ 2670 w 10000"/>
                <a:gd name="connsiteY147" fmla="*/ 2157 h 10000"/>
                <a:gd name="connsiteX148" fmla="*/ 2481 w 10000"/>
                <a:gd name="connsiteY148" fmla="*/ 2673 h 10000"/>
                <a:gd name="connsiteX149" fmla="*/ 2557 w 10000"/>
                <a:gd name="connsiteY149" fmla="*/ 2746 h 10000"/>
                <a:gd name="connsiteX150" fmla="*/ 2655 w 10000"/>
                <a:gd name="connsiteY150" fmla="*/ 2818 h 10000"/>
                <a:gd name="connsiteX151" fmla="*/ 2784 w 10000"/>
                <a:gd name="connsiteY151" fmla="*/ 2622 h 10000"/>
                <a:gd name="connsiteX152" fmla="*/ 2790 w 10000"/>
                <a:gd name="connsiteY152" fmla="*/ 2404 h 10000"/>
                <a:gd name="connsiteX153" fmla="*/ 2746 w 10000"/>
                <a:gd name="connsiteY153" fmla="*/ 2301 h 10000"/>
                <a:gd name="connsiteX154" fmla="*/ 2919 w 10000"/>
                <a:gd name="connsiteY154" fmla="*/ 2250 h 10000"/>
                <a:gd name="connsiteX155" fmla="*/ 2989 w 10000"/>
                <a:gd name="connsiteY155" fmla="*/ 2497 h 10000"/>
                <a:gd name="connsiteX156" fmla="*/ 2989 w 10000"/>
                <a:gd name="connsiteY156" fmla="*/ 2425 h 10000"/>
                <a:gd name="connsiteX157" fmla="*/ 2973 w 10000"/>
                <a:gd name="connsiteY157" fmla="*/ 2353 h 10000"/>
                <a:gd name="connsiteX158" fmla="*/ 2967 w 10000"/>
                <a:gd name="connsiteY158" fmla="*/ 2178 h 10000"/>
                <a:gd name="connsiteX159" fmla="*/ 2800 w 10000"/>
                <a:gd name="connsiteY159" fmla="*/ 1930 h 10000"/>
                <a:gd name="connsiteX160" fmla="*/ 2670 w 10000"/>
                <a:gd name="connsiteY160" fmla="*/ 2002 h 10000"/>
                <a:gd name="connsiteX161" fmla="*/ 2617 w 10000"/>
                <a:gd name="connsiteY161" fmla="*/ 1683 h 10000"/>
                <a:gd name="connsiteX162" fmla="*/ 2563 w 10000"/>
                <a:gd name="connsiteY162" fmla="*/ 1507 h 10000"/>
                <a:gd name="connsiteX163" fmla="*/ 2617 w 10000"/>
                <a:gd name="connsiteY163" fmla="*/ 1331 h 10000"/>
                <a:gd name="connsiteX164" fmla="*/ 2611 w 10000"/>
                <a:gd name="connsiteY164" fmla="*/ 1166 h 10000"/>
                <a:gd name="connsiteX165" fmla="*/ 2588 w 10000"/>
                <a:gd name="connsiteY165" fmla="*/ 1115 h 10000"/>
                <a:gd name="connsiteX166" fmla="*/ 2626 w 10000"/>
                <a:gd name="connsiteY166" fmla="*/ 1115 h 10000"/>
                <a:gd name="connsiteX167" fmla="*/ 2670 w 10000"/>
                <a:gd name="connsiteY167" fmla="*/ 1455 h 10000"/>
                <a:gd name="connsiteX168" fmla="*/ 2891 w 10000"/>
                <a:gd name="connsiteY168" fmla="*/ 1662 h 10000"/>
                <a:gd name="connsiteX169" fmla="*/ 2724 w 10000"/>
                <a:gd name="connsiteY169" fmla="*/ 1383 h 10000"/>
                <a:gd name="connsiteX170" fmla="*/ 3049 w 10000"/>
                <a:gd name="connsiteY170" fmla="*/ 1383 h 10000"/>
                <a:gd name="connsiteX171" fmla="*/ 3102 w 10000"/>
                <a:gd name="connsiteY171" fmla="*/ 1362 h 10000"/>
                <a:gd name="connsiteX172" fmla="*/ 2897 w 10000"/>
                <a:gd name="connsiteY172" fmla="*/ 1115 h 10000"/>
                <a:gd name="connsiteX173" fmla="*/ 2951 w 10000"/>
                <a:gd name="connsiteY173" fmla="*/ 888 h 10000"/>
                <a:gd name="connsiteX174" fmla="*/ 3178 w 10000"/>
                <a:gd name="connsiteY174" fmla="*/ 888 h 10000"/>
                <a:gd name="connsiteX175" fmla="*/ 3156 w 10000"/>
                <a:gd name="connsiteY175" fmla="*/ 713 h 10000"/>
                <a:gd name="connsiteX176" fmla="*/ 3231 w 10000"/>
                <a:gd name="connsiteY176" fmla="*/ 589 h 10000"/>
                <a:gd name="connsiteX177" fmla="*/ 3276 w 10000"/>
                <a:gd name="connsiteY177" fmla="*/ 548 h 10000"/>
                <a:gd name="connsiteX178" fmla="*/ 3443 w 10000"/>
                <a:gd name="connsiteY178" fmla="*/ 423 h 10000"/>
                <a:gd name="connsiteX179" fmla="*/ 3487 w 10000"/>
                <a:gd name="connsiteY179" fmla="*/ 371 h 10000"/>
                <a:gd name="connsiteX180" fmla="*/ 3480 w 10000"/>
                <a:gd name="connsiteY180" fmla="*/ 444 h 10000"/>
                <a:gd name="connsiteX181" fmla="*/ 3660 w 10000"/>
                <a:gd name="connsiteY181" fmla="*/ 371 h 10000"/>
                <a:gd name="connsiteX182" fmla="*/ 3805 w 10000"/>
                <a:gd name="connsiteY182" fmla="*/ 248 h 10000"/>
                <a:gd name="connsiteX183" fmla="*/ 3827 w 10000"/>
                <a:gd name="connsiteY183" fmla="*/ 0 h 10000"/>
                <a:gd name="connsiteX184" fmla="*/ 3988 w 10000"/>
                <a:gd name="connsiteY184" fmla="*/ 21 h 10000"/>
                <a:gd name="connsiteX185" fmla="*/ 3978 w 10000"/>
                <a:gd name="connsiteY185" fmla="*/ 93 h 10000"/>
                <a:gd name="connsiteX186" fmla="*/ 3988 w 10000"/>
                <a:gd name="connsiteY186" fmla="*/ 176 h 10000"/>
                <a:gd name="connsiteX187" fmla="*/ 4085 w 10000"/>
                <a:gd name="connsiteY187" fmla="*/ 248 h 10000"/>
                <a:gd name="connsiteX188" fmla="*/ 4379 w 10000"/>
                <a:gd name="connsiteY188" fmla="*/ 268 h 10000"/>
                <a:gd name="connsiteX189" fmla="*/ 4539 w 10000"/>
                <a:gd name="connsiteY189" fmla="*/ 392 h 10000"/>
                <a:gd name="connsiteX190" fmla="*/ 4486 w 10000"/>
                <a:gd name="connsiteY190" fmla="*/ 795 h 10000"/>
                <a:gd name="connsiteX191" fmla="*/ 4426 w 10000"/>
                <a:gd name="connsiteY191" fmla="*/ 919 h 10000"/>
                <a:gd name="connsiteX192" fmla="*/ 4356 w 10000"/>
                <a:gd name="connsiteY192" fmla="*/ 1043 h 10000"/>
                <a:gd name="connsiteX193" fmla="*/ 4372 w 10000"/>
                <a:gd name="connsiteY193" fmla="*/ 1115 h 10000"/>
                <a:gd name="connsiteX194" fmla="*/ 4583 w 10000"/>
                <a:gd name="connsiteY194" fmla="*/ 919 h 10000"/>
                <a:gd name="connsiteX195" fmla="*/ 5060 w 10000"/>
                <a:gd name="connsiteY195" fmla="*/ 991 h 10000"/>
                <a:gd name="connsiteX196" fmla="*/ 5108 w 10000"/>
                <a:gd name="connsiteY196" fmla="*/ 1063 h 10000"/>
                <a:gd name="connsiteX197" fmla="*/ 5212 w 10000"/>
                <a:gd name="connsiteY197" fmla="*/ 1187 h 10000"/>
                <a:gd name="connsiteX198" fmla="*/ 5357 w 10000"/>
                <a:gd name="connsiteY198" fmla="*/ 919 h 10000"/>
                <a:gd name="connsiteX199" fmla="*/ 5577 w 10000"/>
                <a:gd name="connsiteY199" fmla="*/ 1063 h 10000"/>
                <a:gd name="connsiteX200" fmla="*/ 5643 w 10000"/>
                <a:gd name="connsiteY200" fmla="*/ 1115 h 10000"/>
                <a:gd name="connsiteX201" fmla="*/ 5697 w 10000"/>
                <a:gd name="connsiteY201" fmla="*/ 1166 h 10000"/>
                <a:gd name="connsiteX202" fmla="*/ 5908 w 10000"/>
                <a:gd name="connsiteY202" fmla="*/ 1631 h 10000"/>
                <a:gd name="connsiteX203" fmla="*/ 5984 w 10000"/>
                <a:gd name="connsiteY203" fmla="*/ 1611 h 10000"/>
                <a:gd name="connsiteX204" fmla="*/ 5977 w 10000"/>
                <a:gd name="connsiteY204" fmla="*/ 1507 h 10000"/>
                <a:gd name="connsiteX205" fmla="*/ 5984 w 10000"/>
                <a:gd name="connsiteY205" fmla="*/ 1383 h 10000"/>
                <a:gd name="connsiteX206" fmla="*/ 6091 w 10000"/>
                <a:gd name="connsiteY206" fmla="*/ 1486 h 10000"/>
                <a:gd name="connsiteX207" fmla="*/ 6264 w 10000"/>
                <a:gd name="connsiteY207" fmla="*/ 1507 h 10000"/>
                <a:gd name="connsiteX208" fmla="*/ 6409 w 10000"/>
                <a:gd name="connsiteY208" fmla="*/ 1455 h 10000"/>
                <a:gd name="connsiteX209" fmla="*/ 6340 w 10000"/>
                <a:gd name="connsiteY209" fmla="*/ 1362 h 10000"/>
                <a:gd name="connsiteX210" fmla="*/ 6431 w 10000"/>
                <a:gd name="connsiteY210" fmla="*/ 1084 h 10000"/>
                <a:gd name="connsiteX211" fmla="*/ 6687 w 10000"/>
                <a:gd name="connsiteY211" fmla="*/ 1207 h 10000"/>
                <a:gd name="connsiteX212" fmla="*/ 6945 w 10000"/>
                <a:gd name="connsiteY212" fmla="*/ 1331 h 10000"/>
                <a:gd name="connsiteX213" fmla="*/ 6967 w 10000"/>
                <a:gd name="connsiteY213" fmla="*/ 1362 h 10000"/>
                <a:gd name="connsiteX214" fmla="*/ 7194 w 10000"/>
                <a:gd name="connsiteY214" fmla="*/ 1611 h 10000"/>
                <a:gd name="connsiteX215" fmla="*/ 7367 w 10000"/>
                <a:gd name="connsiteY215" fmla="*/ 1507 h 10000"/>
                <a:gd name="connsiteX216" fmla="*/ 7582 w 10000"/>
                <a:gd name="connsiteY216" fmla="*/ 1538 h 10000"/>
                <a:gd name="connsiteX217" fmla="*/ 7657 w 10000"/>
                <a:gd name="connsiteY217" fmla="*/ 1611 h 10000"/>
                <a:gd name="connsiteX218" fmla="*/ 7928 w 10000"/>
                <a:gd name="connsiteY218" fmla="*/ 1930 h 10000"/>
                <a:gd name="connsiteX219" fmla="*/ 8231 w 10000"/>
                <a:gd name="connsiteY219" fmla="*/ 1879 h 10000"/>
                <a:gd name="connsiteX220" fmla="*/ 8339 w 10000"/>
                <a:gd name="connsiteY220" fmla="*/ 2033 h 10000"/>
                <a:gd name="connsiteX221" fmla="*/ 8490 w 10000"/>
                <a:gd name="connsiteY221" fmla="*/ 2157 h 10000"/>
                <a:gd name="connsiteX222" fmla="*/ 8519 w 10000"/>
                <a:gd name="connsiteY222" fmla="*/ 2105 h 10000"/>
                <a:gd name="connsiteX223" fmla="*/ 8497 w 10000"/>
                <a:gd name="connsiteY223" fmla="*/ 2074 h 10000"/>
                <a:gd name="connsiteX224" fmla="*/ 8383 w 10000"/>
                <a:gd name="connsiteY224" fmla="*/ 1930 h 10000"/>
                <a:gd name="connsiteX225" fmla="*/ 8465 w 10000"/>
                <a:gd name="connsiteY225" fmla="*/ 1755 h 10000"/>
                <a:gd name="connsiteX226" fmla="*/ 8664 w 10000"/>
                <a:gd name="connsiteY226" fmla="*/ 1910 h 10000"/>
                <a:gd name="connsiteX227" fmla="*/ 8950 w 10000"/>
                <a:gd name="connsiteY227" fmla="*/ 1982 h 10000"/>
                <a:gd name="connsiteX228" fmla="*/ 9206 w 10000"/>
                <a:gd name="connsiteY228" fmla="*/ 2260 h 10000"/>
                <a:gd name="connsiteX229" fmla="*/ 9344 w 10000"/>
                <a:gd name="connsiteY229" fmla="*/ 2332 h 10000"/>
                <a:gd name="connsiteX230" fmla="*/ 9451 w 10000"/>
                <a:gd name="connsiteY230" fmla="*/ 2446 h 10000"/>
                <a:gd name="connsiteX231" fmla="*/ 9574 w 10000"/>
                <a:gd name="connsiteY231" fmla="*/ 2632 h 10000"/>
                <a:gd name="connsiteX232" fmla="*/ 9631 w 10000"/>
                <a:gd name="connsiteY232" fmla="*/ 2756 h 10000"/>
                <a:gd name="connsiteX233" fmla="*/ 9726 w 10000"/>
                <a:gd name="connsiteY233" fmla="*/ 2787 h 10000"/>
                <a:gd name="connsiteX234" fmla="*/ 9590 w 10000"/>
                <a:gd name="connsiteY234" fmla="*/ 2570 h 10000"/>
                <a:gd name="connsiteX235" fmla="*/ 9915 w 10000"/>
                <a:gd name="connsiteY235" fmla="*/ 2756 h 10000"/>
                <a:gd name="connsiteX236" fmla="*/ 10000 w 10000"/>
                <a:gd name="connsiteY236" fmla="*/ 3014 h 10000"/>
                <a:gd name="connsiteX237" fmla="*/ 9934 w 10000"/>
                <a:gd name="connsiteY237" fmla="*/ 2941 h 10000"/>
                <a:gd name="connsiteX238" fmla="*/ 9874 w 10000"/>
                <a:gd name="connsiteY238" fmla="*/ 2952 h 10000"/>
                <a:gd name="connsiteX239" fmla="*/ 10000 w 10000"/>
                <a:gd name="connsiteY239" fmla="*/ 3292 h 10000"/>
                <a:gd name="connsiteX240" fmla="*/ 9845 w 10000"/>
                <a:gd name="connsiteY240" fmla="*/ 3220 h 10000"/>
                <a:gd name="connsiteX241" fmla="*/ 9745 w 10000"/>
                <a:gd name="connsiteY241" fmla="*/ 3075 h 10000"/>
                <a:gd name="connsiteX242" fmla="*/ 9641 w 10000"/>
                <a:gd name="connsiteY242" fmla="*/ 2972 h 10000"/>
                <a:gd name="connsiteX243" fmla="*/ 9555 w 10000"/>
                <a:gd name="connsiteY243" fmla="*/ 3003 h 10000"/>
                <a:gd name="connsiteX244" fmla="*/ 9470 w 10000"/>
                <a:gd name="connsiteY244" fmla="*/ 2787 h 10000"/>
                <a:gd name="connsiteX245" fmla="*/ 9366 w 10000"/>
                <a:gd name="connsiteY245" fmla="*/ 2725 h 10000"/>
                <a:gd name="connsiteX246" fmla="*/ 9461 w 10000"/>
                <a:gd name="connsiteY246" fmla="*/ 2972 h 10000"/>
                <a:gd name="connsiteX247" fmla="*/ 9470 w 10000"/>
                <a:gd name="connsiteY247" fmla="*/ 3230 h 10000"/>
                <a:gd name="connsiteX248" fmla="*/ 9288 w 10000"/>
                <a:gd name="connsiteY248" fmla="*/ 3065 h 10000"/>
                <a:gd name="connsiteX249" fmla="*/ 9262 w 10000"/>
                <a:gd name="connsiteY249" fmla="*/ 3230 h 10000"/>
                <a:gd name="connsiteX250" fmla="*/ 9363 w 10000"/>
                <a:gd name="connsiteY250" fmla="*/ 3230 h 10000"/>
                <a:gd name="connsiteX251" fmla="*/ 9451 w 10000"/>
                <a:gd name="connsiteY251" fmla="*/ 3354 h 10000"/>
                <a:gd name="connsiteX252" fmla="*/ 9659 w 10000"/>
                <a:gd name="connsiteY252" fmla="*/ 3685 h 10000"/>
                <a:gd name="connsiteX253" fmla="*/ 9735 w 10000"/>
                <a:gd name="connsiteY253" fmla="*/ 3839 h 10000"/>
                <a:gd name="connsiteX254" fmla="*/ 9552 w 10000"/>
                <a:gd name="connsiteY254" fmla="*/ 3757 h 10000"/>
                <a:gd name="connsiteX255" fmla="*/ 9451 w 10000"/>
                <a:gd name="connsiteY255" fmla="*/ 4025 h 10000"/>
                <a:gd name="connsiteX256" fmla="*/ 9385 w 10000"/>
                <a:gd name="connsiteY256" fmla="*/ 4283 h 10000"/>
                <a:gd name="connsiteX257" fmla="*/ 9376 w 10000"/>
                <a:gd name="connsiteY257" fmla="*/ 4499 h 10000"/>
                <a:gd name="connsiteX258" fmla="*/ 9335 w 10000"/>
                <a:gd name="connsiteY258" fmla="*/ 4303 h 10000"/>
                <a:gd name="connsiteX259" fmla="*/ 9149 w 10000"/>
                <a:gd name="connsiteY259" fmla="*/ 4314 h 10000"/>
                <a:gd name="connsiteX260" fmla="*/ 9155 w 10000"/>
                <a:gd name="connsiteY260" fmla="*/ 4531 h 10000"/>
                <a:gd name="connsiteX261" fmla="*/ 9061 w 10000"/>
                <a:gd name="connsiteY261" fmla="*/ 4365 h 10000"/>
                <a:gd name="connsiteX262" fmla="*/ 9054 w 10000"/>
                <a:gd name="connsiteY262" fmla="*/ 4521 h 10000"/>
                <a:gd name="connsiteX263" fmla="*/ 8998 w 10000"/>
                <a:gd name="connsiteY263" fmla="*/ 4458 h 10000"/>
                <a:gd name="connsiteX264" fmla="*/ 8966 w 10000"/>
                <a:gd name="connsiteY264" fmla="*/ 4562 h 10000"/>
                <a:gd name="connsiteX265" fmla="*/ 9007 w 10000"/>
                <a:gd name="connsiteY265" fmla="*/ 4686 h 10000"/>
                <a:gd name="connsiteX266" fmla="*/ 9004 w 10000"/>
                <a:gd name="connsiteY266" fmla="*/ 4995 h 10000"/>
                <a:gd name="connsiteX267" fmla="*/ 9073 w 10000"/>
                <a:gd name="connsiteY267" fmla="*/ 5211 h 10000"/>
                <a:gd name="connsiteX268" fmla="*/ 9130 w 10000"/>
                <a:gd name="connsiteY268" fmla="*/ 5150 h 10000"/>
                <a:gd name="connsiteX269" fmla="*/ 9158 w 10000"/>
                <a:gd name="connsiteY269" fmla="*/ 5211 h 10000"/>
                <a:gd name="connsiteX270" fmla="*/ 9231 w 10000"/>
                <a:gd name="connsiteY270" fmla="*/ 5428 h 10000"/>
                <a:gd name="connsiteX271" fmla="*/ 9215 w 10000"/>
                <a:gd name="connsiteY271" fmla="*/ 5604 h 10000"/>
                <a:gd name="connsiteX272" fmla="*/ 9221 w 10000"/>
                <a:gd name="connsiteY272" fmla="*/ 5769 h 10000"/>
                <a:gd name="connsiteX273" fmla="*/ 9269 w 10000"/>
                <a:gd name="connsiteY273" fmla="*/ 5883 h 10000"/>
                <a:gd name="connsiteX274" fmla="*/ 9344 w 10000"/>
                <a:gd name="connsiteY274" fmla="*/ 6068 h 10000"/>
                <a:gd name="connsiteX275" fmla="*/ 9269 w 10000"/>
                <a:gd name="connsiteY275" fmla="*/ 6068 h 10000"/>
                <a:gd name="connsiteX276" fmla="*/ 9253 w 10000"/>
                <a:gd name="connsiteY276" fmla="*/ 6223 h 10000"/>
                <a:gd name="connsiteX277" fmla="*/ 9319 w 10000"/>
                <a:gd name="connsiteY277" fmla="*/ 6408 h 10000"/>
                <a:gd name="connsiteX278" fmla="*/ 9250 w 10000"/>
                <a:gd name="connsiteY278" fmla="*/ 6502 h 10000"/>
                <a:gd name="connsiteX279" fmla="*/ 9297 w 10000"/>
                <a:gd name="connsiteY279" fmla="*/ 6729 h 10000"/>
                <a:gd name="connsiteX280" fmla="*/ 9281 w 10000"/>
                <a:gd name="connsiteY280" fmla="*/ 7069 h 10000"/>
                <a:gd name="connsiteX281" fmla="*/ 9061 w 10000"/>
                <a:gd name="connsiteY281" fmla="*/ 6408 h 10000"/>
                <a:gd name="connsiteX282" fmla="*/ 8824 w 10000"/>
                <a:gd name="connsiteY282" fmla="*/ 5759 h 10000"/>
                <a:gd name="connsiteX283" fmla="*/ 8771 w 10000"/>
                <a:gd name="connsiteY283" fmla="*/ 5459 h 10000"/>
                <a:gd name="connsiteX284" fmla="*/ 8768 w 10000"/>
                <a:gd name="connsiteY284" fmla="*/ 5211 h 10000"/>
                <a:gd name="connsiteX285" fmla="*/ 8692 w 10000"/>
                <a:gd name="connsiteY285" fmla="*/ 5047 h 10000"/>
                <a:gd name="connsiteX286" fmla="*/ 8771 w 10000"/>
                <a:gd name="connsiteY286" fmla="*/ 5088 h 10000"/>
                <a:gd name="connsiteX287" fmla="*/ 8809 w 10000"/>
                <a:gd name="connsiteY287" fmla="*/ 5108 h 10000"/>
                <a:gd name="connsiteX288" fmla="*/ 8809 w 10000"/>
                <a:gd name="connsiteY288" fmla="*/ 4840 h 10000"/>
                <a:gd name="connsiteX289" fmla="*/ 8827 w 10000"/>
                <a:gd name="connsiteY289" fmla="*/ 4437 h 10000"/>
                <a:gd name="connsiteX290" fmla="*/ 8853 w 10000"/>
                <a:gd name="connsiteY290" fmla="*/ 4252 h 10000"/>
                <a:gd name="connsiteX291" fmla="*/ 8909 w 10000"/>
                <a:gd name="connsiteY291" fmla="*/ 4221 h 10000"/>
                <a:gd name="connsiteX292" fmla="*/ 8786 w 10000"/>
                <a:gd name="connsiteY292" fmla="*/ 3901 h 10000"/>
                <a:gd name="connsiteX293" fmla="*/ 8853 w 10000"/>
                <a:gd name="connsiteY293" fmla="*/ 3839 h 10000"/>
                <a:gd name="connsiteX294" fmla="*/ 8739 w 10000"/>
                <a:gd name="connsiteY294" fmla="*/ 3788 h 10000"/>
                <a:gd name="connsiteX295" fmla="*/ 8755 w 10000"/>
                <a:gd name="connsiteY295" fmla="*/ 3984 h 10000"/>
                <a:gd name="connsiteX296" fmla="*/ 8692 w 10000"/>
                <a:gd name="connsiteY296" fmla="*/ 4303 h 10000"/>
                <a:gd name="connsiteX297" fmla="*/ 8604 w 10000"/>
                <a:gd name="connsiteY297" fmla="*/ 4210 h 10000"/>
                <a:gd name="connsiteX298" fmla="*/ 8550 w 10000"/>
                <a:gd name="connsiteY298" fmla="*/ 4056 h 10000"/>
                <a:gd name="connsiteX299" fmla="*/ 8481 w 10000"/>
                <a:gd name="connsiteY299" fmla="*/ 4138 h 10000"/>
                <a:gd name="connsiteX300" fmla="*/ 8389 w 10000"/>
                <a:gd name="connsiteY300" fmla="*/ 4107 h 10000"/>
                <a:gd name="connsiteX301" fmla="*/ 8352 w 10000"/>
                <a:gd name="connsiteY301" fmla="*/ 4406 h 10000"/>
                <a:gd name="connsiteX302" fmla="*/ 8481 w 10000"/>
                <a:gd name="connsiteY302" fmla="*/ 4655 h 10000"/>
                <a:gd name="connsiteX303" fmla="*/ 8405 w 10000"/>
                <a:gd name="connsiteY303" fmla="*/ 4830 h 10000"/>
                <a:gd name="connsiteX304" fmla="*/ 8225 w 10000"/>
                <a:gd name="connsiteY304" fmla="*/ 4799 h 10000"/>
                <a:gd name="connsiteX305" fmla="*/ 8209 w 10000"/>
                <a:gd name="connsiteY305" fmla="*/ 4655 h 10000"/>
                <a:gd name="connsiteX306" fmla="*/ 8102 w 10000"/>
                <a:gd name="connsiteY306" fmla="*/ 4634 h 10000"/>
                <a:gd name="connsiteX307" fmla="*/ 7641 w 10000"/>
                <a:gd name="connsiteY307" fmla="*/ 4779 h 10000"/>
                <a:gd name="connsiteX308" fmla="*/ 7610 w 10000"/>
                <a:gd name="connsiteY308" fmla="*/ 5005 h 10000"/>
                <a:gd name="connsiteX309" fmla="*/ 7550 w 10000"/>
                <a:gd name="connsiteY309" fmla="*/ 5666 h 10000"/>
                <a:gd name="connsiteX310" fmla="*/ 7496 w 10000"/>
                <a:gd name="connsiteY310" fmla="*/ 5965 h 10000"/>
                <a:gd name="connsiteX311" fmla="*/ 7701 w 10000"/>
                <a:gd name="connsiteY311" fmla="*/ 6161 h 10000"/>
                <a:gd name="connsiteX312" fmla="*/ 7745 w 10000"/>
                <a:gd name="connsiteY312" fmla="*/ 6243 h 10000"/>
                <a:gd name="connsiteX313" fmla="*/ 7771 w 10000"/>
                <a:gd name="connsiteY313" fmla="*/ 6285 h 10000"/>
                <a:gd name="connsiteX314" fmla="*/ 7793 w 10000"/>
                <a:gd name="connsiteY314" fmla="*/ 6068 h 10000"/>
                <a:gd name="connsiteX315" fmla="*/ 7912 w 10000"/>
                <a:gd name="connsiteY315" fmla="*/ 6089 h 10000"/>
                <a:gd name="connsiteX316" fmla="*/ 8004 w 10000"/>
                <a:gd name="connsiteY316" fmla="*/ 6367 h 10000"/>
                <a:gd name="connsiteX317" fmla="*/ 8064 w 10000"/>
                <a:gd name="connsiteY317" fmla="*/ 6616 h 10000"/>
                <a:gd name="connsiteX318" fmla="*/ 8111 w 10000"/>
                <a:gd name="connsiteY318" fmla="*/ 6781 h 10000"/>
                <a:gd name="connsiteX319" fmla="*/ 8048 w 10000"/>
                <a:gd name="connsiteY319" fmla="*/ 6491 h 10000"/>
                <a:gd name="connsiteX320" fmla="*/ 8124 w 10000"/>
                <a:gd name="connsiteY320" fmla="*/ 6336 h 10000"/>
                <a:gd name="connsiteX321" fmla="*/ 8177 w 10000"/>
                <a:gd name="connsiteY321" fmla="*/ 6512 h 10000"/>
                <a:gd name="connsiteX322" fmla="*/ 8300 w 10000"/>
                <a:gd name="connsiteY322" fmla="*/ 6987 h 10000"/>
                <a:gd name="connsiteX323" fmla="*/ 8361 w 10000"/>
                <a:gd name="connsiteY323" fmla="*/ 7152 h 10000"/>
                <a:gd name="connsiteX324" fmla="*/ 8490 w 10000"/>
                <a:gd name="connsiteY324" fmla="*/ 7482 h 10000"/>
                <a:gd name="connsiteX325" fmla="*/ 8604 w 10000"/>
                <a:gd name="connsiteY325" fmla="*/ 7854 h 10000"/>
                <a:gd name="connsiteX326" fmla="*/ 8474 w 10000"/>
                <a:gd name="connsiteY326" fmla="*/ 7647 h 10000"/>
                <a:gd name="connsiteX327" fmla="*/ 8443 w 10000"/>
                <a:gd name="connsiteY327" fmla="*/ 7678 h 10000"/>
                <a:gd name="connsiteX328" fmla="*/ 8512 w 10000"/>
                <a:gd name="connsiteY328" fmla="*/ 8050 h 10000"/>
                <a:gd name="connsiteX329" fmla="*/ 8588 w 10000"/>
                <a:gd name="connsiteY329" fmla="*/ 8266 h 10000"/>
                <a:gd name="connsiteX330" fmla="*/ 8642 w 10000"/>
                <a:gd name="connsiteY330" fmla="*/ 8472 h 10000"/>
                <a:gd name="connsiteX331" fmla="*/ 8566 w 10000"/>
                <a:gd name="connsiteY331" fmla="*/ 8421 h 10000"/>
                <a:gd name="connsiteX332" fmla="*/ 8556 w 10000"/>
                <a:gd name="connsiteY332" fmla="*/ 8669 h 10000"/>
                <a:gd name="connsiteX333" fmla="*/ 8497 w 10000"/>
                <a:gd name="connsiteY333" fmla="*/ 8493 h 10000"/>
                <a:gd name="connsiteX334" fmla="*/ 8481 w 10000"/>
                <a:gd name="connsiteY334" fmla="*/ 8421 h 10000"/>
                <a:gd name="connsiteX335" fmla="*/ 8361 w 10000"/>
                <a:gd name="connsiteY335" fmla="*/ 7751 h 10000"/>
                <a:gd name="connsiteX336" fmla="*/ 8322 w 10000"/>
                <a:gd name="connsiteY336" fmla="*/ 7524 h 10000"/>
                <a:gd name="connsiteX337" fmla="*/ 8291 w 10000"/>
                <a:gd name="connsiteY337" fmla="*/ 7378 h 10000"/>
                <a:gd name="connsiteX338" fmla="*/ 8275 w 10000"/>
                <a:gd name="connsiteY338" fmla="*/ 7306 h 10000"/>
                <a:gd name="connsiteX339" fmla="*/ 8139 w 10000"/>
                <a:gd name="connsiteY339" fmla="*/ 6863 h 10000"/>
                <a:gd name="connsiteX340" fmla="*/ 8199 w 10000"/>
                <a:gd name="connsiteY340" fmla="*/ 7451 h 10000"/>
                <a:gd name="connsiteX341" fmla="*/ 8247 w 10000"/>
                <a:gd name="connsiteY341" fmla="*/ 7998 h 10000"/>
                <a:gd name="connsiteX342" fmla="*/ 8177 w 10000"/>
                <a:gd name="connsiteY342" fmla="*/ 9133 h 10000"/>
                <a:gd name="connsiteX343" fmla="*/ 8124 w 10000"/>
                <a:gd name="connsiteY343" fmla="*/ 9484 h 10000"/>
                <a:gd name="connsiteX344" fmla="*/ 7972 w 10000"/>
                <a:gd name="connsiteY344" fmla="*/ 9432 h 10000"/>
                <a:gd name="connsiteX345" fmla="*/ 7897 w 10000"/>
                <a:gd name="connsiteY345" fmla="*/ 9660 h 10000"/>
                <a:gd name="connsiteX346" fmla="*/ 7868 w 10000"/>
                <a:gd name="connsiteY346" fmla="*/ 9588 h 10000"/>
                <a:gd name="connsiteX347" fmla="*/ 7884 w 10000"/>
                <a:gd name="connsiteY347" fmla="*/ 9536 h 10000"/>
                <a:gd name="connsiteX348" fmla="*/ 7897 w 10000"/>
                <a:gd name="connsiteY348" fmla="*/ 9380 h 10000"/>
                <a:gd name="connsiteX349" fmla="*/ 7884 w 10000"/>
                <a:gd name="connsiteY349" fmla="*/ 9236 h 10000"/>
                <a:gd name="connsiteX350" fmla="*/ 7793 w 10000"/>
                <a:gd name="connsiteY350" fmla="*/ 8865 h 10000"/>
                <a:gd name="connsiteX351" fmla="*/ 7831 w 10000"/>
                <a:gd name="connsiteY351" fmla="*/ 8741 h 10000"/>
                <a:gd name="connsiteX352" fmla="*/ 7928 w 10000"/>
                <a:gd name="connsiteY352" fmla="*/ 8844 h 10000"/>
                <a:gd name="connsiteX353" fmla="*/ 7912 w 10000"/>
                <a:gd name="connsiteY353" fmla="*/ 8318 h 10000"/>
                <a:gd name="connsiteX354" fmla="*/ 7906 w 10000"/>
                <a:gd name="connsiteY354" fmla="*/ 8019 h 10000"/>
                <a:gd name="connsiteX355" fmla="*/ 7846 w 10000"/>
                <a:gd name="connsiteY355" fmla="*/ 7802 h 10000"/>
                <a:gd name="connsiteX356" fmla="*/ 7723 w 10000"/>
                <a:gd name="connsiteY356" fmla="*/ 8050 h 10000"/>
                <a:gd name="connsiteX357" fmla="*/ 7619 w 10000"/>
                <a:gd name="connsiteY357" fmla="*/ 8019 h 10000"/>
                <a:gd name="connsiteX358" fmla="*/ 7528 w 10000"/>
                <a:gd name="connsiteY358" fmla="*/ 7699 h 10000"/>
                <a:gd name="connsiteX359" fmla="*/ 7355 w 10000"/>
                <a:gd name="connsiteY359" fmla="*/ 7482 h 10000"/>
                <a:gd name="connsiteX360" fmla="*/ 7279 w 10000"/>
                <a:gd name="connsiteY360" fmla="*/ 7482 h 10000"/>
                <a:gd name="connsiteX361" fmla="*/ 7080 w 10000"/>
                <a:gd name="connsiteY361" fmla="*/ 6781 h 10000"/>
                <a:gd name="connsiteX362" fmla="*/ 6901 w 10000"/>
                <a:gd name="connsiteY362" fmla="*/ 6460 h 10000"/>
                <a:gd name="connsiteX363" fmla="*/ 6724 w 10000"/>
                <a:gd name="connsiteY363" fmla="*/ 6336 h 10000"/>
                <a:gd name="connsiteX364" fmla="*/ 6583 w 10000"/>
                <a:gd name="connsiteY364" fmla="*/ 6408 h 10000"/>
                <a:gd name="connsiteX365" fmla="*/ 6567 w 10000"/>
                <a:gd name="connsiteY365" fmla="*/ 6585 h 10000"/>
                <a:gd name="connsiteX366" fmla="*/ 6664 w 10000"/>
                <a:gd name="connsiteY366" fmla="*/ 6760 h 10000"/>
                <a:gd name="connsiteX367" fmla="*/ 6636 w 10000"/>
                <a:gd name="connsiteY367" fmla="*/ 6935 h 10000"/>
                <a:gd name="connsiteX368" fmla="*/ 6636 w 10000"/>
                <a:gd name="connsiteY368" fmla="*/ 7399 h 10000"/>
                <a:gd name="connsiteX369" fmla="*/ 6560 w 10000"/>
                <a:gd name="connsiteY369" fmla="*/ 7482 h 10000"/>
                <a:gd name="connsiteX370" fmla="*/ 6485 w 10000"/>
                <a:gd name="connsiteY370" fmla="*/ 7378 h 10000"/>
                <a:gd name="connsiteX371" fmla="*/ 6400 w 10000"/>
                <a:gd name="connsiteY371" fmla="*/ 7399 h 10000"/>
                <a:gd name="connsiteX372" fmla="*/ 6334 w 10000"/>
                <a:gd name="connsiteY372" fmla="*/ 7275 h 10000"/>
                <a:gd name="connsiteX373" fmla="*/ 6258 w 10000"/>
                <a:gd name="connsiteY373" fmla="*/ 7358 h 10000"/>
                <a:gd name="connsiteX374" fmla="*/ 6220 w 10000"/>
                <a:gd name="connsiteY374" fmla="*/ 7524 h 10000"/>
                <a:gd name="connsiteX375" fmla="*/ 6081 w 10000"/>
                <a:gd name="connsiteY375" fmla="*/ 7606 h 10000"/>
                <a:gd name="connsiteX376" fmla="*/ 5892 w 10000"/>
                <a:gd name="connsiteY376" fmla="*/ 7575 h 10000"/>
                <a:gd name="connsiteX377" fmla="*/ 5855 w 10000"/>
                <a:gd name="connsiteY377" fmla="*/ 7327 h 10000"/>
                <a:gd name="connsiteX378" fmla="*/ 5643 w 10000"/>
                <a:gd name="connsiteY378" fmla="*/ 7255 h 10000"/>
                <a:gd name="connsiteX379" fmla="*/ 5539 w 10000"/>
                <a:gd name="connsiteY379" fmla="*/ 7358 h 10000"/>
                <a:gd name="connsiteX380" fmla="*/ 5416 w 10000"/>
                <a:gd name="connsiteY380" fmla="*/ 7203 h 10000"/>
                <a:gd name="connsiteX381" fmla="*/ 5372 w 10000"/>
                <a:gd name="connsiteY381"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2828 w 10000"/>
                <a:gd name="connsiteY17" fmla="*/ 5996 h 10000"/>
                <a:gd name="connsiteX18" fmla="*/ 1610 w 10000"/>
                <a:gd name="connsiteY18" fmla="*/ 7183 h 10000"/>
                <a:gd name="connsiteX19" fmla="*/ 1655 w 10000"/>
                <a:gd name="connsiteY19" fmla="*/ 7430 h 10000"/>
                <a:gd name="connsiteX20" fmla="*/ 1604 w 10000"/>
                <a:gd name="connsiteY20" fmla="*/ 7430 h 10000"/>
                <a:gd name="connsiteX21" fmla="*/ 1551 w 10000"/>
                <a:gd name="connsiteY21" fmla="*/ 7255 h 10000"/>
                <a:gd name="connsiteX22" fmla="*/ 1513 w 10000"/>
                <a:gd name="connsiteY22" fmla="*/ 7430 h 10000"/>
                <a:gd name="connsiteX23" fmla="*/ 1519 w 10000"/>
                <a:gd name="connsiteY23" fmla="*/ 7854 h 10000"/>
                <a:gd name="connsiteX24" fmla="*/ 1604 w 10000"/>
                <a:gd name="connsiteY24" fmla="*/ 8070 h 10000"/>
                <a:gd name="connsiteX25" fmla="*/ 1648 w 10000"/>
                <a:gd name="connsiteY25" fmla="*/ 8019 h 10000"/>
                <a:gd name="connsiteX26" fmla="*/ 1741 w 10000"/>
                <a:gd name="connsiteY26" fmla="*/ 8493 h 10000"/>
                <a:gd name="connsiteX27" fmla="*/ 1610 w 10000"/>
                <a:gd name="connsiteY27" fmla="*/ 8669 h 10000"/>
                <a:gd name="connsiteX28" fmla="*/ 1595 w 10000"/>
                <a:gd name="connsiteY28" fmla="*/ 9009 h 10000"/>
                <a:gd name="connsiteX29" fmla="*/ 1664 w 10000"/>
                <a:gd name="connsiteY29" fmla="*/ 9236 h 10000"/>
                <a:gd name="connsiteX30" fmla="*/ 1664 w 10000"/>
                <a:gd name="connsiteY30" fmla="*/ 9484 h 10000"/>
                <a:gd name="connsiteX31" fmla="*/ 1769 w 10000"/>
                <a:gd name="connsiteY31" fmla="*/ 9835 h 10000"/>
                <a:gd name="connsiteX32" fmla="*/ 1703 w 10000"/>
                <a:gd name="connsiteY32" fmla="*/ 10000 h 10000"/>
                <a:gd name="connsiteX33" fmla="*/ 1604 w 10000"/>
                <a:gd name="connsiteY33" fmla="*/ 9753 h 10000"/>
                <a:gd name="connsiteX34" fmla="*/ 1465 w 10000"/>
                <a:gd name="connsiteY34" fmla="*/ 9505 h 10000"/>
                <a:gd name="connsiteX35" fmla="*/ 1406 w 10000"/>
                <a:gd name="connsiteY35" fmla="*/ 9588 h 10000"/>
                <a:gd name="connsiteX36" fmla="*/ 1308 w 10000"/>
                <a:gd name="connsiteY36" fmla="*/ 9380 h 10000"/>
                <a:gd name="connsiteX37" fmla="*/ 1097 w 10000"/>
                <a:gd name="connsiteY37" fmla="*/ 9339 h 10000"/>
                <a:gd name="connsiteX38" fmla="*/ 848 w 10000"/>
                <a:gd name="connsiteY38" fmla="*/ 8813 h 10000"/>
                <a:gd name="connsiteX39" fmla="*/ 914 w 10000"/>
                <a:gd name="connsiteY39" fmla="*/ 8721 h 10000"/>
                <a:gd name="connsiteX40" fmla="*/ 961 w 10000"/>
                <a:gd name="connsiteY40" fmla="*/ 8493 h 10000"/>
                <a:gd name="connsiteX41" fmla="*/ 908 w 10000"/>
                <a:gd name="connsiteY41" fmla="*/ 8390 h 10000"/>
                <a:gd name="connsiteX42" fmla="*/ 1021 w 10000"/>
                <a:gd name="connsiteY42" fmla="*/ 8245 h 10000"/>
                <a:gd name="connsiteX43" fmla="*/ 945 w 10000"/>
                <a:gd name="connsiteY43" fmla="*/ 8194 h 10000"/>
                <a:gd name="connsiteX44" fmla="*/ 958 w 10000"/>
                <a:gd name="connsiteY44" fmla="*/ 8091 h 10000"/>
                <a:gd name="connsiteX45" fmla="*/ 1005 w 10000"/>
                <a:gd name="connsiteY45" fmla="*/ 8111 h 10000"/>
                <a:gd name="connsiteX46" fmla="*/ 1059 w 10000"/>
                <a:gd name="connsiteY46" fmla="*/ 8019 h 10000"/>
                <a:gd name="connsiteX47" fmla="*/ 1034 w 10000"/>
                <a:gd name="connsiteY47" fmla="*/ 7864 h 10000"/>
                <a:gd name="connsiteX48" fmla="*/ 1043 w 10000"/>
                <a:gd name="connsiteY48" fmla="*/ 7503 h 10000"/>
                <a:gd name="connsiteX49" fmla="*/ 930 w 10000"/>
                <a:gd name="connsiteY49" fmla="*/ 7440 h 10000"/>
                <a:gd name="connsiteX50" fmla="*/ 832 w 10000"/>
                <a:gd name="connsiteY50" fmla="*/ 7286 h 10000"/>
                <a:gd name="connsiteX51" fmla="*/ 700 w 10000"/>
                <a:gd name="connsiteY51" fmla="*/ 7275 h 10000"/>
                <a:gd name="connsiteX52" fmla="*/ 684 w 10000"/>
                <a:gd name="connsiteY52" fmla="*/ 7090 h 10000"/>
                <a:gd name="connsiteX53" fmla="*/ 596 w 10000"/>
                <a:gd name="connsiteY53" fmla="*/ 6945 h 10000"/>
                <a:gd name="connsiteX54" fmla="*/ 615 w 10000"/>
                <a:gd name="connsiteY54" fmla="*/ 6822 h 10000"/>
                <a:gd name="connsiteX55" fmla="*/ 561 w 10000"/>
                <a:gd name="connsiteY55" fmla="*/ 6698 h 10000"/>
                <a:gd name="connsiteX56" fmla="*/ 457 w 10000"/>
                <a:gd name="connsiteY56" fmla="*/ 6698 h 10000"/>
                <a:gd name="connsiteX57" fmla="*/ 425 w 10000"/>
                <a:gd name="connsiteY57" fmla="*/ 6791 h 10000"/>
                <a:gd name="connsiteX58" fmla="*/ 400 w 10000"/>
                <a:gd name="connsiteY58" fmla="*/ 6750 h 10000"/>
                <a:gd name="connsiteX59" fmla="*/ 378 w 10000"/>
                <a:gd name="connsiteY59" fmla="*/ 6439 h 10000"/>
                <a:gd name="connsiteX60" fmla="*/ 419 w 10000"/>
                <a:gd name="connsiteY60" fmla="*/ 6470 h 10000"/>
                <a:gd name="connsiteX61" fmla="*/ 466 w 10000"/>
                <a:gd name="connsiteY61" fmla="*/ 6347 h 10000"/>
                <a:gd name="connsiteX62" fmla="*/ 400 w 10000"/>
                <a:gd name="connsiteY62" fmla="*/ 6233 h 10000"/>
                <a:gd name="connsiteX63" fmla="*/ 315 w 10000"/>
                <a:gd name="connsiteY63" fmla="*/ 6017 h 10000"/>
                <a:gd name="connsiteX64" fmla="*/ 334 w 10000"/>
                <a:gd name="connsiteY64" fmla="*/ 5821 h 10000"/>
                <a:gd name="connsiteX65" fmla="*/ 274 w 10000"/>
                <a:gd name="connsiteY65" fmla="*/ 5697 h 10000"/>
                <a:gd name="connsiteX66" fmla="*/ 227 w 10000"/>
                <a:gd name="connsiteY66" fmla="*/ 5728 h 10000"/>
                <a:gd name="connsiteX67" fmla="*/ 202 w 10000"/>
                <a:gd name="connsiteY67" fmla="*/ 5604 h 10000"/>
                <a:gd name="connsiteX68" fmla="*/ 164 w 10000"/>
                <a:gd name="connsiteY68" fmla="*/ 5645 h 10000"/>
                <a:gd name="connsiteX69" fmla="*/ 117 w 10000"/>
                <a:gd name="connsiteY69" fmla="*/ 5604 h 10000"/>
                <a:gd name="connsiteX70" fmla="*/ 69 w 10000"/>
                <a:gd name="connsiteY70" fmla="*/ 5181 h 10000"/>
                <a:gd name="connsiteX71" fmla="*/ 85 w 10000"/>
                <a:gd name="connsiteY71" fmla="*/ 5057 h 10000"/>
                <a:gd name="connsiteX72" fmla="*/ 41 w 10000"/>
                <a:gd name="connsiteY72" fmla="*/ 4892 h 10000"/>
                <a:gd name="connsiteX73" fmla="*/ 66 w 10000"/>
                <a:gd name="connsiteY73" fmla="*/ 4655 h 10000"/>
                <a:gd name="connsiteX74" fmla="*/ 211 w 10000"/>
                <a:gd name="connsiteY74" fmla="*/ 4510 h 10000"/>
                <a:gd name="connsiteX75" fmla="*/ 129 w 10000"/>
                <a:gd name="connsiteY75" fmla="*/ 4406 h 10000"/>
                <a:gd name="connsiteX76" fmla="*/ 82 w 10000"/>
                <a:gd name="connsiteY76" fmla="*/ 4283 h 10000"/>
                <a:gd name="connsiteX77" fmla="*/ 205 w 10000"/>
                <a:gd name="connsiteY77" fmla="*/ 3912 h 10000"/>
                <a:gd name="connsiteX78" fmla="*/ 249 w 10000"/>
                <a:gd name="connsiteY78" fmla="*/ 3664 h 10000"/>
                <a:gd name="connsiteX79" fmla="*/ 151 w 10000"/>
                <a:gd name="connsiteY79" fmla="*/ 3488 h 10000"/>
                <a:gd name="connsiteX80" fmla="*/ 189 w 10000"/>
                <a:gd name="connsiteY80" fmla="*/ 3344 h 10000"/>
                <a:gd name="connsiteX81" fmla="*/ 113 w 10000"/>
                <a:gd name="connsiteY81" fmla="*/ 3148 h 10000"/>
                <a:gd name="connsiteX82" fmla="*/ 113 w 10000"/>
                <a:gd name="connsiteY82" fmla="*/ 2972 h 10000"/>
                <a:gd name="connsiteX83" fmla="*/ 60 w 10000"/>
                <a:gd name="connsiteY83" fmla="*/ 2622 h 10000"/>
                <a:gd name="connsiteX84" fmla="*/ 98 w 10000"/>
                <a:gd name="connsiteY84" fmla="*/ 2404 h 10000"/>
                <a:gd name="connsiteX85" fmla="*/ 38 w 10000"/>
                <a:gd name="connsiteY85" fmla="*/ 2301 h 10000"/>
                <a:gd name="connsiteX86" fmla="*/ 0 w 10000"/>
                <a:gd name="connsiteY86" fmla="*/ 2178 h 10000"/>
                <a:gd name="connsiteX87" fmla="*/ 54 w 10000"/>
                <a:gd name="connsiteY87" fmla="*/ 1951 h 10000"/>
                <a:gd name="connsiteX88" fmla="*/ 120 w 10000"/>
                <a:gd name="connsiteY88" fmla="*/ 1910 h 10000"/>
                <a:gd name="connsiteX89" fmla="*/ 195 w 10000"/>
                <a:gd name="connsiteY89" fmla="*/ 1858 h 10000"/>
                <a:gd name="connsiteX90" fmla="*/ 309 w 10000"/>
                <a:gd name="connsiteY90" fmla="*/ 1951 h 10000"/>
                <a:gd name="connsiteX91" fmla="*/ 482 w 10000"/>
                <a:gd name="connsiteY91" fmla="*/ 2054 h 10000"/>
                <a:gd name="connsiteX92" fmla="*/ 633 w 10000"/>
                <a:gd name="connsiteY92" fmla="*/ 2229 h 10000"/>
                <a:gd name="connsiteX93" fmla="*/ 756 w 10000"/>
                <a:gd name="connsiteY93" fmla="*/ 2373 h 10000"/>
                <a:gd name="connsiteX94" fmla="*/ 725 w 10000"/>
                <a:gd name="connsiteY94" fmla="*/ 2777 h 10000"/>
                <a:gd name="connsiteX95" fmla="*/ 362 w 10000"/>
                <a:gd name="connsiteY95" fmla="*/ 2673 h 10000"/>
                <a:gd name="connsiteX96" fmla="*/ 243 w 10000"/>
                <a:gd name="connsiteY96" fmla="*/ 2550 h 10000"/>
                <a:gd name="connsiteX97" fmla="*/ 287 w 10000"/>
                <a:gd name="connsiteY97" fmla="*/ 2622 h 10000"/>
                <a:gd name="connsiteX98" fmla="*/ 331 w 10000"/>
                <a:gd name="connsiteY98" fmla="*/ 2797 h 10000"/>
                <a:gd name="connsiteX99" fmla="*/ 400 w 10000"/>
                <a:gd name="connsiteY99" fmla="*/ 2921 h 10000"/>
                <a:gd name="connsiteX100" fmla="*/ 416 w 10000"/>
                <a:gd name="connsiteY100" fmla="*/ 3189 h 10000"/>
                <a:gd name="connsiteX101" fmla="*/ 507 w 10000"/>
                <a:gd name="connsiteY101" fmla="*/ 3313 h 10000"/>
                <a:gd name="connsiteX102" fmla="*/ 583 w 10000"/>
                <a:gd name="connsiteY102" fmla="*/ 3436 h 10000"/>
                <a:gd name="connsiteX103" fmla="*/ 605 w 10000"/>
                <a:gd name="connsiteY103" fmla="*/ 3467 h 10000"/>
                <a:gd name="connsiteX104" fmla="*/ 649 w 10000"/>
                <a:gd name="connsiteY104" fmla="*/ 3436 h 10000"/>
                <a:gd name="connsiteX105" fmla="*/ 633 w 10000"/>
                <a:gd name="connsiteY105" fmla="*/ 3364 h 10000"/>
                <a:gd name="connsiteX106" fmla="*/ 545 w 10000"/>
                <a:gd name="connsiteY106" fmla="*/ 3189 h 10000"/>
                <a:gd name="connsiteX107" fmla="*/ 801 w 10000"/>
                <a:gd name="connsiteY107" fmla="*/ 3344 h 10000"/>
                <a:gd name="connsiteX108" fmla="*/ 810 w 10000"/>
                <a:gd name="connsiteY108" fmla="*/ 3271 h 10000"/>
                <a:gd name="connsiteX109" fmla="*/ 785 w 10000"/>
                <a:gd name="connsiteY109" fmla="*/ 3220 h 10000"/>
                <a:gd name="connsiteX110" fmla="*/ 741 w 10000"/>
                <a:gd name="connsiteY110" fmla="*/ 2993 h 10000"/>
                <a:gd name="connsiteX111" fmla="*/ 870 w 10000"/>
                <a:gd name="connsiteY111" fmla="*/ 2777 h 10000"/>
                <a:gd name="connsiteX112" fmla="*/ 968 w 10000"/>
                <a:gd name="connsiteY112" fmla="*/ 2921 h 10000"/>
                <a:gd name="connsiteX113" fmla="*/ 999 w 10000"/>
                <a:gd name="connsiteY113" fmla="*/ 2725 h 10000"/>
                <a:gd name="connsiteX114" fmla="*/ 952 w 10000"/>
                <a:gd name="connsiteY114" fmla="*/ 2653 h 10000"/>
                <a:gd name="connsiteX115" fmla="*/ 936 w 10000"/>
                <a:gd name="connsiteY115" fmla="*/ 2281 h 10000"/>
                <a:gd name="connsiteX116" fmla="*/ 914 w 10000"/>
                <a:gd name="connsiteY116" fmla="*/ 2229 h 10000"/>
                <a:gd name="connsiteX117" fmla="*/ 1037 w 10000"/>
                <a:gd name="connsiteY117" fmla="*/ 2250 h 10000"/>
                <a:gd name="connsiteX118" fmla="*/ 1087 w 10000"/>
                <a:gd name="connsiteY118" fmla="*/ 2404 h 10000"/>
                <a:gd name="connsiteX119" fmla="*/ 1021 w 10000"/>
                <a:gd name="connsiteY119" fmla="*/ 2529 h 10000"/>
                <a:gd name="connsiteX120" fmla="*/ 1135 w 10000"/>
                <a:gd name="connsiteY120" fmla="*/ 2694 h 10000"/>
                <a:gd name="connsiteX121" fmla="*/ 1226 w 10000"/>
                <a:gd name="connsiteY121" fmla="*/ 2529 h 10000"/>
                <a:gd name="connsiteX122" fmla="*/ 1339 w 10000"/>
                <a:gd name="connsiteY122" fmla="*/ 2301 h 10000"/>
                <a:gd name="connsiteX123" fmla="*/ 1459 w 10000"/>
                <a:gd name="connsiteY123" fmla="*/ 2157 h 10000"/>
                <a:gd name="connsiteX124" fmla="*/ 1497 w 10000"/>
                <a:gd name="connsiteY124" fmla="*/ 2250 h 10000"/>
                <a:gd name="connsiteX125" fmla="*/ 1807 w 10000"/>
                <a:gd name="connsiteY125" fmla="*/ 2054 h 10000"/>
                <a:gd name="connsiteX126" fmla="*/ 1870 w 10000"/>
                <a:gd name="connsiteY126" fmla="*/ 2250 h 10000"/>
                <a:gd name="connsiteX127" fmla="*/ 1860 w 10000"/>
                <a:gd name="connsiteY127" fmla="*/ 2002 h 10000"/>
                <a:gd name="connsiteX128" fmla="*/ 1778 w 10000"/>
                <a:gd name="connsiteY128" fmla="*/ 1786 h 10000"/>
                <a:gd name="connsiteX129" fmla="*/ 1763 w 10000"/>
                <a:gd name="connsiteY129" fmla="*/ 1703 h 10000"/>
                <a:gd name="connsiteX130" fmla="*/ 1823 w 10000"/>
                <a:gd name="connsiteY130" fmla="*/ 1786 h 10000"/>
                <a:gd name="connsiteX131" fmla="*/ 2034 w 10000"/>
                <a:gd name="connsiteY131" fmla="*/ 1951 h 10000"/>
                <a:gd name="connsiteX132" fmla="*/ 2270 w 10000"/>
                <a:gd name="connsiteY132" fmla="*/ 2126 h 10000"/>
                <a:gd name="connsiteX133" fmla="*/ 2384 w 10000"/>
                <a:gd name="connsiteY133" fmla="*/ 2250 h 10000"/>
                <a:gd name="connsiteX134" fmla="*/ 2421 w 10000"/>
                <a:gd name="connsiteY134" fmla="*/ 2074 h 10000"/>
                <a:gd name="connsiteX135" fmla="*/ 2368 w 10000"/>
                <a:gd name="connsiteY135" fmla="*/ 2033 h 10000"/>
                <a:gd name="connsiteX136" fmla="*/ 2299 w 10000"/>
                <a:gd name="connsiteY136" fmla="*/ 1930 h 10000"/>
                <a:gd name="connsiteX137" fmla="*/ 2254 w 10000"/>
                <a:gd name="connsiteY137" fmla="*/ 1734 h 10000"/>
                <a:gd name="connsiteX138" fmla="*/ 2185 w 10000"/>
                <a:gd name="connsiteY138" fmla="*/ 1486 h 10000"/>
                <a:gd name="connsiteX139" fmla="*/ 2210 w 10000"/>
                <a:gd name="connsiteY139" fmla="*/ 1434 h 10000"/>
                <a:gd name="connsiteX140" fmla="*/ 2232 w 10000"/>
                <a:gd name="connsiteY140" fmla="*/ 1455 h 10000"/>
                <a:gd name="connsiteX141" fmla="*/ 2292 w 10000"/>
                <a:gd name="connsiteY141" fmla="*/ 1115 h 10000"/>
                <a:gd name="connsiteX142" fmla="*/ 2443 w 10000"/>
                <a:gd name="connsiteY142" fmla="*/ 1135 h 10000"/>
                <a:gd name="connsiteX143" fmla="*/ 2488 w 10000"/>
                <a:gd name="connsiteY143" fmla="*/ 1311 h 10000"/>
                <a:gd name="connsiteX144" fmla="*/ 2519 w 10000"/>
                <a:gd name="connsiteY144" fmla="*/ 1538 h 10000"/>
                <a:gd name="connsiteX145" fmla="*/ 2573 w 10000"/>
                <a:gd name="connsiteY145" fmla="*/ 1734 h 10000"/>
                <a:gd name="connsiteX146" fmla="*/ 2670 w 10000"/>
                <a:gd name="connsiteY146" fmla="*/ 2157 h 10000"/>
                <a:gd name="connsiteX147" fmla="*/ 2481 w 10000"/>
                <a:gd name="connsiteY147" fmla="*/ 2673 h 10000"/>
                <a:gd name="connsiteX148" fmla="*/ 2557 w 10000"/>
                <a:gd name="connsiteY148" fmla="*/ 2746 h 10000"/>
                <a:gd name="connsiteX149" fmla="*/ 2655 w 10000"/>
                <a:gd name="connsiteY149" fmla="*/ 2818 h 10000"/>
                <a:gd name="connsiteX150" fmla="*/ 2784 w 10000"/>
                <a:gd name="connsiteY150" fmla="*/ 2622 h 10000"/>
                <a:gd name="connsiteX151" fmla="*/ 2790 w 10000"/>
                <a:gd name="connsiteY151" fmla="*/ 2404 h 10000"/>
                <a:gd name="connsiteX152" fmla="*/ 2746 w 10000"/>
                <a:gd name="connsiteY152" fmla="*/ 2301 h 10000"/>
                <a:gd name="connsiteX153" fmla="*/ 2919 w 10000"/>
                <a:gd name="connsiteY153" fmla="*/ 2250 h 10000"/>
                <a:gd name="connsiteX154" fmla="*/ 2989 w 10000"/>
                <a:gd name="connsiteY154" fmla="*/ 2497 h 10000"/>
                <a:gd name="connsiteX155" fmla="*/ 2989 w 10000"/>
                <a:gd name="connsiteY155" fmla="*/ 2425 h 10000"/>
                <a:gd name="connsiteX156" fmla="*/ 2973 w 10000"/>
                <a:gd name="connsiteY156" fmla="*/ 2353 h 10000"/>
                <a:gd name="connsiteX157" fmla="*/ 2967 w 10000"/>
                <a:gd name="connsiteY157" fmla="*/ 2178 h 10000"/>
                <a:gd name="connsiteX158" fmla="*/ 2800 w 10000"/>
                <a:gd name="connsiteY158" fmla="*/ 1930 h 10000"/>
                <a:gd name="connsiteX159" fmla="*/ 2670 w 10000"/>
                <a:gd name="connsiteY159" fmla="*/ 2002 h 10000"/>
                <a:gd name="connsiteX160" fmla="*/ 2617 w 10000"/>
                <a:gd name="connsiteY160" fmla="*/ 1683 h 10000"/>
                <a:gd name="connsiteX161" fmla="*/ 2563 w 10000"/>
                <a:gd name="connsiteY161" fmla="*/ 1507 h 10000"/>
                <a:gd name="connsiteX162" fmla="*/ 2617 w 10000"/>
                <a:gd name="connsiteY162" fmla="*/ 1331 h 10000"/>
                <a:gd name="connsiteX163" fmla="*/ 2611 w 10000"/>
                <a:gd name="connsiteY163" fmla="*/ 1166 h 10000"/>
                <a:gd name="connsiteX164" fmla="*/ 2588 w 10000"/>
                <a:gd name="connsiteY164" fmla="*/ 1115 h 10000"/>
                <a:gd name="connsiteX165" fmla="*/ 2626 w 10000"/>
                <a:gd name="connsiteY165" fmla="*/ 1115 h 10000"/>
                <a:gd name="connsiteX166" fmla="*/ 2670 w 10000"/>
                <a:gd name="connsiteY166" fmla="*/ 1455 h 10000"/>
                <a:gd name="connsiteX167" fmla="*/ 2891 w 10000"/>
                <a:gd name="connsiteY167" fmla="*/ 1662 h 10000"/>
                <a:gd name="connsiteX168" fmla="*/ 2724 w 10000"/>
                <a:gd name="connsiteY168" fmla="*/ 1383 h 10000"/>
                <a:gd name="connsiteX169" fmla="*/ 3049 w 10000"/>
                <a:gd name="connsiteY169" fmla="*/ 1383 h 10000"/>
                <a:gd name="connsiteX170" fmla="*/ 3102 w 10000"/>
                <a:gd name="connsiteY170" fmla="*/ 1362 h 10000"/>
                <a:gd name="connsiteX171" fmla="*/ 2897 w 10000"/>
                <a:gd name="connsiteY171" fmla="*/ 1115 h 10000"/>
                <a:gd name="connsiteX172" fmla="*/ 2951 w 10000"/>
                <a:gd name="connsiteY172" fmla="*/ 888 h 10000"/>
                <a:gd name="connsiteX173" fmla="*/ 3178 w 10000"/>
                <a:gd name="connsiteY173" fmla="*/ 888 h 10000"/>
                <a:gd name="connsiteX174" fmla="*/ 3156 w 10000"/>
                <a:gd name="connsiteY174" fmla="*/ 713 h 10000"/>
                <a:gd name="connsiteX175" fmla="*/ 3231 w 10000"/>
                <a:gd name="connsiteY175" fmla="*/ 589 h 10000"/>
                <a:gd name="connsiteX176" fmla="*/ 3276 w 10000"/>
                <a:gd name="connsiteY176" fmla="*/ 548 h 10000"/>
                <a:gd name="connsiteX177" fmla="*/ 3443 w 10000"/>
                <a:gd name="connsiteY177" fmla="*/ 423 h 10000"/>
                <a:gd name="connsiteX178" fmla="*/ 3487 w 10000"/>
                <a:gd name="connsiteY178" fmla="*/ 371 h 10000"/>
                <a:gd name="connsiteX179" fmla="*/ 3480 w 10000"/>
                <a:gd name="connsiteY179" fmla="*/ 444 h 10000"/>
                <a:gd name="connsiteX180" fmla="*/ 3660 w 10000"/>
                <a:gd name="connsiteY180" fmla="*/ 371 h 10000"/>
                <a:gd name="connsiteX181" fmla="*/ 3805 w 10000"/>
                <a:gd name="connsiteY181" fmla="*/ 248 h 10000"/>
                <a:gd name="connsiteX182" fmla="*/ 3827 w 10000"/>
                <a:gd name="connsiteY182" fmla="*/ 0 h 10000"/>
                <a:gd name="connsiteX183" fmla="*/ 3988 w 10000"/>
                <a:gd name="connsiteY183" fmla="*/ 21 h 10000"/>
                <a:gd name="connsiteX184" fmla="*/ 3978 w 10000"/>
                <a:gd name="connsiteY184" fmla="*/ 93 h 10000"/>
                <a:gd name="connsiteX185" fmla="*/ 3988 w 10000"/>
                <a:gd name="connsiteY185" fmla="*/ 176 h 10000"/>
                <a:gd name="connsiteX186" fmla="*/ 4085 w 10000"/>
                <a:gd name="connsiteY186" fmla="*/ 248 h 10000"/>
                <a:gd name="connsiteX187" fmla="*/ 4379 w 10000"/>
                <a:gd name="connsiteY187" fmla="*/ 268 h 10000"/>
                <a:gd name="connsiteX188" fmla="*/ 4539 w 10000"/>
                <a:gd name="connsiteY188" fmla="*/ 392 h 10000"/>
                <a:gd name="connsiteX189" fmla="*/ 4486 w 10000"/>
                <a:gd name="connsiteY189" fmla="*/ 795 h 10000"/>
                <a:gd name="connsiteX190" fmla="*/ 4426 w 10000"/>
                <a:gd name="connsiteY190" fmla="*/ 919 h 10000"/>
                <a:gd name="connsiteX191" fmla="*/ 4356 w 10000"/>
                <a:gd name="connsiteY191" fmla="*/ 1043 h 10000"/>
                <a:gd name="connsiteX192" fmla="*/ 4372 w 10000"/>
                <a:gd name="connsiteY192" fmla="*/ 1115 h 10000"/>
                <a:gd name="connsiteX193" fmla="*/ 4583 w 10000"/>
                <a:gd name="connsiteY193" fmla="*/ 919 h 10000"/>
                <a:gd name="connsiteX194" fmla="*/ 5060 w 10000"/>
                <a:gd name="connsiteY194" fmla="*/ 991 h 10000"/>
                <a:gd name="connsiteX195" fmla="*/ 5108 w 10000"/>
                <a:gd name="connsiteY195" fmla="*/ 1063 h 10000"/>
                <a:gd name="connsiteX196" fmla="*/ 5212 w 10000"/>
                <a:gd name="connsiteY196" fmla="*/ 1187 h 10000"/>
                <a:gd name="connsiteX197" fmla="*/ 5357 w 10000"/>
                <a:gd name="connsiteY197" fmla="*/ 919 h 10000"/>
                <a:gd name="connsiteX198" fmla="*/ 5577 w 10000"/>
                <a:gd name="connsiteY198" fmla="*/ 1063 h 10000"/>
                <a:gd name="connsiteX199" fmla="*/ 5643 w 10000"/>
                <a:gd name="connsiteY199" fmla="*/ 1115 h 10000"/>
                <a:gd name="connsiteX200" fmla="*/ 5697 w 10000"/>
                <a:gd name="connsiteY200" fmla="*/ 1166 h 10000"/>
                <a:gd name="connsiteX201" fmla="*/ 5908 w 10000"/>
                <a:gd name="connsiteY201" fmla="*/ 1631 h 10000"/>
                <a:gd name="connsiteX202" fmla="*/ 5984 w 10000"/>
                <a:gd name="connsiteY202" fmla="*/ 1611 h 10000"/>
                <a:gd name="connsiteX203" fmla="*/ 5977 w 10000"/>
                <a:gd name="connsiteY203" fmla="*/ 1507 h 10000"/>
                <a:gd name="connsiteX204" fmla="*/ 5984 w 10000"/>
                <a:gd name="connsiteY204" fmla="*/ 1383 h 10000"/>
                <a:gd name="connsiteX205" fmla="*/ 6091 w 10000"/>
                <a:gd name="connsiteY205" fmla="*/ 1486 h 10000"/>
                <a:gd name="connsiteX206" fmla="*/ 6264 w 10000"/>
                <a:gd name="connsiteY206" fmla="*/ 1507 h 10000"/>
                <a:gd name="connsiteX207" fmla="*/ 6409 w 10000"/>
                <a:gd name="connsiteY207" fmla="*/ 1455 h 10000"/>
                <a:gd name="connsiteX208" fmla="*/ 6340 w 10000"/>
                <a:gd name="connsiteY208" fmla="*/ 1362 h 10000"/>
                <a:gd name="connsiteX209" fmla="*/ 6431 w 10000"/>
                <a:gd name="connsiteY209" fmla="*/ 1084 h 10000"/>
                <a:gd name="connsiteX210" fmla="*/ 6687 w 10000"/>
                <a:gd name="connsiteY210" fmla="*/ 1207 h 10000"/>
                <a:gd name="connsiteX211" fmla="*/ 6945 w 10000"/>
                <a:gd name="connsiteY211" fmla="*/ 1331 h 10000"/>
                <a:gd name="connsiteX212" fmla="*/ 6967 w 10000"/>
                <a:gd name="connsiteY212" fmla="*/ 1362 h 10000"/>
                <a:gd name="connsiteX213" fmla="*/ 7194 w 10000"/>
                <a:gd name="connsiteY213" fmla="*/ 1611 h 10000"/>
                <a:gd name="connsiteX214" fmla="*/ 7367 w 10000"/>
                <a:gd name="connsiteY214" fmla="*/ 1507 h 10000"/>
                <a:gd name="connsiteX215" fmla="*/ 7582 w 10000"/>
                <a:gd name="connsiteY215" fmla="*/ 1538 h 10000"/>
                <a:gd name="connsiteX216" fmla="*/ 7657 w 10000"/>
                <a:gd name="connsiteY216" fmla="*/ 1611 h 10000"/>
                <a:gd name="connsiteX217" fmla="*/ 7928 w 10000"/>
                <a:gd name="connsiteY217" fmla="*/ 1930 h 10000"/>
                <a:gd name="connsiteX218" fmla="*/ 8231 w 10000"/>
                <a:gd name="connsiteY218" fmla="*/ 1879 h 10000"/>
                <a:gd name="connsiteX219" fmla="*/ 8339 w 10000"/>
                <a:gd name="connsiteY219" fmla="*/ 2033 h 10000"/>
                <a:gd name="connsiteX220" fmla="*/ 8490 w 10000"/>
                <a:gd name="connsiteY220" fmla="*/ 2157 h 10000"/>
                <a:gd name="connsiteX221" fmla="*/ 8519 w 10000"/>
                <a:gd name="connsiteY221" fmla="*/ 2105 h 10000"/>
                <a:gd name="connsiteX222" fmla="*/ 8497 w 10000"/>
                <a:gd name="connsiteY222" fmla="*/ 2074 h 10000"/>
                <a:gd name="connsiteX223" fmla="*/ 8383 w 10000"/>
                <a:gd name="connsiteY223" fmla="*/ 1930 h 10000"/>
                <a:gd name="connsiteX224" fmla="*/ 8465 w 10000"/>
                <a:gd name="connsiteY224" fmla="*/ 1755 h 10000"/>
                <a:gd name="connsiteX225" fmla="*/ 8664 w 10000"/>
                <a:gd name="connsiteY225" fmla="*/ 1910 h 10000"/>
                <a:gd name="connsiteX226" fmla="*/ 8950 w 10000"/>
                <a:gd name="connsiteY226" fmla="*/ 1982 h 10000"/>
                <a:gd name="connsiteX227" fmla="*/ 9206 w 10000"/>
                <a:gd name="connsiteY227" fmla="*/ 2260 h 10000"/>
                <a:gd name="connsiteX228" fmla="*/ 9344 w 10000"/>
                <a:gd name="connsiteY228" fmla="*/ 2332 h 10000"/>
                <a:gd name="connsiteX229" fmla="*/ 9451 w 10000"/>
                <a:gd name="connsiteY229" fmla="*/ 2446 h 10000"/>
                <a:gd name="connsiteX230" fmla="*/ 9574 w 10000"/>
                <a:gd name="connsiteY230" fmla="*/ 2632 h 10000"/>
                <a:gd name="connsiteX231" fmla="*/ 9631 w 10000"/>
                <a:gd name="connsiteY231" fmla="*/ 2756 h 10000"/>
                <a:gd name="connsiteX232" fmla="*/ 9726 w 10000"/>
                <a:gd name="connsiteY232" fmla="*/ 2787 h 10000"/>
                <a:gd name="connsiteX233" fmla="*/ 9590 w 10000"/>
                <a:gd name="connsiteY233" fmla="*/ 2570 h 10000"/>
                <a:gd name="connsiteX234" fmla="*/ 9915 w 10000"/>
                <a:gd name="connsiteY234" fmla="*/ 2756 h 10000"/>
                <a:gd name="connsiteX235" fmla="*/ 10000 w 10000"/>
                <a:gd name="connsiteY235" fmla="*/ 3014 h 10000"/>
                <a:gd name="connsiteX236" fmla="*/ 9934 w 10000"/>
                <a:gd name="connsiteY236" fmla="*/ 2941 h 10000"/>
                <a:gd name="connsiteX237" fmla="*/ 9874 w 10000"/>
                <a:gd name="connsiteY237" fmla="*/ 2952 h 10000"/>
                <a:gd name="connsiteX238" fmla="*/ 10000 w 10000"/>
                <a:gd name="connsiteY238" fmla="*/ 3292 h 10000"/>
                <a:gd name="connsiteX239" fmla="*/ 9845 w 10000"/>
                <a:gd name="connsiteY239" fmla="*/ 3220 h 10000"/>
                <a:gd name="connsiteX240" fmla="*/ 9745 w 10000"/>
                <a:gd name="connsiteY240" fmla="*/ 3075 h 10000"/>
                <a:gd name="connsiteX241" fmla="*/ 9641 w 10000"/>
                <a:gd name="connsiteY241" fmla="*/ 2972 h 10000"/>
                <a:gd name="connsiteX242" fmla="*/ 9555 w 10000"/>
                <a:gd name="connsiteY242" fmla="*/ 3003 h 10000"/>
                <a:gd name="connsiteX243" fmla="*/ 9470 w 10000"/>
                <a:gd name="connsiteY243" fmla="*/ 2787 h 10000"/>
                <a:gd name="connsiteX244" fmla="*/ 9366 w 10000"/>
                <a:gd name="connsiteY244" fmla="*/ 2725 h 10000"/>
                <a:gd name="connsiteX245" fmla="*/ 9461 w 10000"/>
                <a:gd name="connsiteY245" fmla="*/ 2972 h 10000"/>
                <a:gd name="connsiteX246" fmla="*/ 9470 w 10000"/>
                <a:gd name="connsiteY246" fmla="*/ 3230 h 10000"/>
                <a:gd name="connsiteX247" fmla="*/ 9288 w 10000"/>
                <a:gd name="connsiteY247" fmla="*/ 3065 h 10000"/>
                <a:gd name="connsiteX248" fmla="*/ 9262 w 10000"/>
                <a:gd name="connsiteY248" fmla="*/ 3230 h 10000"/>
                <a:gd name="connsiteX249" fmla="*/ 9363 w 10000"/>
                <a:gd name="connsiteY249" fmla="*/ 3230 h 10000"/>
                <a:gd name="connsiteX250" fmla="*/ 9451 w 10000"/>
                <a:gd name="connsiteY250" fmla="*/ 3354 h 10000"/>
                <a:gd name="connsiteX251" fmla="*/ 9659 w 10000"/>
                <a:gd name="connsiteY251" fmla="*/ 3685 h 10000"/>
                <a:gd name="connsiteX252" fmla="*/ 9735 w 10000"/>
                <a:gd name="connsiteY252" fmla="*/ 3839 h 10000"/>
                <a:gd name="connsiteX253" fmla="*/ 9552 w 10000"/>
                <a:gd name="connsiteY253" fmla="*/ 3757 h 10000"/>
                <a:gd name="connsiteX254" fmla="*/ 9451 w 10000"/>
                <a:gd name="connsiteY254" fmla="*/ 4025 h 10000"/>
                <a:gd name="connsiteX255" fmla="*/ 9385 w 10000"/>
                <a:gd name="connsiteY255" fmla="*/ 4283 h 10000"/>
                <a:gd name="connsiteX256" fmla="*/ 9376 w 10000"/>
                <a:gd name="connsiteY256" fmla="*/ 4499 h 10000"/>
                <a:gd name="connsiteX257" fmla="*/ 9335 w 10000"/>
                <a:gd name="connsiteY257" fmla="*/ 4303 h 10000"/>
                <a:gd name="connsiteX258" fmla="*/ 9149 w 10000"/>
                <a:gd name="connsiteY258" fmla="*/ 4314 h 10000"/>
                <a:gd name="connsiteX259" fmla="*/ 9155 w 10000"/>
                <a:gd name="connsiteY259" fmla="*/ 4531 h 10000"/>
                <a:gd name="connsiteX260" fmla="*/ 9061 w 10000"/>
                <a:gd name="connsiteY260" fmla="*/ 4365 h 10000"/>
                <a:gd name="connsiteX261" fmla="*/ 9054 w 10000"/>
                <a:gd name="connsiteY261" fmla="*/ 4521 h 10000"/>
                <a:gd name="connsiteX262" fmla="*/ 8998 w 10000"/>
                <a:gd name="connsiteY262" fmla="*/ 4458 h 10000"/>
                <a:gd name="connsiteX263" fmla="*/ 8966 w 10000"/>
                <a:gd name="connsiteY263" fmla="*/ 4562 h 10000"/>
                <a:gd name="connsiteX264" fmla="*/ 9007 w 10000"/>
                <a:gd name="connsiteY264" fmla="*/ 4686 h 10000"/>
                <a:gd name="connsiteX265" fmla="*/ 9004 w 10000"/>
                <a:gd name="connsiteY265" fmla="*/ 4995 h 10000"/>
                <a:gd name="connsiteX266" fmla="*/ 9073 w 10000"/>
                <a:gd name="connsiteY266" fmla="*/ 5211 h 10000"/>
                <a:gd name="connsiteX267" fmla="*/ 9130 w 10000"/>
                <a:gd name="connsiteY267" fmla="*/ 5150 h 10000"/>
                <a:gd name="connsiteX268" fmla="*/ 9158 w 10000"/>
                <a:gd name="connsiteY268" fmla="*/ 5211 h 10000"/>
                <a:gd name="connsiteX269" fmla="*/ 9231 w 10000"/>
                <a:gd name="connsiteY269" fmla="*/ 5428 h 10000"/>
                <a:gd name="connsiteX270" fmla="*/ 9215 w 10000"/>
                <a:gd name="connsiteY270" fmla="*/ 5604 h 10000"/>
                <a:gd name="connsiteX271" fmla="*/ 9221 w 10000"/>
                <a:gd name="connsiteY271" fmla="*/ 5769 h 10000"/>
                <a:gd name="connsiteX272" fmla="*/ 9269 w 10000"/>
                <a:gd name="connsiteY272" fmla="*/ 5883 h 10000"/>
                <a:gd name="connsiteX273" fmla="*/ 9344 w 10000"/>
                <a:gd name="connsiteY273" fmla="*/ 6068 h 10000"/>
                <a:gd name="connsiteX274" fmla="*/ 9269 w 10000"/>
                <a:gd name="connsiteY274" fmla="*/ 6068 h 10000"/>
                <a:gd name="connsiteX275" fmla="*/ 9253 w 10000"/>
                <a:gd name="connsiteY275" fmla="*/ 6223 h 10000"/>
                <a:gd name="connsiteX276" fmla="*/ 9319 w 10000"/>
                <a:gd name="connsiteY276" fmla="*/ 6408 h 10000"/>
                <a:gd name="connsiteX277" fmla="*/ 9250 w 10000"/>
                <a:gd name="connsiteY277" fmla="*/ 6502 h 10000"/>
                <a:gd name="connsiteX278" fmla="*/ 9297 w 10000"/>
                <a:gd name="connsiteY278" fmla="*/ 6729 h 10000"/>
                <a:gd name="connsiteX279" fmla="*/ 9281 w 10000"/>
                <a:gd name="connsiteY279" fmla="*/ 7069 h 10000"/>
                <a:gd name="connsiteX280" fmla="*/ 9061 w 10000"/>
                <a:gd name="connsiteY280" fmla="*/ 6408 h 10000"/>
                <a:gd name="connsiteX281" fmla="*/ 8824 w 10000"/>
                <a:gd name="connsiteY281" fmla="*/ 5759 h 10000"/>
                <a:gd name="connsiteX282" fmla="*/ 8771 w 10000"/>
                <a:gd name="connsiteY282" fmla="*/ 5459 h 10000"/>
                <a:gd name="connsiteX283" fmla="*/ 8768 w 10000"/>
                <a:gd name="connsiteY283" fmla="*/ 5211 h 10000"/>
                <a:gd name="connsiteX284" fmla="*/ 8692 w 10000"/>
                <a:gd name="connsiteY284" fmla="*/ 5047 h 10000"/>
                <a:gd name="connsiteX285" fmla="*/ 8771 w 10000"/>
                <a:gd name="connsiteY285" fmla="*/ 5088 h 10000"/>
                <a:gd name="connsiteX286" fmla="*/ 8809 w 10000"/>
                <a:gd name="connsiteY286" fmla="*/ 5108 h 10000"/>
                <a:gd name="connsiteX287" fmla="*/ 8809 w 10000"/>
                <a:gd name="connsiteY287" fmla="*/ 4840 h 10000"/>
                <a:gd name="connsiteX288" fmla="*/ 8827 w 10000"/>
                <a:gd name="connsiteY288" fmla="*/ 4437 h 10000"/>
                <a:gd name="connsiteX289" fmla="*/ 8853 w 10000"/>
                <a:gd name="connsiteY289" fmla="*/ 4252 h 10000"/>
                <a:gd name="connsiteX290" fmla="*/ 8909 w 10000"/>
                <a:gd name="connsiteY290" fmla="*/ 4221 h 10000"/>
                <a:gd name="connsiteX291" fmla="*/ 8786 w 10000"/>
                <a:gd name="connsiteY291" fmla="*/ 3901 h 10000"/>
                <a:gd name="connsiteX292" fmla="*/ 8853 w 10000"/>
                <a:gd name="connsiteY292" fmla="*/ 3839 h 10000"/>
                <a:gd name="connsiteX293" fmla="*/ 8739 w 10000"/>
                <a:gd name="connsiteY293" fmla="*/ 3788 h 10000"/>
                <a:gd name="connsiteX294" fmla="*/ 8755 w 10000"/>
                <a:gd name="connsiteY294" fmla="*/ 3984 h 10000"/>
                <a:gd name="connsiteX295" fmla="*/ 8692 w 10000"/>
                <a:gd name="connsiteY295" fmla="*/ 4303 h 10000"/>
                <a:gd name="connsiteX296" fmla="*/ 8604 w 10000"/>
                <a:gd name="connsiteY296" fmla="*/ 4210 h 10000"/>
                <a:gd name="connsiteX297" fmla="*/ 8550 w 10000"/>
                <a:gd name="connsiteY297" fmla="*/ 4056 h 10000"/>
                <a:gd name="connsiteX298" fmla="*/ 8481 w 10000"/>
                <a:gd name="connsiteY298" fmla="*/ 4138 h 10000"/>
                <a:gd name="connsiteX299" fmla="*/ 8389 w 10000"/>
                <a:gd name="connsiteY299" fmla="*/ 4107 h 10000"/>
                <a:gd name="connsiteX300" fmla="*/ 8352 w 10000"/>
                <a:gd name="connsiteY300" fmla="*/ 4406 h 10000"/>
                <a:gd name="connsiteX301" fmla="*/ 8481 w 10000"/>
                <a:gd name="connsiteY301" fmla="*/ 4655 h 10000"/>
                <a:gd name="connsiteX302" fmla="*/ 8405 w 10000"/>
                <a:gd name="connsiteY302" fmla="*/ 4830 h 10000"/>
                <a:gd name="connsiteX303" fmla="*/ 8225 w 10000"/>
                <a:gd name="connsiteY303" fmla="*/ 4799 h 10000"/>
                <a:gd name="connsiteX304" fmla="*/ 8209 w 10000"/>
                <a:gd name="connsiteY304" fmla="*/ 4655 h 10000"/>
                <a:gd name="connsiteX305" fmla="*/ 8102 w 10000"/>
                <a:gd name="connsiteY305" fmla="*/ 4634 h 10000"/>
                <a:gd name="connsiteX306" fmla="*/ 7641 w 10000"/>
                <a:gd name="connsiteY306" fmla="*/ 4779 h 10000"/>
                <a:gd name="connsiteX307" fmla="*/ 7610 w 10000"/>
                <a:gd name="connsiteY307" fmla="*/ 5005 h 10000"/>
                <a:gd name="connsiteX308" fmla="*/ 7550 w 10000"/>
                <a:gd name="connsiteY308" fmla="*/ 5666 h 10000"/>
                <a:gd name="connsiteX309" fmla="*/ 7496 w 10000"/>
                <a:gd name="connsiteY309" fmla="*/ 5965 h 10000"/>
                <a:gd name="connsiteX310" fmla="*/ 7701 w 10000"/>
                <a:gd name="connsiteY310" fmla="*/ 6161 h 10000"/>
                <a:gd name="connsiteX311" fmla="*/ 7745 w 10000"/>
                <a:gd name="connsiteY311" fmla="*/ 6243 h 10000"/>
                <a:gd name="connsiteX312" fmla="*/ 7771 w 10000"/>
                <a:gd name="connsiteY312" fmla="*/ 6285 h 10000"/>
                <a:gd name="connsiteX313" fmla="*/ 7793 w 10000"/>
                <a:gd name="connsiteY313" fmla="*/ 6068 h 10000"/>
                <a:gd name="connsiteX314" fmla="*/ 7912 w 10000"/>
                <a:gd name="connsiteY314" fmla="*/ 6089 h 10000"/>
                <a:gd name="connsiteX315" fmla="*/ 8004 w 10000"/>
                <a:gd name="connsiteY315" fmla="*/ 6367 h 10000"/>
                <a:gd name="connsiteX316" fmla="*/ 8064 w 10000"/>
                <a:gd name="connsiteY316" fmla="*/ 6616 h 10000"/>
                <a:gd name="connsiteX317" fmla="*/ 8111 w 10000"/>
                <a:gd name="connsiteY317" fmla="*/ 6781 h 10000"/>
                <a:gd name="connsiteX318" fmla="*/ 8048 w 10000"/>
                <a:gd name="connsiteY318" fmla="*/ 6491 h 10000"/>
                <a:gd name="connsiteX319" fmla="*/ 8124 w 10000"/>
                <a:gd name="connsiteY319" fmla="*/ 6336 h 10000"/>
                <a:gd name="connsiteX320" fmla="*/ 8177 w 10000"/>
                <a:gd name="connsiteY320" fmla="*/ 6512 h 10000"/>
                <a:gd name="connsiteX321" fmla="*/ 8300 w 10000"/>
                <a:gd name="connsiteY321" fmla="*/ 6987 h 10000"/>
                <a:gd name="connsiteX322" fmla="*/ 8361 w 10000"/>
                <a:gd name="connsiteY322" fmla="*/ 7152 h 10000"/>
                <a:gd name="connsiteX323" fmla="*/ 8490 w 10000"/>
                <a:gd name="connsiteY323" fmla="*/ 7482 h 10000"/>
                <a:gd name="connsiteX324" fmla="*/ 8604 w 10000"/>
                <a:gd name="connsiteY324" fmla="*/ 7854 h 10000"/>
                <a:gd name="connsiteX325" fmla="*/ 8474 w 10000"/>
                <a:gd name="connsiteY325" fmla="*/ 7647 h 10000"/>
                <a:gd name="connsiteX326" fmla="*/ 8443 w 10000"/>
                <a:gd name="connsiteY326" fmla="*/ 7678 h 10000"/>
                <a:gd name="connsiteX327" fmla="*/ 8512 w 10000"/>
                <a:gd name="connsiteY327" fmla="*/ 8050 h 10000"/>
                <a:gd name="connsiteX328" fmla="*/ 8588 w 10000"/>
                <a:gd name="connsiteY328" fmla="*/ 8266 h 10000"/>
                <a:gd name="connsiteX329" fmla="*/ 8642 w 10000"/>
                <a:gd name="connsiteY329" fmla="*/ 8472 h 10000"/>
                <a:gd name="connsiteX330" fmla="*/ 8566 w 10000"/>
                <a:gd name="connsiteY330" fmla="*/ 8421 h 10000"/>
                <a:gd name="connsiteX331" fmla="*/ 8556 w 10000"/>
                <a:gd name="connsiteY331" fmla="*/ 8669 h 10000"/>
                <a:gd name="connsiteX332" fmla="*/ 8497 w 10000"/>
                <a:gd name="connsiteY332" fmla="*/ 8493 h 10000"/>
                <a:gd name="connsiteX333" fmla="*/ 8481 w 10000"/>
                <a:gd name="connsiteY333" fmla="*/ 8421 h 10000"/>
                <a:gd name="connsiteX334" fmla="*/ 8361 w 10000"/>
                <a:gd name="connsiteY334" fmla="*/ 7751 h 10000"/>
                <a:gd name="connsiteX335" fmla="*/ 8322 w 10000"/>
                <a:gd name="connsiteY335" fmla="*/ 7524 h 10000"/>
                <a:gd name="connsiteX336" fmla="*/ 8291 w 10000"/>
                <a:gd name="connsiteY336" fmla="*/ 7378 h 10000"/>
                <a:gd name="connsiteX337" fmla="*/ 8275 w 10000"/>
                <a:gd name="connsiteY337" fmla="*/ 7306 h 10000"/>
                <a:gd name="connsiteX338" fmla="*/ 8139 w 10000"/>
                <a:gd name="connsiteY338" fmla="*/ 6863 h 10000"/>
                <a:gd name="connsiteX339" fmla="*/ 8199 w 10000"/>
                <a:gd name="connsiteY339" fmla="*/ 7451 h 10000"/>
                <a:gd name="connsiteX340" fmla="*/ 8247 w 10000"/>
                <a:gd name="connsiteY340" fmla="*/ 7998 h 10000"/>
                <a:gd name="connsiteX341" fmla="*/ 8177 w 10000"/>
                <a:gd name="connsiteY341" fmla="*/ 9133 h 10000"/>
                <a:gd name="connsiteX342" fmla="*/ 8124 w 10000"/>
                <a:gd name="connsiteY342" fmla="*/ 9484 h 10000"/>
                <a:gd name="connsiteX343" fmla="*/ 7972 w 10000"/>
                <a:gd name="connsiteY343" fmla="*/ 9432 h 10000"/>
                <a:gd name="connsiteX344" fmla="*/ 7897 w 10000"/>
                <a:gd name="connsiteY344" fmla="*/ 9660 h 10000"/>
                <a:gd name="connsiteX345" fmla="*/ 7868 w 10000"/>
                <a:gd name="connsiteY345" fmla="*/ 9588 h 10000"/>
                <a:gd name="connsiteX346" fmla="*/ 7884 w 10000"/>
                <a:gd name="connsiteY346" fmla="*/ 9536 h 10000"/>
                <a:gd name="connsiteX347" fmla="*/ 7897 w 10000"/>
                <a:gd name="connsiteY347" fmla="*/ 9380 h 10000"/>
                <a:gd name="connsiteX348" fmla="*/ 7884 w 10000"/>
                <a:gd name="connsiteY348" fmla="*/ 9236 h 10000"/>
                <a:gd name="connsiteX349" fmla="*/ 7793 w 10000"/>
                <a:gd name="connsiteY349" fmla="*/ 8865 h 10000"/>
                <a:gd name="connsiteX350" fmla="*/ 7831 w 10000"/>
                <a:gd name="connsiteY350" fmla="*/ 8741 h 10000"/>
                <a:gd name="connsiteX351" fmla="*/ 7928 w 10000"/>
                <a:gd name="connsiteY351" fmla="*/ 8844 h 10000"/>
                <a:gd name="connsiteX352" fmla="*/ 7912 w 10000"/>
                <a:gd name="connsiteY352" fmla="*/ 8318 h 10000"/>
                <a:gd name="connsiteX353" fmla="*/ 7906 w 10000"/>
                <a:gd name="connsiteY353" fmla="*/ 8019 h 10000"/>
                <a:gd name="connsiteX354" fmla="*/ 7846 w 10000"/>
                <a:gd name="connsiteY354" fmla="*/ 7802 h 10000"/>
                <a:gd name="connsiteX355" fmla="*/ 7723 w 10000"/>
                <a:gd name="connsiteY355" fmla="*/ 8050 h 10000"/>
                <a:gd name="connsiteX356" fmla="*/ 7619 w 10000"/>
                <a:gd name="connsiteY356" fmla="*/ 8019 h 10000"/>
                <a:gd name="connsiteX357" fmla="*/ 7528 w 10000"/>
                <a:gd name="connsiteY357" fmla="*/ 7699 h 10000"/>
                <a:gd name="connsiteX358" fmla="*/ 7355 w 10000"/>
                <a:gd name="connsiteY358" fmla="*/ 7482 h 10000"/>
                <a:gd name="connsiteX359" fmla="*/ 7279 w 10000"/>
                <a:gd name="connsiteY359" fmla="*/ 7482 h 10000"/>
                <a:gd name="connsiteX360" fmla="*/ 7080 w 10000"/>
                <a:gd name="connsiteY360" fmla="*/ 6781 h 10000"/>
                <a:gd name="connsiteX361" fmla="*/ 6901 w 10000"/>
                <a:gd name="connsiteY361" fmla="*/ 6460 h 10000"/>
                <a:gd name="connsiteX362" fmla="*/ 6724 w 10000"/>
                <a:gd name="connsiteY362" fmla="*/ 6336 h 10000"/>
                <a:gd name="connsiteX363" fmla="*/ 6583 w 10000"/>
                <a:gd name="connsiteY363" fmla="*/ 6408 h 10000"/>
                <a:gd name="connsiteX364" fmla="*/ 6567 w 10000"/>
                <a:gd name="connsiteY364" fmla="*/ 6585 h 10000"/>
                <a:gd name="connsiteX365" fmla="*/ 6664 w 10000"/>
                <a:gd name="connsiteY365" fmla="*/ 6760 h 10000"/>
                <a:gd name="connsiteX366" fmla="*/ 6636 w 10000"/>
                <a:gd name="connsiteY366" fmla="*/ 6935 h 10000"/>
                <a:gd name="connsiteX367" fmla="*/ 6636 w 10000"/>
                <a:gd name="connsiteY367" fmla="*/ 7399 h 10000"/>
                <a:gd name="connsiteX368" fmla="*/ 6560 w 10000"/>
                <a:gd name="connsiteY368" fmla="*/ 7482 h 10000"/>
                <a:gd name="connsiteX369" fmla="*/ 6485 w 10000"/>
                <a:gd name="connsiteY369" fmla="*/ 7378 h 10000"/>
                <a:gd name="connsiteX370" fmla="*/ 6400 w 10000"/>
                <a:gd name="connsiteY370" fmla="*/ 7399 h 10000"/>
                <a:gd name="connsiteX371" fmla="*/ 6334 w 10000"/>
                <a:gd name="connsiteY371" fmla="*/ 7275 h 10000"/>
                <a:gd name="connsiteX372" fmla="*/ 6258 w 10000"/>
                <a:gd name="connsiteY372" fmla="*/ 7358 h 10000"/>
                <a:gd name="connsiteX373" fmla="*/ 6220 w 10000"/>
                <a:gd name="connsiteY373" fmla="*/ 7524 h 10000"/>
                <a:gd name="connsiteX374" fmla="*/ 6081 w 10000"/>
                <a:gd name="connsiteY374" fmla="*/ 7606 h 10000"/>
                <a:gd name="connsiteX375" fmla="*/ 5892 w 10000"/>
                <a:gd name="connsiteY375" fmla="*/ 7575 h 10000"/>
                <a:gd name="connsiteX376" fmla="*/ 5855 w 10000"/>
                <a:gd name="connsiteY376" fmla="*/ 7327 h 10000"/>
                <a:gd name="connsiteX377" fmla="*/ 5643 w 10000"/>
                <a:gd name="connsiteY377" fmla="*/ 7255 h 10000"/>
                <a:gd name="connsiteX378" fmla="*/ 5539 w 10000"/>
                <a:gd name="connsiteY378" fmla="*/ 7358 h 10000"/>
                <a:gd name="connsiteX379" fmla="*/ 5416 w 10000"/>
                <a:gd name="connsiteY379" fmla="*/ 7203 h 10000"/>
                <a:gd name="connsiteX380" fmla="*/ 5372 w 10000"/>
                <a:gd name="connsiteY380"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2897 w 10000"/>
                <a:gd name="connsiteY16" fmla="*/ 5790 h 10000"/>
                <a:gd name="connsiteX17" fmla="*/ 1610 w 10000"/>
                <a:gd name="connsiteY17" fmla="*/ 7183 h 10000"/>
                <a:gd name="connsiteX18" fmla="*/ 1655 w 10000"/>
                <a:gd name="connsiteY18" fmla="*/ 7430 h 10000"/>
                <a:gd name="connsiteX19" fmla="*/ 1604 w 10000"/>
                <a:gd name="connsiteY19" fmla="*/ 7430 h 10000"/>
                <a:gd name="connsiteX20" fmla="*/ 1551 w 10000"/>
                <a:gd name="connsiteY20" fmla="*/ 7255 h 10000"/>
                <a:gd name="connsiteX21" fmla="*/ 1513 w 10000"/>
                <a:gd name="connsiteY21" fmla="*/ 7430 h 10000"/>
                <a:gd name="connsiteX22" fmla="*/ 1519 w 10000"/>
                <a:gd name="connsiteY22" fmla="*/ 7854 h 10000"/>
                <a:gd name="connsiteX23" fmla="*/ 1604 w 10000"/>
                <a:gd name="connsiteY23" fmla="*/ 8070 h 10000"/>
                <a:gd name="connsiteX24" fmla="*/ 1648 w 10000"/>
                <a:gd name="connsiteY24" fmla="*/ 8019 h 10000"/>
                <a:gd name="connsiteX25" fmla="*/ 1741 w 10000"/>
                <a:gd name="connsiteY25" fmla="*/ 8493 h 10000"/>
                <a:gd name="connsiteX26" fmla="*/ 1610 w 10000"/>
                <a:gd name="connsiteY26" fmla="*/ 8669 h 10000"/>
                <a:gd name="connsiteX27" fmla="*/ 1595 w 10000"/>
                <a:gd name="connsiteY27" fmla="*/ 9009 h 10000"/>
                <a:gd name="connsiteX28" fmla="*/ 1664 w 10000"/>
                <a:gd name="connsiteY28" fmla="*/ 9236 h 10000"/>
                <a:gd name="connsiteX29" fmla="*/ 1664 w 10000"/>
                <a:gd name="connsiteY29" fmla="*/ 9484 h 10000"/>
                <a:gd name="connsiteX30" fmla="*/ 1769 w 10000"/>
                <a:gd name="connsiteY30" fmla="*/ 9835 h 10000"/>
                <a:gd name="connsiteX31" fmla="*/ 1703 w 10000"/>
                <a:gd name="connsiteY31" fmla="*/ 10000 h 10000"/>
                <a:gd name="connsiteX32" fmla="*/ 1604 w 10000"/>
                <a:gd name="connsiteY32" fmla="*/ 9753 h 10000"/>
                <a:gd name="connsiteX33" fmla="*/ 1465 w 10000"/>
                <a:gd name="connsiteY33" fmla="*/ 9505 h 10000"/>
                <a:gd name="connsiteX34" fmla="*/ 1406 w 10000"/>
                <a:gd name="connsiteY34" fmla="*/ 9588 h 10000"/>
                <a:gd name="connsiteX35" fmla="*/ 1308 w 10000"/>
                <a:gd name="connsiteY35" fmla="*/ 9380 h 10000"/>
                <a:gd name="connsiteX36" fmla="*/ 1097 w 10000"/>
                <a:gd name="connsiteY36" fmla="*/ 9339 h 10000"/>
                <a:gd name="connsiteX37" fmla="*/ 848 w 10000"/>
                <a:gd name="connsiteY37" fmla="*/ 8813 h 10000"/>
                <a:gd name="connsiteX38" fmla="*/ 914 w 10000"/>
                <a:gd name="connsiteY38" fmla="*/ 8721 h 10000"/>
                <a:gd name="connsiteX39" fmla="*/ 961 w 10000"/>
                <a:gd name="connsiteY39" fmla="*/ 8493 h 10000"/>
                <a:gd name="connsiteX40" fmla="*/ 908 w 10000"/>
                <a:gd name="connsiteY40" fmla="*/ 8390 h 10000"/>
                <a:gd name="connsiteX41" fmla="*/ 1021 w 10000"/>
                <a:gd name="connsiteY41" fmla="*/ 8245 h 10000"/>
                <a:gd name="connsiteX42" fmla="*/ 945 w 10000"/>
                <a:gd name="connsiteY42" fmla="*/ 8194 h 10000"/>
                <a:gd name="connsiteX43" fmla="*/ 958 w 10000"/>
                <a:gd name="connsiteY43" fmla="*/ 8091 h 10000"/>
                <a:gd name="connsiteX44" fmla="*/ 1005 w 10000"/>
                <a:gd name="connsiteY44" fmla="*/ 8111 h 10000"/>
                <a:gd name="connsiteX45" fmla="*/ 1059 w 10000"/>
                <a:gd name="connsiteY45" fmla="*/ 8019 h 10000"/>
                <a:gd name="connsiteX46" fmla="*/ 1034 w 10000"/>
                <a:gd name="connsiteY46" fmla="*/ 7864 h 10000"/>
                <a:gd name="connsiteX47" fmla="*/ 1043 w 10000"/>
                <a:gd name="connsiteY47" fmla="*/ 7503 h 10000"/>
                <a:gd name="connsiteX48" fmla="*/ 930 w 10000"/>
                <a:gd name="connsiteY48" fmla="*/ 7440 h 10000"/>
                <a:gd name="connsiteX49" fmla="*/ 832 w 10000"/>
                <a:gd name="connsiteY49" fmla="*/ 7286 h 10000"/>
                <a:gd name="connsiteX50" fmla="*/ 700 w 10000"/>
                <a:gd name="connsiteY50" fmla="*/ 7275 h 10000"/>
                <a:gd name="connsiteX51" fmla="*/ 684 w 10000"/>
                <a:gd name="connsiteY51" fmla="*/ 7090 h 10000"/>
                <a:gd name="connsiteX52" fmla="*/ 596 w 10000"/>
                <a:gd name="connsiteY52" fmla="*/ 6945 h 10000"/>
                <a:gd name="connsiteX53" fmla="*/ 615 w 10000"/>
                <a:gd name="connsiteY53" fmla="*/ 6822 h 10000"/>
                <a:gd name="connsiteX54" fmla="*/ 561 w 10000"/>
                <a:gd name="connsiteY54" fmla="*/ 6698 h 10000"/>
                <a:gd name="connsiteX55" fmla="*/ 457 w 10000"/>
                <a:gd name="connsiteY55" fmla="*/ 6698 h 10000"/>
                <a:gd name="connsiteX56" fmla="*/ 425 w 10000"/>
                <a:gd name="connsiteY56" fmla="*/ 6791 h 10000"/>
                <a:gd name="connsiteX57" fmla="*/ 400 w 10000"/>
                <a:gd name="connsiteY57" fmla="*/ 6750 h 10000"/>
                <a:gd name="connsiteX58" fmla="*/ 378 w 10000"/>
                <a:gd name="connsiteY58" fmla="*/ 6439 h 10000"/>
                <a:gd name="connsiteX59" fmla="*/ 419 w 10000"/>
                <a:gd name="connsiteY59" fmla="*/ 6470 h 10000"/>
                <a:gd name="connsiteX60" fmla="*/ 466 w 10000"/>
                <a:gd name="connsiteY60" fmla="*/ 6347 h 10000"/>
                <a:gd name="connsiteX61" fmla="*/ 400 w 10000"/>
                <a:gd name="connsiteY61" fmla="*/ 6233 h 10000"/>
                <a:gd name="connsiteX62" fmla="*/ 315 w 10000"/>
                <a:gd name="connsiteY62" fmla="*/ 6017 h 10000"/>
                <a:gd name="connsiteX63" fmla="*/ 334 w 10000"/>
                <a:gd name="connsiteY63" fmla="*/ 5821 h 10000"/>
                <a:gd name="connsiteX64" fmla="*/ 274 w 10000"/>
                <a:gd name="connsiteY64" fmla="*/ 5697 h 10000"/>
                <a:gd name="connsiteX65" fmla="*/ 227 w 10000"/>
                <a:gd name="connsiteY65" fmla="*/ 5728 h 10000"/>
                <a:gd name="connsiteX66" fmla="*/ 202 w 10000"/>
                <a:gd name="connsiteY66" fmla="*/ 5604 h 10000"/>
                <a:gd name="connsiteX67" fmla="*/ 164 w 10000"/>
                <a:gd name="connsiteY67" fmla="*/ 5645 h 10000"/>
                <a:gd name="connsiteX68" fmla="*/ 117 w 10000"/>
                <a:gd name="connsiteY68" fmla="*/ 5604 h 10000"/>
                <a:gd name="connsiteX69" fmla="*/ 69 w 10000"/>
                <a:gd name="connsiteY69" fmla="*/ 5181 h 10000"/>
                <a:gd name="connsiteX70" fmla="*/ 85 w 10000"/>
                <a:gd name="connsiteY70" fmla="*/ 5057 h 10000"/>
                <a:gd name="connsiteX71" fmla="*/ 41 w 10000"/>
                <a:gd name="connsiteY71" fmla="*/ 4892 h 10000"/>
                <a:gd name="connsiteX72" fmla="*/ 66 w 10000"/>
                <a:gd name="connsiteY72" fmla="*/ 4655 h 10000"/>
                <a:gd name="connsiteX73" fmla="*/ 211 w 10000"/>
                <a:gd name="connsiteY73" fmla="*/ 4510 h 10000"/>
                <a:gd name="connsiteX74" fmla="*/ 129 w 10000"/>
                <a:gd name="connsiteY74" fmla="*/ 4406 h 10000"/>
                <a:gd name="connsiteX75" fmla="*/ 82 w 10000"/>
                <a:gd name="connsiteY75" fmla="*/ 4283 h 10000"/>
                <a:gd name="connsiteX76" fmla="*/ 205 w 10000"/>
                <a:gd name="connsiteY76" fmla="*/ 3912 h 10000"/>
                <a:gd name="connsiteX77" fmla="*/ 249 w 10000"/>
                <a:gd name="connsiteY77" fmla="*/ 3664 h 10000"/>
                <a:gd name="connsiteX78" fmla="*/ 151 w 10000"/>
                <a:gd name="connsiteY78" fmla="*/ 3488 h 10000"/>
                <a:gd name="connsiteX79" fmla="*/ 189 w 10000"/>
                <a:gd name="connsiteY79" fmla="*/ 3344 h 10000"/>
                <a:gd name="connsiteX80" fmla="*/ 113 w 10000"/>
                <a:gd name="connsiteY80" fmla="*/ 3148 h 10000"/>
                <a:gd name="connsiteX81" fmla="*/ 113 w 10000"/>
                <a:gd name="connsiteY81" fmla="*/ 2972 h 10000"/>
                <a:gd name="connsiteX82" fmla="*/ 60 w 10000"/>
                <a:gd name="connsiteY82" fmla="*/ 2622 h 10000"/>
                <a:gd name="connsiteX83" fmla="*/ 98 w 10000"/>
                <a:gd name="connsiteY83" fmla="*/ 2404 h 10000"/>
                <a:gd name="connsiteX84" fmla="*/ 38 w 10000"/>
                <a:gd name="connsiteY84" fmla="*/ 2301 h 10000"/>
                <a:gd name="connsiteX85" fmla="*/ 0 w 10000"/>
                <a:gd name="connsiteY85" fmla="*/ 2178 h 10000"/>
                <a:gd name="connsiteX86" fmla="*/ 54 w 10000"/>
                <a:gd name="connsiteY86" fmla="*/ 1951 h 10000"/>
                <a:gd name="connsiteX87" fmla="*/ 120 w 10000"/>
                <a:gd name="connsiteY87" fmla="*/ 1910 h 10000"/>
                <a:gd name="connsiteX88" fmla="*/ 195 w 10000"/>
                <a:gd name="connsiteY88" fmla="*/ 1858 h 10000"/>
                <a:gd name="connsiteX89" fmla="*/ 309 w 10000"/>
                <a:gd name="connsiteY89" fmla="*/ 1951 h 10000"/>
                <a:gd name="connsiteX90" fmla="*/ 482 w 10000"/>
                <a:gd name="connsiteY90" fmla="*/ 2054 h 10000"/>
                <a:gd name="connsiteX91" fmla="*/ 633 w 10000"/>
                <a:gd name="connsiteY91" fmla="*/ 2229 h 10000"/>
                <a:gd name="connsiteX92" fmla="*/ 756 w 10000"/>
                <a:gd name="connsiteY92" fmla="*/ 2373 h 10000"/>
                <a:gd name="connsiteX93" fmla="*/ 725 w 10000"/>
                <a:gd name="connsiteY93" fmla="*/ 2777 h 10000"/>
                <a:gd name="connsiteX94" fmla="*/ 362 w 10000"/>
                <a:gd name="connsiteY94" fmla="*/ 2673 h 10000"/>
                <a:gd name="connsiteX95" fmla="*/ 243 w 10000"/>
                <a:gd name="connsiteY95" fmla="*/ 2550 h 10000"/>
                <a:gd name="connsiteX96" fmla="*/ 287 w 10000"/>
                <a:gd name="connsiteY96" fmla="*/ 2622 h 10000"/>
                <a:gd name="connsiteX97" fmla="*/ 331 w 10000"/>
                <a:gd name="connsiteY97" fmla="*/ 2797 h 10000"/>
                <a:gd name="connsiteX98" fmla="*/ 400 w 10000"/>
                <a:gd name="connsiteY98" fmla="*/ 2921 h 10000"/>
                <a:gd name="connsiteX99" fmla="*/ 416 w 10000"/>
                <a:gd name="connsiteY99" fmla="*/ 3189 h 10000"/>
                <a:gd name="connsiteX100" fmla="*/ 507 w 10000"/>
                <a:gd name="connsiteY100" fmla="*/ 3313 h 10000"/>
                <a:gd name="connsiteX101" fmla="*/ 583 w 10000"/>
                <a:gd name="connsiteY101" fmla="*/ 3436 h 10000"/>
                <a:gd name="connsiteX102" fmla="*/ 605 w 10000"/>
                <a:gd name="connsiteY102" fmla="*/ 3467 h 10000"/>
                <a:gd name="connsiteX103" fmla="*/ 649 w 10000"/>
                <a:gd name="connsiteY103" fmla="*/ 3436 h 10000"/>
                <a:gd name="connsiteX104" fmla="*/ 633 w 10000"/>
                <a:gd name="connsiteY104" fmla="*/ 3364 h 10000"/>
                <a:gd name="connsiteX105" fmla="*/ 545 w 10000"/>
                <a:gd name="connsiteY105" fmla="*/ 3189 h 10000"/>
                <a:gd name="connsiteX106" fmla="*/ 801 w 10000"/>
                <a:gd name="connsiteY106" fmla="*/ 3344 h 10000"/>
                <a:gd name="connsiteX107" fmla="*/ 810 w 10000"/>
                <a:gd name="connsiteY107" fmla="*/ 3271 h 10000"/>
                <a:gd name="connsiteX108" fmla="*/ 785 w 10000"/>
                <a:gd name="connsiteY108" fmla="*/ 3220 h 10000"/>
                <a:gd name="connsiteX109" fmla="*/ 741 w 10000"/>
                <a:gd name="connsiteY109" fmla="*/ 2993 h 10000"/>
                <a:gd name="connsiteX110" fmla="*/ 870 w 10000"/>
                <a:gd name="connsiteY110" fmla="*/ 2777 h 10000"/>
                <a:gd name="connsiteX111" fmla="*/ 968 w 10000"/>
                <a:gd name="connsiteY111" fmla="*/ 2921 h 10000"/>
                <a:gd name="connsiteX112" fmla="*/ 999 w 10000"/>
                <a:gd name="connsiteY112" fmla="*/ 2725 h 10000"/>
                <a:gd name="connsiteX113" fmla="*/ 952 w 10000"/>
                <a:gd name="connsiteY113" fmla="*/ 2653 h 10000"/>
                <a:gd name="connsiteX114" fmla="*/ 936 w 10000"/>
                <a:gd name="connsiteY114" fmla="*/ 2281 h 10000"/>
                <a:gd name="connsiteX115" fmla="*/ 914 w 10000"/>
                <a:gd name="connsiteY115" fmla="*/ 2229 h 10000"/>
                <a:gd name="connsiteX116" fmla="*/ 1037 w 10000"/>
                <a:gd name="connsiteY116" fmla="*/ 2250 h 10000"/>
                <a:gd name="connsiteX117" fmla="*/ 1087 w 10000"/>
                <a:gd name="connsiteY117" fmla="*/ 2404 h 10000"/>
                <a:gd name="connsiteX118" fmla="*/ 1021 w 10000"/>
                <a:gd name="connsiteY118" fmla="*/ 2529 h 10000"/>
                <a:gd name="connsiteX119" fmla="*/ 1135 w 10000"/>
                <a:gd name="connsiteY119" fmla="*/ 2694 h 10000"/>
                <a:gd name="connsiteX120" fmla="*/ 1226 w 10000"/>
                <a:gd name="connsiteY120" fmla="*/ 2529 h 10000"/>
                <a:gd name="connsiteX121" fmla="*/ 1339 w 10000"/>
                <a:gd name="connsiteY121" fmla="*/ 2301 h 10000"/>
                <a:gd name="connsiteX122" fmla="*/ 1459 w 10000"/>
                <a:gd name="connsiteY122" fmla="*/ 2157 h 10000"/>
                <a:gd name="connsiteX123" fmla="*/ 1497 w 10000"/>
                <a:gd name="connsiteY123" fmla="*/ 2250 h 10000"/>
                <a:gd name="connsiteX124" fmla="*/ 1807 w 10000"/>
                <a:gd name="connsiteY124" fmla="*/ 2054 h 10000"/>
                <a:gd name="connsiteX125" fmla="*/ 1870 w 10000"/>
                <a:gd name="connsiteY125" fmla="*/ 2250 h 10000"/>
                <a:gd name="connsiteX126" fmla="*/ 1860 w 10000"/>
                <a:gd name="connsiteY126" fmla="*/ 2002 h 10000"/>
                <a:gd name="connsiteX127" fmla="*/ 1778 w 10000"/>
                <a:gd name="connsiteY127" fmla="*/ 1786 h 10000"/>
                <a:gd name="connsiteX128" fmla="*/ 1763 w 10000"/>
                <a:gd name="connsiteY128" fmla="*/ 1703 h 10000"/>
                <a:gd name="connsiteX129" fmla="*/ 1823 w 10000"/>
                <a:gd name="connsiteY129" fmla="*/ 1786 h 10000"/>
                <a:gd name="connsiteX130" fmla="*/ 2034 w 10000"/>
                <a:gd name="connsiteY130" fmla="*/ 1951 h 10000"/>
                <a:gd name="connsiteX131" fmla="*/ 2270 w 10000"/>
                <a:gd name="connsiteY131" fmla="*/ 2126 h 10000"/>
                <a:gd name="connsiteX132" fmla="*/ 2384 w 10000"/>
                <a:gd name="connsiteY132" fmla="*/ 2250 h 10000"/>
                <a:gd name="connsiteX133" fmla="*/ 2421 w 10000"/>
                <a:gd name="connsiteY133" fmla="*/ 2074 h 10000"/>
                <a:gd name="connsiteX134" fmla="*/ 2368 w 10000"/>
                <a:gd name="connsiteY134" fmla="*/ 2033 h 10000"/>
                <a:gd name="connsiteX135" fmla="*/ 2299 w 10000"/>
                <a:gd name="connsiteY135" fmla="*/ 1930 h 10000"/>
                <a:gd name="connsiteX136" fmla="*/ 2254 w 10000"/>
                <a:gd name="connsiteY136" fmla="*/ 1734 h 10000"/>
                <a:gd name="connsiteX137" fmla="*/ 2185 w 10000"/>
                <a:gd name="connsiteY137" fmla="*/ 1486 h 10000"/>
                <a:gd name="connsiteX138" fmla="*/ 2210 w 10000"/>
                <a:gd name="connsiteY138" fmla="*/ 1434 h 10000"/>
                <a:gd name="connsiteX139" fmla="*/ 2232 w 10000"/>
                <a:gd name="connsiteY139" fmla="*/ 1455 h 10000"/>
                <a:gd name="connsiteX140" fmla="*/ 2292 w 10000"/>
                <a:gd name="connsiteY140" fmla="*/ 1115 h 10000"/>
                <a:gd name="connsiteX141" fmla="*/ 2443 w 10000"/>
                <a:gd name="connsiteY141" fmla="*/ 1135 h 10000"/>
                <a:gd name="connsiteX142" fmla="*/ 2488 w 10000"/>
                <a:gd name="connsiteY142" fmla="*/ 1311 h 10000"/>
                <a:gd name="connsiteX143" fmla="*/ 2519 w 10000"/>
                <a:gd name="connsiteY143" fmla="*/ 1538 h 10000"/>
                <a:gd name="connsiteX144" fmla="*/ 2573 w 10000"/>
                <a:gd name="connsiteY144" fmla="*/ 1734 h 10000"/>
                <a:gd name="connsiteX145" fmla="*/ 2670 w 10000"/>
                <a:gd name="connsiteY145" fmla="*/ 2157 h 10000"/>
                <a:gd name="connsiteX146" fmla="*/ 2481 w 10000"/>
                <a:gd name="connsiteY146" fmla="*/ 2673 h 10000"/>
                <a:gd name="connsiteX147" fmla="*/ 2557 w 10000"/>
                <a:gd name="connsiteY147" fmla="*/ 2746 h 10000"/>
                <a:gd name="connsiteX148" fmla="*/ 2655 w 10000"/>
                <a:gd name="connsiteY148" fmla="*/ 2818 h 10000"/>
                <a:gd name="connsiteX149" fmla="*/ 2784 w 10000"/>
                <a:gd name="connsiteY149" fmla="*/ 2622 h 10000"/>
                <a:gd name="connsiteX150" fmla="*/ 2790 w 10000"/>
                <a:gd name="connsiteY150" fmla="*/ 2404 h 10000"/>
                <a:gd name="connsiteX151" fmla="*/ 2746 w 10000"/>
                <a:gd name="connsiteY151" fmla="*/ 2301 h 10000"/>
                <a:gd name="connsiteX152" fmla="*/ 2919 w 10000"/>
                <a:gd name="connsiteY152" fmla="*/ 2250 h 10000"/>
                <a:gd name="connsiteX153" fmla="*/ 2989 w 10000"/>
                <a:gd name="connsiteY153" fmla="*/ 2497 h 10000"/>
                <a:gd name="connsiteX154" fmla="*/ 2989 w 10000"/>
                <a:gd name="connsiteY154" fmla="*/ 2425 h 10000"/>
                <a:gd name="connsiteX155" fmla="*/ 2973 w 10000"/>
                <a:gd name="connsiteY155" fmla="*/ 2353 h 10000"/>
                <a:gd name="connsiteX156" fmla="*/ 2967 w 10000"/>
                <a:gd name="connsiteY156" fmla="*/ 2178 h 10000"/>
                <a:gd name="connsiteX157" fmla="*/ 2800 w 10000"/>
                <a:gd name="connsiteY157" fmla="*/ 1930 h 10000"/>
                <a:gd name="connsiteX158" fmla="*/ 2670 w 10000"/>
                <a:gd name="connsiteY158" fmla="*/ 2002 h 10000"/>
                <a:gd name="connsiteX159" fmla="*/ 2617 w 10000"/>
                <a:gd name="connsiteY159" fmla="*/ 1683 h 10000"/>
                <a:gd name="connsiteX160" fmla="*/ 2563 w 10000"/>
                <a:gd name="connsiteY160" fmla="*/ 1507 h 10000"/>
                <a:gd name="connsiteX161" fmla="*/ 2617 w 10000"/>
                <a:gd name="connsiteY161" fmla="*/ 1331 h 10000"/>
                <a:gd name="connsiteX162" fmla="*/ 2611 w 10000"/>
                <a:gd name="connsiteY162" fmla="*/ 1166 h 10000"/>
                <a:gd name="connsiteX163" fmla="*/ 2588 w 10000"/>
                <a:gd name="connsiteY163" fmla="*/ 1115 h 10000"/>
                <a:gd name="connsiteX164" fmla="*/ 2626 w 10000"/>
                <a:gd name="connsiteY164" fmla="*/ 1115 h 10000"/>
                <a:gd name="connsiteX165" fmla="*/ 2670 w 10000"/>
                <a:gd name="connsiteY165" fmla="*/ 1455 h 10000"/>
                <a:gd name="connsiteX166" fmla="*/ 2891 w 10000"/>
                <a:gd name="connsiteY166" fmla="*/ 1662 h 10000"/>
                <a:gd name="connsiteX167" fmla="*/ 2724 w 10000"/>
                <a:gd name="connsiteY167" fmla="*/ 1383 h 10000"/>
                <a:gd name="connsiteX168" fmla="*/ 3049 w 10000"/>
                <a:gd name="connsiteY168" fmla="*/ 1383 h 10000"/>
                <a:gd name="connsiteX169" fmla="*/ 3102 w 10000"/>
                <a:gd name="connsiteY169" fmla="*/ 1362 h 10000"/>
                <a:gd name="connsiteX170" fmla="*/ 2897 w 10000"/>
                <a:gd name="connsiteY170" fmla="*/ 1115 h 10000"/>
                <a:gd name="connsiteX171" fmla="*/ 2951 w 10000"/>
                <a:gd name="connsiteY171" fmla="*/ 888 h 10000"/>
                <a:gd name="connsiteX172" fmla="*/ 3178 w 10000"/>
                <a:gd name="connsiteY172" fmla="*/ 888 h 10000"/>
                <a:gd name="connsiteX173" fmla="*/ 3156 w 10000"/>
                <a:gd name="connsiteY173" fmla="*/ 713 h 10000"/>
                <a:gd name="connsiteX174" fmla="*/ 3231 w 10000"/>
                <a:gd name="connsiteY174" fmla="*/ 589 h 10000"/>
                <a:gd name="connsiteX175" fmla="*/ 3276 w 10000"/>
                <a:gd name="connsiteY175" fmla="*/ 548 h 10000"/>
                <a:gd name="connsiteX176" fmla="*/ 3443 w 10000"/>
                <a:gd name="connsiteY176" fmla="*/ 423 h 10000"/>
                <a:gd name="connsiteX177" fmla="*/ 3487 w 10000"/>
                <a:gd name="connsiteY177" fmla="*/ 371 h 10000"/>
                <a:gd name="connsiteX178" fmla="*/ 3480 w 10000"/>
                <a:gd name="connsiteY178" fmla="*/ 444 h 10000"/>
                <a:gd name="connsiteX179" fmla="*/ 3660 w 10000"/>
                <a:gd name="connsiteY179" fmla="*/ 371 h 10000"/>
                <a:gd name="connsiteX180" fmla="*/ 3805 w 10000"/>
                <a:gd name="connsiteY180" fmla="*/ 248 h 10000"/>
                <a:gd name="connsiteX181" fmla="*/ 3827 w 10000"/>
                <a:gd name="connsiteY181" fmla="*/ 0 h 10000"/>
                <a:gd name="connsiteX182" fmla="*/ 3988 w 10000"/>
                <a:gd name="connsiteY182" fmla="*/ 21 h 10000"/>
                <a:gd name="connsiteX183" fmla="*/ 3978 w 10000"/>
                <a:gd name="connsiteY183" fmla="*/ 93 h 10000"/>
                <a:gd name="connsiteX184" fmla="*/ 3988 w 10000"/>
                <a:gd name="connsiteY184" fmla="*/ 176 h 10000"/>
                <a:gd name="connsiteX185" fmla="*/ 4085 w 10000"/>
                <a:gd name="connsiteY185" fmla="*/ 248 h 10000"/>
                <a:gd name="connsiteX186" fmla="*/ 4379 w 10000"/>
                <a:gd name="connsiteY186" fmla="*/ 268 h 10000"/>
                <a:gd name="connsiteX187" fmla="*/ 4539 w 10000"/>
                <a:gd name="connsiteY187" fmla="*/ 392 h 10000"/>
                <a:gd name="connsiteX188" fmla="*/ 4486 w 10000"/>
                <a:gd name="connsiteY188" fmla="*/ 795 h 10000"/>
                <a:gd name="connsiteX189" fmla="*/ 4426 w 10000"/>
                <a:gd name="connsiteY189" fmla="*/ 919 h 10000"/>
                <a:gd name="connsiteX190" fmla="*/ 4356 w 10000"/>
                <a:gd name="connsiteY190" fmla="*/ 1043 h 10000"/>
                <a:gd name="connsiteX191" fmla="*/ 4372 w 10000"/>
                <a:gd name="connsiteY191" fmla="*/ 1115 h 10000"/>
                <a:gd name="connsiteX192" fmla="*/ 4583 w 10000"/>
                <a:gd name="connsiteY192" fmla="*/ 919 h 10000"/>
                <a:gd name="connsiteX193" fmla="*/ 5060 w 10000"/>
                <a:gd name="connsiteY193" fmla="*/ 991 h 10000"/>
                <a:gd name="connsiteX194" fmla="*/ 5108 w 10000"/>
                <a:gd name="connsiteY194" fmla="*/ 1063 h 10000"/>
                <a:gd name="connsiteX195" fmla="*/ 5212 w 10000"/>
                <a:gd name="connsiteY195" fmla="*/ 1187 h 10000"/>
                <a:gd name="connsiteX196" fmla="*/ 5357 w 10000"/>
                <a:gd name="connsiteY196" fmla="*/ 919 h 10000"/>
                <a:gd name="connsiteX197" fmla="*/ 5577 w 10000"/>
                <a:gd name="connsiteY197" fmla="*/ 1063 h 10000"/>
                <a:gd name="connsiteX198" fmla="*/ 5643 w 10000"/>
                <a:gd name="connsiteY198" fmla="*/ 1115 h 10000"/>
                <a:gd name="connsiteX199" fmla="*/ 5697 w 10000"/>
                <a:gd name="connsiteY199" fmla="*/ 1166 h 10000"/>
                <a:gd name="connsiteX200" fmla="*/ 5908 w 10000"/>
                <a:gd name="connsiteY200" fmla="*/ 1631 h 10000"/>
                <a:gd name="connsiteX201" fmla="*/ 5984 w 10000"/>
                <a:gd name="connsiteY201" fmla="*/ 1611 h 10000"/>
                <a:gd name="connsiteX202" fmla="*/ 5977 w 10000"/>
                <a:gd name="connsiteY202" fmla="*/ 1507 h 10000"/>
                <a:gd name="connsiteX203" fmla="*/ 5984 w 10000"/>
                <a:gd name="connsiteY203" fmla="*/ 1383 h 10000"/>
                <a:gd name="connsiteX204" fmla="*/ 6091 w 10000"/>
                <a:gd name="connsiteY204" fmla="*/ 1486 h 10000"/>
                <a:gd name="connsiteX205" fmla="*/ 6264 w 10000"/>
                <a:gd name="connsiteY205" fmla="*/ 1507 h 10000"/>
                <a:gd name="connsiteX206" fmla="*/ 6409 w 10000"/>
                <a:gd name="connsiteY206" fmla="*/ 1455 h 10000"/>
                <a:gd name="connsiteX207" fmla="*/ 6340 w 10000"/>
                <a:gd name="connsiteY207" fmla="*/ 1362 h 10000"/>
                <a:gd name="connsiteX208" fmla="*/ 6431 w 10000"/>
                <a:gd name="connsiteY208" fmla="*/ 1084 h 10000"/>
                <a:gd name="connsiteX209" fmla="*/ 6687 w 10000"/>
                <a:gd name="connsiteY209" fmla="*/ 1207 h 10000"/>
                <a:gd name="connsiteX210" fmla="*/ 6945 w 10000"/>
                <a:gd name="connsiteY210" fmla="*/ 1331 h 10000"/>
                <a:gd name="connsiteX211" fmla="*/ 6967 w 10000"/>
                <a:gd name="connsiteY211" fmla="*/ 1362 h 10000"/>
                <a:gd name="connsiteX212" fmla="*/ 7194 w 10000"/>
                <a:gd name="connsiteY212" fmla="*/ 1611 h 10000"/>
                <a:gd name="connsiteX213" fmla="*/ 7367 w 10000"/>
                <a:gd name="connsiteY213" fmla="*/ 1507 h 10000"/>
                <a:gd name="connsiteX214" fmla="*/ 7582 w 10000"/>
                <a:gd name="connsiteY214" fmla="*/ 1538 h 10000"/>
                <a:gd name="connsiteX215" fmla="*/ 7657 w 10000"/>
                <a:gd name="connsiteY215" fmla="*/ 1611 h 10000"/>
                <a:gd name="connsiteX216" fmla="*/ 7928 w 10000"/>
                <a:gd name="connsiteY216" fmla="*/ 1930 h 10000"/>
                <a:gd name="connsiteX217" fmla="*/ 8231 w 10000"/>
                <a:gd name="connsiteY217" fmla="*/ 1879 h 10000"/>
                <a:gd name="connsiteX218" fmla="*/ 8339 w 10000"/>
                <a:gd name="connsiteY218" fmla="*/ 2033 h 10000"/>
                <a:gd name="connsiteX219" fmla="*/ 8490 w 10000"/>
                <a:gd name="connsiteY219" fmla="*/ 2157 h 10000"/>
                <a:gd name="connsiteX220" fmla="*/ 8519 w 10000"/>
                <a:gd name="connsiteY220" fmla="*/ 2105 h 10000"/>
                <a:gd name="connsiteX221" fmla="*/ 8497 w 10000"/>
                <a:gd name="connsiteY221" fmla="*/ 2074 h 10000"/>
                <a:gd name="connsiteX222" fmla="*/ 8383 w 10000"/>
                <a:gd name="connsiteY222" fmla="*/ 1930 h 10000"/>
                <a:gd name="connsiteX223" fmla="*/ 8465 w 10000"/>
                <a:gd name="connsiteY223" fmla="*/ 1755 h 10000"/>
                <a:gd name="connsiteX224" fmla="*/ 8664 w 10000"/>
                <a:gd name="connsiteY224" fmla="*/ 1910 h 10000"/>
                <a:gd name="connsiteX225" fmla="*/ 8950 w 10000"/>
                <a:gd name="connsiteY225" fmla="*/ 1982 h 10000"/>
                <a:gd name="connsiteX226" fmla="*/ 9206 w 10000"/>
                <a:gd name="connsiteY226" fmla="*/ 2260 h 10000"/>
                <a:gd name="connsiteX227" fmla="*/ 9344 w 10000"/>
                <a:gd name="connsiteY227" fmla="*/ 2332 h 10000"/>
                <a:gd name="connsiteX228" fmla="*/ 9451 w 10000"/>
                <a:gd name="connsiteY228" fmla="*/ 2446 h 10000"/>
                <a:gd name="connsiteX229" fmla="*/ 9574 w 10000"/>
                <a:gd name="connsiteY229" fmla="*/ 2632 h 10000"/>
                <a:gd name="connsiteX230" fmla="*/ 9631 w 10000"/>
                <a:gd name="connsiteY230" fmla="*/ 2756 h 10000"/>
                <a:gd name="connsiteX231" fmla="*/ 9726 w 10000"/>
                <a:gd name="connsiteY231" fmla="*/ 2787 h 10000"/>
                <a:gd name="connsiteX232" fmla="*/ 9590 w 10000"/>
                <a:gd name="connsiteY232" fmla="*/ 2570 h 10000"/>
                <a:gd name="connsiteX233" fmla="*/ 9915 w 10000"/>
                <a:gd name="connsiteY233" fmla="*/ 2756 h 10000"/>
                <a:gd name="connsiteX234" fmla="*/ 10000 w 10000"/>
                <a:gd name="connsiteY234" fmla="*/ 3014 h 10000"/>
                <a:gd name="connsiteX235" fmla="*/ 9934 w 10000"/>
                <a:gd name="connsiteY235" fmla="*/ 2941 h 10000"/>
                <a:gd name="connsiteX236" fmla="*/ 9874 w 10000"/>
                <a:gd name="connsiteY236" fmla="*/ 2952 h 10000"/>
                <a:gd name="connsiteX237" fmla="*/ 10000 w 10000"/>
                <a:gd name="connsiteY237" fmla="*/ 3292 h 10000"/>
                <a:gd name="connsiteX238" fmla="*/ 9845 w 10000"/>
                <a:gd name="connsiteY238" fmla="*/ 3220 h 10000"/>
                <a:gd name="connsiteX239" fmla="*/ 9745 w 10000"/>
                <a:gd name="connsiteY239" fmla="*/ 3075 h 10000"/>
                <a:gd name="connsiteX240" fmla="*/ 9641 w 10000"/>
                <a:gd name="connsiteY240" fmla="*/ 2972 h 10000"/>
                <a:gd name="connsiteX241" fmla="*/ 9555 w 10000"/>
                <a:gd name="connsiteY241" fmla="*/ 3003 h 10000"/>
                <a:gd name="connsiteX242" fmla="*/ 9470 w 10000"/>
                <a:gd name="connsiteY242" fmla="*/ 2787 h 10000"/>
                <a:gd name="connsiteX243" fmla="*/ 9366 w 10000"/>
                <a:gd name="connsiteY243" fmla="*/ 2725 h 10000"/>
                <a:gd name="connsiteX244" fmla="*/ 9461 w 10000"/>
                <a:gd name="connsiteY244" fmla="*/ 2972 h 10000"/>
                <a:gd name="connsiteX245" fmla="*/ 9470 w 10000"/>
                <a:gd name="connsiteY245" fmla="*/ 3230 h 10000"/>
                <a:gd name="connsiteX246" fmla="*/ 9288 w 10000"/>
                <a:gd name="connsiteY246" fmla="*/ 3065 h 10000"/>
                <a:gd name="connsiteX247" fmla="*/ 9262 w 10000"/>
                <a:gd name="connsiteY247" fmla="*/ 3230 h 10000"/>
                <a:gd name="connsiteX248" fmla="*/ 9363 w 10000"/>
                <a:gd name="connsiteY248" fmla="*/ 3230 h 10000"/>
                <a:gd name="connsiteX249" fmla="*/ 9451 w 10000"/>
                <a:gd name="connsiteY249" fmla="*/ 3354 h 10000"/>
                <a:gd name="connsiteX250" fmla="*/ 9659 w 10000"/>
                <a:gd name="connsiteY250" fmla="*/ 3685 h 10000"/>
                <a:gd name="connsiteX251" fmla="*/ 9735 w 10000"/>
                <a:gd name="connsiteY251" fmla="*/ 3839 h 10000"/>
                <a:gd name="connsiteX252" fmla="*/ 9552 w 10000"/>
                <a:gd name="connsiteY252" fmla="*/ 3757 h 10000"/>
                <a:gd name="connsiteX253" fmla="*/ 9451 w 10000"/>
                <a:gd name="connsiteY253" fmla="*/ 4025 h 10000"/>
                <a:gd name="connsiteX254" fmla="*/ 9385 w 10000"/>
                <a:gd name="connsiteY254" fmla="*/ 4283 h 10000"/>
                <a:gd name="connsiteX255" fmla="*/ 9376 w 10000"/>
                <a:gd name="connsiteY255" fmla="*/ 4499 h 10000"/>
                <a:gd name="connsiteX256" fmla="*/ 9335 w 10000"/>
                <a:gd name="connsiteY256" fmla="*/ 4303 h 10000"/>
                <a:gd name="connsiteX257" fmla="*/ 9149 w 10000"/>
                <a:gd name="connsiteY257" fmla="*/ 4314 h 10000"/>
                <a:gd name="connsiteX258" fmla="*/ 9155 w 10000"/>
                <a:gd name="connsiteY258" fmla="*/ 4531 h 10000"/>
                <a:gd name="connsiteX259" fmla="*/ 9061 w 10000"/>
                <a:gd name="connsiteY259" fmla="*/ 4365 h 10000"/>
                <a:gd name="connsiteX260" fmla="*/ 9054 w 10000"/>
                <a:gd name="connsiteY260" fmla="*/ 4521 h 10000"/>
                <a:gd name="connsiteX261" fmla="*/ 8998 w 10000"/>
                <a:gd name="connsiteY261" fmla="*/ 4458 h 10000"/>
                <a:gd name="connsiteX262" fmla="*/ 8966 w 10000"/>
                <a:gd name="connsiteY262" fmla="*/ 4562 h 10000"/>
                <a:gd name="connsiteX263" fmla="*/ 9007 w 10000"/>
                <a:gd name="connsiteY263" fmla="*/ 4686 h 10000"/>
                <a:gd name="connsiteX264" fmla="*/ 9004 w 10000"/>
                <a:gd name="connsiteY264" fmla="*/ 4995 h 10000"/>
                <a:gd name="connsiteX265" fmla="*/ 9073 w 10000"/>
                <a:gd name="connsiteY265" fmla="*/ 5211 h 10000"/>
                <a:gd name="connsiteX266" fmla="*/ 9130 w 10000"/>
                <a:gd name="connsiteY266" fmla="*/ 5150 h 10000"/>
                <a:gd name="connsiteX267" fmla="*/ 9158 w 10000"/>
                <a:gd name="connsiteY267" fmla="*/ 5211 h 10000"/>
                <a:gd name="connsiteX268" fmla="*/ 9231 w 10000"/>
                <a:gd name="connsiteY268" fmla="*/ 5428 h 10000"/>
                <a:gd name="connsiteX269" fmla="*/ 9215 w 10000"/>
                <a:gd name="connsiteY269" fmla="*/ 5604 h 10000"/>
                <a:gd name="connsiteX270" fmla="*/ 9221 w 10000"/>
                <a:gd name="connsiteY270" fmla="*/ 5769 h 10000"/>
                <a:gd name="connsiteX271" fmla="*/ 9269 w 10000"/>
                <a:gd name="connsiteY271" fmla="*/ 5883 h 10000"/>
                <a:gd name="connsiteX272" fmla="*/ 9344 w 10000"/>
                <a:gd name="connsiteY272" fmla="*/ 6068 h 10000"/>
                <a:gd name="connsiteX273" fmla="*/ 9269 w 10000"/>
                <a:gd name="connsiteY273" fmla="*/ 6068 h 10000"/>
                <a:gd name="connsiteX274" fmla="*/ 9253 w 10000"/>
                <a:gd name="connsiteY274" fmla="*/ 6223 h 10000"/>
                <a:gd name="connsiteX275" fmla="*/ 9319 w 10000"/>
                <a:gd name="connsiteY275" fmla="*/ 6408 h 10000"/>
                <a:gd name="connsiteX276" fmla="*/ 9250 w 10000"/>
                <a:gd name="connsiteY276" fmla="*/ 6502 h 10000"/>
                <a:gd name="connsiteX277" fmla="*/ 9297 w 10000"/>
                <a:gd name="connsiteY277" fmla="*/ 6729 h 10000"/>
                <a:gd name="connsiteX278" fmla="*/ 9281 w 10000"/>
                <a:gd name="connsiteY278" fmla="*/ 7069 h 10000"/>
                <a:gd name="connsiteX279" fmla="*/ 9061 w 10000"/>
                <a:gd name="connsiteY279" fmla="*/ 6408 h 10000"/>
                <a:gd name="connsiteX280" fmla="*/ 8824 w 10000"/>
                <a:gd name="connsiteY280" fmla="*/ 5759 h 10000"/>
                <a:gd name="connsiteX281" fmla="*/ 8771 w 10000"/>
                <a:gd name="connsiteY281" fmla="*/ 5459 h 10000"/>
                <a:gd name="connsiteX282" fmla="*/ 8768 w 10000"/>
                <a:gd name="connsiteY282" fmla="*/ 5211 h 10000"/>
                <a:gd name="connsiteX283" fmla="*/ 8692 w 10000"/>
                <a:gd name="connsiteY283" fmla="*/ 5047 h 10000"/>
                <a:gd name="connsiteX284" fmla="*/ 8771 w 10000"/>
                <a:gd name="connsiteY284" fmla="*/ 5088 h 10000"/>
                <a:gd name="connsiteX285" fmla="*/ 8809 w 10000"/>
                <a:gd name="connsiteY285" fmla="*/ 5108 h 10000"/>
                <a:gd name="connsiteX286" fmla="*/ 8809 w 10000"/>
                <a:gd name="connsiteY286" fmla="*/ 4840 h 10000"/>
                <a:gd name="connsiteX287" fmla="*/ 8827 w 10000"/>
                <a:gd name="connsiteY287" fmla="*/ 4437 h 10000"/>
                <a:gd name="connsiteX288" fmla="*/ 8853 w 10000"/>
                <a:gd name="connsiteY288" fmla="*/ 4252 h 10000"/>
                <a:gd name="connsiteX289" fmla="*/ 8909 w 10000"/>
                <a:gd name="connsiteY289" fmla="*/ 4221 h 10000"/>
                <a:gd name="connsiteX290" fmla="*/ 8786 w 10000"/>
                <a:gd name="connsiteY290" fmla="*/ 3901 h 10000"/>
                <a:gd name="connsiteX291" fmla="*/ 8853 w 10000"/>
                <a:gd name="connsiteY291" fmla="*/ 3839 h 10000"/>
                <a:gd name="connsiteX292" fmla="*/ 8739 w 10000"/>
                <a:gd name="connsiteY292" fmla="*/ 3788 h 10000"/>
                <a:gd name="connsiteX293" fmla="*/ 8755 w 10000"/>
                <a:gd name="connsiteY293" fmla="*/ 3984 h 10000"/>
                <a:gd name="connsiteX294" fmla="*/ 8692 w 10000"/>
                <a:gd name="connsiteY294" fmla="*/ 4303 h 10000"/>
                <a:gd name="connsiteX295" fmla="*/ 8604 w 10000"/>
                <a:gd name="connsiteY295" fmla="*/ 4210 h 10000"/>
                <a:gd name="connsiteX296" fmla="*/ 8550 w 10000"/>
                <a:gd name="connsiteY296" fmla="*/ 4056 h 10000"/>
                <a:gd name="connsiteX297" fmla="*/ 8481 w 10000"/>
                <a:gd name="connsiteY297" fmla="*/ 4138 h 10000"/>
                <a:gd name="connsiteX298" fmla="*/ 8389 w 10000"/>
                <a:gd name="connsiteY298" fmla="*/ 4107 h 10000"/>
                <a:gd name="connsiteX299" fmla="*/ 8352 w 10000"/>
                <a:gd name="connsiteY299" fmla="*/ 4406 h 10000"/>
                <a:gd name="connsiteX300" fmla="*/ 8481 w 10000"/>
                <a:gd name="connsiteY300" fmla="*/ 4655 h 10000"/>
                <a:gd name="connsiteX301" fmla="*/ 8405 w 10000"/>
                <a:gd name="connsiteY301" fmla="*/ 4830 h 10000"/>
                <a:gd name="connsiteX302" fmla="*/ 8225 w 10000"/>
                <a:gd name="connsiteY302" fmla="*/ 4799 h 10000"/>
                <a:gd name="connsiteX303" fmla="*/ 8209 w 10000"/>
                <a:gd name="connsiteY303" fmla="*/ 4655 h 10000"/>
                <a:gd name="connsiteX304" fmla="*/ 8102 w 10000"/>
                <a:gd name="connsiteY304" fmla="*/ 4634 h 10000"/>
                <a:gd name="connsiteX305" fmla="*/ 7641 w 10000"/>
                <a:gd name="connsiteY305" fmla="*/ 4779 h 10000"/>
                <a:gd name="connsiteX306" fmla="*/ 7610 w 10000"/>
                <a:gd name="connsiteY306" fmla="*/ 5005 h 10000"/>
                <a:gd name="connsiteX307" fmla="*/ 7550 w 10000"/>
                <a:gd name="connsiteY307" fmla="*/ 5666 h 10000"/>
                <a:gd name="connsiteX308" fmla="*/ 7496 w 10000"/>
                <a:gd name="connsiteY308" fmla="*/ 5965 h 10000"/>
                <a:gd name="connsiteX309" fmla="*/ 7701 w 10000"/>
                <a:gd name="connsiteY309" fmla="*/ 6161 h 10000"/>
                <a:gd name="connsiteX310" fmla="*/ 7745 w 10000"/>
                <a:gd name="connsiteY310" fmla="*/ 6243 h 10000"/>
                <a:gd name="connsiteX311" fmla="*/ 7771 w 10000"/>
                <a:gd name="connsiteY311" fmla="*/ 6285 h 10000"/>
                <a:gd name="connsiteX312" fmla="*/ 7793 w 10000"/>
                <a:gd name="connsiteY312" fmla="*/ 6068 h 10000"/>
                <a:gd name="connsiteX313" fmla="*/ 7912 w 10000"/>
                <a:gd name="connsiteY313" fmla="*/ 6089 h 10000"/>
                <a:gd name="connsiteX314" fmla="*/ 8004 w 10000"/>
                <a:gd name="connsiteY314" fmla="*/ 6367 h 10000"/>
                <a:gd name="connsiteX315" fmla="*/ 8064 w 10000"/>
                <a:gd name="connsiteY315" fmla="*/ 6616 h 10000"/>
                <a:gd name="connsiteX316" fmla="*/ 8111 w 10000"/>
                <a:gd name="connsiteY316" fmla="*/ 6781 h 10000"/>
                <a:gd name="connsiteX317" fmla="*/ 8048 w 10000"/>
                <a:gd name="connsiteY317" fmla="*/ 6491 h 10000"/>
                <a:gd name="connsiteX318" fmla="*/ 8124 w 10000"/>
                <a:gd name="connsiteY318" fmla="*/ 6336 h 10000"/>
                <a:gd name="connsiteX319" fmla="*/ 8177 w 10000"/>
                <a:gd name="connsiteY319" fmla="*/ 6512 h 10000"/>
                <a:gd name="connsiteX320" fmla="*/ 8300 w 10000"/>
                <a:gd name="connsiteY320" fmla="*/ 6987 h 10000"/>
                <a:gd name="connsiteX321" fmla="*/ 8361 w 10000"/>
                <a:gd name="connsiteY321" fmla="*/ 7152 h 10000"/>
                <a:gd name="connsiteX322" fmla="*/ 8490 w 10000"/>
                <a:gd name="connsiteY322" fmla="*/ 7482 h 10000"/>
                <a:gd name="connsiteX323" fmla="*/ 8604 w 10000"/>
                <a:gd name="connsiteY323" fmla="*/ 7854 h 10000"/>
                <a:gd name="connsiteX324" fmla="*/ 8474 w 10000"/>
                <a:gd name="connsiteY324" fmla="*/ 7647 h 10000"/>
                <a:gd name="connsiteX325" fmla="*/ 8443 w 10000"/>
                <a:gd name="connsiteY325" fmla="*/ 7678 h 10000"/>
                <a:gd name="connsiteX326" fmla="*/ 8512 w 10000"/>
                <a:gd name="connsiteY326" fmla="*/ 8050 h 10000"/>
                <a:gd name="connsiteX327" fmla="*/ 8588 w 10000"/>
                <a:gd name="connsiteY327" fmla="*/ 8266 h 10000"/>
                <a:gd name="connsiteX328" fmla="*/ 8642 w 10000"/>
                <a:gd name="connsiteY328" fmla="*/ 8472 h 10000"/>
                <a:gd name="connsiteX329" fmla="*/ 8566 w 10000"/>
                <a:gd name="connsiteY329" fmla="*/ 8421 h 10000"/>
                <a:gd name="connsiteX330" fmla="*/ 8556 w 10000"/>
                <a:gd name="connsiteY330" fmla="*/ 8669 h 10000"/>
                <a:gd name="connsiteX331" fmla="*/ 8497 w 10000"/>
                <a:gd name="connsiteY331" fmla="*/ 8493 h 10000"/>
                <a:gd name="connsiteX332" fmla="*/ 8481 w 10000"/>
                <a:gd name="connsiteY332" fmla="*/ 8421 h 10000"/>
                <a:gd name="connsiteX333" fmla="*/ 8361 w 10000"/>
                <a:gd name="connsiteY333" fmla="*/ 7751 h 10000"/>
                <a:gd name="connsiteX334" fmla="*/ 8322 w 10000"/>
                <a:gd name="connsiteY334" fmla="*/ 7524 h 10000"/>
                <a:gd name="connsiteX335" fmla="*/ 8291 w 10000"/>
                <a:gd name="connsiteY335" fmla="*/ 7378 h 10000"/>
                <a:gd name="connsiteX336" fmla="*/ 8275 w 10000"/>
                <a:gd name="connsiteY336" fmla="*/ 7306 h 10000"/>
                <a:gd name="connsiteX337" fmla="*/ 8139 w 10000"/>
                <a:gd name="connsiteY337" fmla="*/ 6863 h 10000"/>
                <a:gd name="connsiteX338" fmla="*/ 8199 w 10000"/>
                <a:gd name="connsiteY338" fmla="*/ 7451 h 10000"/>
                <a:gd name="connsiteX339" fmla="*/ 8247 w 10000"/>
                <a:gd name="connsiteY339" fmla="*/ 7998 h 10000"/>
                <a:gd name="connsiteX340" fmla="*/ 8177 w 10000"/>
                <a:gd name="connsiteY340" fmla="*/ 9133 h 10000"/>
                <a:gd name="connsiteX341" fmla="*/ 8124 w 10000"/>
                <a:gd name="connsiteY341" fmla="*/ 9484 h 10000"/>
                <a:gd name="connsiteX342" fmla="*/ 7972 w 10000"/>
                <a:gd name="connsiteY342" fmla="*/ 9432 h 10000"/>
                <a:gd name="connsiteX343" fmla="*/ 7897 w 10000"/>
                <a:gd name="connsiteY343" fmla="*/ 9660 h 10000"/>
                <a:gd name="connsiteX344" fmla="*/ 7868 w 10000"/>
                <a:gd name="connsiteY344" fmla="*/ 9588 h 10000"/>
                <a:gd name="connsiteX345" fmla="*/ 7884 w 10000"/>
                <a:gd name="connsiteY345" fmla="*/ 9536 h 10000"/>
                <a:gd name="connsiteX346" fmla="*/ 7897 w 10000"/>
                <a:gd name="connsiteY346" fmla="*/ 9380 h 10000"/>
                <a:gd name="connsiteX347" fmla="*/ 7884 w 10000"/>
                <a:gd name="connsiteY347" fmla="*/ 9236 h 10000"/>
                <a:gd name="connsiteX348" fmla="*/ 7793 w 10000"/>
                <a:gd name="connsiteY348" fmla="*/ 8865 h 10000"/>
                <a:gd name="connsiteX349" fmla="*/ 7831 w 10000"/>
                <a:gd name="connsiteY349" fmla="*/ 8741 h 10000"/>
                <a:gd name="connsiteX350" fmla="*/ 7928 w 10000"/>
                <a:gd name="connsiteY350" fmla="*/ 8844 h 10000"/>
                <a:gd name="connsiteX351" fmla="*/ 7912 w 10000"/>
                <a:gd name="connsiteY351" fmla="*/ 8318 h 10000"/>
                <a:gd name="connsiteX352" fmla="*/ 7906 w 10000"/>
                <a:gd name="connsiteY352" fmla="*/ 8019 h 10000"/>
                <a:gd name="connsiteX353" fmla="*/ 7846 w 10000"/>
                <a:gd name="connsiteY353" fmla="*/ 7802 h 10000"/>
                <a:gd name="connsiteX354" fmla="*/ 7723 w 10000"/>
                <a:gd name="connsiteY354" fmla="*/ 8050 h 10000"/>
                <a:gd name="connsiteX355" fmla="*/ 7619 w 10000"/>
                <a:gd name="connsiteY355" fmla="*/ 8019 h 10000"/>
                <a:gd name="connsiteX356" fmla="*/ 7528 w 10000"/>
                <a:gd name="connsiteY356" fmla="*/ 7699 h 10000"/>
                <a:gd name="connsiteX357" fmla="*/ 7355 w 10000"/>
                <a:gd name="connsiteY357" fmla="*/ 7482 h 10000"/>
                <a:gd name="connsiteX358" fmla="*/ 7279 w 10000"/>
                <a:gd name="connsiteY358" fmla="*/ 7482 h 10000"/>
                <a:gd name="connsiteX359" fmla="*/ 7080 w 10000"/>
                <a:gd name="connsiteY359" fmla="*/ 6781 h 10000"/>
                <a:gd name="connsiteX360" fmla="*/ 6901 w 10000"/>
                <a:gd name="connsiteY360" fmla="*/ 6460 h 10000"/>
                <a:gd name="connsiteX361" fmla="*/ 6724 w 10000"/>
                <a:gd name="connsiteY361" fmla="*/ 6336 h 10000"/>
                <a:gd name="connsiteX362" fmla="*/ 6583 w 10000"/>
                <a:gd name="connsiteY362" fmla="*/ 6408 h 10000"/>
                <a:gd name="connsiteX363" fmla="*/ 6567 w 10000"/>
                <a:gd name="connsiteY363" fmla="*/ 6585 h 10000"/>
                <a:gd name="connsiteX364" fmla="*/ 6664 w 10000"/>
                <a:gd name="connsiteY364" fmla="*/ 6760 h 10000"/>
                <a:gd name="connsiteX365" fmla="*/ 6636 w 10000"/>
                <a:gd name="connsiteY365" fmla="*/ 6935 h 10000"/>
                <a:gd name="connsiteX366" fmla="*/ 6636 w 10000"/>
                <a:gd name="connsiteY366" fmla="*/ 7399 h 10000"/>
                <a:gd name="connsiteX367" fmla="*/ 6560 w 10000"/>
                <a:gd name="connsiteY367" fmla="*/ 7482 h 10000"/>
                <a:gd name="connsiteX368" fmla="*/ 6485 w 10000"/>
                <a:gd name="connsiteY368" fmla="*/ 7378 h 10000"/>
                <a:gd name="connsiteX369" fmla="*/ 6400 w 10000"/>
                <a:gd name="connsiteY369" fmla="*/ 7399 h 10000"/>
                <a:gd name="connsiteX370" fmla="*/ 6334 w 10000"/>
                <a:gd name="connsiteY370" fmla="*/ 7275 h 10000"/>
                <a:gd name="connsiteX371" fmla="*/ 6258 w 10000"/>
                <a:gd name="connsiteY371" fmla="*/ 7358 h 10000"/>
                <a:gd name="connsiteX372" fmla="*/ 6220 w 10000"/>
                <a:gd name="connsiteY372" fmla="*/ 7524 h 10000"/>
                <a:gd name="connsiteX373" fmla="*/ 6081 w 10000"/>
                <a:gd name="connsiteY373" fmla="*/ 7606 h 10000"/>
                <a:gd name="connsiteX374" fmla="*/ 5892 w 10000"/>
                <a:gd name="connsiteY374" fmla="*/ 7575 h 10000"/>
                <a:gd name="connsiteX375" fmla="*/ 5855 w 10000"/>
                <a:gd name="connsiteY375" fmla="*/ 7327 h 10000"/>
                <a:gd name="connsiteX376" fmla="*/ 5643 w 10000"/>
                <a:gd name="connsiteY376" fmla="*/ 7255 h 10000"/>
                <a:gd name="connsiteX377" fmla="*/ 5539 w 10000"/>
                <a:gd name="connsiteY377" fmla="*/ 7358 h 10000"/>
                <a:gd name="connsiteX378" fmla="*/ 5416 w 10000"/>
                <a:gd name="connsiteY378" fmla="*/ 7203 h 10000"/>
                <a:gd name="connsiteX379" fmla="*/ 5372 w 10000"/>
                <a:gd name="connsiteY379"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2995 w 10000"/>
                <a:gd name="connsiteY15" fmla="*/ 5821 h 10000"/>
                <a:gd name="connsiteX16" fmla="*/ 1610 w 10000"/>
                <a:gd name="connsiteY16" fmla="*/ 7183 h 10000"/>
                <a:gd name="connsiteX17" fmla="*/ 1655 w 10000"/>
                <a:gd name="connsiteY17" fmla="*/ 7430 h 10000"/>
                <a:gd name="connsiteX18" fmla="*/ 1604 w 10000"/>
                <a:gd name="connsiteY18" fmla="*/ 7430 h 10000"/>
                <a:gd name="connsiteX19" fmla="*/ 1551 w 10000"/>
                <a:gd name="connsiteY19" fmla="*/ 7255 h 10000"/>
                <a:gd name="connsiteX20" fmla="*/ 1513 w 10000"/>
                <a:gd name="connsiteY20" fmla="*/ 7430 h 10000"/>
                <a:gd name="connsiteX21" fmla="*/ 1519 w 10000"/>
                <a:gd name="connsiteY21" fmla="*/ 7854 h 10000"/>
                <a:gd name="connsiteX22" fmla="*/ 1604 w 10000"/>
                <a:gd name="connsiteY22" fmla="*/ 8070 h 10000"/>
                <a:gd name="connsiteX23" fmla="*/ 1648 w 10000"/>
                <a:gd name="connsiteY23" fmla="*/ 8019 h 10000"/>
                <a:gd name="connsiteX24" fmla="*/ 1741 w 10000"/>
                <a:gd name="connsiteY24" fmla="*/ 8493 h 10000"/>
                <a:gd name="connsiteX25" fmla="*/ 1610 w 10000"/>
                <a:gd name="connsiteY25" fmla="*/ 8669 h 10000"/>
                <a:gd name="connsiteX26" fmla="*/ 1595 w 10000"/>
                <a:gd name="connsiteY26" fmla="*/ 9009 h 10000"/>
                <a:gd name="connsiteX27" fmla="*/ 1664 w 10000"/>
                <a:gd name="connsiteY27" fmla="*/ 9236 h 10000"/>
                <a:gd name="connsiteX28" fmla="*/ 1664 w 10000"/>
                <a:gd name="connsiteY28" fmla="*/ 9484 h 10000"/>
                <a:gd name="connsiteX29" fmla="*/ 1769 w 10000"/>
                <a:gd name="connsiteY29" fmla="*/ 9835 h 10000"/>
                <a:gd name="connsiteX30" fmla="*/ 1703 w 10000"/>
                <a:gd name="connsiteY30" fmla="*/ 10000 h 10000"/>
                <a:gd name="connsiteX31" fmla="*/ 1604 w 10000"/>
                <a:gd name="connsiteY31" fmla="*/ 9753 h 10000"/>
                <a:gd name="connsiteX32" fmla="*/ 1465 w 10000"/>
                <a:gd name="connsiteY32" fmla="*/ 9505 h 10000"/>
                <a:gd name="connsiteX33" fmla="*/ 1406 w 10000"/>
                <a:gd name="connsiteY33" fmla="*/ 9588 h 10000"/>
                <a:gd name="connsiteX34" fmla="*/ 1308 w 10000"/>
                <a:gd name="connsiteY34" fmla="*/ 9380 h 10000"/>
                <a:gd name="connsiteX35" fmla="*/ 1097 w 10000"/>
                <a:gd name="connsiteY35" fmla="*/ 9339 h 10000"/>
                <a:gd name="connsiteX36" fmla="*/ 848 w 10000"/>
                <a:gd name="connsiteY36" fmla="*/ 8813 h 10000"/>
                <a:gd name="connsiteX37" fmla="*/ 914 w 10000"/>
                <a:gd name="connsiteY37" fmla="*/ 8721 h 10000"/>
                <a:gd name="connsiteX38" fmla="*/ 961 w 10000"/>
                <a:gd name="connsiteY38" fmla="*/ 8493 h 10000"/>
                <a:gd name="connsiteX39" fmla="*/ 908 w 10000"/>
                <a:gd name="connsiteY39" fmla="*/ 8390 h 10000"/>
                <a:gd name="connsiteX40" fmla="*/ 1021 w 10000"/>
                <a:gd name="connsiteY40" fmla="*/ 8245 h 10000"/>
                <a:gd name="connsiteX41" fmla="*/ 945 w 10000"/>
                <a:gd name="connsiteY41" fmla="*/ 8194 h 10000"/>
                <a:gd name="connsiteX42" fmla="*/ 958 w 10000"/>
                <a:gd name="connsiteY42" fmla="*/ 8091 h 10000"/>
                <a:gd name="connsiteX43" fmla="*/ 1005 w 10000"/>
                <a:gd name="connsiteY43" fmla="*/ 8111 h 10000"/>
                <a:gd name="connsiteX44" fmla="*/ 1059 w 10000"/>
                <a:gd name="connsiteY44" fmla="*/ 8019 h 10000"/>
                <a:gd name="connsiteX45" fmla="*/ 1034 w 10000"/>
                <a:gd name="connsiteY45" fmla="*/ 7864 h 10000"/>
                <a:gd name="connsiteX46" fmla="*/ 1043 w 10000"/>
                <a:gd name="connsiteY46" fmla="*/ 7503 h 10000"/>
                <a:gd name="connsiteX47" fmla="*/ 930 w 10000"/>
                <a:gd name="connsiteY47" fmla="*/ 7440 h 10000"/>
                <a:gd name="connsiteX48" fmla="*/ 832 w 10000"/>
                <a:gd name="connsiteY48" fmla="*/ 7286 h 10000"/>
                <a:gd name="connsiteX49" fmla="*/ 700 w 10000"/>
                <a:gd name="connsiteY49" fmla="*/ 7275 h 10000"/>
                <a:gd name="connsiteX50" fmla="*/ 684 w 10000"/>
                <a:gd name="connsiteY50" fmla="*/ 7090 h 10000"/>
                <a:gd name="connsiteX51" fmla="*/ 596 w 10000"/>
                <a:gd name="connsiteY51" fmla="*/ 6945 h 10000"/>
                <a:gd name="connsiteX52" fmla="*/ 615 w 10000"/>
                <a:gd name="connsiteY52" fmla="*/ 6822 h 10000"/>
                <a:gd name="connsiteX53" fmla="*/ 561 w 10000"/>
                <a:gd name="connsiteY53" fmla="*/ 6698 h 10000"/>
                <a:gd name="connsiteX54" fmla="*/ 457 w 10000"/>
                <a:gd name="connsiteY54" fmla="*/ 6698 h 10000"/>
                <a:gd name="connsiteX55" fmla="*/ 425 w 10000"/>
                <a:gd name="connsiteY55" fmla="*/ 6791 h 10000"/>
                <a:gd name="connsiteX56" fmla="*/ 400 w 10000"/>
                <a:gd name="connsiteY56" fmla="*/ 6750 h 10000"/>
                <a:gd name="connsiteX57" fmla="*/ 378 w 10000"/>
                <a:gd name="connsiteY57" fmla="*/ 6439 h 10000"/>
                <a:gd name="connsiteX58" fmla="*/ 419 w 10000"/>
                <a:gd name="connsiteY58" fmla="*/ 6470 h 10000"/>
                <a:gd name="connsiteX59" fmla="*/ 466 w 10000"/>
                <a:gd name="connsiteY59" fmla="*/ 6347 h 10000"/>
                <a:gd name="connsiteX60" fmla="*/ 400 w 10000"/>
                <a:gd name="connsiteY60" fmla="*/ 6233 h 10000"/>
                <a:gd name="connsiteX61" fmla="*/ 315 w 10000"/>
                <a:gd name="connsiteY61" fmla="*/ 6017 h 10000"/>
                <a:gd name="connsiteX62" fmla="*/ 334 w 10000"/>
                <a:gd name="connsiteY62" fmla="*/ 5821 h 10000"/>
                <a:gd name="connsiteX63" fmla="*/ 274 w 10000"/>
                <a:gd name="connsiteY63" fmla="*/ 5697 h 10000"/>
                <a:gd name="connsiteX64" fmla="*/ 227 w 10000"/>
                <a:gd name="connsiteY64" fmla="*/ 5728 h 10000"/>
                <a:gd name="connsiteX65" fmla="*/ 202 w 10000"/>
                <a:gd name="connsiteY65" fmla="*/ 5604 h 10000"/>
                <a:gd name="connsiteX66" fmla="*/ 164 w 10000"/>
                <a:gd name="connsiteY66" fmla="*/ 5645 h 10000"/>
                <a:gd name="connsiteX67" fmla="*/ 117 w 10000"/>
                <a:gd name="connsiteY67" fmla="*/ 5604 h 10000"/>
                <a:gd name="connsiteX68" fmla="*/ 69 w 10000"/>
                <a:gd name="connsiteY68" fmla="*/ 5181 h 10000"/>
                <a:gd name="connsiteX69" fmla="*/ 85 w 10000"/>
                <a:gd name="connsiteY69" fmla="*/ 5057 h 10000"/>
                <a:gd name="connsiteX70" fmla="*/ 41 w 10000"/>
                <a:gd name="connsiteY70" fmla="*/ 4892 h 10000"/>
                <a:gd name="connsiteX71" fmla="*/ 66 w 10000"/>
                <a:gd name="connsiteY71" fmla="*/ 4655 h 10000"/>
                <a:gd name="connsiteX72" fmla="*/ 211 w 10000"/>
                <a:gd name="connsiteY72" fmla="*/ 4510 h 10000"/>
                <a:gd name="connsiteX73" fmla="*/ 129 w 10000"/>
                <a:gd name="connsiteY73" fmla="*/ 4406 h 10000"/>
                <a:gd name="connsiteX74" fmla="*/ 82 w 10000"/>
                <a:gd name="connsiteY74" fmla="*/ 4283 h 10000"/>
                <a:gd name="connsiteX75" fmla="*/ 205 w 10000"/>
                <a:gd name="connsiteY75" fmla="*/ 3912 h 10000"/>
                <a:gd name="connsiteX76" fmla="*/ 249 w 10000"/>
                <a:gd name="connsiteY76" fmla="*/ 3664 h 10000"/>
                <a:gd name="connsiteX77" fmla="*/ 151 w 10000"/>
                <a:gd name="connsiteY77" fmla="*/ 3488 h 10000"/>
                <a:gd name="connsiteX78" fmla="*/ 189 w 10000"/>
                <a:gd name="connsiteY78" fmla="*/ 3344 h 10000"/>
                <a:gd name="connsiteX79" fmla="*/ 113 w 10000"/>
                <a:gd name="connsiteY79" fmla="*/ 3148 h 10000"/>
                <a:gd name="connsiteX80" fmla="*/ 113 w 10000"/>
                <a:gd name="connsiteY80" fmla="*/ 2972 h 10000"/>
                <a:gd name="connsiteX81" fmla="*/ 60 w 10000"/>
                <a:gd name="connsiteY81" fmla="*/ 2622 h 10000"/>
                <a:gd name="connsiteX82" fmla="*/ 98 w 10000"/>
                <a:gd name="connsiteY82" fmla="*/ 2404 h 10000"/>
                <a:gd name="connsiteX83" fmla="*/ 38 w 10000"/>
                <a:gd name="connsiteY83" fmla="*/ 2301 h 10000"/>
                <a:gd name="connsiteX84" fmla="*/ 0 w 10000"/>
                <a:gd name="connsiteY84" fmla="*/ 2178 h 10000"/>
                <a:gd name="connsiteX85" fmla="*/ 54 w 10000"/>
                <a:gd name="connsiteY85" fmla="*/ 1951 h 10000"/>
                <a:gd name="connsiteX86" fmla="*/ 120 w 10000"/>
                <a:gd name="connsiteY86" fmla="*/ 1910 h 10000"/>
                <a:gd name="connsiteX87" fmla="*/ 195 w 10000"/>
                <a:gd name="connsiteY87" fmla="*/ 1858 h 10000"/>
                <a:gd name="connsiteX88" fmla="*/ 309 w 10000"/>
                <a:gd name="connsiteY88" fmla="*/ 1951 h 10000"/>
                <a:gd name="connsiteX89" fmla="*/ 482 w 10000"/>
                <a:gd name="connsiteY89" fmla="*/ 2054 h 10000"/>
                <a:gd name="connsiteX90" fmla="*/ 633 w 10000"/>
                <a:gd name="connsiteY90" fmla="*/ 2229 h 10000"/>
                <a:gd name="connsiteX91" fmla="*/ 756 w 10000"/>
                <a:gd name="connsiteY91" fmla="*/ 2373 h 10000"/>
                <a:gd name="connsiteX92" fmla="*/ 725 w 10000"/>
                <a:gd name="connsiteY92" fmla="*/ 2777 h 10000"/>
                <a:gd name="connsiteX93" fmla="*/ 362 w 10000"/>
                <a:gd name="connsiteY93" fmla="*/ 2673 h 10000"/>
                <a:gd name="connsiteX94" fmla="*/ 243 w 10000"/>
                <a:gd name="connsiteY94" fmla="*/ 2550 h 10000"/>
                <a:gd name="connsiteX95" fmla="*/ 287 w 10000"/>
                <a:gd name="connsiteY95" fmla="*/ 2622 h 10000"/>
                <a:gd name="connsiteX96" fmla="*/ 331 w 10000"/>
                <a:gd name="connsiteY96" fmla="*/ 2797 h 10000"/>
                <a:gd name="connsiteX97" fmla="*/ 400 w 10000"/>
                <a:gd name="connsiteY97" fmla="*/ 2921 h 10000"/>
                <a:gd name="connsiteX98" fmla="*/ 416 w 10000"/>
                <a:gd name="connsiteY98" fmla="*/ 3189 h 10000"/>
                <a:gd name="connsiteX99" fmla="*/ 507 w 10000"/>
                <a:gd name="connsiteY99" fmla="*/ 3313 h 10000"/>
                <a:gd name="connsiteX100" fmla="*/ 583 w 10000"/>
                <a:gd name="connsiteY100" fmla="*/ 3436 h 10000"/>
                <a:gd name="connsiteX101" fmla="*/ 605 w 10000"/>
                <a:gd name="connsiteY101" fmla="*/ 3467 h 10000"/>
                <a:gd name="connsiteX102" fmla="*/ 649 w 10000"/>
                <a:gd name="connsiteY102" fmla="*/ 3436 h 10000"/>
                <a:gd name="connsiteX103" fmla="*/ 633 w 10000"/>
                <a:gd name="connsiteY103" fmla="*/ 3364 h 10000"/>
                <a:gd name="connsiteX104" fmla="*/ 545 w 10000"/>
                <a:gd name="connsiteY104" fmla="*/ 3189 h 10000"/>
                <a:gd name="connsiteX105" fmla="*/ 801 w 10000"/>
                <a:gd name="connsiteY105" fmla="*/ 3344 h 10000"/>
                <a:gd name="connsiteX106" fmla="*/ 810 w 10000"/>
                <a:gd name="connsiteY106" fmla="*/ 3271 h 10000"/>
                <a:gd name="connsiteX107" fmla="*/ 785 w 10000"/>
                <a:gd name="connsiteY107" fmla="*/ 3220 h 10000"/>
                <a:gd name="connsiteX108" fmla="*/ 741 w 10000"/>
                <a:gd name="connsiteY108" fmla="*/ 2993 h 10000"/>
                <a:gd name="connsiteX109" fmla="*/ 870 w 10000"/>
                <a:gd name="connsiteY109" fmla="*/ 2777 h 10000"/>
                <a:gd name="connsiteX110" fmla="*/ 968 w 10000"/>
                <a:gd name="connsiteY110" fmla="*/ 2921 h 10000"/>
                <a:gd name="connsiteX111" fmla="*/ 999 w 10000"/>
                <a:gd name="connsiteY111" fmla="*/ 2725 h 10000"/>
                <a:gd name="connsiteX112" fmla="*/ 952 w 10000"/>
                <a:gd name="connsiteY112" fmla="*/ 2653 h 10000"/>
                <a:gd name="connsiteX113" fmla="*/ 936 w 10000"/>
                <a:gd name="connsiteY113" fmla="*/ 2281 h 10000"/>
                <a:gd name="connsiteX114" fmla="*/ 914 w 10000"/>
                <a:gd name="connsiteY114" fmla="*/ 2229 h 10000"/>
                <a:gd name="connsiteX115" fmla="*/ 1037 w 10000"/>
                <a:gd name="connsiteY115" fmla="*/ 2250 h 10000"/>
                <a:gd name="connsiteX116" fmla="*/ 1087 w 10000"/>
                <a:gd name="connsiteY116" fmla="*/ 2404 h 10000"/>
                <a:gd name="connsiteX117" fmla="*/ 1021 w 10000"/>
                <a:gd name="connsiteY117" fmla="*/ 2529 h 10000"/>
                <a:gd name="connsiteX118" fmla="*/ 1135 w 10000"/>
                <a:gd name="connsiteY118" fmla="*/ 2694 h 10000"/>
                <a:gd name="connsiteX119" fmla="*/ 1226 w 10000"/>
                <a:gd name="connsiteY119" fmla="*/ 2529 h 10000"/>
                <a:gd name="connsiteX120" fmla="*/ 1339 w 10000"/>
                <a:gd name="connsiteY120" fmla="*/ 2301 h 10000"/>
                <a:gd name="connsiteX121" fmla="*/ 1459 w 10000"/>
                <a:gd name="connsiteY121" fmla="*/ 2157 h 10000"/>
                <a:gd name="connsiteX122" fmla="*/ 1497 w 10000"/>
                <a:gd name="connsiteY122" fmla="*/ 2250 h 10000"/>
                <a:gd name="connsiteX123" fmla="*/ 1807 w 10000"/>
                <a:gd name="connsiteY123" fmla="*/ 2054 h 10000"/>
                <a:gd name="connsiteX124" fmla="*/ 1870 w 10000"/>
                <a:gd name="connsiteY124" fmla="*/ 2250 h 10000"/>
                <a:gd name="connsiteX125" fmla="*/ 1860 w 10000"/>
                <a:gd name="connsiteY125" fmla="*/ 2002 h 10000"/>
                <a:gd name="connsiteX126" fmla="*/ 1778 w 10000"/>
                <a:gd name="connsiteY126" fmla="*/ 1786 h 10000"/>
                <a:gd name="connsiteX127" fmla="*/ 1763 w 10000"/>
                <a:gd name="connsiteY127" fmla="*/ 1703 h 10000"/>
                <a:gd name="connsiteX128" fmla="*/ 1823 w 10000"/>
                <a:gd name="connsiteY128" fmla="*/ 1786 h 10000"/>
                <a:gd name="connsiteX129" fmla="*/ 2034 w 10000"/>
                <a:gd name="connsiteY129" fmla="*/ 1951 h 10000"/>
                <a:gd name="connsiteX130" fmla="*/ 2270 w 10000"/>
                <a:gd name="connsiteY130" fmla="*/ 2126 h 10000"/>
                <a:gd name="connsiteX131" fmla="*/ 2384 w 10000"/>
                <a:gd name="connsiteY131" fmla="*/ 2250 h 10000"/>
                <a:gd name="connsiteX132" fmla="*/ 2421 w 10000"/>
                <a:gd name="connsiteY132" fmla="*/ 2074 h 10000"/>
                <a:gd name="connsiteX133" fmla="*/ 2368 w 10000"/>
                <a:gd name="connsiteY133" fmla="*/ 2033 h 10000"/>
                <a:gd name="connsiteX134" fmla="*/ 2299 w 10000"/>
                <a:gd name="connsiteY134" fmla="*/ 1930 h 10000"/>
                <a:gd name="connsiteX135" fmla="*/ 2254 w 10000"/>
                <a:gd name="connsiteY135" fmla="*/ 1734 h 10000"/>
                <a:gd name="connsiteX136" fmla="*/ 2185 w 10000"/>
                <a:gd name="connsiteY136" fmla="*/ 1486 h 10000"/>
                <a:gd name="connsiteX137" fmla="*/ 2210 w 10000"/>
                <a:gd name="connsiteY137" fmla="*/ 1434 h 10000"/>
                <a:gd name="connsiteX138" fmla="*/ 2232 w 10000"/>
                <a:gd name="connsiteY138" fmla="*/ 1455 h 10000"/>
                <a:gd name="connsiteX139" fmla="*/ 2292 w 10000"/>
                <a:gd name="connsiteY139" fmla="*/ 1115 h 10000"/>
                <a:gd name="connsiteX140" fmla="*/ 2443 w 10000"/>
                <a:gd name="connsiteY140" fmla="*/ 1135 h 10000"/>
                <a:gd name="connsiteX141" fmla="*/ 2488 w 10000"/>
                <a:gd name="connsiteY141" fmla="*/ 1311 h 10000"/>
                <a:gd name="connsiteX142" fmla="*/ 2519 w 10000"/>
                <a:gd name="connsiteY142" fmla="*/ 1538 h 10000"/>
                <a:gd name="connsiteX143" fmla="*/ 2573 w 10000"/>
                <a:gd name="connsiteY143" fmla="*/ 1734 h 10000"/>
                <a:gd name="connsiteX144" fmla="*/ 2670 w 10000"/>
                <a:gd name="connsiteY144" fmla="*/ 2157 h 10000"/>
                <a:gd name="connsiteX145" fmla="*/ 2481 w 10000"/>
                <a:gd name="connsiteY145" fmla="*/ 2673 h 10000"/>
                <a:gd name="connsiteX146" fmla="*/ 2557 w 10000"/>
                <a:gd name="connsiteY146" fmla="*/ 2746 h 10000"/>
                <a:gd name="connsiteX147" fmla="*/ 2655 w 10000"/>
                <a:gd name="connsiteY147" fmla="*/ 2818 h 10000"/>
                <a:gd name="connsiteX148" fmla="*/ 2784 w 10000"/>
                <a:gd name="connsiteY148" fmla="*/ 2622 h 10000"/>
                <a:gd name="connsiteX149" fmla="*/ 2790 w 10000"/>
                <a:gd name="connsiteY149" fmla="*/ 2404 h 10000"/>
                <a:gd name="connsiteX150" fmla="*/ 2746 w 10000"/>
                <a:gd name="connsiteY150" fmla="*/ 2301 h 10000"/>
                <a:gd name="connsiteX151" fmla="*/ 2919 w 10000"/>
                <a:gd name="connsiteY151" fmla="*/ 2250 h 10000"/>
                <a:gd name="connsiteX152" fmla="*/ 2989 w 10000"/>
                <a:gd name="connsiteY152" fmla="*/ 2497 h 10000"/>
                <a:gd name="connsiteX153" fmla="*/ 2989 w 10000"/>
                <a:gd name="connsiteY153" fmla="*/ 2425 h 10000"/>
                <a:gd name="connsiteX154" fmla="*/ 2973 w 10000"/>
                <a:gd name="connsiteY154" fmla="*/ 2353 h 10000"/>
                <a:gd name="connsiteX155" fmla="*/ 2967 w 10000"/>
                <a:gd name="connsiteY155" fmla="*/ 2178 h 10000"/>
                <a:gd name="connsiteX156" fmla="*/ 2800 w 10000"/>
                <a:gd name="connsiteY156" fmla="*/ 1930 h 10000"/>
                <a:gd name="connsiteX157" fmla="*/ 2670 w 10000"/>
                <a:gd name="connsiteY157" fmla="*/ 2002 h 10000"/>
                <a:gd name="connsiteX158" fmla="*/ 2617 w 10000"/>
                <a:gd name="connsiteY158" fmla="*/ 1683 h 10000"/>
                <a:gd name="connsiteX159" fmla="*/ 2563 w 10000"/>
                <a:gd name="connsiteY159" fmla="*/ 1507 h 10000"/>
                <a:gd name="connsiteX160" fmla="*/ 2617 w 10000"/>
                <a:gd name="connsiteY160" fmla="*/ 1331 h 10000"/>
                <a:gd name="connsiteX161" fmla="*/ 2611 w 10000"/>
                <a:gd name="connsiteY161" fmla="*/ 1166 h 10000"/>
                <a:gd name="connsiteX162" fmla="*/ 2588 w 10000"/>
                <a:gd name="connsiteY162" fmla="*/ 1115 h 10000"/>
                <a:gd name="connsiteX163" fmla="*/ 2626 w 10000"/>
                <a:gd name="connsiteY163" fmla="*/ 1115 h 10000"/>
                <a:gd name="connsiteX164" fmla="*/ 2670 w 10000"/>
                <a:gd name="connsiteY164" fmla="*/ 1455 h 10000"/>
                <a:gd name="connsiteX165" fmla="*/ 2891 w 10000"/>
                <a:gd name="connsiteY165" fmla="*/ 1662 h 10000"/>
                <a:gd name="connsiteX166" fmla="*/ 2724 w 10000"/>
                <a:gd name="connsiteY166" fmla="*/ 1383 h 10000"/>
                <a:gd name="connsiteX167" fmla="*/ 3049 w 10000"/>
                <a:gd name="connsiteY167" fmla="*/ 1383 h 10000"/>
                <a:gd name="connsiteX168" fmla="*/ 3102 w 10000"/>
                <a:gd name="connsiteY168" fmla="*/ 1362 h 10000"/>
                <a:gd name="connsiteX169" fmla="*/ 2897 w 10000"/>
                <a:gd name="connsiteY169" fmla="*/ 1115 h 10000"/>
                <a:gd name="connsiteX170" fmla="*/ 2951 w 10000"/>
                <a:gd name="connsiteY170" fmla="*/ 888 h 10000"/>
                <a:gd name="connsiteX171" fmla="*/ 3178 w 10000"/>
                <a:gd name="connsiteY171" fmla="*/ 888 h 10000"/>
                <a:gd name="connsiteX172" fmla="*/ 3156 w 10000"/>
                <a:gd name="connsiteY172" fmla="*/ 713 h 10000"/>
                <a:gd name="connsiteX173" fmla="*/ 3231 w 10000"/>
                <a:gd name="connsiteY173" fmla="*/ 589 h 10000"/>
                <a:gd name="connsiteX174" fmla="*/ 3276 w 10000"/>
                <a:gd name="connsiteY174" fmla="*/ 548 h 10000"/>
                <a:gd name="connsiteX175" fmla="*/ 3443 w 10000"/>
                <a:gd name="connsiteY175" fmla="*/ 423 h 10000"/>
                <a:gd name="connsiteX176" fmla="*/ 3487 w 10000"/>
                <a:gd name="connsiteY176" fmla="*/ 371 h 10000"/>
                <a:gd name="connsiteX177" fmla="*/ 3480 w 10000"/>
                <a:gd name="connsiteY177" fmla="*/ 444 h 10000"/>
                <a:gd name="connsiteX178" fmla="*/ 3660 w 10000"/>
                <a:gd name="connsiteY178" fmla="*/ 371 h 10000"/>
                <a:gd name="connsiteX179" fmla="*/ 3805 w 10000"/>
                <a:gd name="connsiteY179" fmla="*/ 248 h 10000"/>
                <a:gd name="connsiteX180" fmla="*/ 3827 w 10000"/>
                <a:gd name="connsiteY180" fmla="*/ 0 h 10000"/>
                <a:gd name="connsiteX181" fmla="*/ 3988 w 10000"/>
                <a:gd name="connsiteY181" fmla="*/ 21 h 10000"/>
                <a:gd name="connsiteX182" fmla="*/ 3978 w 10000"/>
                <a:gd name="connsiteY182" fmla="*/ 93 h 10000"/>
                <a:gd name="connsiteX183" fmla="*/ 3988 w 10000"/>
                <a:gd name="connsiteY183" fmla="*/ 176 h 10000"/>
                <a:gd name="connsiteX184" fmla="*/ 4085 w 10000"/>
                <a:gd name="connsiteY184" fmla="*/ 248 h 10000"/>
                <a:gd name="connsiteX185" fmla="*/ 4379 w 10000"/>
                <a:gd name="connsiteY185" fmla="*/ 268 h 10000"/>
                <a:gd name="connsiteX186" fmla="*/ 4539 w 10000"/>
                <a:gd name="connsiteY186" fmla="*/ 392 h 10000"/>
                <a:gd name="connsiteX187" fmla="*/ 4486 w 10000"/>
                <a:gd name="connsiteY187" fmla="*/ 795 h 10000"/>
                <a:gd name="connsiteX188" fmla="*/ 4426 w 10000"/>
                <a:gd name="connsiteY188" fmla="*/ 919 h 10000"/>
                <a:gd name="connsiteX189" fmla="*/ 4356 w 10000"/>
                <a:gd name="connsiteY189" fmla="*/ 1043 h 10000"/>
                <a:gd name="connsiteX190" fmla="*/ 4372 w 10000"/>
                <a:gd name="connsiteY190" fmla="*/ 1115 h 10000"/>
                <a:gd name="connsiteX191" fmla="*/ 4583 w 10000"/>
                <a:gd name="connsiteY191" fmla="*/ 919 h 10000"/>
                <a:gd name="connsiteX192" fmla="*/ 5060 w 10000"/>
                <a:gd name="connsiteY192" fmla="*/ 991 h 10000"/>
                <a:gd name="connsiteX193" fmla="*/ 5108 w 10000"/>
                <a:gd name="connsiteY193" fmla="*/ 1063 h 10000"/>
                <a:gd name="connsiteX194" fmla="*/ 5212 w 10000"/>
                <a:gd name="connsiteY194" fmla="*/ 1187 h 10000"/>
                <a:gd name="connsiteX195" fmla="*/ 5357 w 10000"/>
                <a:gd name="connsiteY195" fmla="*/ 919 h 10000"/>
                <a:gd name="connsiteX196" fmla="*/ 5577 w 10000"/>
                <a:gd name="connsiteY196" fmla="*/ 1063 h 10000"/>
                <a:gd name="connsiteX197" fmla="*/ 5643 w 10000"/>
                <a:gd name="connsiteY197" fmla="*/ 1115 h 10000"/>
                <a:gd name="connsiteX198" fmla="*/ 5697 w 10000"/>
                <a:gd name="connsiteY198" fmla="*/ 1166 h 10000"/>
                <a:gd name="connsiteX199" fmla="*/ 5908 w 10000"/>
                <a:gd name="connsiteY199" fmla="*/ 1631 h 10000"/>
                <a:gd name="connsiteX200" fmla="*/ 5984 w 10000"/>
                <a:gd name="connsiteY200" fmla="*/ 1611 h 10000"/>
                <a:gd name="connsiteX201" fmla="*/ 5977 w 10000"/>
                <a:gd name="connsiteY201" fmla="*/ 1507 h 10000"/>
                <a:gd name="connsiteX202" fmla="*/ 5984 w 10000"/>
                <a:gd name="connsiteY202" fmla="*/ 1383 h 10000"/>
                <a:gd name="connsiteX203" fmla="*/ 6091 w 10000"/>
                <a:gd name="connsiteY203" fmla="*/ 1486 h 10000"/>
                <a:gd name="connsiteX204" fmla="*/ 6264 w 10000"/>
                <a:gd name="connsiteY204" fmla="*/ 1507 h 10000"/>
                <a:gd name="connsiteX205" fmla="*/ 6409 w 10000"/>
                <a:gd name="connsiteY205" fmla="*/ 1455 h 10000"/>
                <a:gd name="connsiteX206" fmla="*/ 6340 w 10000"/>
                <a:gd name="connsiteY206" fmla="*/ 1362 h 10000"/>
                <a:gd name="connsiteX207" fmla="*/ 6431 w 10000"/>
                <a:gd name="connsiteY207" fmla="*/ 1084 h 10000"/>
                <a:gd name="connsiteX208" fmla="*/ 6687 w 10000"/>
                <a:gd name="connsiteY208" fmla="*/ 1207 h 10000"/>
                <a:gd name="connsiteX209" fmla="*/ 6945 w 10000"/>
                <a:gd name="connsiteY209" fmla="*/ 1331 h 10000"/>
                <a:gd name="connsiteX210" fmla="*/ 6967 w 10000"/>
                <a:gd name="connsiteY210" fmla="*/ 1362 h 10000"/>
                <a:gd name="connsiteX211" fmla="*/ 7194 w 10000"/>
                <a:gd name="connsiteY211" fmla="*/ 1611 h 10000"/>
                <a:gd name="connsiteX212" fmla="*/ 7367 w 10000"/>
                <a:gd name="connsiteY212" fmla="*/ 1507 h 10000"/>
                <a:gd name="connsiteX213" fmla="*/ 7582 w 10000"/>
                <a:gd name="connsiteY213" fmla="*/ 1538 h 10000"/>
                <a:gd name="connsiteX214" fmla="*/ 7657 w 10000"/>
                <a:gd name="connsiteY214" fmla="*/ 1611 h 10000"/>
                <a:gd name="connsiteX215" fmla="*/ 7928 w 10000"/>
                <a:gd name="connsiteY215" fmla="*/ 1930 h 10000"/>
                <a:gd name="connsiteX216" fmla="*/ 8231 w 10000"/>
                <a:gd name="connsiteY216" fmla="*/ 1879 h 10000"/>
                <a:gd name="connsiteX217" fmla="*/ 8339 w 10000"/>
                <a:gd name="connsiteY217" fmla="*/ 2033 h 10000"/>
                <a:gd name="connsiteX218" fmla="*/ 8490 w 10000"/>
                <a:gd name="connsiteY218" fmla="*/ 2157 h 10000"/>
                <a:gd name="connsiteX219" fmla="*/ 8519 w 10000"/>
                <a:gd name="connsiteY219" fmla="*/ 2105 h 10000"/>
                <a:gd name="connsiteX220" fmla="*/ 8497 w 10000"/>
                <a:gd name="connsiteY220" fmla="*/ 2074 h 10000"/>
                <a:gd name="connsiteX221" fmla="*/ 8383 w 10000"/>
                <a:gd name="connsiteY221" fmla="*/ 1930 h 10000"/>
                <a:gd name="connsiteX222" fmla="*/ 8465 w 10000"/>
                <a:gd name="connsiteY222" fmla="*/ 1755 h 10000"/>
                <a:gd name="connsiteX223" fmla="*/ 8664 w 10000"/>
                <a:gd name="connsiteY223" fmla="*/ 1910 h 10000"/>
                <a:gd name="connsiteX224" fmla="*/ 8950 w 10000"/>
                <a:gd name="connsiteY224" fmla="*/ 1982 h 10000"/>
                <a:gd name="connsiteX225" fmla="*/ 9206 w 10000"/>
                <a:gd name="connsiteY225" fmla="*/ 2260 h 10000"/>
                <a:gd name="connsiteX226" fmla="*/ 9344 w 10000"/>
                <a:gd name="connsiteY226" fmla="*/ 2332 h 10000"/>
                <a:gd name="connsiteX227" fmla="*/ 9451 w 10000"/>
                <a:gd name="connsiteY227" fmla="*/ 2446 h 10000"/>
                <a:gd name="connsiteX228" fmla="*/ 9574 w 10000"/>
                <a:gd name="connsiteY228" fmla="*/ 2632 h 10000"/>
                <a:gd name="connsiteX229" fmla="*/ 9631 w 10000"/>
                <a:gd name="connsiteY229" fmla="*/ 2756 h 10000"/>
                <a:gd name="connsiteX230" fmla="*/ 9726 w 10000"/>
                <a:gd name="connsiteY230" fmla="*/ 2787 h 10000"/>
                <a:gd name="connsiteX231" fmla="*/ 9590 w 10000"/>
                <a:gd name="connsiteY231" fmla="*/ 2570 h 10000"/>
                <a:gd name="connsiteX232" fmla="*/ 9915 w 10000"/>
                <a:gd name="connsiteY232" fmla="*/ 2756 h 10000"/>
                <a:gd name="connsiteX233" fmla="*/ 10000 w 10000"/>
                <a:gd name="connsiteY233" fmla="*/ 3014 h 10000"/>
                <a:gd name="connsiteX234" fmla="*/ 9934 w 10000"/>
                <a:gd name="connsiteY234" fmla="*/ 2941 h 10000"/>
                <a:gd name="connsiteX235" fmla="*/ 9874 w 10000"/>
                <a:gd name="connsiteY235" fmla="*/ 2952 h 10000"/>
                <a:gd name="connsiteX236" fmla="*/ 10000 w 10000"/>
                <a:gd name="connsiteY236" fmla="*/ 3292 h 10000"/>
                <a:gd name="connsiteX237" fmla="*/ 9845 w 10000"/>
                <a:gd name="connsiteY237" fmla="*/ 3220 h 10000"/>
                <a:gd name="connsiteX238" fmla="*/ 9745 w 10000"/>
                <a:gd name="connsiteY238" fmla="*/ 3075 h 10000"/>
                <a:gd name="connsiteX239" fmla="*/ 9641 w 10000"/>
                <a:gd name="connsiteY239" fmla="*/ 2972 h 10000"/>
                <a:gd name="connsiteX240" fmla="*/ 9555 w 10000"/>
                <a:gd name="connsiteY240" fmla="*/ 3003 h 10000"/>
                <a:gd name="connsiteX241" fmla="*/ 9470 w 10000"/>
                <a:gd name="connsiteY241" fmla="*/ 2787 h 10000"/>
                <a:gd name="connsiteX242" fmla="*/ 9366 w 10000"/>
                <a:gd name="connsiteY242" fmla="*/ 2725 h 10000"/>
                <a:gd name="connsiteX243" fmla="*/ 9461 w 10000"/>
                <a:gd name="connsiteY243" fmla="*/ 2972 h 10000"/>
                <a:gd name="connsiteX244" fmla="*/ 9470 w 10000"/>
                <a:gd name="connsiteY244" fmla="*/ 3230 h 10000"/>
                <a:gd name="connsiteX245" fmla="*/ 9288 w 10000"/>
                <a:gd name="connsiteY245" fmla="*/ 3065 h 10000"/>
                <a:gd name="connsiteX246" fmla="*/ 9262 w 10000"/>
                <a:gd name="connsiteY246" fmla="*/ 3230 h 10000"/>
                <a:gd name="connsiteX247" fmla="*/ 9363 w 10000"/>
                <a:gd name="connsiteY247" fmla="*/ 3230 h 10000"/>
                <a:gd name="connsiteX248" fmla="*/ 9451 w 10000"/>
                <a:gd name="connsiteY248" fmla="*/ 3354 h 10000"/>
                <a:gd name="connsiteX249" fmla="*/ 9659 w 10000"/>
                <a:gd name="connsiteY249" fmla="*/ 3685 h 10000"/>
                <a:gd name="connsiteX250" fmla="*/ 9735 w 10000"/>
                <a:gd name="connsiteY250" fmla="*/ 3839 h 10000"/>
                <a:gd name="connsiteX251" fmla="*/ 9552 w 10000"/>
                <a:gd name="connsiteY251" fmla="*/ 3757 h 10000"/>
                <a:gd name="connsiteX252" fmla="*/ 9451 w 10000"/>
                <a:gd name="connsiteY252" fmla="*/ 4025 h 10000"/>
                <a:gd name="connsiteX253" fmla="*/ 9385 w 10000"/>
                <a:gd name="connsiteY253" fmla="*/ 4283 h 10000"/>
                <a:gd name="connsiteX254" fmla="*/ 9376 w 10000"/>
                <a:gd name="connsiteY254" fmla="*/ 4499 h 10000"/>
                <a:gd name="connsiteX255" fmla="*/ 9335 w 10000"/>
                <a:gd name="connsiteY255" fmla="*/ 4303 h 10000"/>
                <a:gd name="connsiteX256" fmla="*/ 9149 w 10000"/>
                <a:gd name="connsiteY256" fmla="*/ 4314 h 10000"/>
                <a:gd name="connsiteX257" fmla="*/ 9155 w 10000"/>
                <a:gd name="connsiteY257" fmla="*/ 4531 h 10000"/>
                <a:gd name="connsiteX258" fmla="*/ 9061 w 10000"/>
                <a:gd name="connsiteY258" fmla="*/ 4365 h 10000"/>
                <a:gd name="connsiteX259" fmla="*/ 9054 w 10000"/>
                <a:gd name="connsiteY259" fmla="*/ 4521 h 10000"/>
                <a:gd name="connsiteX260" fmla="*/ 8998 w 10000"/>
                <a:gd name="connsiteY260" fmla="*/ 4458 h 10000"/>
                <a:gd name="connsiteX261" fmla="*/ 8966 w 10000"/>
                <a:gd name="connsiteY261" fmla="*/ 4562 h 10000"/>
                <a:gd name="connsiteX262" fmla="*/ 9007 w 10000"/>
                <a:gd name="connsiteY262" fmla="*/ 4686 h 10000"/>
                <a:gd name="connsiteX263" fmla="*/ 9004 w 10000"/>
                <a:gd name="connsiteY263" fmla="*/ 4995 h 10000"/>
                <a:gd name="connsiteX264" fmla="*/ 9073 w 10000"/>
                <a:gd name="connsiteY264" fmla="*/ 5211 h 10000"/>
                <a:gd name="connsiteX265" fmla="*/ 9130 w 10000"/>
                <a:gd name="connsiteY265" fmla="*/ 5150 h 10000"/>
                <a:gd name="connsiteX266" fmla="*/ 9158 w 10000"/>
                <a:gd name="connsiteY266" fmla="*/ 5211 h 10000"/>
                <a:gd name="connsiteX267" fmla="*/ 9231 w 10000"/>
                <a:gd name="connsiteY267" fmla="*/ 5428 h 10000"/>
                <a:gd name="connsiteX268" fmla="*/ 9215 w 10000"/>
                <a:gd name="connsiteY268" fmla="*/ 5604 h 10000"/>
                <a:gd name="connsiteX269" fmla="*/ 9221 w 10000"/>
                <a:gd name="connsiteY269" fmla="*/ 5769 h 10000"/>
                <a:gd name="connsiteX270" fmla="*/ 9269 w 10000"/>
                <a:gd name="connsiteY270" fmla="*/ 5883 h 10000"/>
                <a:gd name="connsiteX271" fmla="*/ 9344 w 10000"/>
                <a:gd name="connsiteY271" fmla="*/ 6068 h 10000"/>
                <a:gd name="connsiteX272" fmla="*/ 9269 w 10000"/>
                <a:gd name="connsiteY272" fmla="*/ 6068 h 10000"/>
                <a:gd name="connsiteX273" fmla="*/ 9253 w 10000"/>
                <a:gd name="connsiteY273" fmla="*/ 6223 h 10000"/>
                <a:gd name="connsiteX274" fmla="*/ 9319 w 10000"/>
                <a:gd name="connsiteY274" fmla="*/ 6408 h 10000"/>
                <a:gd name="connsiteX275" fmla="*/ 9250 w 10000"/>
                <a:gd name="connsiteY275" fmla="*/ 6502 h 10000"/>
                <a:gd name="connsiteX276" fmla="*/ 9297 w 10000"/>
                <a:gd name="connsiteY276" fmla="*/ 6729 h 10000"/>
                <a:gd name="connsiteX277" fmla="*/ 9281 w 10000"/>
                <a:gd name="connsiteY277" fmla="*/ 7069 h 10000"/>
                <a:gd name="connsiteX278" fmla="*/ 9061 w 10000"/>
                <a:gd name="connsiteY278" fmla="*/ 6408 h 10000"/>
                <a:gd name="connsiteX279" fmla="*/ 8824 w 10000"/>
                <a:gd name="connsiteY279" fmla="*/ 5759 h 10000"/>
                <a:gd name="connsiteX280" fmla="*/ 8771 w 10000"/>
                <a:gd name="connsiteY280" fmla="*/ 5459 h 10000"/>
                <a:gd name="connsiteX281" fmla="*/ 8768 w 10000"/>
                <a:gd name="connsiteY281" fmla="*/ 5211 h 10000"/>
                <a:gd name="connsiteX282" fmla="*/ 8692 w 10000"/>
                <a:gd name="connsiteY282" fmla="*/ 5047 h 10000"/>
                <a:gd name="connsiteX283" fmla="*/ 8771 w 10000"/>
                <a:gd name="connsiteY283" fmla="*/ 5088 h 10000"/>
                <a:gd name="connsiteX284" fmla="*/ 8809 w 10000"/>
                <a:gd name="connsiteY284" fmla="*/ 5108 h 10000"/>
                <a:gd name="connsiteX285" fmla="*/ 8809 w 10000"/>
                <a:gd name="connsiteY285" fmla="*/ 4840 h 10000"/>
                <a:gd name="connsiteX286" fmla="*/ 8827 w 10000"/>
                <a:gd name="connsiteY286" fmla="*/ 4437 h 10000"/>
                <a:gd name="connsiteX287" fmla="*/ 8853 w 10000"/>
                <a:gd name="connsiteY287" fmla="*/ 4252 h 10000"/>
                <a:gd name="connsiteX288" fmla="*/ 8909 w 10000"/>
                <a:gd name="connsiteY288" fmla="*/ 4221 h 10000"/>
                <a:gd name="connsiteX289" fmla="*/ 8786 w 10000"/>
                <a:gd name="connsiteY289" fmla="*/ 3901 h 10000"/>
                <a:gd name="connsiteX290" fmla="*/ 8853 w 10000"/>
                <a:gd name="connsiteY290" fmla="*/ 3839 h 10000"/>
                <a:gd name="connsiteX291" fmla="*/ 8739 w 10000"/>
                <a:gd name="connsiteY291" fmla="*/ 3788 h 10000"/>
                <a:gd name="connsiteX292" fmla="*/ 8755 w 10000"/>
                <a:gd name="connsiteY292" fmla="*/ 3984 h 10000"/>
                <a:gd name="connsiteX293" fmla="*/ 8692 w 10000"/>
                <a:gd name="connsiteY293" fmla="*/ 4303 h 10000"/>
                <a:gd name="connsiteX294" fmla="*/ 8604 w 10000"/>
                <a:gd name="connsiteY294" fmla="*/ 4210 h 10000"/>
                <a:gd name="connsiteX295" fmla="*/ 8550 w 10000"/>
                <a:gd name="connsiteY295" fmla="*/ 4056 h 10000"/>
                <a:gd name="connsiteX296" fmla="*/ 8481 w 10000"/>
                <a:gd name="connsiteY296" fmla="*/ 4138 h 10000"/>
                <a:gd name="connsiteX297" fmla="*/ 8389 w 10000"/>
                <a:gd name="connsiteY297" fmla="*/ 4107 h 10000"/>
                <a:gd name="connsiteX298" fmla="*/ 8352 w 10000"/>
                <a:gd name="connsiteY298" fmla="*/ 4406 h 10000"/>
                <a:gd name="connsiteX299" fmla="*/ 8481 w 10000"/>
                <a:gd name="connsiteY299" fmla="*/ 4655 h 10000"/>
                <a:gd name="connsiteX300" fmla="*/ 8405 w 10000"/>
                <a:gd name="connsiteY300" fmla="*/ 4830 h 10000"/>
                <a:gd name="connsiteX301" fmla="*/ 8225 w 10000"/>
                <a:gd name="connsiteY301" fmla="*/ 4799 h 10000"/>
                <a:gd name="connsiteX302" fmla="*/ 8209 w 10000"/>
                <a:gd name="connsiteY302" fmla="*/ 4655 h 10000"/>
                <a:gd name="connsiteX303" fmla="*/ 8102 w 10000"/>
                <a:gd name="connsiteY303" fmla="*/ 4634 h 10000"/>
                <a:gd name="connsiteX304" fmla="*/ 7641 w 10000"/>
                <a:gd name="connsiteY304" fmla="*/ 4779 h 10000"/>
                <a:gd name="connsiteX305" fmla="*/ 7610 w 10000"/>
                <a:gd name="connsiteY305" fmla="*/ 5005 h 10000"/>
                <a:gd name="connsiteX306" fmla="*/ 7550 w 10000"/>
                <a:gd name="connsiteY306" fmla="*/ 5666 h 10000"/>
                <a:gd name="connsiteX307" fmla="*/ 7496 w 10000"/>
                <a:gd name="connsiteY307" fmla="*/ 5965 h 10000"/>
                <a:gd name="connsiteX308" fmla="*/ 7701 w 10000"/>
                <a:gd name="connsiteY308" fmla="*/ 6161 h 10000"/>
                <a:gd name="connsiteX309" fmla="*/ 7745 w 10000"/>
                <a:gd name="connsiteY309" fmla="*/ 6243 h 10000"/>
                <a:gd name="connsiteX310" fmla="*/ 7771 w 10000"/>
                <a:gd name="connsiteY310" fmla="*/ 6285 h 10000"/>
                <a:gd name="connsiteX311" fmla="*/ 7793 w 10000"/>
                <a:gd name="connsiteY311" fmla="*/ 6068 h 10000"/>
                <a:gd name="connsiteX312" fmla="*/ 7912 w 10000"/>
                <a:gd name="connsiteY312" fmla="*/ 6089 h 10000"/>
                <a:gd name="connsiteX313" fmla="*/ 8004 w 10000"/>
                <a:gd name="connsiteY313" fmla="*/ 6367 h 10000"/>
                <a:gd name="connsiteX314" fmla="*/ 8064 w 10000"/>
                <a:gd name="connsiteY314" fmla="*/ 6616 h 10000"/>
                <a:gd name="connsiteX315" fmla="*/ 8111 w 10000"/>
                <a:gd name="connsiteY315" fmla="*/ 6781 h 10000"/>
                <a:gd name="connsiteX316" fmla="*/ 8048 w 10000"/>
                <a:gd name="connsiteY316" fmla="*/ 6491 h 10000"/>
                <a:gd name="connsiteX317" fmla="*/ 8124 w 10000"/>
                <a:gd name="connsiteY317" fmla="*/ 6336 h 10000"/>
                <a:gd name="connsiteX318" fmla="*/ 8177 w 10000"/>
                <a:gd name="connsiteY318" fmla="*/ 6512 h 10000"/>
                <a:gd name="connsiteX319" fmla="*/ 8300 w 10000"/>
                <a:gd name="connsiteY319" fmla="*/ 6987 h 10000"/>
                <a:gd name="connsiteX320" fmla="*/ 8361 w 10000"/>
                <a:gd name="connsiteY320" fmla="*/ 7152 h 10000"/>
                <a:gd name="connsiteX321" fmla="*/ 8490 w 10000"/>
                <a:gd name="connsiteY321" fmla="*/ 7482 h 10000"/>
                <a:gd name="connsiteX322" fmla="*/ 8604 w 10000"/>
                <a:gd name="connsiteY322" fmla="*/ 7854 h 10000"/>
                <a:gd name="connsiteX323" fmla="*/ 8474 w 10000"/>
                <a:gd name="connsiteY323" fmla="*/ 7647 h 10000"/>
                <a:gd name="connsiteX324" fmla="*/ 8443 w 10000"/>
                <a:gd name="connsiteY324" fmla="*/ 7678 h 10000"/>
                <a:gd name="connsiteX325" fmla="*/ 8512 w 10000"/>
                <a:gd name="connsiteY325" fmla="*/ 8050 h 10000"/>
                <a:gd name="connsiteX326" fmla="*/ 8588 w 10000"/>
                <a:gd name="connsiteY326" fmla="*/ 8266 h 10000"/>
                <a:gd name="connsiteX327" fmla="*/ 8642 w 10000"/>
                <a:gd name="connsiteY327" fmla="*/ 8472 h 10000"/>
                <a:gd name="connsiteX328" fmla="*/ 8566 w 10000"/>
                <a:gd name="connsiteY328" fmla="*/ 8421 h 10000"/>
                <a:gd name="connsiteX329" fmla="*/ 8556 w 10000"/>
                <a:gd name="connsiteY329" fmla="*/ 8669 h 10000"/>
                <a:gd name="connsiteX330" fmla="*/ 8497 w 10000"/>
                <a:gd name="connsiteY330" fmla="*/ 8493 h 10000"/>
                <a:gd name="connsiteX331" fmla="*/ 8481 w 10000"/>
                <a:gd name="connsiteY331" fmla="*/ 8421 h 10000"/>
                <a:gd name="connsiteX332" fmla="*/ 8361 w 10000"/>
                <a:gd name="connsiteY332" fmla="*/ 7751 h 10000"/>
                <a:gd name="connsiteX333" fmla="*/ 8322 w 10000"/>
                <a:gd name="connsiteY333" fmla="*/ 7524 h 10000"/>
                <a:gd name="connsiteX334" fmla="*/ 8291 w 10000"/>
                <a:gd name="connsiteY334" fmla="*/ 7378 h 10000"/>
                <a:gd name="connsiteX335" fmla="*/ 8275 w 10000"/>
                <a:gd name="connsiteY335" fmla="*/ 7306 h 10000"/>
                <a:gd name="connsiteX336" fmla="*/ 8139 w 10000"/>
                <a:gd name="connsiteY336" fmla="*/ 6863 h 10000"/>
                <a:gd name="connsiteX337" fmla="*/ 8199 w 10000"/>
                <a:gd name="connsiteY337" fmla="*/ 7451 h 10000"/>
                <a:gd name="connsiteX338" fmla="*/ 8247 w 10000"/>
                <a:gd name="connsiteY338" fmla="*/ 7998 h 10000"/>
                <a:gd name="connsiteX339" fmla="*/ 8177 w 10000"/>
                <a:gd name="connsiteY339" fmla="*/ 9133 h 10000"/>
                <a:gd name="connsiteX340" fmla="*/ 8124 w 10000"/>
                <a:gd name="connsiteY340" fmla="*/ 9484 h 10000"/>
                <a:gd name="connsiteX341" fmla="*/ 7972 w 10000"/>
                <a:gd name="connsiteY341" fmla="*/ 9432 h 10000"/>
                <a:gd name="connsiteX342" fmla="*/ 7897 w 10000"/>
                <a:gd name="connsiteY342" fmla="*/ 9660 h 10000"/>
                <a:gd name="connsiteX343" fmla="*/ 7868 w 10000"/>
                <a:gd name="connsiteY343" fmla="*/ 9588 h 10000"/>
                <a:gd name="connsiteX344" fmla="*/ 7884 w 10000"/>
                <a:gd name="connsiteY344" fmla="*/ 9536 h 10000"/>
                <a:gd name="connsiteX345" fmla="*/ 7897 w 10000"/>
                <a:gd name="connsiteY345" fmla="*/ 9380 h 10000"/>
                <a:gd name="connsiteX346" fmla="*/ 7884 w 10000"/>
                <a:gd name="connsiteY346" fmla="*/ 9236 h 10000"/>
                <a:gd name="connsiteX347" fmla="*/ 7793 w 10000"/>
                <a:gd name="connsiteY347" fmla="*/ 8865 h 10000"/>
                <a:gd name="connsiteX348" fmla="*/ 7831 w 10000"/>
                <a:gd name="connsiteY348" fmla="*/ 8741 h 10000"/>
                <a:gd name="connsiteX349" fmla="*/ 7928 w 10000"/>
                <a:gd name="connsiteY349" fmla="*/ 8844 h 10000"/>
                <a:gd name="connsiteX350" fmla="*/ 7912 w 10000"/>
                <a:gd name="connsiteY350" fmla="*/ 8318 h 10000"/>
                <a:gd name="connsiteX351" fmla="*/ 7906 w 10000"/>
                <a:gd name="connsiteY351" fmla="*/ 8019 h 10000"/>
                <a:gd name="connsiteX352" fmla="*/ 7846 w 10000"/>
                <a:gd name="connsiteY352" fmla="*/ 7802 h 10000"/>
                <a:gd name="connsiteX353" fmla="*/ 7723 w 10000"/>
                <a:gd name="connsiteY353" fmla="*/ 8050 h 10000"/>
                <a:gd name="connsiteX354" fmla="*/ 7619 w 10000"/>
                <a:gd name="connsiteY354" fmla="*/ 8019 h 10000"/>
                <a:gd name="connsiteX355" fmla="*/ 7528 w 10000"/>
                <a:gd name="connsiteY355" fmla="*/ 7699 h 10000"/>
                <a:gd name="connsiteX356" fmla="*/ 7355 w 10000"/>
                <a:gd name="connsiteY356" fmla="*/ 7482 h 10000"/>
                <a:gd name="connsiteX357" fmla="*/ 7279 w 10000"/>
                <a:gd name="connsiteY357" fmla="*/ 7482 h 10000"/>
                <a:gd name="connsiteX358" fmla="*/ 7080 w 10000"/>
                <a:gd name="connsiteY358" fmla="*/ 6781 h 10000"/>
                <a:gd name="connsiteX359" fmla="*/ 6901 w 10000"/>
                <a:gd name="connsiteY359" fmla="*/ 6460 h 10000"/>
                <a:gd name="connsiteX360" fmla="*/ 6724 w 10000"/>
                <a:gd name="connsiteY360" fmla="*/ 6336 h 10000"/>
                <a:gd name="connsiteX361" fmla="*/ 6583 w 10000"/>
                <a:gd name="connsiteY361" fmla="*/ 6408 h 10000"/>
                <a:gd name="connsiteX362" fmla="*/ 6567 w 10000"/>
                <a:gd name="connsiteY362" fmla="*/ 6585 h 10000"/>
                <a:gd name="connsiteX363" fmla="*/ 6664 w 10000"/>
                <a:gd name="connsiteY363" fmla="*/ 6760 h 10000"/>
                <a:gd name="connsiteX364" fmla="*/ 6636 w 10000"/>
                <a:gd name="connsiteY364" fmla="*/ 6935 h 10000"/>
                <a:gd name="connsiteX365" fmla="*/ 6636 w 10000"/>
                <a:gd name="connsiteY365" fmla="*/ 7399 h 10000"/>
                <a:gd name="connsiteX366" fmla="*/ 6560 w 10000"/>
                <a:gd name="connsiteY366" fmla="*/ 7482 h 10000"/>
                <a:gd name="connsiteX367" fmla="*/ 6485 w 10000"/>
                <a:gd name="connsiteY367" fmla="*/ 7378 h 10000"/>
                <a:gd name="connsiteX368" fmla="*/ 6400 w 10000"/>
                <a:gd name="connsiteY368" fmla="*/ 7399 h 10000"/>
                <a:gd name="connsiteX369" fmla="*/ 6334 w 10000"/>
                <a:gd name="connsiteY369" fmla="*/ 7275 h 10000"/>
                <a:gd name="connsiteX370" fmla="*/ 6258 w 10000"/>
                <a:gd name="connsiteY370" fmla="*/ 7358 h 10000"/>
                <a:gd name="connsiteX371" fmla="*/ 6220 w 10000"/>
                <a:gd name="connsiteY371" fmla="*/ 7524 h 10000"/>
                <a:gd name="connsiteX372" fmla="*/ 6081 w 10000"/>
                <a:gd name="connsiteY372" fmla="*/ 7606 h 10000"/>
                <a:gd name="connsiteX373" fmla="*/ 5892 w 10000"/>
                <a:gd name="connsiteY373" fmla="*/ 7575 h 10000"/>
                <a:gd name="connsiteX374" fmla="*/ 5855 w 10000"/>
                <a:gd name="connsiteY374" fmla="*/ 7327 h 10000"/>
                <a:gd name="connsiteX375" fmla="*/ 5643 w 10000"/>
                <a:gd name="connsiteY375" fmla="*/ 7255 h 10000"/>
                <a:gd name="connsiteX376" fmla="*/ 5539 w 10000"/>
                <a:gd name="connsiteY376" fmla="*/ 7358 h 10000"/>
                <a:gd name="connsiteX377" fmla="*/ 5416 w 10000"/>
                <a:gd name="connsiteY377" fmla="*/ 7203 h 10000"/>
                <a:gd name="connsiteX378" fmla="*/ 5372 w 10000"/>
                <a:gd name="connsiteY378"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3080 w 10000"/>
                <a:gd name="connsiteY14" fmla="*/ 5944 h 10000"/>
                <a:gd name="connsiteX15" fmla="*/ 1610 w 10000"/>
                <a:gd name="connsiteY15" fmla="*/ 7183 h 10000"/>
                <a:gd name="connsiteX16" fmla="*/ 1655 w 10000"/>
                <a:gd name="connsiteY16" fmla="*/ 7430 h 10000"/>
                <a:gd name="connsiteX17" fmla="*/ 1604 w 10000"/>
                <a:gd name="connsiteY17" fmla="*/ 7430 h 10000"/>
                <a:gd name="connsiteX18" fmla="*/ 1551 w 10000"/>
                <a:gd name="connsiteY18" fmla="*/ 7255 h 10000"/>
                <a:gd name="connsiteX19" fmla="*/ 1513 w 10000"/>
                <a:gd name="connsiteY19" fmla="*/ 7430 h 10000"/>
                <a:gd name="connsiteX20" fmla="*/ 1519 w 10000"/>
                <a:gd name="connsiteY20" fmla="*/ 7854 h 10000"/>
                <a:gd name="connsiteX21" fmla="*/ 1604 w 10000"/>
                <a:gd name="connsiteY21" fmla="*/ 8070 h 10000"/>
                <a:gd name="connsiteX22" fmla="*/ 1648 w 10000"/>
                <a:gd name="connsiteY22" fmla="*/ 8019 h 10000"/>
                <a:gd name="connsiteX23" fmla="*/ 1741 w 10000"/>
                <a:gd name="connsiteY23" fmla="*/ 8493 h 10000"/>
                <a:gd name="connsiteX24" fmla="*/ 1610 w 10000"/>
                <a:gd name="connsiteY24" fmla="*/ 8669 h 10000"/>
                <a:gd name="connsiteX25" fmla="*/ 1595 w 10000"/>
                <a:gd name="connsiteY25" fmla="*/ 9009 h 10000"/>
                <a:gd name="connsiteX26" fmla="*/ 1664 w 10000"/>
                <a:gd name="connsiteY26" fmla="*/ 9236 h 10000"/>
                <a:gd name="connsiteX27" fmla="*/ 1664 w 10000"/>
                <a:gd name="connsiteY27" fmla="*/ 9484 h 10000"/>
                <a:gd name="connsiteX28" fmla="*/ 1769 w 10000"/>
                <a:gd name="connsiteY28" fmla="*/ 9835 h 10000"/>
                <a:gd name="connsiteX29" fmla="*/ 1703 w 10000"/>
                <a:gd name="connsiteY29" fmla="*/ 10000 h 10000"/>
                <a:gd name="connsiteX30" fmla="*/ 1604 w 10000"/>
                <a:gd name="connsiteY30" fmla="*/ 9753 h 10000"/>
                <a:gd name="connsiteX31" fmla="*/ 1465 w 10000"/>
                <a:gd name="connsiteY31" fmla="*/ 9505 h 10000"/>
                <a:gd name="connsiteX32" fmla="*/ 1406 w 10000"/>
                <a:gd name="connsiteY32" fmla="*/ 9588 h 10000"/>
                <a:gd name="connsiteX33" fmla="*/ 1308 w 10000"/>
                <a:gd name="connsiteY33" fmla="*/ 9380 h 10000"/>
                <a:gd name="connsiteX34" fmla="*/ 1097 w 10000"/>
                <a:gd name="connsiteY34" fmla="*/ 9339 h 10000"/>
                <a:gd name="connsiteX35" fmla="*/ 848 w 10000"/>
                <a:gd name="connsiteY35" fmla="*/ 8813 h 10000"/>
                <a:gd name="connsiteX36" fmla="*/ 914 w 10000"/>
                <a:gd name="connsiteY36" fmla="*/ 8721 h 10000"/>
                <a:gd name="connsiteX37" fmla="*/ 961 w 10000"/>
                <a:gd name="connsiteY37" fmla="*/ 8493 h 10000"/>
                <a:gd name="connsiteX38" fmla="*/ 908 w 10000"/>
                <a:gd name="connsiteY38" fmla="*/ 8390 h 10000"/>
                <a:gd name="connsiteX39" fmla="*/ 1021 w 10000"/>
                <a:gd name="connsiteY39" fmla="*/ 8245 h 10000"/>
                <a:gd name="connsiteX40" fmla="*/ 945 w 10000"/>
                <a:gd name="connsiteY40" fmla="*/ 8194 h 10000"/>
                <a:gd name="connsiteX41" fmla="*/ 958 w 10000"/>
                <a:gd name="connsiteY41" fmla="*/ 8091 h 10000"/>
                <a:gd name="connsiteX42" fmla="*/ 1005 w 10000"/>
                <a:gd name="connsiteY42" fmla="*/ 8111 h 10000"/>
                <a:gd name="connsiteX43" fmla="*/ 1059 w 10000"/>
                <a:gd name="connsiteY43" fmla="*/ 8019 h 10000"/>
                <a:gd name="connsiteX44" fmla="*/ 1034 w 10000"/>
                <a:gd name="connsiteY44" fmla="*/ 7864 h 10000"/>
                <a:gd name="connsiteX45" fmla="*/ 1043 w 10000"/>
                <a:gd name="connsiteY45" fmla="*/ 7503 h 10000"/>
                <a:gd name="connsiteX46" fmla="*/ 930 w 10000"/>
                <a:gd name="connsiteY46" fmla="*/ 7440 h 10000"/>
                <a:gd name="connsiteX47" fmla="*/ 832 w 10000"/>
                <a:gd name="connsiteY47" fmla="*/ 7286 h 10000"/>
                <a:gd name="connsiteX48" fmla="*/ 700 w 10000"/>
                <a:gd name="connsiteY48" fmla="*/ 7275 h 10000"/>
                <a:gd name="connsiteX49" fmla="*/ 684 w 10000"/>
                <a:gd name="connsiteY49" fmla="*/ 7090 h 10000"/>
                <a:gd name="connsiteX50" fmla="*/ 596 w 10000"/>
                <a:gd name="connsiteY50" fmla="*/ 6945 h 10000"/>
                <a:gd name="connsiteX51" fmla="*/ 615 w 10000"/>
                <a:gd name="connsiteY51" fmla="*/ 6822 h 10000"/>
                <a:gd name="connsiteX52" fmla="*/ 561 w 10000"/>
                <a:gd name="connsiteY52" fmla="*/ 6698 h 10000"/>
                <a:gd name="connsiteX53" fmla="*/ 457 w 10000"/>
                <a:gd name="connsiteY53" fmla="*/ 6698 h 10000"/>
                <a:gd name="connsiteX54" fmla="*/ 425 w 10000"/>
                <a:gd name="connsiteY54" fmla="*/ 6791 h 10000"/>
                <a:gd name="connsiteX55" fmla="*/ 400 w 10000"/>
                <a:gd name="connsiteY55" fmla="*/ 6750 h 10000"/>
                <a:gd name="connsiteX56" fmla="*/ 378 w 10000"/>
                <a:gd name="connsiteY56" fmla="*/ 6439 h 10000"/>
                <a:gd name="connsiteX57" fmla="*/ 419 w 10000"/>
                <a:gd name="connsiteY57" fmla="*/ 6470 h 10000"/>
                <a:gd name="connsiteX58" fmla="*/ 466 w 10000"/>
                <a:gd name="connsiteY58" fmla="*/ 6347 h 10000"/>
                <a:gd name="connsiteX59" fmla="*/ 400 w 10000"/>
                <a:gd name="connsiteY59" fmla="*/ 6233 h 10000"/>
                <a:gd name="connsiteX60" fmla="*/ 315 w 10000"/>
                <a:gd name="connsiteY60" fmla="*/ 6017 h 10000"/>
                <a:gd name="connsiteX61" fmla="*/ 334 w 10000"/>
                <a:gd name="connsiteY61" fmla="*/ 5821 h 10000"/>
                <a:gd name="connsiteX62" fmla="*/ 274 w 10000"/>
                <a:gd name="connsiteY62" fmla="*/ 5697 h 10000"/>
                <a:gd name="connsiteX63" fmla="*/ 227 w 10000"/>
                <a:gd name="connsiteY63" fmla="*/ 5728 h 10000"/>
                <a:gd name="connsiteX64" fmla="*/ 202 w 10000"/>
                <a:gd name="connsiteY64" fmla="*/ 5604 h 10000"/>
                <a:gd name="connsiteX65" fmla="*/ 164 w 10000"/>
                <a:gd name="connsiteY65" fmla="*/ 5645 h 10000"/>
                <a:gd name="connsiteX66" fmla="*/ 117 w 10000"/>
                <a:gd name="connsiteY66" fmla="*/ 5604 h 10000"/>
                <a:gd name="connsiteX67" fmla="*/ 69 w 10000"/>
                <a:gd name="connsiteY67" fmla="*/ 5181 h 10000"/>
                <a:gd name="connsiteX68" fmla="*/ 85 w 10000"/>
                <a:gd name="connsiteY68" fmla="*/ 5057 h 10000"/>
                <a:gd name="connsiteX69" fmla="*/ 41 w 10000"/>
                <a:gd name="connsiteY69" fmla="*/ 4892 h 10000"/>
                <a:gd name="connsiteX70" fmla="*/ 66 w 10000"/>
                <a:gd name="connsiteY70" fmla="*/ 4655 h 10000"/>
                <a:gd name="connsiteX71" fmla="*/ 211 w 10000"/>
                <a:gd name="connsiteY71" fmla="*/ 4510 h 10000"/>
                <a:gd name="connsiteX72" fmla="*/ 129 w 10000"/>
                <a:gd name="connsiteY72" fmla="*/ 4406 h 10000"/>
                <a:gd name="connsiteX73" fmla="*/ 82 w 10000"/>
                <a:gd name="connsiteY73" fmla="*/ 4283 h 10000"/>
                <a:gd name="connsiteX74" fmla="*/ 205 w 10000"/>
                <a:gd name="connsiteY74" fmla="*/ 3912 h 10000"/>
                <a:gd name="connsiteX75" fmla="*/ 249 w 10000"/>
                <a:gd name="connsiteY75" fmla="*/ 3664 h 10000"/>
                <a:gd name="connsiteX76" fmla="*/ 151 w 10000"/>
                <a:gd name="connsiteY76" fmla="*/ 3488 h 10000"/>
                <a:gd name="connsiteX77" fmla="*/ 189 w 10000"/>
                <a:gd name="connsiteY77" fmla="*/ 3344 h 10000"/>
                <a:gd name="connsiteX78" fmla="*/ 113 w 10000"/>
                <a:gd name="connsiteY78" fmla="*/ 3148 h 10000"/>
                <a:gd name="connsiteX79" fmla="*/ 113 w 10000"/>
                <a:gd name="connsiteY79" fmla="*/ 2972 h 10000"/>
                <a:gd name="connsiteX80" fmla="*/ 60 w 10000"/>
                <a:gd name="connsiteY80" fmla="*/ 2622 h 10000"/>
                <a:gd name="connsiteX81" fmla="*/ 98 w 10000"/>
                <a:gd name="connsiteY81" fmla="*/ 2404 h 10000"/>
                <a:gd name="connsiteX82" fmla="*/ 38 w 10000"/>
                <a:gd name="connsiteY82" fmla="*/ 2301 h 10000"/>
                <a:gd name="connsiteX83" fmla="*/ 0 w 10000"/>
                <a:gd name="connsiteY83" fmla="*/ 2178 h 10000"/>
                <a:gd name="connsiteX84" fmla="*/ 54 w 10000"/>
                <a:gd name="connsiteY84" fmla="*/ 1951 h 10000"/>
                <a:gd name="connsiteX85" fmla="*/ 120 w 10000"/>
                <a:gd name="connsiteY85" fmla="*/ 1910 h 10000"/>
                <a:gd name="connsiteX86" fmla="*/ 195 w 10000"/>
                <a:gd name="connsiteY86" fmla="*/ 1858 h 10000"/>
                <a:gd name="connsiteX87" fmla="*/ 309 w 10000"/>
                <a:gd name="connsiteY87" fmla="*/ 1951 h 10000"/>
                <a:gd name="connsiteX88" fmla="*/ 482 w 10000"/>
                <a:gd name="connsiteY88" fmla="*/ 2054 h 10000"/>
                <a:gd name="connsiteX89" fmla="*/ 633 w 10000"/>
                <a:gd name="connsiteY89" fmla="*/ 2229 h 10000"/>
                <a:gd name="connsiteX90" fmla="*/ 756 w 10000"/>
                <a:gd name="connsiteY90" fmla="*/ 2373 h 10000"/>
                <a:gd name="connsiteX91" fmla="*/ 725 w 10000"/>
                <a:gd name="connsiteY91" fmla="*/ 2777 h 10000"/>
                <a:gd name="connsiteX92" fmla="*/ 362 w 10000"/>
                <a:gd name="connsiteY92" fmla="*/ 2673 h 10000"/>
                <a:gd name="connsiteX93" fmla="*/ 243 w 10000"/>
                <a:gd name="connsiteY93" fmla="*/ 2550 h 10000"/>
                <a:gd name="connsiteX94" fmla="*/ 287 w 10000"/>
                <a:gd name="connsiteY94" fmla="*/ 2622 h 10000"/>
                <a:gd name="connsiteX95" fmla="*/ 331 w 10000"/>
                <a:gd name="connsiteY95" fmla="*/ 2797 h 10000"/>
                <a:gd name="connsiteX96" fmla="*/ 400 w 10000"/>
                <a:gd name="connsiteY96" fmla="*/ 2921 h 10000"/>
                <a:gd name="connsiteX97" fmla="*/ 416 w 10000"/>
                <a:gd name="connsiteY97" fmla="*/ 3189 h 10000"/>
                <a:gd name="connsiteX98" fmla="*/ 507 w 10000"/>
                <a:gd name="connsiteY98" fmla="*/ 3313 h 10000"/>
                <a:gd name="connsiteX99" fmla="*/ 583 w 10000"/>
                <a:gd name="connsiteY99" fmla="*/ 3436 h 10000"/>
                <a:gd name="connsiteX100" fmla="*/ 605 w 10000"/>
                <a:gd name="connsiteY100" fmla="*/ 3467 h 10000"/>
                <a:gd name="connsiteX101" fmla="*/ 649 w 10000"/>
                <a:gd name="connsiteY101" fmla="*/ 3436 h 10000"/>
                <a:gd name="connsiteX102" fmla="*/ 633 w 10000"/>
                <a:gd name="connsiteY102" fmla="*/ 3364 h 10000"/>
                <a:gd name="connsiteX103" fmla="*/ 545 w 10000"/>
                <a:gd name="connsiteY103" fmla="*/ 3189 h 10000"/>
                <a:gd name="connsiteX104" fmla="*/ 801 w 10000"/>
                <a:gd name="connsiteY104" fmla="*/ 3344 h 10000"/>
                <a:gd name="connsiteX105" fmla="*/ 810 w 10000"/>
                <a:gd name="connsiteY105" fmla="*/ 3271 h 10000"/>
                <a:gd name="connsiteX106" fmla="*/ 785 w 10000"/>
                <a:gd name="connsiteY106" fmla="*/ 3220 h 10000"/>
                <a:gd name="connsiteX107" fmla="*/ 741 w 10000"/>
                <a:gd name="connsiteY107" fmla="*/ 2993 h 10000"/>
                <a:gd name="connsiteX108" fmla="*/ 870 w 10000"/>
                <a:gd name="connsiteY108" fmla="*/ 2777 h 10000"/>
                <a:gd name="connsiteX109" fmla="*/ 968 w 10000"/>
                <a:gd name="connsiteY109" fmla="*/ 2921 h 10000"/>
                <a:gd name="connsiteX110" fmla="*/ 999 w 10000"/>
                <a:gd name="connsiteY110" fmla="*/ 2725 h 10000"/>
                <a:gd name="connsiteX111" fmla="*/ 952 w 10000"/>
                <a:gd name="connsiteY111" fmla="*/ 2653 h 10000"/>
                <a:gd name="connsiteX112" fmla="*/ 936 w 10000"/>
                <a:gd name="connsiteY112" fmla="*/ 2281 h 10000"/>
                <a:gd name="connsiteX113" fmla="*/ 914 w 10000"/>
                <a:gd name="connsiteY113" fmla="*/ 2229 h 10000"/>
                <a:gd name="connsiteX114" fmla="*/ 1037 w 10000"/>
                <a:gd name="connsiteY114" fmla="*/ 2250 h 10000"/>
                <a:gd name="connsiteX115" fmla="*/ 1087 w 10000"/>
                <a:gd name="connsiteY115" fmla="*/ 2404 h 10000"/>
                <a:gd name="connsiteX116" fmla="*/ 1021 w 10000"/>
                <a:gd name="connsiteY116" fmla="*/ 2529 h 10000"/>
                <a:gd name="connsiteX117" fmla="*/ 1135 w 10000"/>
                <a:gd name="connsiteY117" fmla="*/ 2694 h 10000"/>
                <a:gd name="connsiteX118" fmla="*/ 1226 w 10000"/>
                <a:gd name="connsiteY118" fmla="*/ 2529 h 10000"/>
                <a:gd name="connsiteX119" fmla="*/ 1339 w 10000"/>
                <a:gd name="connsiteY119" fmla="*/ 2301 h 10000"/>
                <a:gd name="connsiteX120" fmla="*/ 1459 w 10000"/>
                <a:gd name="connsiteY120" fmla="*/ 2157 h 10000"/>
                <a:gd name="connsiteX121" fmla="*/ 1497 w 10000"/>
                <a:gd name="connsiteY121" fmla="*/ 2250 h 10000"/>
                <a:gd name="connsiteX122" fmla="*/ 1807 w 10000"/>
                <a:gd name="connsiteY122" fmla="*/ 2054 h 10000"/>
                <a:gd name="connsiteX123" fmla="*/ 1870 w 10000"/>
                <a:gd name="connsiteY123" fmla="*/ 2250 h 10000"/>
                <a:gd name="connsiteX124" fmla="*/ 1860 w 10000"/>
                <a:gd name="connsiteY124" fmla="*/ 2002 h 10000"/>
                <a:gd name="connsiteX125" fmla="*/ 1778 w 10000"/>
                <a:gd name="connsiteY125" fmla="*/ 1786 h 10000"/>
                <a:gd name="connsiteX126" fmla="*/ 1763 w 10000"/>
                <a:gd name="connsiteY126" fmla="*/ 1703 h 10000"/>
                <a:gd name="connsiteX127" fmla="*/ 1823 w 10000"/>
                <a:gd name="connsiteY127" fmla="*/ 1786 h 10000"/>
                <a:gd name="connsiteX128" fmla="*/ 2034 w 10000"/>
                <a:gd name="connsiteY128" fmla="*/ 1951 h 10000"/>
                <a:gd name="connsiteX129" fmla="*/ 2270 w 10000"/>
                <a:gd name="connsiteY129" fmla="*/ 2126 h 10000"/>
                <a:gd name="connsiteX130" fmla="*/ 2384 w 10000"/>
                <a:gd name="connsiteY130" fmla="*/ 2250 h 10000"/>
                <a:gd name="connsiteX131" fmla="*/ 2421 w 10000"/>
                <a:gd name="connsiteY131" fmla="*/ 2074 h 10000"/>
                <a:gd name="connsiteX132" fmla="*/ 2368 w 10000"/>
                <a:gd name="connsiteY132" fmla="*/ 2033 h 10000"/>
                <a:gd name="connsiteX133" fmla="*/ 2299 w 10000"/>
                <a:gd name="connsiteY133" fmla="*/ 1930 h 10000"/>
                <a:gd name="connsiteX134" fmla="*/ 2254 w 10000"/>
                <a:gd name="connsiteY134" fmla="*/ 1734 h 10000"/>
                <a:gd name="connsiteX135" fmla="*/ 2185 w 10000"/>
                <a:gd name="connsiteY135" fmla="*/ 1486 h 10000"/>
                <a:gd name="connsiteX136" fmla="*/ 2210 w 10000"/>
                <a:gd name="connsiteY136" fmla="*/ 1434 h 10000"/>
                <a:gd name="connsiteX137" fmla="*/ 2232 w 10000"/>
                <a:gd name="connsiteY137" fmla="*/ 1455 h 10000"/>
                <a:gd name="connsiteX138" fmla="*/ 2292 w 10000"/>
                <a:gd name="connsiteY138" fmla="*/ 1115 h 10000"/>
                <a:gd name="connsiteX139" fmla="*/ 2443 w 10000"/>
                <a:gd name="connsiteY139" fmla="*/ 1135 h 10000"/>
                <a:gd name="connsiteX140" fmla="*/ 2488 w 10000"/>
                <a:gd name="connsiteY140" fmla="*/ 1311 h 10000"/>
                <a:gd name="connsiteX141" fmla="*/ 2519 w 10000"/>
                <a:gd name="connsiteY141" fmla="*/ 1538 h 10000"/>
                <a:gd name="connsiteX142" fmla="*/ 2573 w 10000"/>
                <a:gd name="connsiteY142" fmla="*/ 1734 h 10000"/>
                <a:gd name="connsiteX143" fmla="*/ 2670 w 10000"/>
                <a:gd name="connsiteY143" fmla="*/ 2157 h 10000"/>
                <a:gd name="connsiteX144" fmla="*/ 2481 w 10000"/>
                <a:gd name="connsiteY144" fmla="*/ 2673 h 10000"/>
                <a:gd name="connsiteX145" fmla="*/ 2557 w 10000"/>
                <a:gd name="connsiteY145" fmla="*/ 2746 h 10000"/>
                <a:gd name="connsiteX146" fmla="*/ 2655 w 10000"/>
                <a:gd name="connsiteY146" fmla="*/ 2818 h 10000"/>
                <a:gd name="connsiteX147" fmla="*/ 2784 w 10000"/>
                <a:gd name="connsiteY147" fmla="*/ 2622 h 10000"/>
                <a:gd name="connsiteX148" fmla="*/ 2790 w 10000"/>
                <a:gd name="connsiteY148" fmla="*/ 2404 h 10000"/>
                <a:gd name="connsiteX149" fmla="*/ 2746 w 10000"/>
                <a:gd name="connsiteY149" fmla="*/ 2301 h 10000"/>
                <a:gd name="connsiteX150" fmla="*/ 2919 w 10000"/>
                <a:gd name="connsiteY150" fmla="*/ 2250 h 10000"/>
                <a:gd name="connsiteX151" fmla="*/ 2989 w 10000"/>
                <a:gd name="connsiteY151" fmla="*/ 2497 h 10000"/>
                <a:gd name="connsiteX152" fmla="*/ 2989 w 10000"/>
                <a:gd name="connsiteY152" fmla="*/ 2425 h 10000"/>
                <a:gd name="connsiteX153" fmla="*/ 2973 w 10000"/>
                <a:gd name="connsiteY153" fmla="*/ 2353 h 10000"/>
                <a:gd name="connsiteX154" fmla="*/ 2967 w 10000"/>
                <a:gd name="connsiteY154" fmla="*/ 2178 h 10000"/>
                <a:gd name="connsiteX155" fmla="*/ 2800 w 10000"/>
                <a:gd name="connsiteY155" fmla="*/ 1930 h 10000"/>
                <a:gd name="connsiteX156" fmla="*/ 2670 w 10000"/>
                <a:gd name="connsiteY156" fmla="*/ 2002 h 10000"/>
                <a:gd name="connsiteX157" fmla="*/ 2617 w 10000"/>
                <a:gd name="connsiteY157" fmla="*/ 1683 h 10000"/>
                <a:gd name="connsiteX158" fmla="*/ 2563 w 10000"/>
                <a:gd name="connsiteY158" fmla="*/ 1507 h 10000"/>
                <a:gd name="connsiteX159" fmla="*/ 2617 w 10000"/>
                <a:gd name="connsiteY159" fmla="*/ 1331 h 10000"/>
                <a:gd name="connsiteX160" fmla="*/ 2611 w 10000"/>
                <a:gd name="connsiteY160" fmla="*/ 1166 h 10000"/>
                <a:gd name="connsiteX161" fmla="*/ 2588 w 10000"/>
                <a:gd name="connsiteY161" fmla="*/ 1115 h 10000"/>
                <a:gd name="connsiteX162" fmla="*/ 2626 w 10000"/>
                <a:gd name="connsiteY162" fmla="*/ 1115 h 10000"/>
                <a:gd name="connsiteX163" fmla="*/ 2670 w 10000"/>
                <a:gd name="connsiteY163" fmla="*/ 1455 h 10000"/>
                <a:gd name="connsiteX164" fmla="*/ 2891 w 10000"/>
                <a:gd name="connsiteY164" fmla="*/ 1662 h 10000"/>
                <a:gd name="connsiteX165" fmla="*/ 2724 w 10000"/>
                <a:gd name="connsiteY165" fmla="*/ 1383 h 10000"/>
                <a:gd name="connsiteX166" fmla="*/ 3049 w 10000"/>
                <a:gd name="connsiteY166" fmla="*/ 1383 h 10000"/>
                <a:gd name="connsiteX167" fmla="*/ 3102 w 10000"/>
                <a:gd name="connsiteY167" fmla="*/ 1362 h 10000"/>
                <a:gd name="connsiteX168" fmla="*/ 2897 w 10000"/>
                <a:gd name="connsiteY168" fmla="*/ 1115 h 10000"/>
                <a:gd name="connsiteX169" fmla="*/ 2951 w 10000"/>
                <a:gd name="connsiteY169" fmla="*/ 888 h 10000"/>
                <a:gd name="connsiteX170" fmla="*/ 3178 w 10000"/>
                <a:gd name="connsiteY170" fmla="*/ 888 h 10000"/>
                <a:gd name="connsiteX171" fmla="*/ 3156 w 10000"/>
                <a:gd name="connsiteY171" fmla="*/ 713 h 10000"/>
                <a:gd name="connsiteX172" fmla="*/ 3231 w 10000"/>
                <a:gd name="connsiteY172" fmla="*/ 589 h 10000"/>
                <a:gd name="connsiteX173" fmla="*/ 3276 w 10000"/>
                <a:gd name="connsiteY173" fmla="*/ 548 h 10000"/>
                <a:gd name="connsiteX174" fmla="*/ 3443 w 10000"/>
                <a:gd name="connsiteY174" fmla="*/ 423 h 10000"/>
                <a:gd name="connsiteX175" fmla="*/ 3487 w 10000"/>
                <a:gd name="connsiteY175" fmla="*/ 371 h 10000"/>
                <a:gd name="connsiteX176" fmla="*/ 3480 w 10000"/>
                <a:gd name="connsiteY176" fmla="*/ 444 h 10000"/>
                <a:gd name="connsiteX177" fmla="*/ 3660 w 10000"/>
                <a:gd name="connsiteY177" fmla="*/ 371 h 10000"/>
                <a:gd name="connsiteX178" fmla="*/ 3805 w 10000"/>
                <a:gd name="connsiteY178" fmla="*/ 248 h 10000"/>
                <a:gd name="connsiteX179" fmla="*/ 3827 w 10000"/>
                <a:gd name="connsiteY179" fmla="*/ 0 h 10000"/>
                <a:gd name="connsiteX180" fmla="*/ 3988 w 10000"/>
                <a:gd name="connsiteY180" fmla="*/ 21 h 10000"/>
                <a:gd name="connsiteX181" fmla="*/ 3978 w 10000"/>
                <a:gd name="connsiteY181" fmla="*/ 93 h 10000"/>
                <a:gd name="connsiteX182" fmla="*/ 3988 w 10000"/>
                <a:gd name="connsiteY182" fmla="*/ 176 h 10000"/>
                <a:gd name="connsiteX183" fmla="*/ 4085 w 10000"/>
                <a:gd name="connsiteY183" fmla="*/ 248 h 10000"/>
                <a:gd name="connsiteX184" fmla="*/ 4379 w 10000"/>
                <a:gd name="connsiteY184" fmla="*/ 268 h 10000"/>
                <a:gd name="connsiteX185" fmla="*/ 4539 w 10000"/>
                <a:gd name="connsiteY185" fmla="*/ 392 h 10000"/>
                <a:gd name="connsiteX186" fmla="*/ 4486 w 10000"/>
                <a:gd name="connsiteY186" fmla="*/ 795 h 10000"/>
                <a:gd name="connsiteX187" fmla="*/ 4426 w 10000"/>
                <a:gd name="connsiteY187" fmla="*/ 919 h 10000"/>
                <a:gd name="connsiteX188" fmla="*/ 4356 w 10000"/>
                <a:gd name="connsiteY188" fmla="*/ 1043 h 10000"/>
                <a:gd name="connsiteX189" fmla="*/ 4372 w 10000"/>
                <a:gd name="connsiteY189" fmla="*/ 1115 h 10000"/>
                <a:gd name="connsiteX190" fmla="*/ 4583 w 10000"/>
                <a:gd name="connsiteY190" fmla="*/ 919 h 10000"/>
                <a:gd name="connsiteX191" fmla="*/ 5060 w 10000"/>
                <a:gd name="connsiteY191" fmla="*/ 991 h 10000"/>
                <a:gd name="connsiteX192" fmla="*/ 5108 w 10000"/>
                <a:gd name="connsiteY192" fmla="*/ 1063 h 10000"/>
                <a:gd name="connsiteX193" fmla="*/ 5212 w 10000"/>
                <a:gd name="connsiteY193" fmla="*/ 1187 h 10000"/>
                <a:gd name="connsiteX194" fmla="*/ 5357 w 10000"/>
                <a:gd name="connsiteY194" fmla="*/ 919 h 10000"/>
                <a:gd name="connsiteX195" fmla="*/ 5577 w 10000"/>
                <a:gd name="connsiteY195" fmla="*/ 1063 h 10000"/>
                <a:gd name="connsiteX196" fmla="*/ 5643 w 10000"/>
                <a:gd name="connsiteY196" fmla="*/ 1115 h 10000"/>
                <a:gd name="connsiteX197" fmla="*/ 5697 w 10000"/>
                <a:gd name="connsiteY197" fmla="*/ 1166 h 10000"/>
                <a:gd name="connsiteX198" fmla="*/ 5908 w 10000"/>
                <a:gd name="connsiteY198" fmla="*/ 1631 h 10000"/>
                <a:gd name="connsiteX199" fmla="*/ 5984 w 10000"/>
                <a:gd name="connsiteY199" fmla="*/ 1611 h 10000"/>
                <a:gd name="connsiteX200" fmla="*/ 5977 w 10000"/>
                <a:gd name="connsiteY200" fmla="*/ 1507 h 10000"/>
                <a:gd name="connsiteX201" fmla="*/ 5984 w 10000"/>
                <a:gd name="connsiteY201" fmla="*/ 1383 h 10000"/>
                <a:gd name="connsiteX202" fmla="*/ 6091 w 10000"/>
                <a:gd name="connsiteY202" fmla="*/ 1486 h 10000"/>
                <a:gd name="connsiteX203" fmla="*/ 6264 w 10000"/>
                <a:gd name="connsiteY203" fmla="*/ 1507 h 10000"/>
                <a:gd name="connsiteX204" fmla="*/ 6409 w 10000"/>
                <a:gd name="connsiteY204" fmla="*/ 1455 h 10000"/>
                <a:gd name="connsiteX205" fmla="*/ 6340 w 10000"/>
                <a:gd name="connsiteY205" fmla="*/ 1362 h 10000"/>
                <a:gd name="connsiteX206" fmla="*/ 6431 w 10000"/>
                <a:gd name="connsiteY206" fmla="*/ 1084 h 10000"/>
                <a:gd name="connsiteX207" fmla="*/ 6687 w 10000"/>
                <a:gd name="connsiteY207" fmla="*/ 1207 h 10000"/>
                <a:gd name="connsiteX208" fmla="*/ 6945 w 10000"/>
                <a:gd name="connsiteY208" fmla="*/ 1331 h 10000"/>
                <a:gd name="connsiteX209" fmla="*/ 6967 w 10000"/>
                <a:gd name="connsiteY209" fmla="*/ 1362 h 10000"/>
                <a:gd name="connsiteX210" fmla="*/ 7194 w 10000"/>
                <a:gd name="connsiteY210" fmla="*/ 1611 h 10000"/>
                <a:gd name="connsiteX211" fmla="*/ 7367 w 10000"/>
                <a:gd name="connsiteY211" fmla="*/ 1507 h 10000"/>
                <a:gd name="connsiteX212" fmla="*/ 7582 w 10000"/>
                <a:gd name="connsiteY212" fmla="*/ 1538 h 10000"/>
                <a:gd name="connsiteX213" fmla="*/ 7657 w 10000"/>
                <a:gd name="connsiteY213" fmla="*/ 1611 h 10000"/>
                <a:gd name="connsiteX214" fmla="*/ 7928 w 10000"/>
                <a:gd name="connsiteY214" fmla="*/ 1930 h 10000"/>
                <a:gd name="connsiteX215" fmla="*/ 8231 w 10000"/>
                <a:gd name="connsiteY215" fmla="*/ 1879 h 10000"/>
                <a:gd name="connsiteX216" fmla="*/ 8339 w 10000"/>
                <a:gd name="connsiteY216" fmla="*/ 2033 h 10000"/>
                <a:gd name="connsiteX217" fmla="*/ 8490 w 10000"/>
                <a:gd name="connsiteY217" fmla="*/ 2157 h 10000"/>
                <a:gd name="connsiteX218" fmla="*/ 8519 w 10000"/>
                <a:gd name="connsiteY218" fmla="*/ 2105 h 10000"/>
                <a:gd name="connsiteX219" fmla="*/ 8497 w 10000"/>
                <a:gd name="connsiteY219" fmla="*/ 2074 h 10000"/>
                <a:gd name="connsiteX220" fmla="*/ 8383 w 10000"/>
                <a:gd name="connsiteY220" fmla="*/ 1930 h 10000"/>
                <a:gd name="connsiteX221" fmla="*/ 8465 w 10000"/>
                <a:gd name="connsiteY221" fmla="*/ 1755 h 10000"/>
                <a:gd name="connsiteX222" fmla="*/ 8664 w 10000"/>
                <a:gd name="connsiteY222" fmla="*/ 1910 h 10000"/>
                <a:gd name="connsiteX223" fmla="*/ 8950 w 10000"/>
                <a:gd name="connsiteY223" fmla="*/ 1982 h 10000"/>
                <a:gd name="connsiteX224" fmla="*/ 9206 w 10000"/>
                <a:gd name="connsiteY224" fmla="*/ 2260 h 10000"/>
                <a:gd name="connsiteX225" fmla="*/ 9344 w 10000"/>
                <a:gd name="connsiteY225" fmla="*/ 2332 h 10000"/>
                <a:gd name="connsiteX226" fmla="*/ 9451 w 10000"/>
                <a:gd name="connsiteY226" fmla="*/ 2446 h 10000"/>
                <a:gd name="connsiteX227" fmla="*/ 9574 w 10000"/>
                <a:gd name="connsiteY227" fmla="*/ 2632 h 10000"/>
                <a:gd name="connsiteX228" fmla="*/ 9631 w 10000"/>
                <a:gd name="connsiteY228" fmla="*/ 2756 h 10000"/>
                <a:gd name="connsiteX229" fmla="*/ 9726 w 10000"/>
                <a:gd name="connsiteY229" fmla="*/ 2787 h 10000"/>
                <a:gd name="connsiteX230" fmla="*/ 9590 w 10000"/>
                <a:gd name="connsiteY230" fmla="*/ 2570 h 10000"/>
                <a:gd name="connsiteX231" fmla="*/ 9915 w 10000"/>
                <a:gd name="connsiteY231" fmla="*/ 2756 h 10000"/>
                <a:gd name="connsiteX232" fmla="*/ 10000 w 10000"/>
                <a:gd name="connsiteY232" fmla="*/ 3014 h 10000"/>
                <a:gd name="connsiteX233" fmla="*/ 9934 w 10000"/>
                <a:gd name="connsiteY233" fmla="*/ 2941 h 10000"/>
                <a:gd name="connsiteX234" fmla="*/ 9874 w 10000"/>
                <a:gd name="connsiteY234" fmla="*/ 2952 h 10000"/>
                <a:gd name="connsiteX235" fmla="*/ 10000 w 10000"/>
                <a:gd name="connsiteY235" fmla="*/ 3292 h 10000"/>
                <a:gd name="connsiteX236" fmla="*/ 9845 w 10000"/>
                <a:gd name="connsiteY236" fmla="*/ 3220 h 10000"/>
                <a:gd name="connsiteX237" fmla="*/ 9745 w 10000"/>
                <a:gd name="connsiteY237" fmla="*/ 3075 h 10000"/>
                <a:gd name="connsiteX238" fmla="*/ 9641 w 10000"/>
                <a:gd name="connsiteY238" fmla="*/ 2972 h 10000"/>
                <a:gd name="connsiteX239" fmla="*/ 9555 w 10000"/>
                <a:gd name="connsiteY239" fmla="*/ 3003 h 10000"/>
                <a:gd name="connsiteX240" fmla="*/ 9470 w 10000"/>
                <a:gd name="connsiteY240" fmla="*/ 2787 h 10000"/>
                <a:gd name="connsiteX241" fmla="*/ 9366 w 10000"/>
                <a:gd name="connsiteY241" fmla="*/ 2725 h 10000"/>
                <a:gd name="connsiteX242" fmla="*/ 9461 w 10000"/>
                <a:gd name="connsiteY242" fmla="*/ 2972 h 10000"/>
                <a:gd name="connsiteX243" fmla="*/ 9470 w 10000"/>
                <a:gd name="connsiteY243" fmla="*/ 3230 h 10000"/>
                <a:gd name="connsiteX244" fmla="*/ 9288 w 10000"/>
                <a:gd name="connsiteY244" fmla="*/ 3065 h 10000"/>
                <a:gd name="connsiteX245" fmla="*/ 9262 w 10000"/>
                <a:gd name="connsiteY245" fmla="*/ 3230 h 10000"/>
                <a:gd name="connsiteX246" fmla="*/ 9363 w 10000"/>
                <a:gd name="connsiteY246" fmla="*/ 3230 h 10000"/>
                <a:gd name="connsiteX247" fmla="*/ 9451 w 10000"/>
                <a:gd name="connsiteY247" fmla="*/ 3354 h 10000"/>
                <a:gd name="connsiteX248" fmla="*/ 9659 w 10000"/>
                <a:gd name="connsiteY248" fmla="*/ 3685 h 10000"/>
                <a:gd name="connsiteX249" fmla="*/ 9735 w 10000"/>
                <a:gd name="connsiteY249" fmla="*/ 3839 h 10000"/>
                <a:gd name="connsiteX250" fmla="*/ 9552 w 10000"/>
                <a:gd name="connsiteY250" fmla="*/ 3757 h 10000"/>
                <a:gd name="connsiteX251" fmla="*/ 9451 w 10000"/>
                <a:gd name="connsiteY251" fmla="*/ 4025 h 10000"/>
                <a:gd name="connsiteX252" fmla="*/ 9385 w 10000"/>
                <a:gd name="connsiteY252" fmla="*/ 4283 h 10000"/>
                <a:gd name="connsiteX253" fmla="*/ 9376 w 10000"/>
                <a:gd name="connsiteY253" fmla="*/ 4499 h 10000"/>
                <a:gd name="connsiteX254" fmla="*/ 9335 w 10000"/>
                <a:gd name="connsiteY254" fmla="*/ 4303 h 10000"/>
                <a:gd name="connsiteX255" fmla="*/ 9149 w 10000"/>
                <a:gd name="connsiteY255" fmla="*/ 4314 h 10000"/>
                <a:gd name="connsiteX256" fmla="*/ 9155 w 10000"/>
                <a:gd name="connsiteY256" fmla="*/ 4531 h 10000"/>
                <a:gd name="connsiteX257" fmla="*/ 9061 w 10000"/>
                <a:gd name="connsiteY257" fmla="*/ 4365 h 10000"/>
                <a:gd name="connsiteX258" fmla="*/ 9054 w 10000"/>
                <a:gd name="connsiteY258" fmla="*/ 4521 h 10000"/>
                <a:gd name="connsiteX259" fmla="*/ 8998 w 10000"/>
                <a:gd name="connsiteY259" fmla="*/ 4458 h 10000"/>
                <a:gd name="connsiteX260" fmla="*/ 8966 w 10000"/>
                <a:gd name="connsiteY260" fmla="*/ 4562 h 10000"/>
                <a:gd name="connsiteX261" fmla="*/ 9007 w 10000"/>
                <a:gd name="connsiteY261" fmla="*/ 4686 h 10000"/>
                <a:gd name="connsiteX262" fmla="*/ 9004 w 10000"/>
                <a:gd name="connsiteY262" fmla="*/ 4995 h 10000"/>
                <a:gd name="connsiteX263" fmla="*/ 9073 w 10000"/>
                <a:gd name="connsiteY263" fmla="*/ 5211 h 10000"/>
                <a:gd name="connsiteX264" fmla="*/ 9130 w 10000"/>
                <a:gd name="connsiteY264" fmla="*/ 5150 h 10000"/>
                <a:gd name="connsiteX265" fmla="*/ 9158 w 10000"/>
                <a:gd name="connsiteY265" fmla="*/ 5211 h 10000"/>
                <a:gd name="connsiteX266" fmla="*/ 9231 w 10000"/>
                <a:gd name="connsiteY266" fmla="*/ 5428 h 10000"/>
                <a:gd name="connsiteX267" fmla="*/ 9215 w 10000"/>
                <a:gd name="connsiteY267" fmla="*/ 5604 h 10000"/>
                <a:gd name="connsiteX268" fmla="*/ 9221 w 10000"/>
                <a:gd name="connsiteY268" fmla="*/ 5769 h 10000"/>
                <a:gd name="connsiteX269" fmla="*/ 9269 w 10000"/>
                <a:gd name="connsiteY269" fmla="*/ 5883 h 10000"/>
                <a:gd name="connsiteX270" fmla="*/ 9344 w 10000"/>
                <a:gd name="connsiteY270" fmla="*/ 6068 h 10000"/>
                <a:gd name="connsiteX271" fmla="*/ 9269 w 10000"/>
                <a:gd name="connsiteY271" fmla="*/ 6068 h 10000"/>
                <a:gd name="connsiteX272" fmla="*/ 9253 w 10000"/>
                <a:gd name="connsiteY272" fmla="*/ 6223 h 10000"/>
                <a:gd name="connsiteX273" fmla="*/ 9319 w 10000"/>
                <a:gd name="connsiteY273" fmla="*/ 6408 h 10000"/>
                <a:gd name="connsiteX274" fmla="*/ 9250 w 10000"/>
                <a:gd name="connsiteY274" fmla="*/ 6502 h 10000"/>
                <a:gd name="connsiteX275" fmla="*/ 9297 w 10000"/>
                <a:gd name="connsiteY275" fmla="*/ 6729 h 10000"/>
                <a:gd name="connsiteX276" fmla="*/ 9281 w 10000"/>
                <a:gd name="connsiteY276" fmla="*/ 7069 h 10000"/>
                <a:gd name="connsiteX277" fmla="*/ 9061 w 10000"/>
                <a:gd name="connsiteY277" fmla="*/ 6408 h 10000"/>
                <a:gd name="connsiteX278" fmla="*/ 8824 w 10000"/>
                <a:gd name="connsiteY278" fmla="*/ 5759 h 10000"/>
                <a:gd name="connsiteX279" fmla="*/ 8771 w 10000"/>
                <a:gd name="connsiteY279" fmla="*/ 5459 h 10000"/>
                <a:gd name="connsiteX280" fmla="*/ 8768 w 10000"/>
                <a:gd name="connsiteY280" fmla="*/ 5211 h 10000"/>
                <a:gd name="connsiteX281" fmla="*/ 8692 w 10000"/>
                <a:gd name="connsiteY281" fmla="*/ 5047 h 10000"/>
                <a:gd name="connsiteX282" fmla="*/ 8771 w 10000"/>
                <a:gd name="connsiteY282" fmla="*/ 5088 h 10000"/>
                <a:gd name="connsiteX283" fmla="*/ 8809 w 10000"/>
                <a:gd name="connsiteY283" fmla="*/ 5108 h 10000"/>
                <a:gd name="connsiteX284" fmla="*/ 8809 w 10000"/>
                <a:gd name="connsiteY284" fmla="*/ 4840 h 10000"/>
                <a:gd name="connsiteX285" fmla="*/ 8827 w 10000"/>
                <a:gd name="connsiteY285" fmla="*/ 4437 h 10000"/>
                <a:gd name="connsiteX286" fmla="*/ 8853 w 10000"/>
                <a:gd name="connsiteY286" fmla="*/ 4252 h 10000"/>
                <a:gd name="connsiteX287" fmla="*/ 8909 w 10000"/>
                <a:gd name="connsiteY287" fmla="*/ 4221 h 10000"/>
                <a:gd name="connsiteX288" fmla="*/ 8786 w 10000"/>
                <a:gd name="connsiteY288" fmla="*/ 3901 h 10000"/>
                <a:gd name="connsiteX289" fmla="*/ 8853 w 10000"/>
                <a:gd name="connsiteY289" fmla="*/ 3839 h 10000"/>
                <a:gd name="connsiteX290" fmla="*/ 8739 w 10000"/>
                <a:gd name="connsiteY290" fmla="*/ 3788 h 10000"/>
                <a:gd name="connsiteX291" fmla="*/ 8755 w 10000"/>
                <a:gd name="connsiteY291" fmla="*/ 3984 h 10000"/>
                <a:gd name="connsiteX292" fmla="*/ 8692 w 10000"/>
                <a:gd name="connsiteY292" fmla="*/ 4303 h 10000"/>
                <a:gd name="connsiteX293" fmla="*/ 8604 w 10000"/>
                <a:gd name="connsiteY293" fmla="*/ 4210 h 10000"/>
                <a:gd name="connsiteX294" fmla="*/ 8550 w 10000"/>
                <a:gd name="connsiteY294" fmla="*/ 4056 h 10000"/>
                <a:gd name="connsiteX295" fmla="*/ 8481 w 10000"/>
                <a:gd name="connsiteY295" fmla="*/ 4138 h 10000"/>
                <a:gd name="connsiteX296" fmla="*/ 8389 w 10000"/>
                <a:gd name="connsiteY296" fmla="*/ 4107 h 10000"/>
                <a:gd name="connsiteX297" fmla="*/ 8352 w 10000"/>
                <a:gd name="connsiteY297" fmla="*/ 4406 h 10000"/>
                <a:gd name="connsiteX298" fmla="*/ 8481 w 10000"/>
                <a:gd name="connsiteY298" fmla="*/ 4655 h 10000"/>
                <a:gd name="connsiteX299" fmla="*/ 8405 w 10000"/>
                <a:gd name="connsiteY299" fmla="*/ 4830 h 10000"/>
                <a:gd name="connsiteX300" fmla="*/ 8225 w 10000"/>
                <a:gd name="connsiteY300" fmla="*/ 4799 h 10000"/>
                <a:gd name="connsiteX301" fmla="*/ 8209 w 10000"/>
                <a:gd name="connsiteY301" fmla="*/ 4655 h 10000"/>
                <a:gd name="connsiteX302" fmla="*/ 8102 w 10000"/>
                <a:gd name="connsiteY302" fmla="*/ 4634 h 10000"/>
                <a:gd name="connsiteX303" fmla="*/ 7641 w 10000"/>
                <a:gd name="connsiteY303" fmla="*/ 4779 h 10000"/>
                <a:gd name="connsiteX304" fmla="*/ 7610 w 10000"/>
                <a:gd name="connsiteY304" fmla="*/ 5005 h 10000"/>
                <a:gd name="connsiteX305" fmla="*/ 7550 w 10000"/>
                <a:gd name="connsiteY305" fmla="*/ 5666 h 10000"/>
                <a:gd name="connsiteX306" fmla="*/ 7496 w 10000"/>
                <a:gd name="connsiteY306" fmla="*/ 5965 h 10000"/>
                <a:gd name="connsiteX307" fmla="*/ 7701 w 10000"/>
                <a:gd name="connsiteY307" fmla="*/ 6161 h 10000"/>
                <a:gd name="connsiteX308" fmla="*/ 7745 w 10000"/>
                <a:gd name="connsiteY308" fmla="*/ 6243 h 10000"/>
                <a:gd name="connsiteX309" fmla="*/ 7771 w 10000"/>
                <a:gd name="connsiteY309" fmla="*/ 6285 h 10000"/>
                <a:gd name="connsiteX310" fmla="*/ 7793 w 10000"/>
                <a:gd name="connsiteY310" fmla="*/ 6068 h 10000"/>
                <a:gd name="connsiteX311" fmla="*/ 7912 w 10000"/>
                <a:gd name="connsiteY311" fmla="*/ 6089 h 10000"/>
                <a:gd name="connsiteX312" fmla="*/ 8004 w 10000"/>
                <a:gd name="connsiteY312" fmla="*/ 6367 h 10000"/>
                <a:gd name="connsiteX313" fmla="*/ 8064 w 10000"/>
                <a:gd name="connsiteY313" fmla="*/ 6616 h 10000"/>
                <a:gd name="connsiteX314" fmla="*/ 8111 w 10000"/>
                <a:gd name="connsiteY314" fmla="*/ 6781 h 10000"/>
                <a:gd name="connsiteX315" fmla="*/ 8048 w 10000"/>
                <a:gd name="connsiteY315" fmla="*/ 6491 h 10000"/>
                <a:gd name="connsiteX316" fmla="*/ 8124 w 10000"/>
                <a:gd name="connsiteY316" fmla="*/ 6336 h 10000"/>
                <a:gd name="connsiteX317" fmla="*/ 8177 w 10000"/>
                <a:gd name="connsiteY317" fmla="*/ 6512 h 10000"/>
                <a:gd name="connsiteX318" fmla="*/ 8300 w 10000"/>
                <a:gd name="connsiteY318" fmla="*/ 6987 h 10000"/>
                <a:gd name="connsiteX319" fmla="*/ 8361 w 10000"/>
                <a:gd name="connsiteY319" fmla="*/ 7152 h 10000"/>
                <a:gd name="connsiteX320" fmla="*/ 8490 w 10000"/>
                <a:gd name="connsiteY320" fmla="*/ 7482 h 10000"/>
                <a:gd name="connsiteX321" fmla="*/ 8604 w 10000"/>
                <a:gd name="connsiteY321" fmla="*/ 7854 h 10000"/>
                <a:gd name="connsiteX322" fmla="*/ 8474 w 10000"/>
                <a:gd name="connsiteY322" fmla="*/ 7647 h 10000"/>
                <a:gd name="connsiteX323" fmla="*/ 8443 w 10000"/>
                <a:gd name="connsiteY323" fmla="*/ 7678 h 10000"/>
                <a:gd name="connsiteX324" fmla="*/ 8512 w 10000"/>
                <a:gd name="connsiteY324" fmla="*/ 8050 h 10000"/>
                <a:gd name="connsiteX325" fmla="*/ 8588 w 10000"/>
                <a:gd name="connsiteY325" fmla="*/ 8266 h 10000"/>
                <a:gd name="connsiteX326" fmla="*/ 8642 w 10000"/>
                <a:gd name="connsiteY326" fmla="*/ 8472 h 10000"/>
                <a:gd name="connsiteX327" fmla="*/ 8566 w 10000"/>
                <a:gd name="connsiteY327" fmla="*/ 8421 h 10000"/>
                <a:gd name="connsiteX328" fmla="*/ 8556 w 10000"/>
                <a:gd name="connsiteY328" fmla="*/ 8669 h 10000"/>
                <a:gd name="connsiteX329" fmla="*/ 8497 w 10000"/>
                <a:gd name="connsiteY329" fmla="*/ 8493 h 10000"/>
                <a:gd name="connsiteX330" fmla="*/ 8481 w 10000"/>
                <a:gd name="connsiteY330" fmla="*/ 8421 h 10000"/>
                <a:gd name="connsiteX331" fmla="*/ 8361 w 10000"/>
                <a:gd name="connsiteY331" fmla="*/ 7751 h 10000"/>
                <a:gd name="connsiteX332" fmla="*/ 8322 w 10000"/>
                <a:gd name="connsiteY332" fmla="*/ 7524 h 10000"/>
                <a:gd name="connsiteX333" fmla="*/ 8291 w 10000"/>
                <a:gd name="connsiteY333" fmla="*/ 7378 h 10000"/>
                <a:gd name="connsiteX334" fmla="*/ 8275 w 10000"/>
                <a:gd name="connsiteY334" fmla="*/ 7306 h 10000"/>
                <a:gd name="connsiteX335" fmla="*/ 8139 w 10000"/>
                <a:gd name="connsiteY335" fmla="*/ 6863 h 10000"/>
                <a:gd name="connsiteX336" fmla="*/ 8199 w 10000"/>
                <a:gd name="connsiteY336" fmla="*/ 7451 h 10000"/>
                <a:gd name="connsiteX337" fmla="*/ 8247 w 10000"/>
                <a:gd name="connsiteY337" fmla="*/ 7998 h 10000"/>
                <a:gd name="connsiteX338" fmla="*/ 8177 w 10000"/>
                <a:gd name="connsiteY338" fmla="*/ 9133 h 10000"/>
                <a:gd name="connsiteX339" fmla="*/ 8124 w 10000"/>
                <a:gd name="connsiteY339" fmla="*/ 9484 h 10000"/>
                <a:gd name="connsiteX340" fmla="*/ 7972 w 10000"/>
                <a:gd name="connsiteY340" fmla="*/ 9432 h 10000"/>
                <a:gd name="connsiteX341" fmla="*/ 7897 w 10000"/>
                <a:gd name="connsiteY341" fmla="*/ 9660 h 10000"/>
                <a:gd name="connsiteX342" fmla="*/ 7868 w 10000"/>
                <a:gd name="connsiteY342" fmla="*/ 9588 h 10000"/>
                <a:gd name="connsiteX343" fmla="*/ 7884 w 10000"/>
                <a:gd name="connsiteY343" fmla="*/ 9536 h 10000"/>
                <a:gd name="connsiteX344" fmla="*/ 7897 w 10000"/>
                <a:gd name="connsiteY344" fmla="*/ 9380 h 10000"/>
                <a:gd name="connsiteX345" fmla="*/ 7884 w 10000"/>
                <a:gd name="connsiteY345" fmla="*/ 9236 h 10000"/>
                <a:gd name="connsiteX346" fmla="*/ 7793 w 10000"/>
                <a:gd name="connsiteY346" fmla="*/ 8865 h 10000"/>
                <a:gd name="connsiteX347" fmla="*/ 7831 w 10000"/>
                <a:gd name="connsiteY347" fmla="*/ 8741 h 10000"/>
                <a:gd name="connsiteX348" fmla="*/ 7928 w 10000"/>
                <a:gd name="connsiteY348" fmla="*/ 8844 h 10000"/>
                <a:gd name="connsiteX349" fmla="*/ 7912 w 10000"/>
                <a:gd name="connsiteY349" fmla="*/ 8318 h 10000"/>
                <a:gd name="connsiteX350" fmla="*/ 7906 w 10000"/>
                <a:gd name="connsiteY350" fmla="*/ 8019 h 10000"/>
                <a:gd name="connsiteX351" fmla="*/ 7846 w 10000"/>
                <a:gd name="connsiteY351" fmla="*/ 7802 h 10000"/>
                <a:gd name="connsiteX352" fmla="*/ 7723 w 10000"/>
                <a:gd name="connsiteY352" fmla="*/ 8050 h 10000"/>
                <a:gd name="connsiteX353" fmla="*/ 7619 w 10000"/>
                <a:gd name="connsiteY353" fmla="*/ 8019 h 10000"/>
                <a:gd name="connsiteX354" fmla="*/ 7528 w 10000"/>
                <a:gd name="connsiteY354" fmla="*/ 7699 h 10000"/>
                <a:gd name="connsiteX355" fmla="*/ 7355 w 10000"/>
                <a:gd name="connsiteY355" fmla="*/ 7482 h 10000"/>
                <a:gd name="connsiteX356" fmla="*/ 7279 w 10000"/>
                <a:gd name="connsiteY356" fmla="*/ 7482 h 10000"/>
                <a:gd name="connsiteX357" fmla="*/ 7080 w 10000"/>
                <a:gd name="connsiteY357" fmla="*/ 6781 h 10000"/>
                <a:gd name="connsiteX358" fmla="*/ 6901 w 10000"/>
                <a:gd name="connsiteY358" fmla="*/ 6460 h 10000"/>
                <a:gd name="connsiteX359" fmla="*/ 6724 w 10000"/>
                <a:gd name="connsiteY359" fmla="*/ 6336 h 10000"/>
                <a:gd name="connsiteX360" fmla="*/ 6583 w 10000"/>
                <a:gd name="connsiteY360" fmla="*/ 6408 h 10000"/>
                <a:gd name="connsiteX361" fmla="*/ 6567 w 10000"/>
                <a:gd name="connsiteY361" fmla="*/ 6585 h 10000"/>
                <a:gd name="connsiteX362" fmla="*/ 6664 w 10000"/>
                <a:gd name="connsiteY362" fmla="*/ 6760 h 10000"/>
                <a:gd name="connsiteX363" fmla="*/ 6636 w 10000"/>
                <a:gd name="connsiteY363" fmla="*/ 6935 h 10000"/>
                <a:gd name="connsiteX364" fmla="*/ 6636 w 10000"/>
                <a:gd name="connsiteY364" fmla="*/ 7399 h 10000"/>
                <a:gd name="connsiteX365" fmla="*/ 6560 w 10000"/>
                <a:gd name="connsiteY365" fmla="*/ 7482 h 10000"/>
                <a:gd name="connsiteX366" fmla="*/ 6485 w 10000"/>
                <a:gd name="connsiteY366" fmla="*/ 7378 h 10000"/>
                <a:gd name="connsiteX367" fmla="*/ 6400 w 10000"/>
                <a:gd name="connsiteY367" fmla="*/ 7399 h 10000"/>
                <a:gd name="connsiteX368" fmla="*/ 6334 w 10000"/>
                <a:gd name="connsiteY368" fmla="*/ 7275 h 10000"/>
                <a:gd name="connsiteX369" fmla="*/ 6258 w 10000"/>
                <a:gd name="connsiteY369" fmla="*/ 7358 h 10000"/>
                <a:gd name="connsiteX370" fmla="*/ 6220 w 10000"/>
                <a:gd name="connsiteY370" fmla="*/ 7524 h 10000"/>
                <a:gd name="connsiteX371" fmla="*/ 6081 w 10000"/>
                <a:gd name="connsiteY371" fmla="*/ 7606 h 10000"/>
                <a:gd name="connsiteX372" fmla="*/ 5892 w 10000"/>
                <a:gd name="connsiteY372" fmla="*/ 7575 h 10000"/>
                <a:gd name="connsiteX373" fmla="*/ 5855 w 10000"/>
                <a:gd name="connsiteY373" fmla="*/ 7327 h 10000"/>
                <a:gd name="connsiteX374" fmla="*/ 5643 w 10000"/>
                <a:gd name="connsiteY374" fmla="*/ 7255 h 10000"/>
                <a:gd name="connsiteX375" fmla="*/ 5539 w 10000"/>
                <a:gd name="connsiteY375" fmla="*/ 7358 h 10000"/>
                <a:gd name="connsiteX376" fmla="*/ 5416 w 10000"/>
                <a:gd name="connsiteY376" fmla="*/ 7203 h 10000"/>
                <a:gd name="connsiteX377" fmla="*/ 5372 w 10000"/>
                <a:gd name="connsiteY377"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3093 w 10000"/>
                <a:gd name="connsiteY13" fmla="*/ 6161 h 10000"/>
                <a:gd name="connsiteX14" fmla="*/ 1610 w 10000"/>
                <a:gd name="connsiteY14" fmla="*/ 7183 h 10000"/>
                <a:gd name="connsiteX15" fmla="*/ 1655 w 10000"/>
                <a:gd name="connsiteY15" fmla="*/ 7430 h 10000"/>
                <a:gd name="connsiteX16" fmla="*/ 1604 w 10000"/>
                <a:gd name="connsiteY16" fmla="*/ 7430 h 10000"/>
                <a:gd name="connsiteX17" fmla="*/ 1551 w 10000"/>
                <a:gd name="connsiteY17" fmla="*/ 7255 h 10000"/>
                <a:gd name="connsiteX18" fmla="*/ 1513 w 10000"/>
                <a:gd name="connsiteY18" fmla="*/ 7430 h 10000"/>
                <a:gd name="connsiteX19" fmla="*/ 1519 w 10000"/>
                <a:gd name="connsiteY19" fmla="*/ 7854 h 10000"/>
                <a:gd name="connsiteX20" fmla="*/ 1604 w 10000"/>
                <a:gd name="connsiteY20" fmla="*/ 8070 h 10000"/>
                <a:gd name="connsiteX21" fmla="*/ 1648 w 10000"/>
                <a:gd name="connsiteY21" fmla="*/ 8019 h 10000"/>
                <a:gd name="connsiteX22" fmla="*/ 1741 w 10000"/>
                <a:gd name="connsiteY22" fmla="*/ 8493 h 10000"/>
                <a:gd name="connsiteX23" fmla="*/ 1610 w 10000"/>
                <a:gd name="connsiteY23" fmla="*/ 8669 h 10000"/>
                <a:gd name="connsiteX24" fmla="*/ 1595 w 10000"/>
                <a:gd name="connsiteY24" fmla="*/ 9009 h 10000"/>
                <a:gd name="connsiteX25" fmla="*/ 1664 w 10000"/>
                <a:gd name="connsiteY25" fmla="*/ 9236 h 10000"/>
                <a:gd name="connsiteX26" fmla="*/ 1664 w 10000"/>
                <a:gd name="connsiteY26" fmla="*/ 9484 h 10000"/>
                <a:gd name="connsiteX27" fmla="*/ 1769 w 10000"/>
                <a:gd name="connsiteY27" fmla="*/ 9835 h 10000"/>
                <a:gd name="connsiteX28" fmla="*/ 1703 w 10000"/>
                <a:gd name="connsiteY28" fmla="*/ 10000 h 10000"/>
                <a:gd name="connsiteX29" fmla="*/ 1604 w 10000"/>
                <a:gd name="connsiteY29" fmla="*/ 9753 h 10000"/>
                <a:gd name="connsiteX30" fmla="*/ 1465 w 10000"/>
                <a:gd name="connsiteY30" fmla="*/ 9505 h 10000"/>
                <a:gd name="connsiteX31" fmla="*/ 1406 w 10000"/>
                <a:gd name="connsiteY31" fmla="*/ 9588 h 10000"/>
                <a:gd name="connsiteX32" fmla="*/ 1308 w 10000"/>
                <a:gd name="connsiteY32" fmla="*/ 9380 h 10000"/>
                <a:gd name="connsiteX33" fmla="*/ 1097 w 10000"/>
                <a:gd name="connsiteY33" fmla="*/ 9339 h 10000"/>
                <a:gd name="connsiteX34" fmla="*/ 848 w 10000"/>
                <a:gd name="connsiteY34" fmla="*/ 8813 h 10000"/>
                <a:gd name="connsiteX35" fmla="*/ 914 w 10000"/>
                <a:gd name="connsiteY35" fmla="*/ 8721 h 10000"/>
                <a:gd name="connsiteX36" fmla="*/ 961 w 10000"/>
                <a:gd name="connsiteY36" fmla="*/ 8493 h 10000"/>
                <a:gd name="connsiteX37" fmla="*/ 908 w 10000"/>
                <a:gd name="connsiteY37" fmla="*/ 8390 h 10000"/>
                <a:gd name="connsiteX38" fmla="*/ 1021 w 10000"/>
                <a:gd name="connsiteY38" fmla="*/ 8245 h 10000"/>
                <a:gd name="connsiteX39" fmla="*/ 945 w 10000"/>
                <a:gd name="connsiteY39" fmla="*/ 8194 h 10000"/>
                <a:gd name="connsiteX40" fmla="*/ 958 w 10000"/>
                <a:gd name="connsiteY40" fmla="*/ 8091 h 10000"/>
                <a:gd name="connsiteX41" fmla="*/ 1005 w 10000"/>
                <a:gd name="connsiteY41" fmla="*/ 8111 h 10000"/>
                <a:gd name="connsiteX42" fmla="*/ 1059 w 10000"/>
                <a:gd name="connsiteY42" fmla="*/ 8019 h 10000"/>
                <a:gd name="connsiteX43" fmla="*/ 1034 w 10000"/>
                <a:gd name="connsiteY43" fmla="*/ 7864 h 10000"/>
                <a:gd name="connsiteX44" fmla="*/ 1043 w 10000"/>
                <a:gd name="connsiteY44" fmla="*/ 7503 h 10000"/>
                <a:gd name="connsiteX45" fmla="*/ 930 w 10000"/>
                <a:gd name="connsiteY45" fmla="*/ 7440 h 10000"/>
                <a:gd name="connsiteX46" fmla="*/ 832 w 10000"/>
                <a:gd name="connsiteY46" fmla="*/ 7286 h 10000"/>
                <a:gd name="connsiteX47" fmla="*/ 700 w 10000"/>
                <a:gd name="connsiteY47" fmla="*/ 7275 h 10000"/>
                <a:gd name="connsiteX48" fmla="*/ 684 w 10000"/>
                <a:gd name="connsiteY48" fmla="*/ 7090 h 10000"/>
                <a:gd name="connsiteX49" fmla="*/ 596 w 10000"/>
                <a:gd name="connsiteY49" fmla="*/ 6945 h 10000"/>
                <a:gd name="connsiteX50" fmla="*/ 615 w 10000"/>
                <a:gd name="connsiteY50" fmla="*/ 6822 h 10000"/>
                <a:gd name="connsiteX51" fmla="*/ 561 w 10000"/>
                <a:gd name="connsiteY51" fmla="*/ 6698 h 10000"/>
                <a:gd name="connsiteX52" fmla="*/ 457 w 10000"/>
                <a:gd name="connsiteY52" fmla="*/ 6698 h 10000"/>
                <a:gd name="connsiteX53" fmla="*/ 425 w 10000"/>
                <a:gd name="connsiteY53" fmla="*/ 6791 h 10000"/>
                <a:gd name="connsiteX54" fmla="*/ 400 w 10000"/>
                <a:gd name="connsiteY54" fmla="*/ 6750 h 10000"/>
                <a:gd name="connsiteX55" fmla="*/ 378 w 10000"/>
                <a:gd name="connsiteY55" fmla="*/ 6439 h 10000"/>
                <a:gd name="connsiteX56" fmla="*/ 419 w 10000"/>
                <a:gd name="connsiteY56" fmla="*/ 6470 h 10000"/>
                <a:gd name="connsiteX57" fmla="*/ 466 w 10000"/>
                <a:gd name="connsiteY57" fmla="*/ 6347 h 10000"/>
                <a:gd name="connsiteX58" fmla="*/ 400 w 10000"/>
                <a:gd name="connsiteY58" fmla="*/ 6233 h 10000"/>
                <a:gd name="connsiteX59" fmla="*/ 315 w 10000"/>
                <a:gd name="connsiteY59" fmla="*/ 6017 h 10000"/>
                <a:gd name="connsiteX60" fmla="*/ 334 w 10000"/>
                <a:gd name="connsiteY60" fmla="*/ 5821 h 10000"/>
                <a:gd name="connsiteX61" fmla="*/ 274 w 10000"/>
                <a:gd name="connsiteY61" fmla="*/ 5697 h 10000"/>
                <a:gd name="connsiteX62" fmla="*/ 227 w 10000"/>
                <a:gd name="connsiteY62" fmla="*/ 5728 h 10000"/>
                <a:gd name="connsiteX63" fmla="*/ 202 w 10000"/>
                <a:gd name="connsiteY63" fmla="*/ 5604 h 10000"/>
                <a:gd name="connsiteX64" fmla="*/ 164 w 10000"/>
                <a:gd name="connsiteY64" fmla="*/ 5645 h 10000"/>
                <a:gd name="connsiteX65" fmla="*/ 117 w 10000"/>
                <a:gd name="connsiteY65" fmla="*/ 5604 h 10000"/>
                <a:gd name="connsiteX66" fmla="*/ 69 w 10000"/>
                <a:gd name="connsiteY66" fmla="*/ 5181 h 10000"/>
                <a:gd name="connsiteX67" fmla="*/ 85 w 10000"/>
                <a:gd name="connsiteY67" fmla="*/ 5057 h 10000"/>
                <a:gd name="connsiteX68" fmla="*/ 41 w 10000"/>
                <a:gd name="connsiteY68" fmla="*/ 4892 h 10000"/>
                <a:gd name="connsiteX69" fmla="*/ 66 w 10000"/>
                <a:gd name="connsiteY69" fmla="*/ 4655 h 10000"/>
                <a:gd name="connsiteX70" fmla="*/ 211 w 10000"/>
                <a:gd name="connsiteY70" fmla="*/ 4510 h 10000"/>
                <a:gd name="connsiteX71" fmla="*/ 129 w 10000"/>
                <a:gd name="connsiteY71" fmla="*/ 4406 h 10000"/>
                <a:gd name="connsiteX72" fmla="*/ 82 w 10000"/>
                <a:gd name="connsiteY72" fmla="*/ 4283 h 10000"/>
                <a:gd name="connsiteX73" fmla="*/ 205 w 10000"/>
                <a:gd name="connsiteY73" fmla="*/ 3912 h 10000"/>
                <a:gd name="connsiteX74" fmla="*/ 249 w 10000"/>
                <a:gd name="connsiteY74" fmla="*/ 3664 h 10000"/>
                <a:gd name="connsiteX75" fmla="*/ 151 w 10000"/>
                <a:gd name="connsiteY75" fmla="*/ 3488 h 10000"/>
                <a:gd name="connsiteX76" fmla="*/ 189 w 10000"/>
                <a:gd name="connsiteY76" fmla="*/ 3344 h 10000"/>
                <a:gd name="connsiteX77" fmla="*/ 113 w 10000"/>
                <a:gd name="connsiteY77" fmla="*/ 3148 h 10000"/>
                <a:gd name="connsiteX78" fmla="*/ 113 w 10000"/>
                <a:gd name="connsiteY78" fmla="*/ 2972 h 10000"/>
                <a:gd name="connsiteX79" fmla="*/ 60 w 10000"/>
                <a:gd name="connsiteY79" fmla="*/ 2622 h 10000"/>
                <a:gd name="connsiteX80" fmla="*/ 98 w 10000"/>
                <a:gd name="connsiteY80" fmla="*/ 2404 h 10000"/>
                <a:gd name="connsiteX81" fmla="*/ 38 w 10000"/>
                <a:gd name="connsiteY81" fmla="*/ 2301 h 10000"/>
                <a:gd name="connsiteX82" fmla="*/ 0 w 10000"/>
                <a:gd name="connsiteY82" fmla="*/ 2178 h 10000"/>
                <a:gd name="connsiteX83" fmla="*/ 54 w 10000"/>
                <a:gd name="connsiteY83" fmla="*/ 1951 h 10000"/>
                <a:gd name="connsiteX84" fmla="*/ 120 w 10000"/>
                <a:gd name="connsiteY84" fmla="*/ 1910 h 10000"/>
                <a:gd name="connsiteX85" fmla="*/ 195 w 10000"/>
                <a:gd name="connsiteY85" fmla="*/ 1858 h 10000"/>
                <a:gd name="connsiteX86" fmla="*/ 309 w 10000"/>
                <a:gd name="connsiteY86" fmla="*/ 1951 h 10000"/>
                <a:gd name="connsiteX87" fmla="*/ 482 w 10000"/>
                <a:gd name="connsiteY87" fmla="*/ 2054 h 10000"/>
                <a:gd name="connsiteX88" fmla="*/ 633 w 10000"/>
                <a:gd name="connsiteY88" fmla="*/ 2229 h 10000"/>
                <a:gd name="connsiteX89" fmla="*/ 756 w 10000"/>
                <a:gd name="connsiteY89" fmla="*/ 2373 h 10000"/>
                <a:gd name="connsiteX90" fmla="*/ 725 w 10000"/>
                <a:gd name="connsiteY90" fmla="*/ 2777 h 10000"/>
                <a:gd name="connsiteX91" fmla="*/ 362 w 10000"/>
                <a:gd name="connsiteY91" fmla="*/ 2673 h 10000"/>
                <a:gd name="connsiteX92" fmla="*/ 243 w 10000"/>
                <a:gd name="connsiteY92" fmla="*/ 2550 h 10000"/>
                <a:gd name="connsiteX93" fmla="*/ 287 w 10000"/>
                <a:gd name="connsiteY93" fmla="*/ 2622 h 10000"/>
                <a:gd name="connsiteX94" fmla="*/ 331 w 10000"/>
                <a:gd name="connsiteY94" fmla="*/ 2797 h 10000"/>
                <a:gd name="connsiteX95" fmla="*/ 400 w 10000"/>
                <a:gd name="connsiteY95" fmla="*/ 2921 h 10000"/>
                <a:gd name="connsiteX96" fmla="*/ 416 w 10000"/>
                <a:gd name="connsiteY96" fmla="*/ 3189 h 10000"/>
                <a:gd name="connsiteX97" fmla="*/ 507 w 10000"/>
                <a:gd name="connsiteY97" fmla="*/ 3313 h 10000"/>
                <a:gd name="connsiteX98" fmla="*/ 583 w 10000"/>
                <a:gd name="connsiteY98" fmla="*/ 3436 h 10000"/>
                <a:gd name="connsiteX99" fmla="*/ 605 w 10000"/>
                <a:gd name="connsiteY99" fmla="*/ 3467 h 10000"/>
                <a:gd name="connsiteX100" fmla="*/ 649 w 10000"/>
                <a:gd name="connsiteY100" fmla="*/ 3436 h 10000"/>
                <a:gd name="connsiteX101" fmla="*/ 633 w 10000"/>
                <a:gd name="connsiteY101" fmla="*/ 3364 h 10000"/>
                <a:gd name="connsiteX102" fmla="*/ 545 w 10000"/>
                <a:gd name="connsiteY102" fmla="*/ 3189 h 10000"/>
                <a:gd name="connsiteX103" fmla="*/ 801 w 10000"/>
                <a:gd name="connsiteY103" fmla="*/ 3344 h 10000"/>
                <a:gd name="connsiteX104" fmla="*/ 810 w 10000"/>
                <a:gd name="connsiteY104" fmla="*/ 3271 h 10000"/>
                <a:gd name="connsiteX105" fmla="*/ 785 w 10000"/>
                <a:gd name="connsiteY105" fmla="*/ 3220 h 10000"/>
                <a:gd name="connsiteX106" fmla="*/ 741 w 10000"/>
                <a:gd name="connsiteY106" fmla="*/ 2993 h 10000"/>
                <a:gd name="connsiteX107" fmla="*/ 870 w 10000"/>
                <a:gd name="connsiteY107" fmla="*/ 2777 h 10000"/>
                <a:gd name="connsiteX108" fmla="*/ 968 w 10000"/>
                <a:gd name="connsiteY108" fmla="*/ 2921 h 10000"/>
                <a:gd name="connsiteX109" fmla="*/ 999 w 10000"/>
                <a:gd name="connsiteY109" fmla="*/ 2725 h 10000"/>
                <a:gd name="connsiteX110" fmla="*/ 952 w 10000"/>
                <a:gd name="connsiteY110" fmla="*/ 2653 h 10000"/>
                <a:gd name="connsiteX111" fmla="*/ 936 w 10000"/>
                <a:gd name="connsiteY111" fmla="*/ 2281 h 10000"/>
                <a:gd name="connsiteX112" fmla="*/ 914 w 10000"/>
                <a:gd name="connsiteY112" fmla="*/ 2229 h 10000"/>
                <a:gd name="connsiteX113" fmla="*/ 1037 w 10000"/>
                <a:gd name="connsiteY113" fmla="*/ 2250 h 10000"/>
                <a:gd name="connsiteX114" fmla="*/ 1087 w 10000"/>
                <a:gd name="connsiteY114" fmla="*/ 2404 h 10000"/>
                <a:gd name="connsiteX115" fmla="*/ 1021 w 10000"/>
                <a:gd name="connsiteY115" fmla="*/ 2529 h 10000"/>
                <a:gd name="connsiteX116" fmla="*/ 1135 w 10000"/>
                <a:gd name="connsiteY116" fmla="*/ 2694 h 10000"/>
                <a:gd name="connsiteX117" fmla="*/ 1226 w 10000"/>
                <a:gd name="connsiteY117" fmla="*/ 2529 h 10000"/>
                <a:gd name="connsiteX118" fmla="*/ 1339 w 10000"/>
                <a:gd name="connsiteY118" fmla="*/ 2301 h 10000"/>
                <a:gd name="connsiteX119" fmla="*/ 1459 w 10000"/>
                <a:gd name="connsiteY119" fmla="*/ 2157 h 10000"/>
                <a:gd name="connsiteX120" fmla="*/ 1497 w 10000"/>
                <a:gd name="connsiteY120" fmla="*/ 2250 h 10000"/>
                <a:gd name="connsiteX121" fmla="*/ 1807 w 10000"/>
                <a:gd name="connsiteY121" fmla="*/ 2054 h 10000"/>
                <a:gd name="connsiteX122" fmla="*/ 1870 w 10000"/>
                <a:gd name="connsiteY122" fmla="*/ 2250 h 10000"/>
                <a:gd name="connsiteX123" fmla="*/ 1860 w 10000"/>
                <a:gd name="connsiteY123" fmla="*/ 2002 h 10000"/>
                <a:gd name="connsiteX124" fmla="*/ 1778 w 10000"/>
                <a:gd name="connsiteY124" fmla="*/ 1786 h 10000"/>
                <a:gd name="connsiteX125" fmla="*/ 1763 w 10000"/>
                <a:gd name="connsiteY125" fmla="*/ 1703 h 10000"/>
                <a:gd name="connsiteX126" fmla="*/ 1823 w 10000"/>
                <a:gd name="connsiteY126" fmla="*/ 1786 h 10000"/>
                <a:gd name="connsiteX127" fmla="*/ 2034 w 10000"/>
                <a:gd name="connsiteY127" fmla="*/ 1951 h 10000"/>
                <a:gd name="connsiteX128" fmla="*/ 2270 w 10000"/>
                <a:gd name="connsiteY128" fmla="*/ 2126 h 10000"/>
                <a:gd name="connsiteX129" fmla="*/ 2384 w 10000"/>
                <a:gd name="connsiteY129" fmla="*/ 2250 h 10000"/>
                <a:gd name="connsiteX130" fmla="*/ 2421 w 10000"/>
                <a:gd name="connsiteY130" fmla="*/ 2074 h 10000"/>
                <a:gd name="connsiteX131" fmla="*/ 2368 w 10000"/>
                <a:gd name="connsiteY131" fmla="*/ 2033 h 10000"/>
                <a:gd name="connsiteX132" fmla="*/ 2299 w 10000"/>
                <a:gd name="connsiteY132" fmla="*/ 1930 h 10000"/>
                <a:gd name="connsiteX133" fmla="*/ 2254 w 10000"/>
                <a:gd name="connsiteY133" fmla="*/ 1734 h 10000"/>
                <a:gd name="connsiteX134" fmla="*/ 2185 w 10000"/>
                <a:gd name="connsiteY134" fmla="*/ 1486 h 10000"/>
                <a:gd name="connsiteX135" fmla="*/ 2210 w 10000"/>
                <a:gd name="connsiteY135" fmla="*/ 1434 h 10000"/>
                <a:gd name="connsiteX136" fmla="*/ 2232 w 10000"/>
                <a:gd name="connsiteY136" fmla="*/ 1455 h 10000"/>
                <a:gd name="connsiteX137" fmla="*/ 2292 w 10000"/>
                <a:gd name="connsiteY137" fmla="*/ 1115 h 10000"/>
                <a:gd name="connsiteX138" fmla="*/ 2443 w 10000"/>
                <a:gd name="connsiteY138" fmla="*/ 1135 h 10000"/>
                <a:gd name="connsiteX139" fmla="*/ 2488 w 10000"/>
                <a:gd name="connsiteY139" fmla="*/ 1311 h 10000"/>
                <a:gd name="connsiteX140" fmla="*/ 2519 w 10000"/>
                <a:gd name="connsiteY140" fmla="*/ 1538 h 10000"/>
                <a:gd name="connsiteX141" fmla="*/ 2573 w 10000"/>
                <a:gd name="connsiteY141" fmla="*/ 1734 h 10000"/>
                <a:gd name="connsiteX142" fmla="*/ 2670 w 10000"/>
                <a:gd name="connsiteY142" fmla="*/ 2157 h 10000"/>
                <a:gd name="connsiteX143" fmla="*/ 2481 w 10000"/>
                <a:gd name="connsiteY143" fmla="*/ 2673 h 10000"/>
                <a:gd name="connsiteX144" fmla="*/ 2557 w 10000"/>
                <a:gd name="connsiteY144" fmla="*/ 2746 h 10000"/>
                <a:gd name="connsiteX145" fmla="*/ 2655 w 10000"/>
                <a:gd name="connsiteY145" fmla="*/ 2818 h 10000"/>
                <a:gd name="connsiteX146" fmla="*/ 2784 w 10000"/>
                <a:gd name="connsiteY146" fmla="*/ 2622 h 10000"/>
                <a:gd name="connsiteX147" fmla="*/ 2790 w 10000"/>
                <a:gd name="connsiteY147" fmla="*/ 2404 h 10000"/>
                <a:gd name="connsiteX148" fmla="*/ 2746 w 10000"/>
                <a:gd name="connsiteY148" fmla="*/ 2301 h 10000"/>
                <a:gd name="connsiteX149" fmla="*/ 2919 w 10000"/>
                <a:gd name="connsiteY149" fmla="*/ 2250 h 10000"/>
                <a:gd name="connsiteX150" fmla="*/ 2989 w 10000"/>
                <a:gd name="connsiteY150" fmla="*/ 2497 h 10000"/>
                <a:gd name="connsiteX151" fmla="*/ 2989 w 10000"/>
                <a:gd name="connsiteY151" fmla="*/ 2425 h 10000"/>
                <a:gd name="connsiteX152" fmla="*/ 2973 w 10000"/>
                <a:gd name="connsiteY152" fmla="*/ 2353 h 10000"/>
                <a:gd name="connsiteX153" fmla="*/ 2967 w 10000"/>
                <a:gd name="connsiteY153" fmla="*/ 2178 h 10000"/>
                <a:gd name="connsiteX154" fmla="*/ 2800 w 10000"/>
                <a:gd name="connsiteY154" fmla="*/ 1930 h 10000"/>
                <a:gd name="connsiteX155" fmla="*/ 2670 w 10000"/>
                <a:gd name="connsiteY155" fmla="*/ 2002 h 10000"/>
                <a:gd name="connsiteX156" fmla="*/ 2617 w 10000"/>
                <a:gd name="connsiteY156" fmla="*/ 1683 h 10000"/>
                <a:gd name="connsiteX157" fmla="*/ 2563 w 10000"/>
                <a:gd name="connsiteY157" fmla="*/ 1507 h 10000"/>
                <a:gd name="connsiteX158" fmla="*/ 2617 w 10000"/>
                <a:gd name="connsiteY158" fmla="*/ 1331 h 10000"/>
                <a:gd name="connsiteX159" fmla="*/ 2611 w 10000"/>
                <a:gd name="connsiteY159" fmla="*/ 1166 h 10000"/>
                <a:gd name="connsiteX160" fmla="*/ 2588 w 10000"/>
                <a:gd name="connsiteY160" fmla="*/ 1115 h 10000"/>
                <a:gd name="connsiteX161" fmla="*/ 2626 w 10000"/>
                <a:gd name="connsiteY161" fmla="*/ 1115 h 10000"/>
                <a:gd name="connsiteX162" fmla="*/ 2670 w 10000"/>
                <a:gd name="connsiteY162" fmla="*/ 1455 h 10000"/>
                <a:gd name="connsiteX163" fmla="*/ 2891 w 10000"/>
                <a:gd name="connsiteY163" fmla="*/ 1662 h 10000"/>
                <a:gd name="connsiteX164" fmla="*/ 2724 w 10000"/>
                <a:gd name="connsiteY164" fmla="*/ 1383 h 10000"/>
                <a:gd name="connsiteX165" fmla="*/ 3049 w 10000"/>
                <a:gd name="connsiteY165" fmla="*/ 1383 h 10000"/>
                <a:gd name="connsiteX166" fmla="*/ 3102 w 10000"/>
                <a:gd name="connsiteY166" fmla="*/ 1362 h 10000"/>
                <a:gd name="connsiteX167" fmla="*/ 2897 w 10000"/>
                <a:gd name="connsiteY167" fmla="*/ 1115 h 10000"/>
                <a:gd name="connsiteX168" fmla="*/ 2951 w 10000"/>
                <a:gd name="connsiteY168" fmla="*/ 888 h 10000"/>
                <a:gd name="connsiteX169" fmla="*/ 3178 w 10000"/>
                <a:gd name="connsiteY169" fmla="*/ 888 h 10000"/>
                <a:gd name="connsiteX170" fmla="*/ 3156 w 10000"/>
                <a:gd name="connsiteY170" fmla="*/ 713 h 10000"/>
                <a:gd name="connsiteX171" fmla="*/ 3231 w 10000"/>
                <a:gd name="connsiteY171" fmla="*/ 589 h 10000"/>
                <a:gd name="connsiteX172" fmla="*/ 3276 w 10000"/>
                <a:gd name="connsiteY172" fmla="*/ 548 h 10000"/>
                <a:gd name="connsiteX173" fmla="*/ 3443 w 10000"/>
                <a:gd name="connsiteY173" fmla="*/ 423 h 10000"/>
                <a:gd name="connsiteX174" fmla="*/ 3487 w 10000"/>
                <a:gd name="connsiteY174" fmla="*/ 371 h 10000"/>
                <a:gd name="connsiteX175" fmla="*/ 3480 w 10000"/>
                <a:gd name="connsiteY175" fmla="*/ 444 h 10000"/>
                <a:gd name="connsiteX176" fmla="*/ 3660 w 10000"/>
                <a:gd name="connsiteY176" fmla="*/ 371 h 10000"/>
                <a:gd name="connsiteX177" fmla="*/ 3805 w 10000"/>
                <a:gd name="connsiteY177" fmla="*/ 248 h 10000"/>
                <a:gd name="connsiteX178" fmla="*/ 3827 w 10000"/>
                <a:gd name="connsiteY178" fmla="*/ 0 h 10000"/>
                <a:gd name="connsiteX179" fmla="*/ 3988 w 10000"/>
                <a:gd name="connsiteY179" fmla="*/ 21 h 10000"/>
                <a:gd name="connsiteX180" fmla="*/ 3978 w 10000"/>
                <a:gd name="connsiteY180" fmla="*/ 93 h 10000"/>
                <a:gd name="connsiteX181" fmla="*/ 3988 w 10000"/>
                <a:gd name="connsiteY181" fmla="*/ 176 h 10000"/>
                <a:gd name="connsiteX182" fmla="*/ 4085 w 10000"/>
                <a:gd name="connsiteY182" fmla="*/ 248 h 10000"/>
                <a:gd name="connsiteX183" fmla="*/ 4379 w 10000"/>
                <a:gd name="connsiteY183" fmla="*/ 268 h 10000"/>
                <a:gd name="connsiteX184" fmla="*/ 4539 w 10000"/>
                <a:gd name="connsiteY184" fmla="*/ 392 h 10000"/>
                <a:gd name="connsiteX185" fmla="*/ 4486 w 10000"/>
                <a:gd name="connsiteY185" fmla="*/ 795 h 10000"/>
                <a:gd name="connsiteX186" fmla="*/ 4426 w 10000"/>
                <a:gd name="connsiteY186" fmla="*/ 919 h 10000"/>
                <a:gd name="connsiteX187" fmla="*/ 4356 w 10000"/>
                <a:gd name="connsiteY187" fmla="*/ 1043 h 10000"/>
                <a:gd name="connsiteX188" fmla="*/ 4372 w 10000"/>
                <a:gd name="connsiteY188" fmla="*/ 1115 h 10000"/>
                <a:gd name="connsiteX189" fmla="*/ 4583 w 10000"/>
                <a:gd name="connsiteY189" fmla="*/ 919 h 10000"/>
                <a:gd name="connsiteX190" fmla="*/ 5060 w 10000"/>
                <a:gd name="connsiteY190" fmla="*/ 991 h 10000"/>
                <a:gd name="connsiteX191" fmla="*/ 5108 w 10000"/>
                <a:gd name="connsiteY191" fmla="*/ 1063 h 10000"/>
                <a:gd name="connsiteX192" fmla="*/ 5212 w 10000"/>
                <a:gd name="connsiteY192" fmla="*/ 1187 h 10000"/>
                <a:gd name="connsiteX193" fmla="*/ 5357 w 10000"/>
                <a:gd name="connsiteY193" fmla="*/ 919 h 10000"/>
                <a:gd name="connsiteX194" fmla="*/ 5577 w 10000"/>
                <a:gd name="connsiteY194" fmla="*/ 1063 h 10000"/>
                <a:gd name="connsiteX195" fmla="*/ 5643 w 10000"/>
                <a:gd name="connsiteY195" fmla="*/ 1115 h 10000"/>
                <a:gd name="connsiteX196" fmla="*/ 5697 w 10000"/>
                <a:gd name="connsiteY196" fmla="*/ 1166 h 10000"/>
                <a:gd name="connsiteX197" fmla="*/ 5908 w 10000"/>
                <a:gd name="connsiteY197" fmla="*/ 1631 h 10000"/>
                <a:gd name="connsiteX198" fmla="*/ 5984 w 10000"/>
                <a:gd name="connsiteY198" fmla="*/ 1611 h 10000"/>
                <a:gd name="connsiteX199" fmla="*/ 5977 w 10000"/>
                <a:gd name="connsiteY199" fmla="*/ 1507 h 10000"/>
                <a:gd name="connsiteX200" fmla="*/ 5984 w 10000"/>
                <a:gd name="connsiteY200" fmla="*/ 1383 h 10000"/>
                <a:gd name="connsiteX201" fmla="*/ 6091 w 10000"/>
                <a:gd name="connsiteY201" fmla="*/ 1486 h 10000"/>
                <a:gd name="connsiteX202" fmla="*/ 6264 w 10000"/>
                <a:gd name="connsiteY202" fmla="*/ 1507 h 10000"/>
                <a:gd name="connsiteX203" fmla="*/ 6409 w 10000"/>
                <a:gd name="connsiteY203" fmla="*/ 1455 h 10000"/>
                <a:gd name="connsiteX204" fmla="*/ 6340 w 10000"/>
                <a:gd name="connsiteY204" fmla="*/ 1362 h 10000"/>
                <a:gd name="connsiteX205" fmla="*/ 6431 w 10000"/>
                <a:gd name="connsiteY205" fmla="*/ 1084 h 10000"/>
                <a:gd name="connsiteX206" fmla="*/ 6687 w 10000"/>
                <a:gd name="connsiteY206" fmla="*/ 1207 h 10000"/>
                <a:gd name="connsiteX207" fmla="*/ 6945 w 10000"/>
                <a:gd name="connsiteY207" fmla="*/ 1331 h 10000"/>
                <a:gd name="connsiteX208" fmla="*/ 6967 w 10000"/>
                <a:gd name="connsiteY208" fmla="*/ 1362 h 10000"/>
                <a:gd name="connsiteX209" fmla="*/ 7194 w 10000"/>
                <a:gd name="connsiteY209" fmla="*/ 1611 h 10000"/>
                <a:gd name="connsiteX210" fmla="*/ 7367 w 10000"/>
                <a:gd name="connsiteY210" fmla="*/ 1507 h 10000"/>
                <a:gd name="connsiteX211" fmla="*/ 7582 w 10000"/>
                <a:gd name="connsiteY211" fmla="*/ 1538 h 10000"/>
                <a:gd name="connsiteX212" fmla="*/ 7657 w 10000"/>
                <a:gd name="connsiteY212" fmla="*/ 1611 h 10000"/>
                <a:gd name="connsiteX213" fmla="*/ 7928 w 10000"/>
                <a:gd name="connsiteY213" fmla="*/ 1930 h 10000"/>
                <a:gd name="connsiteX214" fmla="*/ 8231 w 10000"/>
                <a:gd name="connsiteY214" fmla="*/ 1879 h 10000"/>
                <a:gd name="connsiteX215" fmla="*/ 8339 w 10000"/>
                <a:gd name="connsiteY215" fmla="*/ 2033 h 10000"/>
                <a:gd name="connsiteX216" fmla="*/ 8490 w 10000"/>
                <a:gd name="connsiteY216" fmla="*/ 2157 h 10000"/>
                <a:gd name="connsiteX217" fmla="*/ 8519 w 10000"/>
                <a:gd name="connsiteY217" fmla="*/ 2105 h 10000"/>
                <a:gd name="connsiteX218" fmla="*/ 8497 w 10000"/>
                <a:gd name="connsiteY218" fmla="*/ 2074 h 10000"/>
                <a:gd name="connsiteX219" fmla="*/ 8383 w 10000"/>
                <a:gd name="connsiteY219" fmla="*/ 1930 h 10000"/>
                <a:gd name="connsiteX220" fmla="*/ 8465 w 10000"/>
                <a:gd name="connsiteY220" fmla="*/ 1755 h 10000"/>
                <a:gd name="connsiteX221" fmla="*/ 8664 w 10000"/>
                <a:gd name="connsiteY221" fmla="*/ 1910 h 10000"/>
                <a:gd name="connsiteX222" fmla="*/ 8950 w 10000"/>
                <a:gd name="connsiteY222" fmla="*/ 1982 h 10000"/>
                <a:gd name="connsiteX223" fmla="*/ 9206 w 10000"/>
                <a:gd name="connsiteY223" fmla="*/ 2260 h 10000"/>
                <a:gd name="connsiteX224" fmla="*/ 9344 w 10000"/>
                <a:gd name="connsiteY224" fmla="*/ 2332 h 10000"/>
                <a:gd name="connsiteX225" fmla="*/ 9451 w 10000"/>
                <a:gd name="connsiteY225" fmla="*/ 2446 h 10000"/>
                <a:gd name="connsiteX226" fmla="*/ 9574 w 10000"/>
                <a:gd name="connsiteY226" fmla="*/ 2632 h 10000"/>
                <a:gd name="connsiteX227" fmla="*/ 9631 w 10000"/>
                <a:gd name="connsiteY227" fmla="*/ 2756 h 10000"/>
                <a:gd name="connsiteX228" fmla="*/ 9726 w 10000"/>
                <a:gd name="connsiteY228" fmla="*/ 2787 h 10000"/>
                <a:gd name="connsiteX229" fmla="*/ 9590 w 10000"/>
                <a:gd name="connsiteY229" fmla="*/ 2570 h 10000"/>
                <a:gd name="connsiteX230" fmla="*/ 9915 w 10000"/>
                <a:gd name="connsiteY230" fmla="*/ 2756 h 10000"/>
                <a:gd name="connsiteX231" fmla="*/ 10000 w 10000"/>
                <a:gd name="connsiteY231" fmla="*/ 3014 h 10000"/>
                <a:gd name="connsiteX232" fmla="*/ 9934 w 10000"/>
                <a:gd name="connsiteY232" fmla="*/ 2941 h 10000"/>
                <a:gd name="connsiteX233" fmla="*/ 9874 w 10000"/>
                <a:gd name="connsiteY233" fmla="*/ 2952 h 10000"/>
                <a:gd name="connsiteX234" fmla="*/ 10000 w 10000"/>
                <a:gd name="connsiteY234" fmla="*/ 3292 h 10000"/>
                <a:gd name="connsiteX235" fmla="*/ 9845 w 10000"/>
                <a:gd name="connsiteY235" fmla="*/ 3220 h 10000"/>
                <a:gd name="connsiteX236" fmla="*/ 9745 w 10000"/>
                <a:gd name="connsiteY236" fmla="*/ 3075 h 10000"/>
                <a:gd name="connsiteX237" fmla="*/ 9641 w 10000"/>
                <a:gd name="connsiteY237" fmla="*/ 2972 h 10000"/>
                <a:gd name="connsiteX238" fmla="*/ 9555 w 10000"/>
                <a:gd name="connsiteY238" fmla="*/ 3003 h 10000"/>
                <a:gd name="connsiteX239" fmla="*/ 9470 w 10000"/>
                <a:gd name="connsiteY239" fmla="*/ 2787 h 10000"/>
                <a:gd name="connsiteX240" fmla="*/ 9366 w 10000"/>
                <a:gd name="connsiteY240" fmla="*/ 2725 h 10000"/>
                <a:gd name="connsiteX241" fmla="*/ 9461 w 10000"/>
                <a:gd name="connsiteY241" fmla="*/ 2972 h 10000"/>
                <a:gd name="connsiteX242" fmla="*/ 9470 w 10000"/>
                <a:gd name="connsiteY242" fmla="*/ 3230 h 10000"/>
                <a:gd name="connsiteX243" fmla="*/ 9288 w 10000"/>
                <a:gd name="connsiteY243" fmla="*/ 3065 h 10000"/>
                <a:gd name="connsiteX244" fmla="*/ 9262 w 10000"/>
                <a:gd name="connsiteY244" fmla="*/ 3230 h 10000"/>
                <a:gd name="connsiteX245" fmla="*/ 9363 w 10000"/>
                <a:gd name="connsiteY245" fmla="*/ 3230 h 10000"/>
                <a:gd name="connsiteX246" fmla="*/ 9451 w 10000"/>
                <a:gd name="connsiteY246" fmla="*/ 3354 h 10000"/>
                <a:gd name="connsiteX247" fmla="*/ 9659 w 10000"/>
                <a:gd name="connsiteY247" fmla="*/ 3685 h 10000"/>
                <a:gd name="connsiteX248" fmla="*/ 9735 w 10000"/>
                <a:gd name="connsiteY248" fmla="*/ 3839 h 10000"/>
                <a:gd name="connsiteX249" fmla="*/ 9552 w 10000"/>
                <a:gd name="connsiteY249" fmla="*/ 3757 h 10000"/>
                <a:gd name="connsiteX250" fmla="*/ 9451 w 10000"/>
                <a:gd name="connsiteY250" fmla="*/ 4025 h 10000"/>
                <a:gd name="connsiteX251" fmla="*/ 9385 w 10000"/>
                <a:gd name="connsiteY251" fmla="*/ 4283 h 10000"/>
                <a:gd name="connsiteX252" fmla="*/ 9376 w 10000"/>
                <a:gd name="connsiteY252" fmla="*/ 4499 h 10000"/>
                <a:gd name="connsiteX253" fmla="*/ 9335 w 10000"/>
                <a:gd name="connsiteY253" fmla="*/ 4303 h 10000"/>
                <a:gd name="connsiteX254" fmla="*/ 9149 w 10000"/>
                <a:gd name="connsiteY254" fmla="*/ 4314 h 10000"/>
                <a:gd name="connsiteX255" fmla="*/ 9155 w 10000"/>
                <a:gd name="connsiteY255" fmla="*/ 4531 h 10000"/>
                <a:gd name="connsiteX256" fmla="*/ 9061 w 10000"/>
                <a:gd name="connsiteY256" fmla="*/ 4365 h 10000"/>
                <a:gd name="connsiteX257" fmla="*/ 9054 w 10000"/>
                <a:gd name="connsiteY257" fmla="*/ 4521 h 10000"/>
                <a:gd name="connsiteX258" fmla="*/ 8998 w 10000"/>
                <a:gd name="connsiteY258" fmla="*/ 4458 h 10000"/>
                <a:gd name="connsiteX259" fmla="*/ 8966 w 10000"/>
                <a:gd name="connsiteY259" fmla="*/ 4562 h 10000"/>
                <a:gd name="connsiteX260" fmla="*/ 9007 w 10000"/>
                <a:gd name="connsiteY260" fmla="*/ 4686 h 10000"/>
                <a:gd name="connsiteX261" fmla="*/ 9004 w 10000"/>
                <a:gd name="connsiteY261" fmla="*/ 4995 h 10000"/>
                <a:gd name="connsiteX262" fmla="*/ 9073 w 10000"/>
                <a:gd name="connsiteY262" fmla="*/ 5211 h 10000"/>
                <a:gd name="connsiteX263" fmla="*/ 9130 w 10000"/>
                <a:gd name="connsiteY263" fmla="*/ 5150 h 10000"/>
                <a:gd name="connsiteX264" fmla="*/ 9158 w 10000"/>
                <a:gd name="connsiteY264" fmla="*/ 5211 h 10000"/>
                <a:gd name="connsiteX265" fmla="*/ 9231 w 10000"/>
                <a:gd name="connsiteY265" fmla="*/ 5428 h 10000"/>
                <a:gd name="connsiteX266" fmla="*/ 9215 w 10000"/>
                <a:gd name="connsiteY266" fmla="*/ 5604 h 10000"/>
                <a:gd name="connsiteX267" fmla="*/ 9221 w 10000"/>
                <a:gd name="connsiteY267" fmla="*/ 5769 h 10000"/>
                <a:gd name="connsiteX268" fmla="*/ 9269 w 10000"/>
                <a:gd name="connsiteY268" fmla="*/ 5883 h 10000"/>
                <a:gd name="connsiteX269" fmla="*/ 9344 w 10000"/>
                <a:gd name="connsiteY269" fmla="*/ 6068 h 10000"/>
                <a:gd name="connsiteX270" fmla="*/ 9269 w 10000"/>
                <a:gd name="connsiteY270" fmla="*/ 6068 h 10000"/>
                <a:gd name="connsiteX271" fmla="*/ 9253 w 10000"/>
                <a:gd name="connsiteY271" fmla="*/ 6223 h 10000"/>
                <a:gd name="connsiteX272" fmla="*/ 9319 w 10000"/>
                <a:gd name="connsiteY272" fmla="*/ 6408 h 10000"/>
                <a:gd name="connsiteX273" fmla="*/ 9250 w 10000"/>
                <a:gd name="connsiteY273" fmla="*/ 6502 h 10000"/>
                <a:gd name="connsiteX274" fmla="*/ 9297 w 10000"/>
                <a:gd name="connsiteY274" fmla="*/ 6729 h 10000"/>
                <a:gd name="connsiteX275" fmla="*/ 9281 w 10000"/>
                <a:gd name="connsiteY275" fmla="*/ 7069 h 10000"/>
                <a:gd name="connsiteX276" fmla="*/ 9061 w 10000"/>
                <a:gd name="connsiteY276" fmla="*/ 6408 h 10000"/>
                <a:gd name="connsiteX277" fmla="*/ 8824 w 10000"/>
                <a:gd name="connsiteY277" fmla="*/ 5759 h 10000"/>
                <a:gd name="connsiteX278" fmla="*/ 8771 w 10000"/>
                <a:gd name="connsiteY278" fmla="*/ 5459 h 10000"/>
                <a:gd name="connsiteX279" fmla="*/ 8768 w 10000"/>
                <a:gd name="connsiteY279" fmla="*/ 5211 h 10000"/>
                <a:gd name="connsiteX280" fmla="*/ 8692 w 10000"/>
                <a:gd name="connsiteY280" fmla="*/ 5047 h 10000"/>
                <a:gd name="connsiteX281" fmla="*/ 8771 w 10000"/>
                <a:gd name="connsiteY281" fmla="*/ 5088 h 10000"/>
                <a:gd name="connsiteX282" fmla="*/ 8809 w 10000"/>
                <a:gd name="connsiteY282" fmla="*/ 5108 h 10000"/>
                <a:gd name="connsiteX283" fmla="*/ 8809 w 10000"/>
                <a:gd name="connsiteY283" fmla="*/ 4840 h 10000"/>
                <a:gd name="connsiteX284" fmla="*/ 8827 w 10000"/>
                <a:gd name="connsiteY284" fmla="*/ 4437 h 10000"/>
                <a:gd name="connsiteX285" fmla="*/ 8853 w 10000"/>
                <a:gd name="connsiteY285" fmla="*/ 4252 h 10000"/>
                <a:gd name="connsiteX286" fmla="*/ 8909 w 10000"/>
                <a:gd name="connsiteY286" fmla="*/ 4221 h 10000"/>
                <a:gd name="connsiteX287" fmla="*/ 8786 w 10000"/>
                <a:gd name="connsiteY287" fmla="*/ 3901 h 10000"/>
                <a:gd name="connsiteX288" fmla="*/ 8853 w 10000"/>
                <a:gd name="connsiteY288" fmla="*/ 3839 h 10000"/>
                <a:gd name="connsiteX289" fmla="*/ 8739 w 10000"/>
                <a:gd name="connsiteY289" fmla="*/ 3788 h 10000"/>
                <a:gd name="connsiteX290" fmla="*/ 8755 w 10000"/>
                <a:gd name="connsiteY290" fmla="*/ 3984 h 10000"/>
                <a:gd name="connsiteX291" fmla="*/ 8692 w 10000"/>
                <a:gd name="connsiteY291" fmla="*/ 4303 h 10000"/>
                <a:gd name="connsiteX292" fmla="*/ 8604 w 10000"/>
                <a:gd name="connsiteY292" fmla="*/ 4210 h 10000"/>
                <a:gd name="connsiteX293" fmla="*/ 8550 w 10000"/>
                <a:gd name="connsiteY293" fmla="*/ 4056 h 10000"/>
                <a:gd name="connsiteX294" fmla="*/ 8481 w 10000"/>
                <a:gd name="connsiteY294" fmla="*/ 4138 h 10000"/>
                <a:gd name="connsiteX295" fmla="*/ 8389 w 10000"/>
                <a:gd name="connsiteY295" fmla="*/ 4107 h 10000"/>
                <a:gd name="connsiteX296" fmla="*/ 8352 w 10000"/>
                <a:gd name="connsiteY296" fmla="*/ 4406 h 10000"/>
                <a:gd name="connsiteX297" fmla="*/ 8481 w 10000"/>
                <a:gd name="connsiteY297" fmla="*/ 4655 h 10000"/>
                <a:gd name="connsiteX298" fmla="*/ 8405 w 10000"/>
                <a:gd name="connsiteY298" fmla="*/ 4830 h 10000"/>
                <a:gd name="connsiteX299" fmla="*/ 8225 w 10000"/>
                <a:gd name="connsiteY299" fmla="*/ 4799 h 10000"/>
                <a:gd name="connsiteX300" fmla="*/ 8209 w 10000"/>
                <a:gd name="connsiteY300" fmla="*/ 4655 h 10000"/>
                <a:gd name="connsiteX301" fmla="*/ 8102 w 10000"/>
                <a:gd name="connsiteY301" fmla="*/ 4634 h 10000"/>
                <a:gd name="connsiteX302" fmla="*/ 7641 w 10000"/>
                <a:gd name="connsiteY302" fmla="*/ 4779 h 10000"/>
                <a:gd name="connsiteX303" fmla="*/ 7610 w 10000"/>
                <a:gd name="connsiteY303" fmla="*/ 5005 h 10000"/>
                <a:gd name="connsiteX304" fmla="*/ 7550 w 10000"/>
                <a:gd name="connsiteY304" fmla="*/ 5666 h 10000"/>
                <a:gd name="connsiteX305" fmla="*/ 7496 w 10000"/>
                <a:gd name="connsiteY305" fmla="*/ 5965 h 10000"/>
                <a:gd name="connsiteX306" fmla="*/ 7701 w 10000"/>
                <a:gd name="connsiteY306" fmla="*/ 6161 h 10000"/>
                <a:gd name="connsiteX307" fmla="*/ 7745 w 10000"/>
                <a:gd name="connsiteY307" fmla="*/ 6243 h 10000"/>
                <a:gd name="connsiteX308" fmla="*/ 7771 w 10000"/>
                <a:gd name="connsiteY308" fmla="*/ 6285 h 10000"/>
                <a:gd name="connsiteX309" fmla="*/ 7793 w 10000"/>
                <a:gd name="connsiteY309" fmla="*/ 6068 h 10000"/>
                <a:gd name="connsiteX310" fmla="*/ 7912 w 10000"/>
                <a:gd name="connsiteY310" fmla="*/ 6089 h 10000"/>
                <a:gd name="connsiteX311" fmla="*/ 8004 w 10000"/>
                <a:gd name="connsiteY311" fmla="*/ 6367 h 10000"/>
                <a:gd name="connsiteX312" fmla="*/ 8064 w 10000"/>
                <a:gd name="connsiteY312" fmla="*/ 6616 h 10000"/>
                <a:gd name="connsiteX313" fmla="*/ 8111 w 10000"/>
                <a:gd name="connsiteY313" fmla="*/ 6781 h 10000"/>
                <a:gd name="connsiteX314" fmla="*/ 8048 w 10000"/>
                <a:gd name="connsiteY314" fmla="*/ 6491 h 10000"/>
                <a:gd name="connsiteX315" fmla="*/ 8124 w 10000"/>
                <a:gd name="connsiteY315" fmla="*/ 6336 h 10000"/>
                <a:gd name="connsiteX316" fmla="*/ 8177 w 10000"/>
                <a:gd name="connsiteY316" fmla="*/ 6512 h 10000"/>
                <a:gd name="connsiteX317" fmla="*/ 8300 w 10000"/>
                <a:gd name="connsiteY317" fmla="*/ 6987 h 10000"/>
                <a:gd name="connsiteX318" fmla="*/ 8361 w 10000"/>
                <a:gd name="connsiteY318" fmla="*/ 7152 h 10000"/>
                <a:gd name="connsiteX319" fmla="*/ 8490 w 10000"/>
                <a:gd name="connsiteY319" fmla="*/ 7482 h 10000"/>
                <a:gd name="connsiteX320" fmla="*/ 8604 w 10000"/>
                <a:gd name="connsiteY320" fmla="*/ 7854 h 10000"/>
                <a:gd name="connsiteX321" fmla="*/ 8474 w 10000"/>
                <a:gd name="connsiteY321" fmla="*/ 7647 h 10000"/>
                <a:gd name="connsiteX322" fmla="*/ 8443 w 10000"/>
                <a:gd name="connsiteY322" fmla="*/ 7678 h 10000"/>
                <a:gd name="connsiteX323" fmla="*/ 8512 w 10000"/>
                <a:gd name="connsiteY323" fmla="*/ 8050 h 10000"/>
                <a:gd name="connsiteX324" fmla="*/ 8588 w 10000"/>
                <a:gd name="connsiteY324" fmla="*/ 8266 h 10000"/>
                <a:gd name="connsiteX325" fmla="*/ 8642 w 10000"/>
                <a:gd name="connsiteY325" fmla="*/ 8472 h 10000"/>
                <a:gd name="connsiteX326" fmla="*/ 8566 w 10000"/>
                <a:gd name="connsiteY326" fmla="*/ 8421 h 10000"/>
                <a:gd name="connsiteX327" fmla="*/ 8556 w 10000"/>
                <a:gd name="connsiteY327" fmla="*/ 8669 h 10000"/>
                <a:gd name="connsiteX328" fmla="*/ 8497 w 10000"/>
                <a:gd name="connsiteY328" fmla="*/ 8493 h 10000"/>
                <a:gd name="connsiteX329" fmla="*/ 8481 w 10000"/>
                <a:gd name="connsiteY329" fmla="*/ 8421 h 10000"/>
                <a:gd name="connsiteX330" fmla="*/ 8361 w 10000"/>
                <a:gd name="connsiteY330" fmla="*/ 7751 h 10000"/>
                <a:gd name="connsiteX331" fmla="*/ 8322 w 10000"/>
                <a:gd name="connsiteY331" fmla="*/ 7524 h 10000"/>
                <a:gd name="connsiteX332" fmla="*/ 8291 w 10000"/>
                <a:gd name="connsiteY332" fmla="*/ 7378 h 10000"/>
                <a:gd name="connsiteX333" fmla="*/ 8275 w 10000"/>
                <a:gd name="connsiteY333" fmla="*/ 7306 h 10000"/>
                <a:gd name="connsiteX334" fmla="*/ 8139 w 10000"/>
                <a:gd name="connsiteY334" fmla="*/ 6863 h 10000"/>
                <a:gd name="connsiteX335" fmla="*/ 8199 w 10000"/>
                <a:gd name="connsiteY335" fmla="*/ 7451 h 10000"/>
                <a:gd name="connsiteX336" fmla="*/ 8247 w 10000"/>
                <a:gd name="connsiteY336" fmla="*/ 7998 h 10000"/>
                <a:gd name="connsiteX337" fmla="*/ 8177 w 10000"/>
                <a:gd name="connsiteY337" fmla="*/ 9133 h 10000"/>
                <a:gd name="connsiteX338" fmla="*/ 8124 w 10000"/>
                <a:gd name="connsiteY338" fmla="*/ 9484 h 10000"/>
                <a:gd name="connsiteX339" fmla="*/ 7972 w 10000"/>
                <a:gd name="connsiteY339" fmla="*/ 9432 h 10000"/>
                <a:gd name="connsiteX340" fmla="*/ 7897 w 10000"/>
                <a:gd name="connsiteY340" fmla="*/ 9660 h 10000"/>
                <a:gd name="connsiteX341" fmla="*/ 7868 w 10000"/>
                <a:gd name="connsiteY341" fmla="*/ 9588 h 10000"/>
                <a:gd name="connsiteX342" fmla="*/ 7884 w 10000"/>
                <a:gd name="connsiteY342" fmla="*/ 9536 h 10000"/>
                <a:gd name="connsiteX343" fmla="*/ 7897 w 10000"/>
                <a:gd name="connsiteY343" fmla="*/ 9380 h 10000"/>
                <a:gd name="connsiteX344" fmla="*/ 7884 w 10000"/>
                <a:gd name="connsiteY344" fmla="*/ 9236 h 10000"/>
                <a:gd name="connsiteX345" fmla="*/ 7793 w 10000"/>
                <a:gd name="connsiteY345" fmla="*/ 8865 h 10000"/>
                <a:gd name="connsiteX346" fmla="*/ 7831 w 10000"/>
                <a:gd name="connsiteY346" fmla="*/ 8741 h 10000"/>
                <a:gd name="connsiteX347" fmla="*/ 7928 w 10000"/>
                <a:gd name="connsiteY347" fmla="*/ 8844 h 10000"/>
                <a:gd name="connsiteX348" fmla="*/ 7912 w 10000"/>
                <a:gd name="connsiteY348" fmla="*/ 8318 h 10000"/>
                <a:gd name="connsiteX349" fmla="*/ 7906 w 10000"/>
                <a:gd name="connsiteY349" fmla="*/ 8019 h 10000"/>
                <a:gd name="connsiteX350" fmla="*/ 7846 w 10000"/>
                <a:gd name="connsiteY350" fmla="*/ 7802 h 10000"/>
                <a:gd name="connsiteX351" fmla="*/ 7723 w 10000"/>
                <a:gd name="connsiteY351" fmla="*/ 8050 h 10000"/>
                <a:gd name="connsiteX352" fmla="*/ 7619 w 10000"/>
                <a:gd name="connsiteY352" fmla="*/ 8019 h 10000"/>
                <a:gd name="connsiteX353" fmla="*/ 7528 w 10000"/>
                <a:gd name="connsiteY353" fmla="*/ 7699 h 10000"/>
                <a:gd name="connsiteX354" fmla="*/ 7355 w 10000"/>
                <a:gd name="connsiteY354" fmla="*/ 7482 h 10000"/>
                <a:gd name="connsiteX355" fmla="*/ 7279 w 10000"/>
                <a:gd name="connsiteY355" fmla="*/ 7482 h 10000"/>
                <a:gd name="connsiteX356" fmla="*/ 7080 w 10000"/>
                <a:gd name="connsiteY356" fmla="*/ 6781 h 10000"/>
                <a:gd name="connsiteX357" fmla="*/ 6901 w 10000"/>
                <a:gd name="connsiteY357" fmla="*/ 6460 h 10000"/>
                <a:gd name="connsiteX358" fmla="*/ 6724 w 10000"/>
                <a:gd name="connsiteY358" fmla="*/ 6336 h 10000"/>
                <a:gd name="connsiteX359" fmla="*/ 6583 w 10000"/>
                <a:gd name="connsiteY359" fmla="*/ 6408 h 10000"/>
                <a:gd name="connsiteX360" fmla="*/ 6567 w 10000"/>
                <a:gd name="connsiteY360" fmla="*/ 6585 h 10000"/>
                <a:gd name="connsiteX361" fmla="*/ 6664 w 10000"/>
                <a:gd name="connsiteY361" fmla="*/ 6760 h 10000"/>
                <a:gd name="connsiteX362" fmla="*/ 6636 w 10000"/>
                <a:gd name="connsiteY362" fmla="*/ 6935 h 10000"/>
                <a:gd name="connsiteX363" fmla="*/ 6636 w 10000"/>
                <a:gd name="connsiteY363" fmla="*/ 7399 h 10000"/>
                <a:gd name="connsiteX364" fmla="*/ 6560 w 10000"/>
                <a:gd name="connsiteY364" fmla="*/ 7482 h 10000"/>
                <a:gd name="connsiteX365" fmla="*/ 6485 w 10000"/>
                <a:gd name="connsiteY365" fmla="*/ 7378 h 10000"/>
                <a:gd name="connsiteX366" fmla="*/ 6400 w 10000"/>
                <a:gd name="connsiteY366" fmla="*/ 7399 h 10000"/>
                <a:gd name="connsiteX367" fmla="*/ 6334 w 10000"/>
                <a:gd name="connsiteY367" fmla="*/ 7275 h 10000"/>
                <a:gd name="connsiteX368" fmla="*/ 6258 w 10000"/>
                <a:gd name="connsiteY368" fmla="*/ 7358 h 10000"/>
                <a:gd name="connsiteX369" fmla="*/ 6220 w 10000"/>
                <a:gd name="connsiteY369" fmla="*/ 7524 h 10000"/>
                <a:gd name="connsiteX370" fmla="*/ 6081 w 10000"/>
                <a:gd name="connsiteY370" fmla="*/ 7606 h 10000"/>
                <a:gd name="connsiteX371" fmla="*/ 5892 w 10000"/>
                <a:gd name="connsiteY371" fmla="*/ 7575 h 10000"/>
                <a:gd name="connsiteX372" fmla="*/ 5855 w 10000"/>
                <a:gd name="connsiteY372" fmla="*/ 7327 h 10000"/>
                <a:gd name="connsiteX373" fmla="*/ 5643 w 10000"/>
                <a:gd name="connsiteY373" fmla="*/ 7255 h 10000"/>
                <a:gd name="connsiteX374" fmla="*/ 5539 w 10000"/>
                <a:gd name="connsiteY374" fmla="*/ 7358 h 10000"/>
                <a:gd name="connsiteX375" fmla="*/ 5416 w 10000"/>
                <a:gd name="connsiteY375" fmla="*/ 7203 h 10000"/>
                <a:gd name="connsiteX376" fmla="*/ 5372 w 10000"/>
                <a:gd name="connsiteY376"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3244 w 10000"/>
                <a:gd name="connsiteY12" fmla="*/ 6161 h 10000"/>
                <a:gd name="connsiteX13" fmla="*/ 1610 w 10000"/>
                <a:gd name="connsiteY13" fmla="*/ 7183 h 10000"/>
                <a:gd name="connsiteX14" fmla="*/ 1655 w 10000"/>
                <a:gd name="connsiteY14" fmla="*/ 7430 h 10000"/>
                <a:gd name="connsiteX15" fmla="*/ 1604 w 10000"/>
                <a:gd name="connsiteY15" fmla="*/ 7430 h 10000"/>
                <a:gd name="connsiteX16" fmla="*/ 1551 w 10000"/>
                <a:gd name="connsiteY16" fmla="*/ 7255 h 10000"/>
                <a:gd name="connsiteX17" fmla="*/ 1513 w 10000"/>
                <a:gd name="connsiteY17" fmla="*/ 7430 h 10000"/>
                <a:gd name="connsiteX18" fmla="*/ 1519 w 10000"/>
                <a:gd name="connsiteY18" fmla="*/ 7854 h 10000"/>
                <a:gd name="connsiteX19" fmla="*/ 1604 w 10000"/>
                <a:gd name="connsiteY19" fmla="*/ 8070 h 10000"/>
                <a:gd name="connsiteX20" fmla="*/ 1648 w 10000"/>
                <a:gd name="connsiteY20" fmla="*/ 8019 h 10000"/>
                <a:gd name="connsiteX21" fmla="*/ 1741 w 10000"/>
                <a:gd name="connsiteY21" fmla="*/ 8493 h 10000"/>
                <a:gd name="connsiteX22" fmla="*/ 1610 w 10000"/>
                <a:gd name="connsiteY22" fmla="*/ 8669 h 10000"/>
                <a:gd name="connsiteX23" fmla="*/ 1595 w 10000"/>
                <a:gd name="connsiteY23" fmla="*/ 9009 h 10000"/>
                <a:gd name="connsiteX24" fmla="*/ 1664 w 10000"/>
                <a:gd name="connsiteY24" fmla="*/ 9236 h 10000"/>
                <a:gd name="connsiteX25" fmla="*/ 1664 w 10000"/>
                <a:gd name="connsiteY25" fmla="*/ 9484 h 10000"/>
                <a:gd name="connsiteX26" fmla="*/ 1769 w 10000"/>
                <a:gd name="connsiteY26" fmla="*/ 9835 h 10000"/>
                <a:gd name="connsiteX27" fmla="*/ 1703 w 10000"/>
                <a:gd name="connsiteY27" fmla="*/ 10000 h 10000"/>
                <a:gd name="connsiteX28" fmla="*/ 1604 w 10000"/>
                <a:gd name="connsiteY28" fmla="*/ 9753 h 10000"/>
                <a:gd name="connsiteX29" fmla="*/ 1465 w 10000"/>
                <a:gd name="connsiteY29" fmla="*/ 9505 h 10000"/>
                <a:gd name="connsiteX30" fmla="*/ 1406 w 10000"/>
                <a:gd name="connsiteY30" fmla="*/ 9588 h 10000"/>
                <a:gd name="connsiteX31" fmla="*/ 1308 w 10000"/>
                <a:gd name="connsiteY31" fmla="*/ 9380 h 10000"/>
                <a:gd name="connsiteX32" fmla="*/ 1097 w 10000"/>
                <a:gd name="connsiteY32" fmla="*/ 9339 h 10000"/>
                <a:gd name="connsiteX33" fmla="*/ 848 w 10000"/>
                <a:gd name="connsiteY33" fmla="*/ 8813 h 10000"/>
                <a:gd name="connsiteX34" fmla="*/ 914 w 10000"/>
                <a:gd name="connsiteY34" fmla="*/ 8721 h 10000"/>
                <a:gd name="connsiteX35" fmla="*/ 961 w 10000"/>
                <a:gd name="connsiteY35" fmla="*/ 8493 h 10000"/>
                <a:gd name="connsiteX36" fmla="*/ 908 w 10000"/>
                <a:gd name="connsiteY36" fmla="*/ 8390 h 10000"/>
                <a:gd name="connsiteX37" fmla="*/ 1021 w 10000"/>
                <a:gd name="connsiteY37" fmla="*/ 8245 h 10000"/>
                <a:gd name="connsiteX38" fmla="*/ 945 w 10000"/>
                <a:gd name="connsiteY38" fmla="*/ 8194 h 10000"/>
                <a:gd name="connsiteX39" fmla="*/ 958 w 10000"/>
                <a:gd name="connsiteY39" fmla="*/ 8091 h 10000"/>
                <a:gd name="connsiteX40" fmla="*/ 1005 w 10000"/>
                <a:gd name="connsiteY40" fmla="*/ 8111 h 10000"/>
                <a:gd name="connsiteX41" fmla="*/ 1059 w 10000"/>
                <a:gd name="connsiteY41" fmla="*/ 8019 h 10000"/>
                <a:gd name="connsiteX42" fmla="*/ 1034 w 10000"/>
                <a:gd name="connsiteY42" fmla="*/ 7864 h 10000"/>
                <a:gd name="connsiteX43" fmla="*/ 1043 w 10000"/>
                <a:gd name="connsiteY43" fmla="*/ 7503 h 10000"/>
                <a:gd name="connsiteX44" fmla="*/ 930 w 10000"/>
                <a:gd name="connsiteY44" fmla="*/ 7440 h 10000"/>
                <a:gd name="connsiteX45" fmla="*/ 832 w 10000"/>
                <a:gd name="connsiteY45" fmla="*/ 7286 h 10000"/>
                <a:gd name="connsiteX46" fmla="*/ 700 w 10000"/>
                <a:gd name="connsiteY46" fmla="*/ 7275 h 10000"/>
                <a:gd name="connsiteX47" fmla="*/ 684 w 10000"/>
                <a:gd name="connsiteY47" fmla="*/ 7090 h 10000"/>
                <a:gd name="connsiteX48" fmla="*/ 596 w 10000"/>
                <a:gd name="connsiteY48" fmla="*/ 6945 h 10000"/>
                <a:gd name="connsiteX49" fmla="*/ 615 w 10000"/>
                <a:gd name="connsiteY49" fmla="*/ 6822 h 10000"/>
                <a:gd name="connsiteX50" fmla="*/ 561 w 10000"/>
                <a:gd name="connsiteY50" fmla="*/ 6698 h 10000"/>
                <a:gd name="connsiteX51" fmla="*/ 457 w 10000"/>
                <a:gd name="connsiteY51" fmla="*/ 6698 h 10000"/>
                <a:gd name="connsiteX52" fmla="*/ 425 w 10000"/>
                <a:gd name="connsiteY52" fmla="*/ 6791 h 10000"/>
                <a:gd name="connsiteX53" fmla="*/ 400 w 10000"/>
                <a:gd name="connsiteY53" fmla="*/ 6750 h 10000"/>
                <a:gd name="connsiteX54" fmla="*/ 378 w 10000"/>
                <a:gd name="connsiteY54" fmla="*/ 6439 h 10000"/>
                <a:gd name="connsiteX55" fmla="*/ 419 w 10000"/>
                <a:gd name="connsiteY55" fmla="*/ 6470 h 10000"/>
                <a:gd name="connsiteX56" fmla="*/ 466 w 10000"/>
                <a:gd name="connsiteY56" fmla="*/ 6347 h 10000"/>
                <a:gd name="connsiteX57" fmla="*/ 400 w 10000"/>
                <a:gd name="connsiteY57" fmla="*/ 6233 h 10000"/>
                <a:gd name="connsiteX58" fmla="*/ 315 w 10000"/>
                <a:gd name="connsiteY58" fmla="*/ 6017 h 10000"/>
                <a:gd name="connsiteX59" fmla="*/ 334 w 10000"/>
                <a:gd name="connsiteY59" fmla="*/ 5821 h 10000"/>
                <a:gd name="connsiteX60" fmla="*/ 274 w 10000"/>
                <a:gd name="connsiteY60" fmla="*/ 5697 h 10000"/>
                <a:gd name="connsiteX61" fmla="*/ 227 w 10000"/>
                <a:gd name="connsiteY61" fmla="*/ 5728 h 10000"/>
                <a:gd name="connsiteX62" fmla="*/ 202 w 10000"/>
                <a:gd name="connsiteY62" fmla="*/ 5604 h 10000"/>
                <a:gd name="connsiteX63" fmla="*/ 164 w 10000"/>
                <a:gd name="connsiteY63" fmla="*/ 5645 h 10000"/>
                <a:gd name="connsiteX64" fmla="*/ 117 w 10000"/>
                <a:gd name="connsiteY64" fmla="*/ 5604 h 10000"/>
                <a:gd name="connsiteX65" fmla="*/ 69 w 10000"/>
                <a:gd name="connsiteY65" fmla="*/ 5181 h 10000"/>
                <a:gd name="connsiteX66" fmla="*/ 85 w 10000"/>
                <a:gd name="connsiteY66" fmla="*/ 5057 h 10000"/>
                <a:gd name="connsiteX67" fmla="*/ 41 w 10000"/>
                <a:gd name="connsiteY67" fmla="*/ 4892 h 10000"/>
                <a:gd name="connsiteX68" fmla="*/ 66 w 10000"/>
                <a:gd name="connsiteY68" fmla="*/ 4655 h 10000"/>
                <a:gd name="connsiteX69" fmla="*/ 211 w 10000"/>
                <a:gd name="connsiteY69" fmla="*/ 4510 h 10000"/>
                <a:gd name="connsiteX70" fmla="*/ 129 w 10000"/>
                <a:gd name="connsiteY70" fmla="*/ 4406 h 10000"/>
                <a:gd name="connsiteX71" fmla="*/ 82 w 10000"/>
                <a:gd name="connsiteY71" fmla="*/ 4283 h 10000"/>
                <a:gd name="connsiteX72" fmla="*/ 205 w 10000"/>
                <a:gd name="connsiteY72" fmla="*/ 3912 h 10000"/>
                <a:gd name="connsiteX73" fmla="*/ 249 w 10000"/>
                <a:gd name="connsiteY73" fmla="*/ 3664 h 10000"/>
                <a:gd name="connsiteX74" fmla="*/ 151 w 10000"/>
                <a:gd name="connsiteY74" fmla="*/ 3488 h 10000"/>
                <a:gd name="connsiteX75" fmla="*/ 189 w 10000"/>
                <a:gd name="connsiteY75" fmla="*/ 3344 h 10000"/>
                <a:gd name="connsiteX76" fmla="*/ 113 w 10000"/>
                <a:gd name="connsiteY76" fmla="*/ 3148 h 10000"/>
                <a:gd name="connsiteX77" fmla="*/ 113 w 10000"/>
                <a:gd name="connsiteY77" fmla="*/ 2972 h 10000"/>
                <a:gd name="connsiteX78" fmla="*/ 60 w 10000"/>
                <a:gd name="connsiteY78" fmla="*/ 2622 h 10000"/>
                <a:gd name="connsiteX79" fmla="*/ 98 w 10000"/>
                <a:gd name="connsiteY79" fmla="*/ 2404 h 10000"/>
                <a:gd name="connsiteX80" fmla="*/ 38 w 10000"/>
                <a:gd name="connsiteY80" fmla="*/ 2301 h 10000"/>
                <a:gd name="connsiteX81" fmla="*/ 0 w 10000"/>
                <a:gd name="connsiteY81" fmla="*/ 2178 h 10000"/>
                <a:gd name="connsiteX82" fmla="*/ 54 w 10000"/>
                <a:gd name="connsiteY82" fmla="*/ 1951 h 10000"/>
                <a:gd name="connsiteX83" fmla="*/ 120 w 10000"/>
                <a:gd name="connsiteY83" fmla="*/ 1910 h 10000"/>
                <a:gd name="connsiteX84" fmla="*/ 195 w 10000"/>
                <a:gd name="connsiteY84" fmla="*/ 1858 h 10000"/>
                <a:gd name="connsiteX85" fmla="*/ 309 w 10000"/>
                <a:gd name="connsiteY85" fmla="*/ 1951 h 10000"/>
                <a:gd name="connsiteX86" fmla="*/ 482 w 10000"/>
                <a:gd name="connsiteY86" fmla="*/ 2054 h 10000"/>
                <a:gd name="connsiteX87" fmla="*/ 633 w 10000"/>
                <a:gd name="connsiteY87" fmla="*/ 2229 h 10000"/>
                <a:gd name="connsiteX88" fmla="*/ 756 w 10000"/>
                <a:gd name="connsiteY88" fmla="*/ 2373 h 10000"/>
                <a:gd name="connsiteX89" fmla="*/ 725 w 10000"/>
                <a:gd name="connsiteY89" fmla="*/ 2777 h 10000"/>
                <a:gd name="connsiteX90" fmla="*/ 362 w 10000"/>
                <a:gd name="connsiteY90" fmla="*/ 2673 h 10000"/>
                <a:gd name="connsiteX91" fmla="*/ 243 w 10000"/>
                <a:gd name="connsiteY91" fmla="*/ 2550 h 10000"/>
                <a:gd name="connsiteX92" fmla="*/ 287 w 10000"/>
                <a:gd name="connsiteY92" fmla="*/ 2622 h 10000"/>
                <a:gd name="connsiteX93" fmla="*/ 331 w 10000"/>
                <a:gd name="connsiteY93" fmla="*/ 2797 h 10000"/>
                <a:gd name="connsiteX94" fmla="*/ 400 w 10000"/>
                <a:gd name="connsiteY94" fmla="*/ 2921 h 10000"/>
                <a:gd name="connsiteX95" fmla="*/ 416 w 10000"/>
                <a:gd name="connsiteY95" fmla="*/ 3189 h 10000"/>
                <a:gd name="connsiteX96" fmla="*/ 507 w 10000"/>
                <a:gd name="connsiteY96" fmla="*/ 3313 h 10000"/>
                <a:gd name="connsiteX97" fmla="*/ 583 w 10000"/>
                <a:gd name="connsiteY97" fmla="*/ 3436 h 10000"/>
                <a:gd name="connsiteX98" fmla="*/ 605 w 10000"/>
                <a:gd name="connsiteY98" fmla="*/ 3467 h 10000"/>
                <a:gd name="connsiteX99" fmla="*/ 649 w 10000"/>
                <a:gd name="connsiteY99" fmla="*/ 3436 h 10000"/>
                <a:gd name="connsiteX100" fmla="*/ 633 w 10000"/>
                <a:gd name="connsiteY100" fmla="*/ 3364 h 10000"/>
                <a:gd name="connsiteX101" fmla="*/ 545 w 10000"/>
                <a:gd name="connsiteY101" fmla="*/ 3189 h 10000"/>
                <a:gd name="connsiteX102" fmla="*/ 801 w 10000"/>
                <a:gd name="connsiteY102" fmla="*/ 3344 h 10000"/>
                <a:gd name="connsiteX103" fmla="*/ 810 w 10000"/>
                <a:gd name="connsiteY103" fmla="*/ 3271 h 10000"/>
                <a:gd name="connsiteX104" fmla="*/ 785 w 10000"/>
                <a:gd name="connsiteY104" fmla="*/ 3220 h 10000"/>
                <a:gd name="connsiteX105" fmla="*/ 741 w 10000"/>
                <a:gd name="connsiteY105" fmla="*/ 2993 h 10000"/>
                <a:gd name="connsiteX106" fmla="*/ 870 w 10000"/>
                <a:gd name="connsiteY106" fmla="*/ 2777 h 10000"/>
                <a:gd name="connsiteX107" fmla="*/ 968 w 10000"/>
                <a:gd name="connsiteY107" fmla="*/ 2921 h 10000"/>
                <a:gd name="connsiteX108" fmla="*/ 999 w 10000"/>
                <a:gd name="connsiteY108" fmla="*/ 2725 h 10000"/>
                <a:gd name="connsiteX109" fmla="*/ 952 w 10000"/>
                <a:gd name="connsiteY109" fmla="*/ 2653 h 10000"/>
                <a:gd name="connsiteX110" fmla="*/ 936 w 10000"/>
                <a:gd name="connsiteY110" fmla="*/ 2281 h 10000"/>
                <a:gd name="connsiteX111" fmla="*/ 914 w 10000"/>
                <a:gd name="connsiteY111" fmla="*/ 2229 h 10000"/>
                <a:gd name="connsiteX112" fmla="*/ 1037 w 10000"/>
                <a:gd name="connsiteY112" fmla="*/ 2250 h 10000"/>
                <a:gd name="connsiteX113" fmla="*/ 1087 w 10000"/>
                <a:gd name="connsiteY113" fmla="*/ 2404 h 10000"/>
                <a:gd name="connsiteX114" fmla="*/ 1021 w 10000"/>
                <a:gd name="connsiteY114" fmla="*/ 2529 h 10000"/>
                <a:gd name="connsiteX115" fmla="*/ 1135 w 10000"/>
                <a:gd name="connsiteY115" fmla="*/ 2694 h 10000"/>
                <a:gd name="connsiteX116" fmla="*/ 1226 w 10000"/>
                <a:gd name="connsiteY116" fmla="*/ 2529 h 10000"/>
                <a:gd name="connsiteX117" fmla="*/ 1339 w 10000"/>
                <a:gd name="connsiteY117" fmla="*/ 2301 h 10000"/>
                <a:gd name="connsiteX118" fmla="*/ 1459 w 10000"/>
                <a:gd name="connsiteY118" fmla="*/ 2157 h 10000"/>
                <a:gd name="connsiteX119" fmla="*/ 1497 w 10000"/>
                <a:gd name="connsiteY119" fmla="*/ 2250 h 10000"/>
                <a:gd name="connsiteX120" fmla="*/ 1807 w 10000"/>
                <a:gd name="connsiteY120" fmla="*/ 2054 h 10000"/>
                <a:gd name="connsiteX121" fmla="*/ 1870 w 10000"/>
                <a:gd name="connsiteY121" fmla="*/ 2250 h 10000"/>
                <a:gd name="connsiteX122" fmla="*/ 1860 w 10000"/>
                <a:gd name="connsiteY122" fmla="*/ 2002 h 10000"/>
                <a:gd name="connsiteX123" fmla="*/ 1778 w 10000"/>
                <a:gd name="connsiteY123" fmla="*/ 1786 h 10000"/>
                <a:gd name="connsiteX124" fmla="*/ 1763 w 10000"/>
                <a:gd name="connsiteY124" fmla="*/ 1703 h 10000"/>
                <a:gd name="connsiteX125" fmla="*/ 1823 w 10000"/>
                <a:gd name="connsiteY125" fmla="*/ 1786 h 10000"/>
                <a:gd name="connsiteX126" fmla="*/ 2034 w 10000"/>
                <a:gd name="connsiteY126" fmla="*/ 1951 h 10000"/>
                <a:gd name="connsiteX127" fmla="*/ 2270 w 10000"/>
                <a:gd name="connsiteY127" fmla="*/ 2126 h 10000"/>
                <a:gd name="connsiteX128" fmla="*/ 2384 w 10000"/>
                <a:gd name="connsiteY128" fmla="*/ 2250 h 10000"/>
                <a:gd name="connsiteX129" fmla="*/ 2421 w 10000"/>
                <a:gd name="connsiteY129" fmla="*/ 2074 h 10000"/>
                <a:gd name="connsiteX130" fmla="*/ 2368 w 10000"/>
                <a:gd name="connsiteY130" fmla="*/ 2033 h 10000"/>
                <a:gd name="connsiteX131" fmla="*/ 2299 w 10000"/>
                <a:gd name="connsiteY131" fmla="*/ 1930 h 10000"/>
                <a:gd name="connsiteX132" fmla="*/ 2254 w 10000"/>
                <a:gd name="connsiteY132" fmla="*/ 1734 h 10000"/>
                <a:gd name="connsiteX133" fmla="*/ 2185 w 10000"/>
                <a:gd name="connsiteY133" fmla="*/ 1486 h 10000"/>
                <a:gd name="connsiteX134" fmla="*/ 2210 w 10000"/>
                <a:gd name="connsiteY134" fmla="*/ 1434 h 10000"/>
                <a:gd name="connsiteX135" fmla="*/ 2232 w 10000"/>
                <a:gd name="connsiteY135" fmla="*/ 1455 h 10000"/>
                <a:gd name="connsiteX136" fmla="*/ 2292 w 10000"/>
                <a:gd name="connsiteY136" fmla="*/ 1115 h 10000"/>
                <a:gd name="connsiteX137" fmla="*/ 2443 w 10000"/>
                <a:gd name="connsiteY137" fmla="*/ 1135 h 10000"/>
                <a:gd name="connsiteX138" fmla="*/ 2488 w 10000"/>
                <a:gd name="connsiteY138" fmla="*/ 1311 h 10000"/>
                <a:gd name="connsiteX139" fmla="*/ 2519 w 10000"/>
                <a:gd name="connsiteY139" fmla="*/ 1538 h 10000"/>
                <a:gd name="connsiteX140" fmla="*/ 2573 w 10000"/>
                <a:gd name="connsiteY140" fmla="*/ 1734 h 10000"/>
                <a:gd name="connsiteX141" fmla="*/ 2670 w 10000"/>
                <a:gd name="connsiteY141" fmla="*/ 2157 h 10000"/>
                <a:gd name="connsiteX142" fmla="*/ 2481 w 10000"/>
                <a:gd name="connsiteY142" fmla="*/ 2673 h 10000"/>
                <a:gd name="connsiteX143" fmla="*/ 2557 w 10000"/>
                <a:gd name="connsiteY143" fmla="*/ 2746 h 10000"/>
                <a:gd name="connsiteX144" fmla="*/ 2655 w 10000"/>
                <a:gd name="connsiteY144" fmla="*/ 2818 h 10000"/>
                <a:gd name="connsiteX145" fmla="*/ 2784 w 10000"/>
                <a:gd name="connsiteY145" fmla="*/ 2622 h 10000"/>
                <a:gd name="connsiteX146" fmla="*/ 2790 w 10000"/>
                <a:gd name="connsiteY146" fmla="*/ 2404 h 10000"/>
                <a:gd name="connsiteX147" fmla="*/ 2746 w 10000"/>
                <a:gd name="connsiteY147" fmla="*/ 2301 h 10000"/>
                <a:gd name="connsiteX148" fmla="*/ 2919 w 10000"/>
                <a:gd name="connsiteY148" fmla="*/ 2250 h 10000"/>
                <a:gd name="connsiteX149" fmla="*/ 2989 w 10000"/>
                <a:gd name="connsiteY149" fmla="*/ 2497 h 10000"/>
                <a:gd name="connsiteX150" fmla="*/ 2989 w 10000"/>
                <a:gd name="connsiteY150" fmla="*/ 2425 h 10000"/>
                <a:gd name="connsiteX151" fmla="*/ 2973 w 10000"/>
                <a:gd name="connsiteY151" fmla="*/ 2353 h 10000"/>
                <a:gd name="connsiteX152" fmla="*/ 2967 w 10000"/>
                <a:gd name="connsiteY152" fmla="*/ 2178 h 10000"/>
                <a:gd name="connsiteX153" fmla="*/ 2800 w 10000"/>
                <a:gd name="connsiteY153" fmla="*/ 1930 h 10000"/>
                <a:gd name="connsiteX154" fmla="*/ 2670 w 10000"/>
                <a:gd name="connsiteY154" fmla="*/ 2002 h 10000"/>
                <a:gd name="connsiteX155" fmla="*/ 2617 w 10000"/>
                <a:gd name="connsiteY155" fmla="*/ 1683 h 10000"/>
                <a:gd name="connsiteX156" fmla="*/ 2563 w 10000"/>
                <a:gd name="connsiteY156" fmla="*/ 1507 h 10000"/>
                <a:gd name="connsiteX157" fmla="*/ 2617 w 10000"/>
                <a:gd name="connsiteY157" fmla="*/ 1331 h 10000"/>
                <a:gd name="connsiteX158" fmla="*/ 2611 w 10000"/>
                <a:gd name="connsiteY158" fmla="*/ 1166 h 10000"/>
                <a:gd name="connsiteX159" fmla="*/ 2588 w 10000"/>
                <a:gd name="connsiteY159" fmla="*/ 1115 h 10000"/>
                <a:gd name="connsiteX160" fmla="*/ 2626 w 10000"/>
                <a:gd name="connsiteY160" fmla="*/ 1115 h 10000"/>
                <a:gd name="connsiteX161" fmla="*/ 2670 w 10000"/>
                <a:gd name="connsiteY161" fmla="*/ 1455 h 10000"/>
                <a:gd name="connsiteX162" fmla="*/ 2891 w 10000"/>
                <a:gd name="connsiteY162" fmla="*/ 1662 h 10000"/>
                <a:gd name="connsiteX163" fmla="*/ 2724 w 10000"/>
                <a:gd name="connsiteY163" fmla="*/ 1383 h 10000"/>
                <a:gd name="connsiteX164" fmla="*/ 3049 w 10000"/>
                <a:gd name="connsiteY164" fmla="*/ 1383 h 10000"/>
                <a:gd name="connsiteX165" fmla="*/ 3102 w 10000"/>
                <a:gd name="connsiteY165" fmla="*/ 1362 h 10000"/>
                <a:gd name="connsiteX166" fmla="*/ 2897 w 10000"/>
                <a:gd name="connsiteY166" fmla="*/ 1115 h 10000"/>
                <a:gd name="connsiteX167" fmla="*/ 2951 w 10000"/>
                <a:gd name="connsiteY167" fmla="*/ 888 h 10000"/>
                <a:gd name="connsiteX168" fmla="*/ 3178 w 10000"/>
                <a:gd name="connsiteY168" fmla="*/ 888 h 10000"/>
                <a:gd name="connsiteX169" fmla="*/ 3156 w 10000"/>
                <a:gd name="connsiteY169" fmla="*/ 713 h 10000"/>
                <a:gd name="connsiteX170" fmla="*/ 3231 w 10000"/>
                <a:gd name="connsiteY170" fmla="*/ 589 h 10000"/>
                <a:gd name="connsiteX171" fmla="*/ 3276 w 10000"/>
                <a:gd name="connsiteY171" fmla="*/ 548 h 10000"/>
                <a:gd name="connsiteX172" fmla="*/ 3443 w 10000"/>
                <a:gd name="connsiteY172" fmla="*/ 423 h 10000"/>
                <a:gd name="connsiteX173" fmla="*/ 3487 w 10000"/>
                <a:gd name="connsiteY173" fmla="*/ 371 h 10000"/>
                <a:gd name="connsiteX174" fmla="*/ 3480 w 10000"/>
                <a:gd name="connsiteY174" fmla="*/ 444 h 10000"/>
                <a:gd name="connsiteX175" fmla="*/ 3660 w 10000"/>
                <a:gd name="connsiteY175" fmla="*/ 371 h 10000"/>
                <a:gd name="connsiteX176" fmla="*/ 3805 w 10000"/>
                <a:gd name="connsiteY176" fmla="*/ 248 h 10000"/>
                <a:gd name="connsiteX177" fmla="*/ 3827 w 10000"/>
                <a:gd name="connsiteY177" fmla="*/ 0 h 10000"/>
                <a:gd name="connsiteX178" fmla="*/ 3988 w 10000"/>
                <a:gd name="connsiteY178" fmla="*/ 21 h 10000"/>
                <a:gd name="connsiteX179" fmla="*/ 3978 w 10000"/>
                <a:gd name="connsiteY179" fmla="*/ 93 h 10000"/>
                <a:gd name="connsiteX180" fmla="*/ 3988 w 10000"/>
                <a:gd name="connsiteY180" fmla="*/ 176 h 10000"/>
                <a:gd name="connsiteX181" fmla="*/ 4085 w 10000"/>
                <a:gd name="connsiteY181" fmla="*/ 248 h 10000"/>
                <a:gd name="connsiteX182" fmla="*/ 4379 w 10000"/>
                <a:gd name="connsiteY182" fmla="*/ 268 h 10000"/>
                <a:gd name="connsiteX183" fmla="*/ 4539 w 10000"/>
                <a:gd name="connsiteY183" fmla="*/ 392 h 10000"/>
                <a:gd name="connsiteX184" fmla="*/ 4486 w 10000"/>
                <a:gd name="connsiteY184" fmla="*/ 795 h 10000"/>
                <a:gd name="connsiteX185" fmla="*/ 4426 w 10000"/>
                <a:gd name="connsiteY185" fmla="*/ 919 h 10000"/>
                <a:gd name="connsiteX186" fmla="*/ 4356 w 10000"/>
                <a:gd name="connsiteY186" fmla="*/ 1043 h 10000"/>
                <a:gd name="connsiteX187" fmla="*/ 4372 w 10000"/>
                <a:gd name="connsiteY187" fmla="*/ 1115 h 10000"/>
                <a:gd name="connsiteX188" fmla="*/ 4583 w 10000"/>
                <a:gd name="connsiteY188" fmla="*/ 919 h 10000"/>
                <a:gd name="connsiteX189" fmla="*/ 5060 w 10000"/>
                <a:gd name="connsiteY189" fmla="*/ 991 h 10000"/>
                <a:gd name="connsiteX190" fmla="*/ 5108 w 10000"/>
                <a:gd name="connsiteY190" fmla="*/ 1063 h 10000"/>
                <a:gd name="connsiteX191" fmla="*/ 5212 w 10000"/>
                <a:gd name="connsiteY191" fmla="*/ 1187 h 10000"/>
                <a:gd name="connsiteX192" fmla="*/ 5357 w 10000"/>
                <a:gd name="connsiteY192" fmla="*/ 919 h 10000"/>
                <a:gd name="connsiteX193" fmla="*/ 5577 w 10000"/>
                <a:gd name="connsiteY193" fmla="*/ 1063 h 10000"/>
                <a:gd name="connsiteX194" fmla="*/ 5643 w 10000"/>
                <a:gd name="connsiteY194" fmla="*/ 1115 h 10000"/>
                <a:gd name="connsiteX195" fmla="*/ 5697 w 10000"/>
                <a:gd name="connsiteY195" fmla="*/ 1166 h 10000"/>
                <a:gd name="connsiteX196" fmla="*/ 5908 w 10000"/>
                <a:gd name="connsiteY196" fmla="*/ 1631 h 10000"/>
                <a:gd name="connsiteX197" fmla="*/ 5984 w 10000"/>
                <a:gd name="connsiteY197" fmla="*/ 1611 h 10000"/>
                <a:gd name="connsiteX198" fmla="*/ 5977 w 10000"/>
                <a:gd name="connsiteY198" fmla="*/ 1507 h 10000"/>
                <a:gd name="connsiteX199" fmla="*/ 5984 w 10000"/>
                <a:gd name="connsiteY199" fmla="*/ 1383 h 10000"/>
                <a:gd name="connsiteX200" fmla="*/ 6091 w 10000"/>
                <a:gd name="connsiteY200" fmla="*/ 1486 h 10000"/>
                <a:gd name="connsiteX201" fmla="*/ 6264 w 10000"/>
                <a:gd name="connsiteY201" fmla="*/ 1507 h 10000"/>
                <a:gd name="connsiteX202" fmla="*/ 6409 w 10000"/>
                <a:gd name="connsiteY202" fmla="*/ 1455 h 10000"/>
                <a:gd name="connsiteX203" fmla="*/ 6340 w 10000"/>
                <a:gd name="connsiteY203" fmla="*/ 1362 h 10000"/>
                <a:gd name="connsiteX204" fmla="*/ 6431 w 10000"/>
                <a:gd name="connsiteY204" fmla="*/ 1084 h 10000"/>
                <a:gd name="connsiteX205" fmla="*/ 6687 w 10000"/>
                <a:gd name="connsiteY205" fmla="*/ 1207 h 10000"/>
                <a:gd name="connsiteX206" fmla="*/ 6945 w 10000"/>
                <a:gd name="connsiteY206" fmla="*/ 1331 h 10000"/>
                <a:gd name="connsiteX207" fmla="*/ 6967 w 10000"/>
                <a:gd name="connsiteY207" fmla="*/ 1362 h 10000"/>
                <a:gd name="connsiteX208" fmla="*/ 7194 w 10000"/>
                <a:gd name="connsiteY208" fmla="*/ 1611 h 10000"/>
                <a:gd name="connsiteX209" fmla="*/ 7367 w 10000"/>
                <a:gd name="connsiteY209" fmla="*/ 1507 h 10000"/>
                <a:gd name="connsiteX210" fmla="*/ 7582 w 10000"/>
                <a:gd name="connsiteY210" fmla="*/ 1538 h 10000"/>
                <a:gd name="connsiteX211" fmla="*/ 7657 w 10000"/>
                <a:gd name="connsiteY211" fmla="*/ 1611 h 10000"/>
                <a:gd name="connsiteX212" fmla="*/ 7928 w 10000"/>
                <a:gd name="connsiteY212" fmla="*/ 1930 h 10000"/>
                <a:gd name="connsiteX213" fmla="*/ 8231 w 10000"/>
                <a:gd name="connsiteY213" fmla="*/ 1879 h 10000"/>
                <a:gd name="connsiteX214" fmla="*/ 8339 w 10000"/>
                <a:gd name="connsiteY214" fmla="*/ 2033 h 10000"/>
                <a:gd name="connsiteX215" fmla="*/ 8490 w 10000"/>
                <a:gd name="connsiteY215" fmla="*/ 2157 h 10000"/>
                <a:gd name="connsiteX216" fmla="*/ 8519 w 10000"/>
                <a:gd name="connsiteY216" fmla="*/ 2105 h 10000"/>
                <a:gd name="connsiteX217" fmla="*/ 8497 w 10000"/>
                <a:gd name="connsiteY217" fmla="*/ 2074 h 10000"/>
                <a:gd name="connsiteX218" fmla="*/ 8383 w 10000"/>
                <a:gd name="connsiteY218" fmla="*/ 1930 h 10000"/>
                <a:gd name="connsiteX219" fmla="*/ 8465 w 10000"/>
                <a:gd name="connsiteY219" fmla="*/ 1755 h 10000"/>
                <a:gd name="connsiteX220" fmla="*/ 8664 w 10000"/>
                <a:gd name="connsiteY220" fmla="*/ 1910 h 10000"/>
                <a:gd name="connsiteX221" fmla="*/ 8950 w 10000"/>
                <a:gd name="connsiteY221" fmla="*/ 1982 h 10000"/>
                <a:gd name="connsiteX222" fmla="*/ 9206 w 10000"/>
                <a:gd name="connsiteY222" fmla="*/ 2260 h 10000"/>
                <a:gd name="connsiteX223" fmla="*/ 9344 w 10000"/>
                <a:gd name="connsiteY223" fmla="*/ 2332 h 10000"/>
                <a:gd name="connsiteX224" fmla="*/ 9451 w 10000"/>
                <a:gd name="connsiteY224" fmla="*/ 2446 h 10000"/>
                <a:gd name="connsiteX225" fmla="*/ 9574 w 10000"/>
                <a:gd name="connsiteY225" fmla="*/ 2632 h 10000"/>
                <a:gd name="connsiteX226" fmla="*/ 9631 w 10000"/>
                <a:gd name="connsiteY226" fmla="*/ 2756 h 10000"/>
                <a:gd name="connsiteX227" fmla="*/ 9726 w 10000"/>
                <a:gd name="connsiteY227" fmla="*/ 2787 h 10000"/>
                <a:gd name="connsiteX228" fmla="*/ 9590 w 10000"/>
                <a:gd name="connsiteY228" fmla="*/ 2570 h 10000"/>
                <a:gd name="connsiteX229" fmla="*/ 9915 w 10000"/>
                <a:gd name="connsiteY229" fmla="*/ 2756 h 10000"/>
                <a:gd name="connsiteX230" fmla="*/ 10000 w 10000"/>
                <a:gd name="connsiteY230" fmla="*/ 3014 h 10000"/>
                <a:gd name="connsiteX231" fmla="*/ 9934 w 10000"/>
                <a:gd name="connsiteY231" fmla="*/ 2941 h 10000"/>
                <a:gd name="connsiteX232" fmla="*/ 9874 w 10000"/>
                <a:gd name="connsiteY232" fmla="*/ 2952 h 10000"/>
                <a:gd name="connsiteX233" fmla="*/ 10000 w 10000"/>
                <a:gd name="connsiteY233" fmla="*/ 3292 h 10000"/>
                <a:gd name="connsiteX234" fmla="*/ 9845 w 10000"/>
                <a:gd name="connsiteY234" fmla="*/ 3220 h 10000"/>
                <a:gd name="connsiteX235" fmla="*/ 9745 w 10000"/>
                <a:gd name="connsiteY235" fmla="*/ 3075 h 10000"/>
                <a:gd name="connsiteX236" fmla="*/ 9641 w 10000"/>
                <a:gd name="connsiteY236" fmla="*/ 2972 h 10000"/>
                <a:gd name="connsiteX237" fmla="*/ 9555 w 10000"/>
                <a:gd name="connsiteY237" fmla="*/ 3003 h 10000"/>
                <a:gd name="connsiteX238" fmla="*/ 9470 w 10000"/>
                <a:gd name="connsiteY238" fmla="*/ 2787 h 10000"/>
                <a:gd name="connsiteX239" fmla="*/ 9366 w 10000"/>
                <a:gd name="connsiteY239" fmla="*/ 2725 h 10000"/>
                <a:gd name="connsiteX240" fmla="*/ 9461 w 10000"/>
                <a:gd name="connsiteY240" fmla="*/ 2972 h 10000"/>
                <a:gd name="connsiteX241" fmla="*/ 9470 w 10000"/>
                <a:gd name="connsiteY241" fmla="*/ 3230 h 10000"/>
                <a:gd name="connsiteX242" fmla="*/ 9288 w 10000"/>
                <a:gd name="connsiteY242" fmla="*/ 3065 h 10000"/>
                <a:gd name="connsiteX243" fmla="*/ 9262 w 10000"/>
                <a:gd name="connsiteY243" fmla="*/ 3230 h 10000"/>
                <a:gd name="connsiteX244" fmla="*/ 9363 w 10000"/>
                <a:gd name="connsiteY244" fmla="*/ 3230 h 10000"/>
                <a:gd name="connsiteX245" fmla="*/ 9451 w 10000"/>
                <a:gd name="connsiteY245" fmla="*/ 3354 h 10000"/>
                <a:gd name="connsiteX246" fmla="*/ 9659 w 10000"/>
                <a:gd name="connsiteY246" fmla="*/ 3685 h 10000"/>
                <a:gd name="connsiteX247" fmla="*/ 9735 w 10000"/>
                <a:gd name="connsiteY247" fmla="*/ 3839 h 10000"/>
                <a:gd name="connsiteX248" fmla="*/ 9552 w 10000"/>
                <a:gd name="connsiteY248" fmla="*/ 3757 h 10000"/>
                <a:gd name="connsiteX249" fmla="*/ 9451 w 10000"/>
                <a:gd name="connsiteY249" fmla="*/ 4025 h 10000"/>
                <a:gd name="connsiteX250" fmla="*/ 9385 w 10000"/>
                <a:gd name="connsiteY250" fmla="*/ 4283 h 10000"/>
                <a:gd name="connsiteX251" fmla="*/ 9376 w 10000"/>
                <a:gd name="connsiteY251" fmla="*/ 4499 h 10000"/>
                <a:gd name="connsiteX252" fmla="*/ 9335 w 10000"/>
                <a:gd name="connsiteY252" fmla="*/ 4303 h 10000"/>
                <a:gd name="connsiteX253" fmla="*/ 9149 w 10000"/>
                <a:gd name="connsiteY253" fmla="*/ 4314 h 10000"/>
                <a:gd name="connsiteX254" fmla="*/ 9155 w 10000"/>
                <a:gd name="connsiteY254" fmla="*/ 4531 h 10000"/>
                <a:gd name="connsiteX255" fmla="*/ 9061 w 10000"/>
                <a:gd name="connsiteY255" fmla="*/ 4365 h 10000"/>
                <a:gd name="connsiteX256" fmla="*/ 9054 w 10000"/>
                <a:gd name="connsiteY256" fmla="*/ 4521 h 10000"/>
                <a:gd name="connsiteX257" fmla="*/ 8998 w 10000"/>
                <a:gd name="connsiteY257" fmla="*/ 4458 h 10000"/>
                <a:gd name="connsiteX258" fmla="*/ 8966 w 10000"/>
                <a:gd name="connsiteY258" fmla="*/ 4562 h 10000"/>
                <a:gd name="connsiteX259" fmla="*/ 9007 w 10000"/>
                <a:gd name="connsiteY259" fmla="*/ 4686 h 10000"/>
                <a:gd name="connsiteX260" fmla="*/ 9004 w 10000"/>
                <a:gd name="connsiteY260" fmla="*/ 4995 h 10000"/>
                <a:gd name="connsiteX261" fmla="*/ 9073 w 10000"/>
                <a:gd name="connsiteY261" fmla="*/ 5211 h 10000"/>
                <a:gd name="connsiteX262" fmla="*/ 9130 w 10000"/>
                <a:gd name="connsiteY262" fmla="*/ 5150 h 10000"/>
                <a:gd name="connsiteX263" fmla="*/ 9158 w 10000"/>
                <a:gd name="connsiteY263" fmla="*/ 5211 h 10000"/>
                <a:gd name="connsiteX264" fmla="*/ 9231 w 10000"/>
                <a:gd name="connsiteY264" fmla="*/ 5428 h 10000"/>
                <a:gd name="connsiteX265" fmla="*/ 9215 w 10000"/>
                <a:gd name="connsiteY265" fmla="*/ 5604 h 10000"/>
                <a:gd name="connsiteX266" fmla="*/ 9221 w 10000"/>
                <a:gd name="connsiteY266" fmla="*/ 5769 h 10000"/>
                <a:gd name="connsiteX267" fmla="*/ 9269 w 10000"/>
                <a:gd name="connsiteY267" fmla="*/ 5883 h 10000"/>
                <a:gd name="connsiteX268" fmla="*/ 9344 w 10000"/>
                <a:gd name="connsiteY268" fmla="*/ 6068 h 10000"/>
                <a:gd name="connsiteX269" fmla="*/ 9269 w 10000"/>
                <a:gd name="connsiteY269" fmla="*/ 6068 h 10000"/>
                <a:gd name="connsiteX270" fmla="*/ 9253 w 10000"/>
                <a:gd name="connsiteY270" fmla="*/ 6223 h 10000"/>
                <a:gd name="connsiteX271" fmla="*/ 9319 w 10000"/>
                <a:gd name="connsiteY271" fmla="*/ 6408 h 10000"/>
                <a:gd name="connsiteX272" fmla="*/ 9250 w 10000"/>
                <a:gd name="connsiteY272" fmla="*/ 6502 h 10000"/>
                <a:gd name="connsiteX273" fmla="*/ 9297 w 10000"/>
                <a:gd name="connsiteY273" fmla="*/ 6729 h 10000"/>
                <a:gd name="connsiteX274" fmla="*/ 9281 w 10000"/>
                <a:gd name="connsiteY274" fmla="*/ 7069 h 10000"/>
                <a:gd name="connsiteX275" fmla="*/ 9061 w 10000"/>
                <a:gd name="connsiteY275" fmla="*/ 6408 h 10000"/>
                <a:gd name="connsiteX276" fmla="*/ 8824 w 10000"/>
                <a:gd name="connsiteY276" fmla="*/ 5759 h 10000"/>
                <a:gd name="connsiteX277" fmla="*/ 8771 w 10000"/>
                <a:gd name="connsiteY277" fmla="*/ 5459 h 10000"/>
                <a:gd name="connsiteX278" fmla="*/ 8768 w 10000"/>
                <a:gd name="connsiteY278" fmla="*/ 5211 h 10000"/>
                <a:gd name="connsiteX279" fmla="*/ 8692 w 10000"/>
                <a:gd name="connsiteY279" fmla="*/ 5047 h 10000"/>
                <a:gd name="connsiteX280" fmla="*/ 8771 w 10000"/>
                <a:gd name="connsiteY280" fmla="*/ 5088 h 10000"/>
                <a:gd name="connsiteX281" fmla="*/ 8809 w 10000"/>
                <a:gd name="connsiteY281" fmla="*/ 5108 h 10000"/>
                <a:gd name="connsiteX282" fmla="*/ 8809 w 10000"/>
                <a:gd name="connsiteY282" fmla="*/ 4840 h 10000"/>
                <a:gd name="connsiteX283" fmla="*/ 8827 w 10000"/>
                <a:gd name="connsiteY283" fmla="*/ 4437 h 10000"/>
                <a:gd name="connsiteX284" fmla="*/ 8853 w 10000"/>
                <a:gd name="connsiteY284" fmla="*/ 4252 h 10000"/>
                <a:gd name="connsiteX285" fmla="*/ 8909 w 10000"/>
                <a:gd name="connsiteY285" fmla="*/ 4221 h 10000"/>
                <a:gd name="connsiteX286" fmla="*/ 8786 w 10000"/>
                <a:gd name="connsiteY286" fmla="*/ 3901 h 10000"/>
                <a:gd name="connsiteX287" fmla="*/ 8853 w 10000"/>
                <a:gd name="connsiteY287" fmla="*/ 3839 h 10000"/>
                <a:gd name="connsiteX288" fmla="*/ 8739 w 10000"/>
                <a:gd name="connsiteY288" fmla="*/ 3788 h 10000"/>
                <a:gd name="connsiteX289" fmla="*/ 8755 w 10000"/>
                <a:gd name="connsiteY289" fmla="*/ 3984 h 10000"/>
                <a:gd name="connsiteX290" fmla="*/ 8692 w 10000"/>
                <a:gd name="connsiteY290" fmla="*/ 4303 h 10000"/>
                <a:gd name="connsiteX291" fmla="*/ 8604 w 10000"/>
                <a:gd name="connsiteY291" fmla="*/ 4210 h 10000"/>
                <a:gd name="connsiteX292" fmla="*/ 8550 w 10000"/>
                <a:gd name="connsiteY292" fmla="*/ 4056 h 10000"/>
                <a:gd name="connsiteX293" fmla="*/ 8481 w 10000"/>
                <a:gd name="connsiteY293" fmla="*/ 4138 h 10000"/>
                <a:gd name="connsiteX294" fmla="*/ 8389 w 10000"/>
                <a:gd name="connsiteY294" fmla="*/ 4107 h 10000"/>
                <a:gd name="connsiteX295" fmla="*/ 8352 w 10000"/>
                <a:gd name="connsiteY295" fmla="*/ 4406 h 10000"/>
                <a:gd name="connsiteX296" fmla="*/ 8481 w 10000"/>
                <a:gd name="connsiteY296" fmla="*/ 4655 h 10000"/>
                <a:gd name="connsiteX297" fmla="*/ 8405 w 10000"/>
                <a:gd name="connsiteY297" fmla="*/ 4830 h 10000"/>
                <a:gd name="connsiteX298" fmla="*/ 8225 w 10000"/>
                <a:gd name="connsiteY298" fmla="*/ 4799 h 10000"/>
                <a:gd name="connsiteX299" fmla="*/ 8209 w 10000"/>
                <a:gd name="connsiteY299" fmla="*/ 4655 h 10000"/>
                <a:gd name="connsiteX300" fmla="*/ 8102 w 10000"/>
                <a:gd name="connsiteY300" fmla="*/ 4634 h 10000"/>
                <a:gd name="connsiteX301" fmla="*/ 7641 w 10000"/>
                <a:gd name="connsiteY301" fmla="*/ 4779 h 10000"/>
                <a:gd name="connsiteX302" fmla="*/ 7610 w 10000"/>
                <a:gd name="connsiteY302" fmla="*/ 5005 h 10000"/>
                <a:gd name="connsiteX303" fmla="*/ 7550 w 10000"/>
                <a:gd name="connsiteY303" fmla="*/ 5666 h 10000"/>
                <a:gd name="connsiteX304" fmla="*/ 7496 w 10000"/>
                <a:gd name="connsiteY304" fmla="*/ 5965 h 10000"/>
                <a:gd name="connsiteX305" fmla="*/ 7701 w 10000"/>
                <a:gd name="connsiteY305" fmla="*/ 6161 h 10000"/>
                <a:gd name="connsiteX306" fmla="*/ 7745 w 10000"/>
                <a:gd name="connsiteY306" fmla="*/ 6243 h 10000"/>
                <a:gd name="connsiteX307" fmla="*/ 7771 w 10000"/>
                <a:gd name="connsiteY307" fmla="*/ 6285 h 10000"/>
                <a:gd name="connsiteX308" fmla="*/ 7793 w 10000"/>
                <a:gd name="connsiteY308" fmla="*/ 6068 h 10000"/>
                <a:gd name="connsiteX309" fmla="*/ 7912 w 10000"/>
                <a:gd name="connsiteY309" fmla="*/ 6089 h 10000"/>
                <a:gd name="connsiteX310" fmla="*/ 8004 w 10000"/>
                <a:gd name="connsiteY310" fmla="*/ 6367 h 10000"/>
                <a:gd name="connsiteX311" fmla="*/ 8064 w 10000"/>
                <a:gd name="connsiteY311" fmla="*/ 6616 h 10000"/>
                <a:gd name="connsiteX312" fmla="*/ 8111 w 10000"/>
                <a:gd name="connsiteY312" fmla="*/ 6781 h 10000"/>
                <a:gd name="connsiteX313" fmla="*/ 8048 w 10000"/>
                <a:gd name="connsiteY313" fmla="*/ 6491 h 10000"/>
                <a:gd name="connsiteX314" fmla="*/ 8124 w 10000"/>
                <a:gd name="connsiteY314" fmla="*/ 6336 h 10000"/>
                <a:gd name="connsiteX315" fmla="*/ 8177 w 10000"/>
                <a:gd name="connsiteY315" fmla="*/ 6512 h 10000"/>
                <a:gd name="connsiteX316" fmla="*/ 8300 w 10000"/>
                <a:gd name="connsiteY316" fmla="*/ 6987 h 10000"/>
                <a:gd name="connsiteX317" fmla="*/ 8361 w 10000"/>
                <a:gd name="connsiteY317" fmla="*/ 7152 h 10000"/>
                <a:gd name="connsiteX318" fmla="*/ 8490 w 10000"/>
                <a:gd name="connsiteY318" fmla="*/ 7482 h 10000"/>
                <a:gd name="connsiteX319" fmla="*/ 8604 w 10000"/>
                <a:gd name="connsiteY319" fmla="*/ 7854 h 10000"/>
                <a:gd name="connsiteX320" fmla="*/ 8474 w 10000"/>
                <a:gd name="connsiteY320" fmla="*/ 7647 h 10000"/>
                <a:gd name="connsiteX321" fmla="*/ 8443 w 10000"/>
                <a:gd name="connsiteY321" fmla="*/ 7678 h 10000"/>
                <a:gd name="connsiteX322" fmla="*/ 8512 w 10000"/>
                <a:gd name="connsiteY322" fmla="*/ 8050 h 10000"/>
                <a:gd name="connsiteX323" fmla="*/ 8588 w 10000"/>
                <a:gd name="connsiteY323" fmla="*/ 8266 h 10000"/>
                <a:gd name="connsiteX324" fmla="*/ 8642 w 10000"/>
                <a:gd name="connsiteY324" fmla="*/ 8472 h 10000"/>
                <a:gd name="connsiteX325" fmla="*/ 8566 w 10000"/>
                <a:gd name="connsiteY325" fmla="*/ 8421 h 10000"/>
                <a:gd name="connsiteX326" fmla="*/ 8556 w 10000"/>
                <a:gd name="connsiteY326" fmla="*/ 8669 h 10000"/>
                <a:gd name="connsiteX327" fmla="*/ 8497 w 10000"/>
                <a:gd name="connsiteY327" fmla="*/ 8493 h 10000"/>
                <a:gd name="connsiteX328" fmla="*/ 8481 w 10000"/>
                <a:gd name="connsiteY328" fmla="*/ 8421 h 10000"/>
                <a:gd name="connsiteX329" fmla="*/ 8361 w 10000"/>
                <a:gd name="connsiteY329" fmla="*/ 7751 h 10000"/>
                <a:gd name="connsiteX330" fmla="*/ 8322 w 10000"/>
                <a:gd name="connsiteY330" fmla="*/ 7524 h 10000"/>
                <a:gd name="connsiteX331" fmla="*/ 8291 w 10000"/>
                <a:gd name="connsiteY331" fmla="*/ 7378 h 10000"/>
                <a:gd name="connsiteX332" fmla="*/ 8275 w 10000"/>
                <a:gd name="connsiteY332" fmla="*/ 7306 h 10000"/>
                <a:gd name="connsiteX333" fmla="*/ 8139 w 10000"/>
                <a:gd name="connsiteY333" fmla="*/ 6863 h 10000"/>
                <a:gd name="connsiteX334" fmla="*/ 8199 w 10000"/>
                <a:gd name="connsiteY334" fmla="*/ 7451 h 10000"/>
                <a:gd name="connsiteX335" fmla="*/ 8247 w 10000"/>
                <a:gd name="connsiteY335" fmla="*/ 7998 h 10000"/>
                <a:gd name="connsiteX336" fmla="*/ 8177 w 10000"/>
                <a:gd name="connsiteY336" fmla="*/ 9133 h 10000"/>
                <a:gd name="connsiteX337" fmla="*/ 8124 w 10000"/>
                <a:gd name="connsiteY337" fmla="*/ 9484 h 10000"/>
                <a:gd name="connsiteX338" fmla="*/ 7972 w 10000"/>
                <a:gd name="connsiteY338" fmla="*/ 9432 h 10000"/>
                <a:gd name="connsiteX339" fmla="*/ 7897 w 10000"/>
                <a:gd name="connsiteY339" fmla="*/ 9660 h 10000"/>
                <a:gd name="connsiteX340" fmla="*/ 7868 w 10000"/>
                <a:gd name="connsiteY340" fmla="*/ 9588 h 10000"/>
                <a:gd name="connsiteX341" fmla="*/ 7884 w 10000"/>
                <a:gd name="connsiteY341" fmla="*/ 9536 h 10000"/>
                <a:gd name="connsiteX342" fmla="*/ 7897 w 10000"/>
                <a:gd name="connsiteY342" fmla="*/ 9380 h 10000"/>
                <a:gd name="connsiteX343" fmla="*/ 7884 w 10000"/>
                <a:gd name="connsiteY343" fmla="*/ 9236 h 10000"/>
                <a:gd name="connsiteX344" fmla="*/ 7793 w 10000"/>
                <a:gd name="connsiteY344" fmla="*/ 8865 h 10000"/>
                <a:gd name="connsiteX345" fmla="*/ 7831 w 10000"/>
                <a:gd name="connsiteY345" fmla="*/ 8741 h 10000"/>
                <a:gd name="connsiteX346" fmla="*/ 7928 w 10000"/>
                <a:gd name="connsiteY346" fmla="*/ 8844 h 10000"/>
                <a:gd name="connsiteX347" fmla="*/ 7912 w 10000"/>
                <a:gd name="connsiteY347" fmla="*/ 8318 h 10000"/>
                <a:gd name="connsiteX348" fmla="*/ 7906 w 10000"/>
                <a:gd name="connsiteY348" fmla="*/ 8019 h 10000"/>
                <a:gd name="connsiteX349" fmla="*/ 7846 w 10000"/>
                <a:gd name="connsiteY349" fmla="*/ 7802 h 10000"/>
                <a:gd name="connsiteX350" fmla="*/ 7723 w 10000"/>
                <a:gd name="connsiteY350" fmla="*/ 8050 h 10000"/>
                <a:gd name="connsiteX351" fmla="*/ 7619 w 10000"/>
                <a:gd name="connsiteY351" fmla="*/ 8019 h 10000"/>
                <a:gd name="connsiteX352" fmla="*/ 7528 w 10000"/>
                <a:gd name="connsiteY352" fmla="*/ 7699 h 10000"/>
                <a:gd name="connsiteX353" fmla="*/ 7355 w 10000"/>
                <a:gd name="connsiteY353" fmla="*/ 7482 h 10000"/>
                <a:gd name="connsiteX354" fmla="*/ 7279 w 10000"/>
                <a:gd name="connsiteY354" fmla="*/ 7482 h 10000"/>
                <a:gd name="connsiteX355" fmla="*/ 7080 w 10000"/>
                <a:gd name="connsiteY355" fmla="*/ 6781 h 10000"/>
                <a:gd name="connsiteX356" fmla="*/ 6901 w 10000"/>
                <a:gd name="connsiteY356" fmla="*/ 6460 h 10000"/>
                <a:gd name="connsiteX357" fmla="*/ 6724 w 10000"/>
                <a:gd name="connsiteY357" fmla="*/ 6336 h 10000"/>
                <a:gd name="connsiteX358" fmla="*/ 6583 w 10000"/>
                <a:gd name="connsiteY358" fmla="*/ 6408 h 10000"/>
                <a:gd name="connsiteX359" fmla="*/ 6567 w 10000"/>
                <a:gd name="connsiteY359" fmla="*/ 6585 h 10000"/>
                <a:gd name="connsiteX360" fmla="*/ 6664 w 10000"/>
                <a:gd name="connsiteY360" fmla="*/ 6760 h 10000"/>
                <a:gd name="connsiteX361" fmla="*/ 6636 w 10000"/>
                <a:gd name="connsiteY361" fmla="*/ 6935 h 10000"/>
                <a:gd name="connsiteX362" fmla="*/ 6636 w 10000"/>
                <a:gd name="connsiteY362" fmla="*/ 7399 h 10000"/>
                <a:gd name="connsiteX363" fmla="*/ 6560 w 10000"/>
                <a:gd name="connsiteY363" fmla="*/ 7482 h 10000"/>
                <a:gd name="connsiteX364" fmla="*/ 6485 w 10000"/>
                <a:gd name="connsiteY364" fmla="*/ 7378 h 10000"/>
                <a:gd name="connsiteX365" fmla="*/ 6400 w 10000"/>
                <a:gd name="connsiteY365" fmla="*/ 7399 h 10000"/>
                <a:gd name="connsiteX366" fmla="*/ 6334 w 10000"/>
                <a:gd name="connsiteY366" fmla="*/ 7275 h 10000"/>
                <a:gd name="connsiteX367" fmla="*/ 6258 w 10000"/>
                <a:gd name="connsiteY367" fmla="*/ 7358 h 10000"/>
                <a:gd name="connsiteX368" fmla="*/ 6220 w 10000"/>
                <a:gd name="connsiteY368" fmla="*/ 7524 h 10000"/>
                <a:gd name="connsiteX369" fmla="*/ 6081 w 10000"/>
                <a:gd name="connsiteY369" fmla="*/ 7606 h 10000"/>
                <a:gd name="connsiteX370" fmla="*/ 5892 w 10000"/>
                <a:gd name="connsiteY370" fmla="*/ 7575 h 10000"/>
                <a:gd name="connsiteX371" fmla="*/ 5855 w 10000"/>
                <a:gd name="connsiteY371" fmla="*/ 7327 h 10000"/>
                <a:gd name="connsiteX372" fmla="*/ 5643 w 10000"/>
                <a:gd name="connsiteY372" fmla="*/ 7255 h 10000"/>
                <a:gd name="connsiteX373" fmla="*/ 5539 w 10000"/>
                <a:gd name="connsiteY373" fmla="*/ 7358 h 10000"/>
                <a:gd name="connsiteX374" fmla="*/ 5416 w 10000"/>
                <a:gd name="connsiteY374" fmla="*/ 7203 h 10000"/>
                <a:gd name="connsiteX375" fmla="*/ 5372 w 10000"/>
                <a:gd name="connsiteY375"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1610 w 10000"/>
                <a:gd name="connsiteY12" fmla="*/ 7183 h 10000"/>
                <a:gd name="connsiteX13" fmla="*/ 1655 w 10000"/>
                <a:gd name="connsiteY13" fmla="*/ 7430 h 10000"/>
                <a:gd name="connsiteX14" fmla="*/ 1604 w 10000"/>
                <a:gd name="connsiteY14" fmla="*/ 7430 h 10000"/>
                <a:gd name="connsiteX15" fmla="*/ 1551 w 10000"/>
                <a:gd name="connsiteY15" fmla="*/ 7255 h 10000"/>
                <a:gd name="connsiteX16" fmla="*/ 1513 w 10000"/>
                <a:gd name="connsiteY16" fmla="*/ 7430 h 10000"/>
                <a:gd name="connsiteX17" fmla="*/ 1519 w 10000"/>
                <a:gd name="connsiteY17" fmla="*/ 7854 h 10000"/>
                <a:gd name="connsiteX18" fmla="*/ 1604 w 10000"/>
                <a:gd name="connsiteY18" fmla="*/ 8070 h 10000"/>
                <a:gd name="connsiteX19" fmla="*/ 1648 w 10000"/>
                <a:gd name="connsiteY19" fmla="*/ 8019 h 10000"/>
                <a:gd name="connsiteX20" fmla="*/ 1741 w 10000"/>
                <a:gd name="connsiteY20" fmla="*/ 8493 h 10000"/>
                <a:gd name="connsiteX21" fmla="*/ 1610 w 10000"/>
                <a:gd name="connsiteY21" fmla="*/ 8669 h 10000"/>
                <a:gd name="connsiteX22" fmla="*/ 1595 w 10000"/>
                <a:gd name="connsiteY22" fmla="*/ 9009 h 10000"/>
                <a:gd name="connsiteX23" fmla="*/ 1664 w 10000"/>
                <a:gd name="connsiteY23" fmla="*/ 9236 h 10000"/>
                <a:gd name="connsiteX24" fmla="*/ 1664 w 10000"/>
                <a:gd name="connsiteY24" fmla="*/ 9484 h 10000"/>
                <a:gd name="connsiteX25" fmla="*/ 1769 w 10000"/>
                <a:gd name="connsiteY25" fmla="*/ 9835 h 10000"/>
                <a:gd name="connsiteX26" fmla="*/ 1703 w 10000"/>
                <a:gd name="connsiteY26" fmla="*/ 10000 h 10000"/>
                <a:gd name="connsiteX27" fmla="*/ 1604 w 10000"/>
                <a:gd name="connsiteY27" fmla="*/ 9753 h 10000"/>
                <a:gd name="connsiteX28" fmla="*/ 1465 w 10000"/>
                <a:gd name="connsiteY28" fmla="*/ 9505 h 10000"/>
                <a:gd name="connsiteX29" fmla="*/ 1406 w 10000"/>
                <a:gd name="connsiteY29" fmla="*/ 9588 h 10000"/>
                <a:gd name="connsiteX30" fmla="*/ 1308 w 10000"/>
                <a:gd name="connsiteY30" fmla="*/ 9380 h 10000"/>
                <a:gd name="connsiteX31" fmla="*/ 1097 w 10000"/>
                <a:gd name="connsiteY31" fmla="*/ 9339 h 10000"/>
                <a:gd name="connsiteX32" fmla="*/ 848 w 10000"/>
                <a:gd name="connsiteY32" fmla="*/ 8813 h 10000"/>
                <a:gd name="connsiteX33" fmla="*/ 914 w 10000"/>
                <a:gd name="connsiteY33" fmla="*/ 8721 h 10000"/>
                <a:gd name="connsiteX34" fmla="*/ 961 w 10000"/>
                <a:gd name="connsiteY34" fmla="*/ 8493 h 10000"/>
                <a:gd name="connsiteX35" fmla="*/ 908 w 10000"/>
                <a:gd name="connsiteY35" fmla="*/ 8390 h 10000"/>
                <a:gd name="connsiteX36" fmla="*/ 1021 w 10000"/>
                <a:gd name="connsiteY36" fmla="*/ 8245 h 10000"/>
                <a:gd name="connsiteX37" fmla="*/ 945 w 10000"/>
                <a:gd name="connsiteY37" fmla="*/ 8194 h 10000"/>
                <a:gd name="connsiteX38" fmla="*/ 958 w 10000"/>
                <a:gd name="connsiteY38" fmla="*/ 8091 h 10000"/>
                <a:gd name="connsiteX39" fmla="*/ 1005 w 10000"/>
                <a:gd name="connsiteY39" fmla="*/ 8111 h 10000"/>
                <a:gd name="connsiteX40" fmla="*/ 1059 w 10000"/>
                <a:gd name="connsiteY40" fmla="*/ 8019 h 10000"/>
                <a:gd name="connsiteX41" fmla="*/ 1034 w 10000"/>
                <a:gd name="connsiteY41" fmla="*/ 7864 h 10000"/>
                <a:gd name="connsiteX42" fmla="*/ 1043 w 10000"/>
                <a:gd name="connsiteY42" fmla="*/ 7503 h 10000"/>
                <a:gd name="connsiteX43" fmla="*/ 930 w 10000"/>
                <a:gd name="connsiteY43" fmla="*/ 7440 h 10000"/>
                <a:gd name="connsiteX44" fmla="*/ 832 w 10000"/>
                <a:gd name="connsiteY44" fmla="*/ 7286 h 10000"/>
                <a:gd name="connsiteX45" fmla="*/ 700 w 10000"/>
                <a:gd name="connsiteY45" fmla="*/ 7275 h 10000"/>
                <a:gd name="connsiteX46" fmla="*/ 684 w 10000"/>
                <a:gd name="connsiteY46" fmla="*/ 7090 h 10000"/>
                <a:gd name="connsiteX47" fmla="*/ 596 w 10000"/>
                <a:gd name="connsiteY47" fmla="*/ 6945 h 10000"/>
                <a:gd name="connsiteX48" fmla="*/ 615 w 10000"/>
                <a:gd name="connsiteY48" fmla="*/ 6822 h 10000"/>
                <a:gd name="connsiteX49" fmla="*/ 561 w 10000"/>
                <a:gd name="connsiteY49" fmla="*/ 6698 h 10000"/>
                <a:gd name="connsiteX50" fmla="*/ 457 w 10000"/>
                <a:gd name="connsiteY50" fmla="*/ 6698 h 10000"/>
                <a:gd name="connsiteX51" fmla="*/ 425 w 10000"/>
                <a:gd name="connsiteY51" fmla="*/ 6791 h 10000"/>
                <a:gd name="connsiteX52" fmla="*/ 400 w 10000"/>
                <a:gd name="connsiteY52" fmla="*/ 6750 h 10000"/>
                <a:gd name="connsiteX53" fmla="*/ 378 w 10000"/>
                <a:gd name="connsiteY53" fmla="*/ 6439 h 10000"/>
                <a:gd name="connsiteX54" fmla="*/ 419 w 10000"/>
                <a:gd name="connsiteY54" fmla="*/ 6470 h 10000"/>
                <a:gd name="connsiteX55" fmla="*/ 466 w 10000"/>
                <a:gd name="connsiteY55" fmla="*/ 6347 h 10000"/>
                <a:gd name="connsiteX56" fmla="*/ 400 w 10000"/>
                <a:gd name="connsiteY56" fmla="*/ 6233 h 10000"/>
                <a:gd name="connsiteX57" fmla="*/ 315 w 10000"/>
                <a:gd name="connsiteY57" fmla="*/ 6017 h 10000"/>
                <a:gd name="connsiteX58" fmla="*/ 334 w 10000"/>
                <a:gd name="connsiteY58" fmla="*/ 5821 h 10000"/>
                <a:gd name="connsiteX59" fmla="*/ 274 w 10000"/>
                <a:gd name="connsiteY59" fmla="*/ 5697 h 10000"/>
                <a:gd name="connsiteX60" fmla="*/ 227 w 10000"/>
                <a:gd name="connsiteY60" fmla="*/ 5728 h 10000"/>
                <a:gd name="connsiteX61" fmla="*/ 202 w 10000"/>
                <a:gd name="connsiteY61" fmla="*/ 5604 h 10000"/>
                <a:gd name="connsiteX62" fmla="*/ 164 w 10000"/>
                <a:gd name="connsiteY62" fmla="*/ 5645 h 10000"/>
                <a:gd name="connsiteX63" fmla="*/ 117 w 10000"/>
                <a:gd name="connsiteY63" fmla="*/ 5604 h 10000"/>
                <a:gd name="connsiteX64" fmla="*/ 69 w 10000"/>
                <a:gd name="connsiteY64" fmla="*/ 5181 h 10000"/>
                <a:gd name="connsiteX65" fmla="*/ 85 w 10000"/>
                <a:gd name="connsiteY65" fmla="*/ 5057 h 10000"/>
                <a:gd name="connsiteX66" fmla="*/ 41 w 10000"/>
                <a:gd name="connsiteY66" fmla="*/ 4892 h 10000"/>
                <a:gd name="connsiteX67" fmla="*/ 66 w 10000"/>
                <a:gd name="connsiteY67" fmla="*/ 4655 h 10000"/>
                <a:gd name="connsiteX68" fmla="*/ 211 w 10000"/>
                <a:gd name="connsiteY68" fmla="*/ 4510 h 10000"/>
                <a:gd name="connsiteX69" fmla="*/ 129 w 10000"/>
                <a:gd name="connsiteY69" fmla="*/ 4406 h 10000"/>
                <a:gd name="connsiteX70" fmla="*/ 82 w 10000"/>
                <a:gd name="connsiteY70" fmla="*/ 4283 h 10000"/>
                <a:gd name="connsiteX71" fmla="*/ 205 w 10000"/>
                <a:gd name="connsiteY71" fmla="*/ 3912 h 10000"/>
                <a:gd name="connsiteX72" fmla="*/ 249 w 10000"/>
                <a:gd name="connsiteY72" fmla="*/ 3664 h 10000"/>
                <a:gd name="connsiteX73" fmla="*/ 151 w 10000"/>
                <a:gd name="connsiteY73" fmla="*/ 3488 h 10000"/>
                <a:gd name="connsiteX74" fmla="*/ 189 w 10000"/>
                <a:gd name="connsiteY74" fmla="*/ 3344 h 10000"/>
                <a:gd name="connsiteX75" fmla="*/ 113 w 10000"/>
                <a:gd name="connsiteY75" fmla="*/ 3148 h 10000"/>
                <a:gd name="connsiteX76" fmla="*/ 113 w 10000"/>
                <a:gd name="connsiteY76" fmla="*/ 2972 h 10000"/>
                <a:gd name="connsiteX77" fmla="*/ 60 w 10000"/>
                <a:gd name="connsiteY77" fmla="*/ 2622 h 10000"/>
                <a:gd name="connsiteX78" fmla="*/ 98 w 10000"/>
                <a:gd name="connsiteY78" fmla="*/ 2404 h 10000"/>
                <a:gd name="connsiteX79" fmla="*/ 38 w 10000"/>
                <a:gd name="connsiteY79" fmla="*/ 2301 h 10000"/>
                <a:gd name="connsiteX80" fmla="*/ 0 w 10000"/>
                <a:gd name="connsiteY80" fmla="*/ 2178 h 10000"/>
                <a:gd name="connsiteX81" fmla="*/ 54 w 10000"/>
                <a:gd name="connsiteY81" fmla="*/ 1951 h 10000"/>
                <a:gd name="connsiteX82" fmla="*/ 120 w 10000"/>
                <a:gd name="connsiteY82" fmla="*/ 1910 h 10000"/>
                <a:gd name="connsiteX83" fmla="*/ 195 w 10000"/>
                <a:gd name="connsiteY83" fmla="*/ 1858 h 10000"/>
                <a:gd name="connsiteX84" fmla="*/ 309 w 10000"/>
                <a:gd name="connsiteY84" fmla="*/ 1951 h 10000"/>
                <a:gd name="connsiteX85" fmla="*/ 482 w 10000"/>
                <a:gd name="connsiteY85" fmla="*/ 2054 h 10000"/>
                <a:gd name="connsiteX86" fmla="*/ 633 w 10000"/>
                <a:gd name="connsiteY86" fmla="*/ 2229 h 10000"/>
                <a:gd name="connsiteX87" fmla="*/ 756 w 10000"/>
                <a:gd name="connsiteY87" fmla="*/ 2373 h 10000"/>
                <a:gd name="connsiteX88" fmla="*/ 725 w 10000"/>
                <a:gd name="connsiteY88" fmla="*/ 2777 h 10000"/>
                <a:gd name="connsiteX89" fmla="*/ 362 w 10000"/>
                <a:gd name="connsiteY89" fmla="*/ 2673 h 10000"/>
                <a:gd name="connsiteX90" fmla="*/ 243 w 10000"/>
                <a:gd name="connsiteY90" fmla="*/ 2550 h 10000"/>
                <a:gd name="connsiteX91" fmla="*/ 287 w 10000"/>
                <a:gd name="connsiteY91" fmla="*/ 2622 h 10000"/>
                <a:gd name="connsiteX92" fmla="*/ 331 w 10000"/>
                <a:gd name="connsiteY92" fmla="*/ 2797 h 10000"/>
                <a:gd name="connsiteX93" fmla="*/ 400 w 10000"/>
                <a:gd name="connsiteY93" fmla="*/ 2921 h 10000"/>
                <a:gd name="connsiteX94" fmla="*/ 416 w 10000"/>
                <a:gd name="connsiteY94" fmla="*/ 3189 h 10000"/>
                <a:gd name="connsiteX95" fmla="*/ 507 w 10000"/>
                <a:gd name="connsiteY95" fmla="*/ 3313 h 10000"/>
                <a:gd name="connsiteX96" fmla="*/ 583 w 10000"/>
                <a:gd name="connsiteY96" fmla="*/ 3436 h 10000"/>
                <a:gd name="connsiteX97" fmla="*/ 605 w 10000"/>
                <a:gd name="connsiteY97" fmla="*/ 3467 h 10000"/>
                <a:gd name="connsiteX98" fmla="*/ 649 w 10000"/>
                <a:gd name="connsiteY98" fmla="*/ 3436 h 10000"/>
                <a:gd name="connsiteX99" fmla="*/ 633 w 10000"/>
                <a:gd name="connsiteY99" fmla="*/ 3364 h 10000"/>
                <a:gd name="connsiteX100" fmla="*/ 545 w 10000"/>
                <a:gd name="connsiteY100" fmla="*/ 3189 h 10000"/>
                <a:gd name="connsiteX101" fmla="*/ 801 w 10000"/>
                <a:gd name="connsiteY101" fmla="*/ 3344 h 10000"/>
                <a:gd name="connsiteX102" fmla="*/ 810 w 10000"/>
                <a:gd name="connsiteY102" fmla="*/ 3271 h 10000"/>
                <a:gd name="connsiteX103" fmla="*/ 785 w 10000"/>
                <a:gd name="connsiteY103" fmla="*/ 3220 h 10000"/>
                <a:gd name="connsiteX104" fmla="*/ 741 w 10000"/>
                <a:gd name="connsiteY104" fmla="*/ 2993 h 10000"/>
                <a:gd name="connsiteX105" fmla="*/ 870 w 10000"/>
                <a:gd name="connsiteY105" fmla="*/ 2777 h 10000"/>
                <a:gd name="connsiteX106" fmla="*/ 968 w 10000"/>
                <a:gd name="connsiteY106" fmla="*/ 2921 h 10000"/>
                <a:gd name="connsiteX107" fmla="*/ 999 w 10000"/>
                <a:gd name="connsiteY107" fmla="*/ 2725 h 10000"/>
                <a:gd name="connsiteX108" fmla="*/ 952 w 10000"/>
                <a:gd name="connsiteY108" fmla="*/ 2653 h 10000"/>
                <a:gd name="connsiteX109" fmla="*/ 936 w 10000"/>
                <a:gd name="connsiteY109" fmla="*/ 2281 h 10000"/>
                <a:gd name="connsiteX110" fmla="*/ 914 w 10000"/>
                <a:gd name="connsiteY110" fmla="*/ 2229 h 10000"/>
                <a:gd name="connsiteX111" fmla="*/ 1037 w 10000"/>
                <a:gd name="connsiteY111" fmla="*/ 2250 h 10000"/>
                <a:gd name="connsiteX112" fmla="*/ 1087 w 10000"/>
                <a:gd name="connsiteY112" fmla="*/ 2404 h 10000"/>
                <a:gd name="connsiteX113" fmla="*/ 1021 w 10000"/>
                <a:gd name="connsiteY113" fmla="*/ 2529 h 10000"/>
                <a:gd name="connsiteX114" fmla="*/ 1135 w 10000"/>
                <a:gd name="connsiteY114" fmla="*/ 2694 h 10000"/>
                <a:gd name="connsiteX115" fmla="*/ 1226 w 10000"/>
                <a:gd name="connsiteY115" fmla="*/ 2529 h 10000"/>
                <a:gd name="connsiteX116" fmla="*/ 1339 w 10000"/>
                <a:gd name="connsiteY116" fmla="*/ 2301 h 10000"/>
                <a:gd name="connsiteX117" fmla="*/ 1459 w 10000"/>
                <a:gd name="connsiteY117" fmla="*/ 2157 h 10000"/>
                <a:gd name="connsiteX118" fmla="*/ 1497 w 10000"/>
                <a:gd name="connsiteY118" fmla="*/ 2250 h 10000"/>
                <a:gd name="connsiteX119" fmla="*/ 1807 w 10000"/>
                <a:gd name="connsiteY119" fmla="*/ 2054 h 10000"/>
                <a:gd name="connsiteX120" fmla="*/ 1870 w 10000"/>
                <a:gd name="connsiteY120" fmla="*/ 2250 h 10000"/>
                <a:gd name="connsiteX121" fmla="*/ 1860 w 10000"/>
                <a:gd name="connsiteY121" fmla="*/ 2002 h 10000"/>
                <a:gd name="connsiteX122" fmla="*/ 1778 w 10000"/>
                <a:gd name="connsiteY122" fmla="*/ 1786 h 10000"/>
                <a:gd name="connsiteX123" fmla="*/ 1763 w 10000"/>
                <a:gd name="connsiteY123" fmla="*/ 1703 h 10000"/>
                <a:gd name="connsiteX124" fmla="*/ 1823 w 10000"/>
                <a:gd name="connsiteY124" fmla="*/ 1786 h 10000"/>
                <a:gd name="connsiteX125" fmla="*/ 2034 w 10000"/>
                <a:gd name="connsiteY125" fmla="*/ 1951 h 10000"/>
                <a:gd name="connsiteX126" fmla="*/ 2270 w 10000"/>
                <a:gd name="connsiteY126" fmla="*/ 2126 h 10000"/>
                <a:gd name="connsiteX127" fmla="*/ 2384 w 10000"/>
                <a:gd name="connsiteY127" fmla="*/ 2250 h 10000"/>
                <a:gd name="connsiteX128" fmla="*/ 2421 w 10000"/>
                <a:gd name="connsiteY128" fmla="*/ 2074 h 10000"/>
                <a:gd name="connsiteX129" fmla="*/ 2368 w 10000"/>
                <a:gd name="connsiteY129" fmla="*/ 2033 h 10000"/>
                <a:gd name="connsiteX130" fmla="*/ 2299 w 10000"/>
                <a:gd name="connsiteY130" fmla="*/ 1930 h 10000"/>
                <a:gd name="connsiteX131" fmla="*/ 2254 w 10000"/>
                <a:gd name="connsiteY131" fmla="*/ 1734 h 10000"/>
                <a:gd name="connsiteX132" fmla="*/ 2185 w 10000"/>
                <a:gd name="connsiteY132" fmla="*/ 1486 h 10000"/>
                <a:gd name="connsiteX133" fmla="*/ 2210 w 10000"/>
                <a:gd name="connsiteY133" fmla="*/ 1434 h 10000"/>
                <a:gd name="connsiteX134" fmla="*/ 2232 w 10000"/>
                <a:gd name="connsiteY134" fmla="*/ 1455 h 10000"/>
                <a:gd name="connsiteX135" fmla="*/ 2292 w 10000"/>
                <a:gd name="connsiteY135" fmla="*/ 1115 h 10000"/>
                <a:gd name="connsiteX136" fmla="*/ 2443 w 10000"/>
                <a:gd name="connsiteY136" fmla="*/ 1135 h 10000"/>
                <a:gd name="connsiteX137" fmla="*/ 2488 w 10000"/>
                <a:gd name="connsiteY137" fmla="*/ 1311 h 10000"/>
                <a:gd name="connsiteX138" fmla="*/ 2519 w 10000"/>
                <a:gd name="connsiteY138" fmla="*/ 1538 h 10000"/>
                <a:gd name="connsiteX139" fmla="*/ 2573 w 10000"/>
                <a:gd name="connsiteY139" fmla="*/ 1734 h 10000"/>
                <a:gd name="connsiteX140" fmla="*/ 2670 w 10000"/>
                <a:gd name="connsiteY140" fmla="*/ 2157 h 10000"/>
                <a:gd name="connsiteX141" fmla="*/ 2481 w 10000"/>
                <a:gd name="connsiteY141" fmla="*/ 2673 h 10000"/>
                <a:gd name="connsiteX142" fmla="*/ 2557 w 10000"/>
                <a:gd name="connsiteY142" fmla="*/ 2746 h 10000"/>
                <a:gd name="connsiteX143" fmla="*/ 2655 w 10000"/>
                <a:gd name="connsiteY143" fmla="*/ 2818 h 10000"/>
                <a:gd name="connsiteX144" fmla="*/ 2784 w 10000"/>
                <a:gd name="connsiteY144" fmla="*/ 2622 h 10000"/>
                <a:gd name="connsiteX145" fmla="*/ 2790 w 10000"/>
                <a:gd name="connsiteY145" fmla="*/ 2404 h 10000"/>
                <a:gd name="connsiteX146" fmla="*/ 2746 w 10000"/>
                <a:gd name="connsiteY146" fmla="*/ 2301 h 10000"/>
                <a:gd name="connsiteX147" fmla="*/ 2919 w 10000"/>
                <a:gd name="connsiteY147" fmla="*/ 2250 h 10000"/>
                <a:gd name="connsiteX148" fmla="*/ 2989 w 10000"/>
                <a:gd name="connsiteY148" fmla="*/ 2497 h 10000"/>
                <a:gd name="connsiteX149" fmla="*/ 2989 w 10000"/>
                <a:gd name="connsiteY149" fmla="*/ 2425 h 10000"/>
                <a:gd name="connsiteX150" fmla="*/ 2973 w 10000"/>
                <a:gd name="connsiteY150" fmla="*/ 2353 h 10000"/>
                <a:gd name="connsiteX151" fmla="*/ 2967 w 10000"/>
                <a:gd name="connsiteY151" fmla="*/ 2178 h 10000"/>
                <a:gd name="connsiteX152" fmla="*/ 2800 w 10000"/>
                <a:gd name="connsiteY152" fmla="*/ 1930 h 10000"/>
                <a:gd name="connsiteX153" fmla="*/ 2670 w 10000"/>
                <a:gd name="connsiteY153" fmla="*/ 2002 h 10000"/>
                <a:gd name="connsiteX154" fmla="*/ 2617 w 10000"/>
                <a:gd name="connsiteY154" fmla="*/ 1683 h 10000"/>
                <a:gd name="connsiteX155" fmla="*/ 2563 w 10000"/>
                <a:gd name="connsiteY155" fmla="*/ 1507 h 10000"/>
                <a:gd name="connsiteX156" fmla="*/ 2617 w 10000"/>
                <a:gd name="connsiteY156" fmla="*/ 1331 h 10000"/>
                <a:gd name="connsiteX157" fmla="*/ 2611 w 10000"/>
                <a:gd name="connsiteY157" fmla="*/ 1166 h 10000"/>
                <a:gd name="connsiteX158" fmla="*/ 2588 w 10000"/>
                <a:gd name="connsiteY158" fmla="*/ 1115 h 10000"/>
                <a:gd name="connsiteX159" fmla="*/ 2626 w 10000"/>
                <a:gd name="connsiteY159" fmla="*/ 1115 h 10000"/>
                <a:gd name="connsiteX160" fmla="*/ 2670 w 10000"/>
                <a:gd name="connsiteY160" fmla="*/ 1455 h 10000"/>
                <a:gd name="connsiteX161" fmla="*/ 2891 w 10000"/>
                <a:gd name="connsiteY161" fmla="*/ 1662 h 10000"/>
                <a:gd name="connsiteX162" fmla="*/ 2724 w 10000"/>
                <a:gd name="connsiteY162" fmla="*/ 1383 h 10000"/>
                <a:gd name="connsiteX163" fmla="*/ 3049 w 10000"/>
                <a:gd name="connsiteY163" fmla="*/ 1383 h 10000"/>
                <a:gd name="connsiteX164" fmla="*/ 3102 w 10000"/>
                <a:gd name="connsiteY164" fmla="*/ 1362 h 10000"/>
                <a:gd name="connsiteX165" fmla="*/ 2897 w 10000"/>
                <a:gd name="connsiteY165" fmla="*/ 1115 h 10000"/>
                <a:gd name="connsiteX166" fmla="*/ 2951 w 10000"/>
                <a:gd name="connsiteY166" fmla="*/ 888 h 10000"/>
                <a:gd name="connsiteX167" fmla="*/ 3178 w 10000"/>
                <a:gd name="connsiteY167" fmla="*/ 888 h 10000"/>
                <a:gd name="connsiteX168" fmla="*/ 3156 w 10000"/>
                <a:gd name="connsiteY168" fmla="*/ 713 h 10000"/>
                <a:gd name="connsiteX169" fmla="*/ 3231 w 10000"/>
                <a:gd name="connsiteY169" fmla="*/ 589 h 10000"/>
                <a:gd name="connsiteX170" fmla="*/ 3276 w 10000"/>
                <a:gd name="connsiteY170" fmla="*/ 548 h 10000"/>
                <a:gd name="connsiteX171" fmla="*/ 3443 w 10000"/>
                <a:gd name="connsiteY171" fmla="*/ 423 h 10000"/>
                <a:gd name="connsiteX172" fmla="*/ 3487 w 10000"/>
                <a:gd name="connsiteY172" fmla="*/ 371 h 10000"/>
                <a:gd name="connsiteX173" fmla="*/ 3480 w 10000"/>
                <a:gd name="connsiteY173" fmla="*/ 444 h 10000"/>
                <a:gd name="connsiteX174" fmla="*/ 3660 w 10000"/>
                <a:gd name="connsiteY174" fmla="*/ 371 h 10000"/>
                <a:gd name="connsiteX175" fmla="*/ 3805 w 10000"/>
                <a:gd name="connsiteY175" fmla="*/ 248 h 10000"/>
                <a:gd name="connsiteX176" fmla="*/ 3827 w 10000"/>
                <a:gd name="connsiteY176" fmla="*/ 0 h 10000"/>
                <a:gd name="connsiteX177" fmla="*/ 3988 w 10000"/>
                <a:gd name="connsiteY177" fmla="*/ 21 h 10000"/>
                <a:gd name="connsiteX178" fmla="*/ 3978 w 10000"/>
                <a:gd name="connsiteY178" fmla="*/ 93 h 10000"/>
                <a:gd name="connsiteX179" fmla="*/ 3988 w 10000"/>
                <a:gd name="connsiteY179" fmla="*/ 176 h 10000"/>
                <a:gd name="connsiteX180" fmla="*/ 4085 w 10000"/>
                <a:gd name="connsiteY180" fmla="*/ 248 h 10000"/>
                <a:gd name="connsiteX181" fmla="*/ 4379 w 10000"/>
                <a:gd name="connsiteY181" fmla="*/ 268 h 10000"/>
                <a:gd name="connsiteX182" fmla="*/ 4539 w 10000"/>
                <a:gd name="connsiteY182" fmla="*/ 392 h 10000"/>
                <a:gd name="connsiteX183" fmla="*/ 4486 w 10000"/>
                <a:gd name="connsiteY183" fmla="*/ 795 h 10000"/>
                <a:gd name="connsiteX184" fmla="*/ 4426 w 10000"/>
                <a:gd name="connsiteY184" fmla="*/ 919 h 10000"/>
                <a:gd name="connsiteX185" fmla="*/ 4356 w 10000"/>
                <a:gd name="connsiteY185" fmla="*/ 1043 h 10000"/>
                <a:gd name="connsiteX186" fmla="*/ 4372 w 10000"/>
                <a:gd name="connsiteY186" fmla="*/ 1115 h 10000"/>
                <a:gd name="connsiteX187" fmla="*/ 4583 w 10000"/>
                <a:gd name="connsiteY187" fmla="*/ 919 h 10000"/>
                <a:gd name="connsiteX188" fmla="*/ 5060 w 10000"/>
                <a:gd name="connsiteY188" fmla="*/ 991 h 10000"/>
                <a:gd name="connsiteX189" fmla="*/ 5108 w 10000"/>
                <a:gd name="connsiteY189" fmla="*/ 1063 h 10000"/>
                <a:gd name="connsiteX190" fmla="*/ 5212 w 10000"/>
                <a:gd name="connsiteY190" fmla="*/ 1187 h 10000"/>
                <a:gd name="connsiteX191" fmla="*/ 5357 w 10000"/>
                <a:gd name="connsiteY191" fmla="*/ 919 h 10000"/>
                <a:gd name="connsiteX192" fmla="*/ 5577 w 10000"/>
                <a:gd name="connsiteY192" fmla="*/ 1063 h 10000"/>
                <a:gd name="connsiteX193" fmla="*/ 5643 w 10000"/>
                <a:gd name="connsiteY193" fmla="*/ 1115 h 10000"/>
                <a:gd name="connsiteX194" fmla="*/ 5697 w 10000"/>
                <a:gd name="connsiteY194" fmla="*/ 1166 h 10000"/>
                <a:gd name="connsiteX195" fmla="*/ 5908 w 10000"/>
                <a:gd name="connsiteY195" fmla="*/ 1631 h 10000"/>
                <a:gd name="connsiteX196" fmla="*/ 5984 w 10000"/>
                <a:gd name="connsiteY196" fmla="*/ 1611 h 10000"/>
                <a:gd name="connsiteX197" fmla="*/ 5977 w 10000"/>
                <a:gd name="connsiteY197" fmla="*/ 1507 h 10000"/>
                <a:gd name="connsiteX198" fmla="*/ 5984 w 10000"/>
                <a:gd name="connsiteY198" fmla="*/ 1383 h 10000"/>
                <a:gd name="connsiteX199" fmla="*/ 6091 w 10000"/>
                <a:gd name="connsiteY199" fmla="*/ 1486 h 10000"/>
                <a:gd name="connsiteX200" fmla="*/ 6264 w 10000"/>
                <a:gd name="connsiteY200" fmla="*/ 1507 h 10000"/>
                <a:gd name="connsiteX201" fmla="*/ 6409 w 10000"/>
                <a:gd name="connsiteY201" fmla="*/ 1455 h 10000"/>
                <a:gd name="connsiteX202" fmla="*/ 6340 w 10000"/>
                <a:gd name="connsiteY202" fmla="*/ 1362 h 10000"/>
                <a:gd name="connsiteX203" fmla="*/ 6431 w 10000"/>
                <a:gd name="connsiteY203" fmla="*/ 1084 h 10000"/>
                <a:gd name="connsiteX204" fmla="*/ 6687 w 10000"/>
                <a:gd name="connsiteY204" fmla="*/ 1207 h 10000"/>
                <a:gd name="connsiteX205" fmla="*/ 6945 w 10000"/>
                <a:gd name="connsiteY205" fmla="*/ 1331 h 10000"/>
                <a:gd name="connsiteX206" fmla="*/ 6967 w 10000"/>
                <a:gd name="connsiteY206" fmla="*/ 1362 h 10000"/>
                <a:gd name="connsiteX207" fmla="*/ 7194 w 10000"/>
                <a:gd name="connsiteY207" fmla="*/ 1611 h 10000"/>
                <a:gd name="connsiteX208" fmla="*/ 7367 w 10000"/>
                <a:gd name="connsiteY208" fmla="*/ 1507 h 10000"/>
                <a:gd name="connsiteX209" fmla="*/ 7582 w 10000"/>
                <a:gd name="connsiteY209" fmla="*/ 1538 h 10000"/>
                <a:gd name="connsiteX210" fmla="*/ 7657 w 10000"/>
                <a:gd name="connsiteY210" fmla="*/ 1611 h 10000"/>
                <a:gd name="connsiteX211" fmla="*/ 7928 w 10000"/>
                <a:gd name="connsiteY211" fmla="*/ 1930 h 10000"/>
                <a:gd name="connsiteX212" fmla="*/ 8231 w 10000"/>
                <a:gd name="connsiteY212" fmla="*/ 1879 h 10000"/>
                <a:gd name="connsiteX213" fmla="*/ 8339 w 10000"/>
                <a:gd name="connsiteY213" fmla="*/ 2033 h 10000"/>
                <a:gd name="connsiteX214" fmla="*/ 8490 w 10000"/>
                <a:gd name="connsiteY214" fmla="*/ 2157 h 10000"/>
                <a:gd name="connsiteX215" fmla="*/ 8519 w 10000"/>
                <a:gd name="connsiteY215" fmla="*/ 2105 h 10000"/>
                <a:gd name="connsiteX216" fmla="*/ 8497 w 10000"/>
                <a:gd name="connsiteY216" fmla="*/ 2074 h 10000"/>
                <a:gd name="connsiteX217" fmla="*/ 8383 w 10000"/>
                <a:gd name="connsiteY217" fmla="*/ 1930 h 10000"/>
                <a:gd name="connsiteX218" fmla="*/ 8465 w 10000"/>
                <a:gd name="connsiteY218" fmla="*/ 1755 h 10000"/>
                <a:gd name="connsiteX219" fmla="*/ 8664 w 10000"/>
                <a:gd name="connsiteY219" fmla="*/ 1910 h 10000"/>
                <a:gd name="connsiteX220" fmla="*/ 8950 w 10000"/>
                <a:gd name="connsiteY220" fmla="*/ 1982 h 10000"/>
                <a:gd name="connsiteX221" fmla="*/ 9206 w 10000"/>
                <a:gd name="connsiteY221" fmla="*/ 2260 h 10000"/>
                <a:gd name="connsiteX222" fmla="*/ 9344 w 10000"/>
                <a:gd name="connsiteY222" fmla="*/ 2332 h 10000"/>
                <a:gd name="connsiteX223" fmla="*/ 9451 w 10000"/>
                <a:gd name="connsiteY223" fmla="*/ 2446 h 10000"/>
                <a:gd name="connsiteX224" fmla="*/ 9574 w 10000"/>
                <a:gd name="connsiteY224" fmla="*/ 2632 h 10000"/>
                <a:gd name="connsiteX225" fmla="*/ 9631 w 10000"/>
                <a:gd name="connsiteY225" fmla="*/ 2756 h 10000"/>
                <a:gd name="connsiteX226" fmla="*/ 9726 w 10000"/>
                <a:gd name="connsiteY226" fmla="*/ 2787 h 10000"/>
                <a:gd name="connsiteX227" fmla="*/ 9590 w 10000"/>
                <a:gd name="connsiteY227" fmla="*/ 2570 h 10000"/>
                <a:gd name="connsiteX228" fmla="*/ 9915 w 10000"/>
                <a:gd name="connsiteY228" fmla="*/ 2756 h 10000"/>
                <a:gd name="connsiteX229" fmla="*/ 10000 w 10000"/>
                <a:gd name="connsiteY229" fmla="*/ 3014 h 10000"/>
                <a:gd name="connsiteX230" fmla="*/ 9934 w 10000"/>
                <a:gd name="connsiteY230" fmla="*/ 2941 h 10000"/>
                <a:gd name="connsiteX231" fmla="*/ 9874 w 10000"/>
                <a:gd name="connsiteY231" fmla="*/ 2952 h 10000"/>
                <a:gd name="connsiteX232" fmla="*/ 10000 w 10000"/>
                <a:gd name="connsiteY232" fmla="*/ 3292 h 10000"/>
                <a:gd name="connsiteX233" fmla="*/ 9845 w 10000"/>
                <a:gd name="connsiteY233" fmla="*/ 3220 h 10000"/>
                <a:gd name="connsiteX234" fmla="*/ 9745 w 10000"/>
                <a:gd name="connsiteY234" fmla="*/ 3075 h 10000"/>
                <a:gd name="connsiteX235" fmla="*/ 9641 w 10000"/>
                <a:gd name="connsiteY235" fmla="*/ 2972 h 10000"/>
                <a:gd name="connsiteX236" fmla="*/ 9555 w 10000"/>
                <a:gd name="connsiteY236" fmla="*/ 3003 h 10000"/>
                <a:gd name="connsiteX237" fmla="*/ 9470 w 10000"/>
                <a:gd name="connsiteY237" fmla="*/ 2787 h 10000"/>
                <a:gd name="connsiteX238" fmla="*/ 9366 w 10000"/>
                <a:gd name="connsiteY238" fmla="*/ 2725 h 10000"/>
                <a:gd name="connsiteX239" fmla="*/ 9461 w 10000"/>
                <a:gd name="connsiteY239" fmla="*/ 2972 h 10000"/>
                <a:gd name="connsiteX240" fmla="*/ 9470 w 10000"/>
                <a:gd name="connsiteY240" fmla="*/ 3230 h 10000"/>
                <a:gd name="connsiteX241" fmla="*/ 9288 w 10000"/>
                <a:gd name="connsiteY241" fmla="*/ 3065 h 10000"/>
                <a:gd name="connsiteX242" fmla="*/ 9262 w 10000"/>
                <a:gd name="connsiteY242" fmla="*/ 3230 h 10000"/>
                <a:gd name="connsiteX243" fmla="*/ 9363 w 10000"/>
                <a:gd name="connsiteY243" fmla="*/ 3230 h 10000"/>
                <a:gd name="connsiteX244" fmla="*/ 9451 w 10000"/>
                <a:gd name="connsiteY244" fmla="*/ 3354 h 10000"/>
                <a:gd name="connsiteX245" fmla="*/ 9659 w 10000"/>
                <a:gd name="connsiteY245" fmla="*/ 3685 h 10000"/>
                <a:gd name="connsiteX246" fmla="*/ 9735 w 10000"/>
                <a:gd name="connsiteY246" fmla="*/ 3839 h 10000"/>
                <a:gd name="connsiteX247" fmla="*/ 9552 w 10000"/>
                <a:gd name="connsiteY247" fmla="*/ 3757 h 10000"/>
                <a:gd name="connsiteX248" fmla="*/ 9451 w 10000"/>
                <a:gd name="connsiteY248" fmla="*/ 4025 h 10000"/>
                <a:gd name="connsiteX249" fmla="*/ 9385 w 10000"/>
                <a:gd name="connsiteY249" fmla="*/ 4283 h 10000"/>
                <a:gd name="connsiteX250" fmla="*/ 9376 w 10000"/>
                <a:gd name="connsiteY250" fmla="*/ 4499 h 10000"/>
                <a:gd name="connsiteX251" fmla="*/ 9335 w 10000"/>
                <a:gd name="connsiteY251" fmla="*/ 4303 h 10000"/>
                <a:gd name="connsiteX252" fmla="*/ 9149 w 10000"/>
                <a:gd name="connsiteY252" fmla="*/ 4314 h 10000"/>
                <a:gd name="connsiteX253" fmla="*/ 9155 w 10000"/>
                <a:gd name="connsiteY253" fmla="*/ 4531 h 10000"/>
                <a:gd name="connsiteX254" fmla="*/ 9061 w 10000"/>
                <a:gd name="connsiteY254" fmla="*/ 4365 h 10000"/>
                <a:gd name="connsiteX255" fmla="*/ 9054 w 10000"/>
                <a:gd name="connsiteY255" fmla="*/ 4521 h 10000"/>
                <a:gd name="connsiteX256" fmla="*/ 8998 w 10000"/>
                <a:gd name="connsiteY256" fmla="*/ 4458 h 10000"/>
                <a:gd name="connsiteX257" fmla="*/ 8966 w 10000"/>
                <a:gd name="connsiteY257" fmla="*/ 4562 h 10000"/>
                <a:gd name="connsiteX258" fmla="*/ 9007 w 10000"/>
                <a:gd name="connsiteY258" fmla="*/ 4686 h 10000"/>
                <a:gd name="connsiteX259" fmla="*/ 9004 w 10000"/>
                <a:gd name="connsiteY259" fmla="*/ 4995 h 10000"/>
                <a:gd name="connsiteX260" fmla="*/ 9073 w 10000"/>
                <a:gd name="connsiteY260" fmla="*/ 5211 h 10000"/>
                <a:gd name="connsiteX261" fmla="*/ 9130 w 10000"/>
                <a:gd name="connsiteY261" fmla="*/ 5150 h 10000"/>
                <a:gd name="connsiteX262" fmla="*/ 9158 w 10000"/>
                <a:gd name="connsiteY262" fmla="*/ 5211 h 10000"/>
                <a:gd name="connsiteX263" fmla="*/ 9231 w 10000"/>
                <a:gd name="connsiteY263" fmla="*/ 5428 h 10000"/>
                <a:gd name="connsiteX264" fmla="*/ 9215 w 10000"/>
                <a:gd name="connsiteY264" fmla="*/ 5604 h 10000"/>
                <a:gd name="connsiteX265" fmla="*/ 9221 w 10000"/>
                <a:gd name="connsiteY265" fmla="*/ 5769 h 10000"/>
                <a:gd name="connsiteX266" fmla="*/ 9269 w 10000"/>
                <a:gd name="connsiteY266" fmla="*/ 5883 h 10000"/>
                <a:gd name="connsiteX267" fmla="*/ 9344 w 10000"/>
                <a:gd name="connsiteY267" fmla="*/ 6068 h 10000"/>
                <a:gd name="connsiteX268" fmla="*/ 9269 w 10000"/>
                <a:gd name="connsiteY268" fmla="*/ 6068 h 10000"/>
                <a:gd name="connsiteX269" fmla="*/ 9253 w 10000"/>
                <a:gd name="connsiteY269" fmla="*/ 6223 h 10000"/>
                <a:gd name="connsiteX270" fmla="*/ 9319 w 10000"/>
                <a:gd name="connsiteY270" fmla="*/ 6408 h 10000"/>
                <a:gd name="connsiteX271" fmla="*/ 9250 w 10000"/>
                <a:gd name="connsiteY271" fmla="*/ 6502 h 10000"/>
                <a:gd name="connsiteX272" fmla="*/ 9297 w 10000"/>
                <a:gd name="connsiteY272" fmla="*/ 6729 h 10000"/>
                <a:gd name="connsiteX273" fmla="*/ 9281 w 10000"/>
                <a:gd name="connsiteY273" fmla="*/ 7069 h 10000"/>
                <a:gd name="connsiteX274" fmla="*/ 9061 w 10000"/>
                <a:gd name="connsiteY274" fmla="*/ 6408 h 10000"/>
                <a:gd name="connsiteX275" fmla="*/ 8824 w 10000"/>
                <a:gd name="connsiteY275" fmla="*/ 5759 h 10000"/>
                <a:gd name="connsiteX276" fmla="*/ 8771 w 10000"/>
                <a:gd name="connsiteY276" fmla="*/ 5459 h 10000"/>
                <a:gd name="connsiteX277" fmla="*/ 8768 w 10000"/>
                <a:gd name="connsiteY277" fmla="*/ 5211 h 10000"/>
                <a:gd name="connsiteX278" fmla="*/ 8692 w 10000"/>
                <a:gd name="connsiteY278" fmla="*/ 5047 h 10000"/>
                <a:gd name="connsiteX279" fmla="*/ 8771 w 10000"/>
                <a:gd name="connsiteY279" fmla="*/ 5088 h 10000"/>
                <a:gd name="connsiteX280" fmla="*/ 8809 w 10000"/>
                <a:gd name="connsiteY280" fmla="*/ 5108 h 10000"/>
                <a:gd name="connsiteX281" fmla="*/ 8809 w 10000"/>
                <a:gd name="connsiteY281" fmla="*/ 4840 h 10000"/>
                <a:gd name="connsiteX282" fmla="*/ 8827 w 10000"/>
                <a:gd name="connsiteY282" fmla="*/ 4437 h 10000"/>
                <a:gd name="connsiteX283" fmla="*/ 8853 w 10000"/>
                <a:gd name="connsiteY283" fmla="*/ 4252 h 10000"/>
                <a:gd name="connsiteX284" fmla="*/ 8909 w 10000"/>
                <a:gd name="connsiteY284" fmla="*/ 4221 h 10000"/>
                <a:gd name="connsiteX285" fmla="*/ 8786 w 10000"/>
                <a:gd name="connsiteY285" fmla="*/ 3901 h 10000"/>
                <a:gd name="connsiteX286" fmla="*/ 8853 w 10000"/>
                <a:gd name="connsiteY286" fmla="*/ 3839 h 10000"/>
                <a:gd name="connsiteX287" fmla="*/ 8739 w 10000"/>
                <a:gd name="connsiteY287" fmla="*/ 3788 h 10000"/>
                <a:gd name="connsiteX288" fmla="*/ 8755 w 10000"/>
                <a:gd name="connsiteY288" fmla="*/ 3984 h 10000"/>
                <a:gd name="connsiteX289" fmla="*/ 8692 w 10000"/>
                <a:gd name="connsiteY289" fmla="*/ 4303 h 10000"/>
                <a:gd name="connsiteX290" fmla="*/ 8604 w 10000"/>
                <a:gd name="connsiteY290" fmla="*/ 4210 h 10000"/>
                <a:gd name="connsiteX291" fmla="*/ 8550 w 10000"/>
                <a:gd name="connsiteY291" fmla="*/ 4056 h 10000"/>
                <a:gd name="connsiteX292" fmla="*/ 8481 w 10000"/>
                <a:gd name="connsiteY292" fmla="*/ 4138 h 10000"/>
                <a:gd name="connsiteX293" fmla="*/ 8389 w 10000"/>
                <a:gd name="connsiteY293" fmla="*/ 4107 h 10000"/>
                <a:gd name="connsiteX294" fmla="*/ 8352 w 10000"/>
                <a:gd name="connsiteY294" fmla="*/ 4406 h 10000"/>
                <a:gd name="connsiteX295" fmla="*/ 8481 w 10000"/>
                <a:gd name="connsiteY295" fmla="*/ 4655 h 10000"/>
                <a:gd name="connsiteX296" fmla="*/ 8405 w 10000"/>
                <a:gd name="connsiteY296" fmla="*/ 4830 h 10000"/>
                <a:gd name="connsiteX297" fmla="*/ 8225 w 10000"/>
                <a:gd name="connsiteY297" fmla="*/ 4799 h 10000"/>
                <a:gd name="connsiteX298" fmla="*/ 8209 w 10000"/>
                <a:gd name="connsiteY298" fmla="*/ 4655 h 10000"/>
                <a:gd name="connsiteX299" fmla="*/ 8102 w 10000"/>
                <a:gd name="connsiteY299" fmla="*/ 4634 h 10000"/>
                <a:gd name="connsiteX300" fmla="*/ 7641 w 10000"/>
                <a:gd name="connsiteY300" fmla="*/ 4779 h 10000"/>
                <a:gd name="connsiteX301" fmla="*/ 7610 w 10000"/>
                <a:gd name="connsiteY301" fmla="*/ 5005 h 10000"/>
                <a:gd name="connsiteX302" fmla="*/ 7550 w 10000"/>
                <a:gd name="connsiteY302" fmla="*/ 5666 h 10000"/>
                <a:gd name="connsiteX303" fmla="*/ 7496 w 10000"/>
                <a:gd name="connsiteY303" fmla="*/ 5965 h 10000"/>
                <a:gd name="connsiteX304" fmla="*/ 7701 w 10000"/>
                <a:gd name="connsiteY304" fmla="*/ 6161 h 10000"/>
                <a:gd name="connsiteX305" fmla="*/ 7745 w 10000"/>
                <a:gd name="connsiteY305" fmla="*/ 6243 h 10000"/>
                <a:gd name="connsiteX306" fmla="*/ 7771 w 10000"/>
                <a:gd name="connsiteY306" fmla="*/ 6285 h 10000"/>
                <a:gd name="connsiteX307" fmla="*/ 7793 w 10000"/>
                <a:gd name="connsiteY307" fmla="*/ 6068 h 10000"/>
                <a:gd name="connsiteX308" fmla="*/ 7912 w 10000"/>
                <a:gd name="connsiteY308" fmla="*/ 6089 h 10000"/>
                <a:gd name="connsiteX309" fmla="*/ 8004 w 10000"/>
                <a:gd name="connsiteY309" fmla="*/ 6367 h 10000"/>
                <a:gd name="connsiteX310" fmla="*/ 8064 w 10000"/>
                <a:gd name="connsiteY310" fmla="*/ 6616 h 10000"/>
                <a:gd name="connsiteX311" fmla="*/ 8111 w 10000"/>
                <a:gd name="connsiteY311" fmla="*/ 6781 h 10000"/>
                <a:gd name="connsiteX312" fmla="*/ 8048 w 10000"/>
                <a:gd name="connsiteY312" fmla="*/ 6491 h 10000"/>
                <a:gd name="connsiteX313" fmla="*/ 8124 w 10000"/>
                <a:gd name="connsiteY313" fmla="*/ 6336 h 10000"/>
                <a:gd name="connsiteX314" fmla="*/ 8177 w 10000"/>
                <a:gd name="connsiteY314" fmla="*/ 6512 h 10000"/>
                <a:gd name="connsiteX315" fmla="*/ 8300 w 10000"/>
                <a:gd name="connsiteY315" fmla="*/ 6987 h 10000"/>
                <a:gd name="connsiteX316" fmla="*/ 8361 w 10000"/>
                <a:gd name="connsiteY316" fmla="*/ 7152 h 10000"/>
                <a:gd name="connsiteX317" fmla="*/ 8490 w 10000"/>
                <a:gd name="connsiteY317" fmla="*/ 7482 h 10000"/>
                <a:gd name="connsiteX318" fmla="*/ 8604 w 10000"/>
                <a:gd name="connsiteY318" fmla="*/ 7854 h 10000"/>
                <a:gd name="connsiteX319" fmla="*/ 8474 w 10000"/>
                <a:gd name="connsiteY319" fmla="*/ 7647 h 10000"/>
                <a:gd name="connsiteX320" fmla="*/ 8443 w 10000"/>
                <a:gd name="connsiteY320" fmla="*/ 7678 h 10000"/>
                <a:gd name="connsiteX321" fmla="*/ 8512 w 10000"/>
                <a:gd name="connsiteY321" fmla="*/ 8050 h 10000"/>
                <a:gd name="connsiteX322" fmla="*/ 8588 w 10000"/>
                <a:gd name="connsiteY322" fmla="*/ 8266 h 10000"/>
                <a:gd name="connsiteX323" fmla="*/ 8642 w 10000"/>
                <a:gd name="connsiteY323" fmla="*/ 8472 h 10000"/>
                <a:gd name="connsiteX324" fmla="*/ 8566 w 10000"/>
                <a:gd name="connsiteY324" fmla="*/ 8421 h 10000"/>
                <a:gd name="connsiteX325" fmla="*/ 8556 w 10000"/>
                <a:gd name="connsiteY325" fmla="*/ 8669 h 10000"/>
                <a:gd name="connsiteX326" fmla="*/ 8497 w 10000"/>
                <a:gd name="connsiteY326" fmla="*/ 8493 h 10000"/>
                <a:gd name="connsiteX327" fmla="*/ 8481 w 10000"/>
                <a:gd name="connsiteY327" fmla="*/ 8421 h 10000"/>
                <a:gd name="connsiteX328" fmla="*/ 8361 w 10000"/>
                <a:gd name="connsiteY328" fmla="*/ 7751 h 10000"/>
                <a:gd name="connsiteX329" fmla="*/ 8322 w 10000"/>
                <a:gd name="connsiteY329" fmla="*/ 7524 h 10000"/>
                <a:gd name="connsiteX330" fmla="*/ 8291 w 10000"/>
                <a:gd name="connsiteY330" fmla="*/ 7378 h 10000"/>
                <a:gd name="connsiteX331" fmla="*/ 8275 w 10000"/>
                <a:gd name="connsiteY331" fmla="*/ 7306 h 10000"/>
                <a:gd name="connsiteX332" fmla="*/ 8139 w 10000"/>
                <a:gd name="connsiteY332" fmla="*/ 6863 h 10000"/>
                <a:gd name="connsiteX333" fmla="*/ 8199 w 10000"/>
                <a:gd name="connsiteY333" fmla="*/ 7451 h 10000"/>
                <a:gd name="connsiteX334" fmla="*/ 8247 w 10000"/>
                <a:gd name="connsiteY334" fmla="*/ 7998 h 10000"/>
                <a:gd name="connsiteX335" fmla="*/ 8177 w 10000"/>
                <a:gd name="connsiteY335" fmla="*/ 9133 h 10000"/>
                <a:gd name="connsiteX336" fmla="*/ 8124 w 10000"/>
                <a:gd name="connsiteY336" fmla="*/ 9484 h 10000"/>
                <a:gd name="connsiteX337" fmla="*/ 7972 w 10000"/>
                <a:gd name="connsiteY337" fmla="*/ 9432 h 10000"/>
                <a:gd name="connsiteX338" fmla="*/ 7897 w 10000"/>
                <a:gd name="connsiteY338" fmla="*/ 9660 h 10000"/>
                <a:gd name="connsiteX339" fmla="*/ 7868 w 10000"/>
                <a:gd name="connsiteY339" fmla="*/ 9588 h 10000"/>
                <a:gd name="connsiteX340" fmla="*/ 7884 w 10000"/>
                <a:gd name="connsiteY340" fmla="*/ 9536 h 10000"/>
                <a:gd name="connsiteX341" fmla="*/ 7897 w 10000"/>
                <a:gd name="connsiteY341" fmla="*/ 9380 h 10000"/>
                <a:gd name="connsiteX342" fmla="*/ 7884 w 10000"/>
                <a:gd name="connsiteY342" fmla="*/ 9236 h 10000"/>
                <a:gd name="connsiteX343" fmla="*/ 7793 w 10000"/>
                <a:gd name="connsiteY343" fmla="*/ 8865 h 10000"/>
                <a:gd name="connsiteX344" fmla="*/ 7831 w 10000"/>
                <a:gd name="connsiteY344" fmla="*/ 8741 h 10000"/>
                <a:gd name="connsiteX345" fmla="*/ 7928 w 10000"/>
                <a:gd name="connsiteY345" fmla="*/ 8844 h 10000"/>
                <a:gd name="connsiteX346" fmla="*/ 7912 w 10000"/>
                <a:gd name="connsiteY346" fmla="*/ 8318 h 10000"/>
                <a:gd name="connsiteX347" fmla="*/ 7906 w 10000"/>
                <a:gd name="connsiteY347" fmla="*/ 8019 h 10000"/>
                <a:gd name="connsiteX348" fmla="*/ 7846 w 10000"/>
                <a:gd name="connsiteY348" fmla="*/ 7802 h 10000"/>
                <a:gd name="connsiteX349" fmla="*/ 7723 w 10000"/>
                <a:gd name="connsiteY349" fmla="*/ 8050 h 10000"/>
                <a:gd name="connsiteX350" fmla="*/ 7619 w 10000"/>
                <a:gd name="connsiteY350" fmla="*/ 8019 h 10000"/>
                <a:gd name="connsiteX351" fmla="*/ 7528 w 10000"/>
                <a:gd name="connsiteY351" fmla="*/ 7699 h 10000"/>
                <a:gd name="connsiteX352" fmla="*/ 7355 w 10000"/>
                <a:gd name="connsiteY352" fmla="*/ 7482 h 10000"/>
                <a:gd name="connsiteX353" fmla="*/ 7279 w 10000"/>
                <a:gd name="connsiteY353" fmla="*/ 7482 h 10000"/>
                <a:gd name="connsiteX354" fmla="*/ 7080 w 10000"/>
                <a:gd name="connsiteY354" fmla="*/ 6781 h 10000"/>
                <a:gd name="connsiteX355" fmla="*/ 6901 w 10000"/>
                <a:gd name="connsiteY355" fmla="*/ 6460 h 10000"/>
                <a:gd name="connsiteX356" fmla="*/ 6724 w 10000"/>
                <a:gd name="connsiteY356" fmla="*/ 6336 h 10000"/>
                <a:gd name="connsiteX357" fmla="*/ 6583 w 10000"/>
                <a:gd name="connsiteY357" fmla="*/ 6408 h 10000"/>
                <a:gd name="connsiteX358" fmla="*/ 6567 w 10000"/>
                <a:gd name="connsiteY358" fmla="*/ 6585 h 10000"/>
                <a:gd name="connsiteX359" fmla="*/ 6664 w 10000"/>
                <a:gd name="connsiteY359" fmla="*/ 6760 h 10000"/>
                <a:gd name="connsiteX360" fmla="*/ 6636 w 10000"/>
                <a:gd name="connsiteY360" fmla="*/ 6935 h 10000"/>
                <a:gd name="connsiteX361" fmla="*/ 6636 w 10000"/>
                <a:gd name="connsiteY361" fmla="*/ 7399 h 10000"/>
                <a:gd name="connsiteX362" fmla="*/ 6560 w 10000"/>
                <a:gd name="connsiteY362" fmla="*/ 7482 h 10000"/>
                <a:gd name="connsiteX363" fmla="*/ 6485 w 10000"/>
                <a:gd name="connsiteY363" fmla="*/ 7378 h 10000"/>
                <a:gd name="connsiteX364" fmla="*/ 6400 w 10000"/>
                <a:gd name="connsiteY364" fmla="*/ 7399 h 10000"/>
                <a:gd name="connsiteX365" fmla="*/ 6334 w 10000"/>
                <a:gd name="connsiteY365" fmla="*/ 7275 h 10000"/>
                <a:gd name="connsiteX366" fmla="*/ 6258 w 10000"/>
                <a:gd name="connsiteY366" fmla="*/ 7358 h 10000"/>
                <a:gd name="connsiteX367" fmla="*/ 6220 w 10000"/>
                <a:gd name="connsiteY367" fmla="*/ 7524 h 10000"/>
                <a:gd name="connsiteX368" fmla="*/ 6081 w 10000"/>
                <a:gd name="connsiteY368" fmla="*/ 7606 h 10000"/>
                <a:gd name="connsiteX369" fmla="*/ 5892 w 10000"/>
                <a:gd name="connsiteY369" fmla="*/ 7575 h 10000"/>
                <a:gd name="connsiteX370" fmla="*/ 5855 w 10000"/>
                <a:gd name="connsiteY370" fmla="*/ 7327 h 10000"/>
                <a:gd name="connsiteX371" fmla="*/ 5643 w 10000"/>
                <a:gd name="connsiteY371" fmla="*/ 7255 h 10000"/>
                <a:gd name="connsiteX372" fmla="*/ 5539 w 10000"/>
                <a:gd name="connsiteY372" fmla="*/ 7358 h 10000"/>
                <a:gd name="connsiteX373" fmla="*/ 5416 w 10000"/>
                <a:gd name="connsiteY373" fmla="*/ 7203 h 10000"/>
                <a:gd name="connsiteX374" fmla="*/ 5372 w 10000"/>
                <a:gd name="connsiteY374"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496 w 10000"/>
                <a:gd name="connsiteY10" fmla="*/ 5965 h 10000"/>
                <a:gd name="connsiteX11" fmla="*/ 3291 w 10000"/>
                <a:gd name="connsiteY11" fmla="*/ 6367 h 10000"/>
                <a:gd name="connsiteX12" fmla="*/ 1610 w 10000"/>
                <a:gd name="connsiteY12" fmla="*/ 7183 h 10000"/>
                <a:gd name="connsiteX13" fmla="*/ 1655 w 10000"/>
                <a:gd name="connsiteY13" fmla="*/ 7430 h 10000"/>
                <a:gd name="connsiteX14" fmla="*/ 1604 w 10000"/>
                <a:gd name="connsiteY14" fmla="*/ 7430 h 10000"/>
                <a:gd name="connsiteX15" fmla="*/ 1551 w 10000"/>
                <a:gd name="connsiteY15" fmla="*/ 7255 h 10000"/>
                <a:gd name="connsiteX16" fmla="*/ 1513 w 10000"/>
                <a:gd name="connsiteY16" fmla="*/ 7430 h 10000"/>
                <a:gd name="connsiteX17" fmla="*/ 1519 w 10000"/>
                <a:gd name="connsiteY17" fmla="*/ 7854 h 10000"/>
                <a:gd name="connsiteX18" fmla="*/ 1604 w 10000"/>
                <a:gd name="connsiteY18" fmla="*/ 8070 h 10000"/>
                <a:gd name="connsiteX19" fmla="*/ 1648 w 10000"/>
                <a:gd name="connsiteY19" fmla="*/ 8019 h 10000"/>
                <a:gd name="connsiteX20" fmla="*/ 1741 w 10000"/>
                <a:gd name="connsiteY20" fmla="*/ 8493 h 10000"/>
                <a:gd name="connsiteX21" fmla="*/ 1610 w 10000"/>
                <a:gd name="connsiteY21" fmla="*/ 8669 h 10000"/>
                <a:gd name="connsiteX22" fmla="*/ 1595 w 10000"/>
                <a:gd name="connsiteY22" fmla="*/ 9009 h 10000"/>
                <a:gd name="connsiteX23" fmla="*/ 1664 w 10000"/>
                <a:gd name="connsiteY23" fmla="*/ 9236 h 10000"/>
                <a:gd name="connsiteX24" fmla="*/ 1664 w 10000"/>
                <a:gd name="connsiteY24" fmla="*/ 9484 h 10000"/>
                <a:gd name="connsiteX25" fmla="*/ 1769 w 10000"/>
                <a:gd name="connsiteY25" fmla="*/ 9835 h 10000"/>
                <a:gd name="connsiteX26" fmla="*/ 1703 w 10000"/>
                <a:gd name="connsiteY26" fmla="*/ 10000 h 10000"/>
                <a:gd name="connsiteX27" fmla="*/ 1604 w 10000"/>
                <a:gd name="connsiteY27" fmla="*/ 9753 h 10000"/>
                <a:gd name="connsiteX28" fmla="*/ 1465 w 10000"/>
                <a:gd name="connsiteY28" fmla="*/ 9505 h 10000"/>
                <a:gd name="connsiteX29" fmla="*/ 1406 w 10000"/>
                <a:gd name="connsiteY29" fmla="*/ 9588 h 10000"/>
                <a:gd name="connsiteX30" fmla="*/ 1308 w 10000"/>
                <a:gd name="connsiteY30" fmla="*/ 9380 h 10000"/>
                <a:gd name="connsiteX31" fmla="*/ 1097 w 10000"/>
                <a:gd name="connsiteY31" fmla="*/ 9339 h 10000"/>
                <a:gd name="connsiteX32" fmla="*/ 848 w 10000"/>
                <a:gd name="connsiteY32" fmla="*/ 8813 h 10000"/>
                <a:gd name="connsiteX33" fmla="*/ 914 w 10000"/>
                <a:gd name="connsiteY33" fmla="*/ 8721 h 10000"/>
                <a:gd name="connsiteX34" fmla="*/ 961 w 10000"/>
                <a:gd name="connsiteY34" fmla="*/ 8493 h 10000"/>
                <a:gd name="connsiteX35" fmla="*/ 908 w 10000"/>
                <a:gd name="connsiteY35" fmla="*/ 8390 h 10000"/>
                <a:gd name="connsiteX36" fmla="*/ 1021 w 10000"/>
                <a:gd name="connsiteY36" fmla="*/ 8245 h 10000"/>
                <a:gd name="connsiteX37" fmla="*/ 945 w 10000"/>
                <a:gd name="connsiteY37" fmla="*/ 8194 h 10000"/>
                <a:gd name="connsiteX38" fmla="*/ 958 w 10000"/>
                <a:gd name="connsiteY38" fmla="*/ 8091 h 10000"/>
                <a:gd name="connsiteX39" fmla="*/ 1005 w 10000"/>
                <a:gd name="connsiteY39" fmla="*/ 8111 h 10000"/>
                <a:gd name="connsiteX40" fmla="*/ 1059 w 10000"/>
                <a:gd name="connsiteY40" fmla="*/ 8019 h 10000"/>
                <a:gd name="connsiteX41" fmla="*/ 1034 w 10000"/>
                <a:gd name="connsiteY41" fmla="*/ 7864 h 10000"/>
                <a:gd name="connsiteX42" fmla="*/ 1043 w 10000"/>
                <a:gd name="connsiteY42" fmla="*/ 7503 h 10000"/>
                <a:gd name="connsiteX43" fmla="*/ 930 w 10000"/>
                <a:gd name="connsiteY43" fmla="*/ 7440 h 10000"/>
                <a:gd name="connsiteX44" fmla="*/ 832 w 10000"/>
                <a:gd name="connsiteY44" fmla="*/ 7286 h 10000"/>
                <a:gd name="connsiteX45" fmla="*/ 700 w 10000"/>
                <a:gd name="connsiteY45" fmla="*/ 7275 h 10000"/>
                <a:gd name="connsiteX46" fmla="*/ 684 w 10000"/>
                <a:gd name="connsiteY46" fmla="*/ 7090 h 10000"/>
                <a:gd name="connsiteX47" fmla="*/ 596 w 10000"/>
                <a:gd name="connsiteY47" fmla="*/ 6945 h 10000"/>
                <a:gd name="connsiteX48" fmla="*/ 615 w 10000"/>
                <a:gd name="connsiteY48" fmla="*/ 6822 h 10000"/>
                <a:gd name="connsiteX49" fmla="*/ 561 w 10000"/>
                <a:gd name="connsiteY49" fmla="*/ 6698 h 10000"/>
                <a:gd name="connsiteX50" fmla="*/ 457 w 10000"/>
                <a:gd name="connsiteY50" fmla="*/ 6698 h 10000"/>
                <a:gd name="connsiteX51" fmla="*/ 425 w 10000"/>
                <a:gd name="connsiteY51" fmla="*/ 6791 h 10000"/>
                <a:gd name="connsiteX52" fmla="*/ 400 w 10000"/>
                <a:gd name="connsiteY52" fmla="*/ 6750 h 10000"/>
                <a:gd name="connsiteX53" fmla="*/ 378 w 10000"/>
                <a:gd name="connsiteY53" fmla="*/ 6439 h 10000"/>
                <a:gd name="connsiteX54" fmla="*/ 419 w 10000"/>
                <a:gd name="connsiteY54" fmla="*/ 6470 h 10000"/>
                <a:gd name="connsiteX55" fmla="*/ 466 w 10000"/>
                <a:gd name="connsiteY55" fmla="*/ 6347 h 10000"/>
                <a:gd name="connsiteX56" fmla="*/ 400 w 10000"/>
                <a:gd name="connsiteY56" fmla="*/ 6233 h 10000"/>
                <a:gd name="connsiteX57" fmla="*/ 315 w 10000"/>
                <a:gd name="connsiteY57" fmla="*/ 6017 h 10000"/>
                <a:gd name="connsiteX58" fmla="*/ 334 w 10000"/>
                <a:gd name="connsiteY58" fmla="*/ 5821 h 10000"/>
                <a:gd name="connsiteX59" fmla="*/ 274 w 10000"/>
                <a:gd name="connsiteY59" fmla="*/ 5697 h 10000"/>
                <a:gd name="connsiteX60" fmla="*/ 227 w 10000"/>
                <a:gd name="connsiteY60" fmla="*/ 5728 h 10000"/>
                <a:gd name="connsiteX61" fmla="*/ 202 w 10000"/>
                <a:gd name="connsiteY61" fmla="*/ 5604 h 10000"/>
                <a:gd name="connsiteX62" fmla="*/ 164 w 10000"/>
                <a:gd name="connsiteY62" fmla="*/ 5645 h 10000"/>
                <a:gd name="connsiteX63" fmla="*/ 117 w 10000"/>
                <a:gd name="connsiteY63" fmla="*/ 5604 h 10000"/>
                <a:gd name="connsiteX64" fmla="*/ 69 w 10000"/>
                <a:gd name="connsiteY64" fmla="*/ 5181 h 10000"/>
                <a:gd name="connsiteX65" fmla="*/ 85 w 10000"/>
                <a:gd name="connsiteY65" fmla="*/ 5057 h 10000"/>
                <a:gd name="connsiteX66" fmla="*/ 41 w 10000"/>
                <a:gd name="connsiteY66" fmla="*/ 4892 h 10000"/>
                <a:gd name="connsiteX67" fmla="*/ 66 w 10000"/>
                <a:gd name="connsiteY67" fmla="*/ 4655 h 10000"/>
                <a:gd name="connsiteX68" fmla="*/ 211 w 10000"/>
                <a:gd name="connsiteY68" fmla="*/ 4510 h 10000"/>
                <a:gd name="connsiteX69" fmla="*/ 129 w 10000"/>
                <a:gd name="connsiteY69" fmla="*/ 4406 h 10000"/>
                <a:gd name="connsiteX70" fmla="*/ 82 w 10000"/>
                <a:gd name="connsiteY70" fmla="*/ 4283 h 10000"/>
                <a:gd name="connsiteX71" fmla="*/ 205 w 10000"/>
                <a:gd name="connsiteY71" fmla="*/ 3912 h 10000"/>
                <a:gd name="connsiteX72" fmla="*/ 249 w 10000"/>
                <a:gd name="connsiteY72" fmla="*/ 3664 h 10000"/>
                <a:gd name="connsiteX73" fmla="*/ 151 w 10000"/>
                <a:gd name="connsiteY73" fmla="*/ 3488 h 10000"/>
                <a:gd name="connsiteX74" fmla="*/ 189 w 10000"/>
                <a:gd name="connsiteY74" fmla="*/ 3344 h 10000"/>
                <a:gd name="connsiteX75" fmla="*/ 113 w 10000"/>
                <a:gd name="connsiteY75" fmla="*/ 3148 h 10000"/>
                <a:gd name="connsiteX76" fmla="*/ 113 w 10000"/>
                <a:gd name="connsiteY76" fmla="*/ 2972 h 10000"/>
                <a:gd name="connsiteX77" fmla="*/ 60 w 10000"/>
                <a:gd name="connsiteY77" fmla="*/ 2622 h 10000"/>
                <a:gd name="connsiteX78" fmla="*/ 98 w 10000"/>
                <a:gd name="connsiteY78" fmla="*/ 2404 h 10000"/>
                <a:gd name="connsiteX79" fmla="*/ 38 w 10000"/>
                <a:gd name="connsiteY79" fmla="*/ 2301 h 10000"/>
                <a:gd name="connsiteX80" fmla="*/ 0 w 10000"/>
                <a:gd name="connsiteY80" fmla="*/ 2178 h 10000"/>
                <a:gd name="connsiteX81" fmla="*/ 54 w 10000"/>
                <a:gd name="connsiteY81" fmla="*/ 1951 h 10000"/>
                <a:gd name="connsiteX82" fmla="*/ 120 w 10000"/>
                <a:gd name="connsiteY82" fmla="*/ 1910 h 10000"/>
                <a:gd name="connsiteX83" fmla="*/ 195 w 10000"/>
                <a:gd name="connsiteY83" fmla="*/ 1858 h 10000"/>
                <a:gd name="connsiteX84" fmla="*/ 309 w 10000"/>
                <a:gd name="connsiteY84" fmla="*/ 1951 h 10000"/>
                <a:gd name="connsiteX85" fmla="*/ 482 w 10000"/>
                <a:gd name="connsiteY85" fmla="*/ 2054 h 10000"/>
                <a:gd name="connsiteX86" fmla="*/ 633 w 10000"/>
                <a:gd name="connsiteY86" fmla="*/ 2229 h 10000"/>
                <a:gd name="connsiteX87" fmla="*/ 756 w 10000"/>
                <a:gd name="connsiteY87" fmla="*/ 2373 h 10000"/>
                <a:gd name="connsiteX88" fmla="*/ 725 w 10000"/>
                <a:gd name="connsiteY88" fmla="*/ 2777 h 10000"/>
                <a:gd name="connsiteX89" fmla="*/ 362 w 10000"/>
                <a:gd name="connsiteY89" fmla="*/ 2673 h 10000"/>
                <a:gd name="connsiteX90" fmla="*/ 243 w 10000"/>
                <a:gd name="connsiteY90" fmla="*/ 2550 h 10000"/>
                <a:gd name="connsiteX91" fmla="*/ 287 w 10000"/>
                <a:gd name="connsiteY91" fmla="*/ 2622 h 10000"/>
                <a:gd name="connsiteX92" fmla="*/ 331 w 10000"/>
                <a:gd name="connsiteY92" fmla="*/ 2797 h 10000"/>
                <a:gd name="connsiteX93" fmla="*/ 400 w 10000"/>
                <a:gd name="connsiteY93" fmla="*/ 2921 h 10000"/>
                <a:gd name="connsiteX94" fmla="*/ 416 w 10000"/>
                <a:gd name="connsiteY94" fmla="*/ 3189 h 10000"/>
                <a:gd name="connsiteX95" fmla="*/ 507 w 10000"/>
                <a:gd name="connsiteY95" fmla="*/ 3313 h 10000"/>
                <a:gd name="connsiteX96" fmla="*/ 583 w 10000"/>
                <a:gd name="connsiteY96" fmla="*/ 3436 h 10000"/>
                <a:gd name="connsiteX97" fmla="*/ 605 w 10000"/>
                <a:gd name="connsiteY97" fmla="*/ 3467 h 10000"/>
                <a:gd name="connsiteX98" fmla="*/ 649 w 10000"/>
                <a:gd name="connsiteY98" fmla="*/ 3436 h 10000"/>
                <a:gd name="connsiteX99" fmla="*/ 633 w 10000"/>
                <a:gd name="connsiteY99" fmla="*/ 3364 h 10000"/>
                <a:gd name="connsiteX100" fmla="*/ 545 w 10000"/>
                <a:gd name="connsiteY100" fmla="*/ 3189 h 10000"/>
                <a:gd name="connsiteX101" fmla="*/ 801 w 10000"/>
                <a:gd name="connsiteY101" fmla="*/ 3344 h 10000"/>
                <a:gd name="connsiteX102" fmla="*/ 810 w 10000"/>
                <a:gd name="connsiteY102" fmla="*/ 3271 h 10000"/>
                <a:gd name="connsiteX103" fmla="*/ 785 w 10000"/>
                <a:gd name="connsiteY103" fmla="*/ 3220 h 10000"/>
                <a:gd name="connsiteX104" fmla="*/ 741 w 10000"/>
                <a:gd name="connsiteY104" fmla="*/ 2993 h 10000"/>
                <a:gd name="connsiteX105" fmla="*/ 870 w 10000"/>
                <a:gd name="connsiteY105" fmla="*/ 2777 h 10000"/>
                <a:gd name="connsiteX106" fmla="*/ 968 w 10000"/>
                <a:gd name="connsiteY106" fmla="*/ 2921 h 10000"/>
                <a:gd name="connsiteX107" fmla="*/ 999 w 10000"/>
                <a:gd name="connsiteY107" fmla="*/ 2725 h 10000"/>
                <a:gd name="connsiteX108" fmla="*/ 952 w 10000"/>
                <a:gd name="connsiteY108" fmla="*/ 2653 h 10000"/>
                <a:gd name="connsiteX109" fmla="*/ 936 w 10000"/>
                <a:gd name="connsiteY109" fmla="*/ 2281 h 10000"/>
                <a:gd name="connsiteX110" fmla="*/ 914 w 10000"/>
                <a:gd name="connsiteY110" fmla="*/ 2229 h 10000"/>
                <a:gd name="connsiteX111" fmla="*/ 1037 w 10000"/>
                <a:gd name="connsiteY111" fmla="*/ 2250 h 10000"/>
                <a:gd name="connsiteX112" fmla="*/ 1087 w 10000"/>
                <a:gd name="connsiteY112" fmla="*/ 2404 h 10000"/>
                <a:gd name="connsiteX113" fmla="*/ 1021 w 10000"/>
                <a:gd name="connsiteY113" fmla="*/ 2529 h 10000"/>
                <a:gd name="connsiteX114" fmla="*/ 1135 w 10000"/>
                <a:gd name="connsiteY114" fmla="*/ 2694 h 10000"/>
                <a:gd name="connsiteX115" fmla="*/ 1226 w 10000"/>
                <a:gd name="connsiteY115" fmla="*/ 2529 h 10000"/>
                <a:gd name="connsiteX116" fmla="*/ 1339 w 10000"/>
                <a:gd name="connsiteY116" fmla="*/ 2301 h 10000"/>
                <a:gd name="connsiteX117" fmla="*/ 1459 w 10000"/>
                <a:gd name="connsiteY117" fmla="*/ 2157 h 10000"/>
                <a:gd name="connsiteX118" fmla="*/ 1497 w 10000"/>
                <a:gd name="connsiteY118" fmla="*/ 2250 h 10000"/>
                <a:gd name="connsiteX119" fmla="*/ 1807 w 10000"/>
                <a:gd name="connsiteY119" fmla="*/ 2054 h 10000"/>
                <a:gd name="connsiteX120" fmla="*/ 1870 w 10000"/>
                <a:gd name="connsiteY120" fmla="*/ 2250 h 10000"/>
                <a:gd name="connsiteX121" fmla="*/ 1860 w 10000"/>
                <a:gd name="connsiteY121" fmla="*/ 2002 h 10000"/>
                <a:gd name="connsiteX122" fmla="*/ 1778 w 10000"/>
                <a:gd name="connsiteY122" fmla="*/ 1786 h 10000"/>
                <a:gd name="connsiteX123" fmla="*/ 1763 w 10000"/>
                <a:gd name="connsiteY123" fmla="*/ 1703 h 10000"/>
                <a:gd name="connsiteX124" fmla="*/ 1823 w 10000"/>
                <a:gd name="connsiteY124" fmla="*/ 1786 h 10000"/>
                <a:gd name="connsiteX125" fmla="*/ 2034 w 10000"/>
                <a:gd name="connsiteY125" fmla="*/ 1951 h 10000"/>
                <a:gd name="connsiteX126" fmla="*/ 2270 w 10000"/>
                <a:gd name="connsiteY126" fmla="*/ 2126 h 10000"/>
                <a:gd name="connsiteX127" fmla="*/ 2384 w 10000"/>
                <a:gd name="connsiteY127" fmla="*/ 2250 h 10000"/>
                <a:gd name="connsiteX128" fmla="*/ 2421 w 10000"/>
                <a:gd name="connsiteY128" fmla="*/ 2074 h 10000"/>
                <a:gd name="connsiteX129" fmla="*/ 2368 w 10000"/>
                <a:gd name="connsiteY129" fmla="*/ 2033 h 10000"/>
                <a:gd name="connsiteX130" fmla="*/ 2299 w 10000"/>
                <a:gd name="connsiteY130" fmla="*/ 1930 h 10000"/>
                <a:gd name="connsiteX131" fmla="*/ 2254 w 10000"/>
                <a:gd name="connsiteY131" fmla="*/ 1734 h 10000"/>
                <a:gd name="connsiteX132" fmla="*/ 2185 w 10000"/>
                <a:gd name="connsiteY132" fmla="*/ 1486 h 10000"/>
                <a:gd name="connsiteX133" fmla="*/ 2210 w 10000"/>
                <a:gd name="connsiteY133" fmla="*/ 1434 h 10000"/>
                <a:gd name="connsiteX134" fmla="*/ 2232 w 10000"/>
                <a:gd name="connsiteY134" fmla="*/ 1455 h 10000"/>
                <a:gd name="connsiteX135" fmla="*/ 2292 w 10000"/>
                <a:gd name="connsiteY135" fmla="*/ 1115 h 10000"/>
                <a:gd name="connsiteX136" fmla="*/ 2443 w 10000"/>
                <a:gd name="connsiteY136" fmla="*/ 1135 h 10000"/>
                <a:gd name="connsiteX137" fmla="*/ 2488 w 10000"/>
                <a:gd name="connsiteY137" fmla="*/ 1311 h 10000"/>
                <a:gd name="connsiteX138" fmla="*/ 2519 w 10000"/>
                <a:gd name="connsiteY138" fmla="*/ 1538 h 10000"/>
                <a:gd name="connsiteX139" fmla="*/ 2573 w 10000"/>
                <a:gd name="connsiteY139" fmla="*/ 1734 h 10000"/>
                <a:gd name="connsiteX140" fmla="*/ 2670 w 10000"/>
                <a:gd name="connsiteY140" fmla="*/ 2157 h 10000"/>
                <a:gd name="connsiteX141" fmla="*/ 2481 w 10000"/>
                <a:gd name="connsiteY141" fmla="*/ 2673 h 10000"/>
                <a:gd name="connsiteX142" fmla="*/ 2557 w 10000"/>
                <a:gd name="connsiteY142" fmla="*/ 2746 h 10000"/>
                <a:gd name="connsiteX143" fmla="*/ 2655 w 10000"/>
                <a:gd name="connsiteY143" fmla="*/ 2818 h 10000"/>
                <a:gd name="connsiteX144" fmla="*/ 2784 w 10000"/>
                <a:gd name="connsiteY144" fmla="*/ 2622 h 10000"/>
                <a:gd name="connsiteX145" fmla="*/ 2790 w 10000"/>
                <a:gd name="connsiteY145" fmla="*/ 2404 h 10000"/>
                <a:gd name="connsiteX146" fmla="*/ 2746 w 10000"/>
                <a:gd name="connsiteY146" fmla="*/ 2301 h 10000"/>
                <a:gd name="connsiteX147" fmla="*/ 2919 w 10000"/>
                <a:gd name="connsiteY147" fmla="*/ 2250 h 10000"/>
                <a:gd name="connsiteX148" fmla="*/ 2989 w 10000"/>
                <a:gd name="connsiteY148" fmla="*/ 2497 h 10000"/>
                <a:gd name="connsiteX149" fmla="*/ 2989 w 10000"/>
                <a:gd name="connsiteY149" fmla="*/ 2425 h 10000"/>
                <a:gd name="connsiteX150" fmla="*/ 2973 w 10000"/>
                <a:gd name="connsiteY150" fmla="*/ 2353 h 10000"/>
                <a:gd name="connsiteX151" fmla="*/ 2967 w 10000"/>
                <a:gd name="connsiteY151" fmla="*/ 2178 h 10000"/>
                <a:gd name="connsiteX152" fmla="*/ 2800 w 10000"/>
                <a:gd name="connsiteY152" fmla="*/ 1930 h 10000"/>
                <a:gd name="connsiteX153" fmla="*/ 2670 w 10000"/>
                <a:gd name="connsiteY153" fmla="*/ 2002 h 10000"/>
                <a:gd name="connsiteX154" fmla="*/ 2617 w 10000"/>
                <a:gd name="connsiteY154" fmla="*/ 1683 h 10000"/>
                <a:gd name="connsiteX155" fmla="*/ 2563 w 10000"/>
                <a:gd name="connsiteY155" fmla="*/ 1507 h 10000"/>
                <a:gd name="connsiteX156" fmla="*/ 2617 w 10000"/>
                <a:gd name="connsiteY156" fmla="*/ 1331 h 10000"/>
                <a:gd name="connsiteX157" fmla="*/ 2611 w 10000"/>
                <a:gd name="connsiteY157" fmla="*/ 1166 h 10000"/>
                <a:gd name="connsiteX158" fmla="*/ 2588 w 10000"/>
                <a:gd name="connsiteY158" fmla="*/ 1115 h 10000"/>
                <a:gd name="connsiteX159" fmla="*/ 2626 w 10000"/>
                <a:gd name="connsiteY159" fmla="*/ 1115 h 10000"/>
                <a:gd name="connsiteX160" fmla="*/ 2670 w 10000"/>
                <a:gd name="connsiteY160" fmla="*/ 1455 h 10000"/>
                <a:gd name="connsiteX161" fmla="*/ 2891 w 10000"/>
                <a:gd name="connsiteY161" fmla="*/ 1662 h 10000"/>
                <a:gd name="connsiteX162" fmla="*/ 2724 w 10000"/>
                <a:gd name="connsiteY162" fmla="*/ 1383 h 10000"/>
                <a:gd name="connsiteX163" fmla="*/ 3049 w 10000"/>
                <a:gd name="connsiteY163" fmla="*/ 1383 h 10000"/>
                <a:gd name="connsiteX164" fmla="*/ 3102 w 10000"/>
                <a:gd name="connsiteY164" fmla="*/ 1362 h 10000"/>
                <a:gd name="connsiteX165" fmla="*/ 2897 w 10000"/>
                <a:gd name="connsiteY165" fmla="*/ 1115 h 10000"/>
                <a:gd name="connsiteX166" fmla="*/ 2951 w 10000"/>
                <a:gd name="connsiteY166" fmla="*/ 888 h 10000"/>
                <a:gd name="connsiteX167" fmla="*/ 3178 w 10000"/>
                <a:gd name="connsiteY167" fmla="*/ 888 h 10000"/>
                <a:gd name="connsiteX168" fmla="*/ 3156 w 10000"/>
                <a:gd name="connsiteY168" fmla="*/ 713 h 10000"/>
                <a:gd name="connsiteX169" fmla="*/ 3231 w 10000"/>
                <a:gd name="connsiteY169" fmla="*/ 589 h 10000"/>
                <a:gd name="connsiteX170" fmla="*/ 3276 w 10000"/>
                <a:gd name="connsiteY170" fmla="*/ 548 h 10000"/>
                <a:gd name="connsiteX171" fmla="*/ 3443 w 10000"/>
                <a:gd name="connsiteY171" fmla="*/ 423 h 10000"/>
                <a:gd name="connsiteX172" fmla="*/ 3487 w 10000"/>
                <a:gd name="connsiteY172" fmla="*/ 371 h 10000"/>
                <a:gd name="connsiteX173" fmla="*/ 3480 w 10000"/>
                <a:gd name="connsiteY173" fmla="*/ 444 h 10000"/>
                <a:gd name="connsiteX174" fmla="*/ 3660 w 10000"/>
                <a:gd name="connsiteY174" fmla="*/ 371 h 10000"/>
                <a:gd name="connsiteX175" fmla="*/ 3805 w 10000"/>
                <a:gd name="connsiteY175" fmla="*/ 248 h 10000"/>
                <a:gd name="connsiteX176" fmla="*/ 3827 w 10000"/>
                <a:gd name="connsiteY176" fmla="*/ 0 h 10000"/>
                <a:gd name="connsiteX177" fmla="*/ 3988 w 10000"/>
                <a:gd name="connsiteY177" fmla="*/ 21 h 10000"/>
                <a:gd name="connsiteX178" fmla="*/ 3978 w 10000"/>
                <a:gd name="connsiteY178" fmla="*/ 93 h 10000"/>
                <a:gd name="connsiteX179" fmla="*/ 3988 w 10000"/>
                <a:gd name="connsiteY179" fmla="*/ 176 h 10000"/>
                <a:gd name="connsiteX180" fmla="*/ 4085 w 10000"/>
                <a:gd name="connsiteY180" fmla="*/ 248 h 10000"/>
                <a:gd name="connsiteX181" fmla="*/ 4379 w 10000"/>
                <a:gd name="connsiteY181" fmla="*/ 268 h 10000"/>
                <a:gd name="connsiteX182" fmla="*/ 4539 w 10000"/>
                <a:gd name="connsiteY182" fmla="*/ 392 h 10000"/>
                <a:gd name="connsiteX183" fmla="*/ 4486 w 10000"/>
                <a:gd name="connsiteY183" fmla="*/ 795 h 10000"/>
                <a:gd name="connsiteX184" fmla="*/ 4426 w 10000"/>
                <a:gd name="connsiteY184" fmla="*/ 919 h 10000"/>
                <a:gd name="connsiteX185" fmla="*/ 4356 w 10000"/>
                <a:gd name="connsiteY185" fmla="*/ 1043 h 10000"/>
                <a:gd name="connsiteX186" fmla="*/ 4372 w 10000"/>
                <a:gd name="connsiteY186" fmla="*/ 1115 h 10000"/>
                <a:gd name="connsiteX187" fmla="*/ 4583 w 10000"/>
                <a:gd name="connsiteY187" fmla="*/ 919 h 10000"/>
                <a:gd name="connsiteX188" fmla="*/ 5060 w 10000"/>
                <a:gd name="connsiteY188" fmla="*/ 991 h 10000"/>
                <a:gd name="connsiteX189" fmla="*/ 5108 w 10000"/>
                <a:gd name="connsiteY189" fmla="*/ 1063 h 10000"/>
                <a:gd name="connsiteX190" fmla="*/ 5212 w 10000"/>
                <a:gd name="connsiteY190" fmla="*/ 1187 h 10000"/>
                <a:gd name="connsiteX191" fmla="*/ 5357 w 10000"/>
                <a:gd name="connsiteY191" fmla="*/ 919 h 10000"/>
                <a:gd name="connsiteX192" fmla="*/ 5577 w 10000"/>
                <a:gd name="connsiteY192" fmla="*/ 1063 h 10000"/>
                <a:gd name="connsiteX193" fmla="*/ 5643 w 10000"/>
                <a:gd name="connsiteY193" fmla="*/ 1115 h 10000"/>
                <a:gd name="connsiteX194" fmla="*/ 5697 w 10000"/>
                <a:gd name="connsiteY194" fmla="*/ 1166 h 10000"/>
                <a:gd name="connsiteX195" fmla="*/ 5908 w 10000"/>
                <a:gd name="connsiteY195" fmla="*/ 1631 h 10000"/>
                <a:gd name="connsiteX196" fmla="*/ 5984 w 10000"/>
                <a:gd name="connsiteY196" fmla="*/ 1611 h 10000"/>
                <a:gd name="connsiteX197" fmla="*/ 5977 w 10000"/>
                <a:gd name="connsiteY197" fmla="*/ 1507 h 10000"/>
                <a:gd name="connsiteX198" fmla="*/ 5984 w 10000"/>
                <a:gd name="connsiteY198" fmla="*/ 1383 h 10000"/>
                <a:gd name="connsiteX199" fmla="*/ 6091 w 10000"/>
                <a:gd name="connsiteY199" fmla="*/ 1486 h 10000"/>
                <a:gd name="connsiteX200" fmla="*/ 6264 w 10000"/>
                <a:gd name="connsiteY200" fmla="*/ 1507 h 10000"/>
                <a:gd name="connsiteX201" fmla="*/ 6409 w 10000"/>
                <a:gd name="connsiteY201" fmla="*/ 1455 h 10000"/>
                <a:gd name="connsiteX202" fmla="*/ 6340 w 10000"/>
                <a:gd name="connsiteY202" fmla="*/ 1362 h 10000"/>
                <a:gd name="connsiteX203" fmla="*/ 6431 w 10000"/>
                <a:gd name="connsiteY203" fmla="*/ 1084 h 10000"/>
                <a:gd name="connsiteX204" fmla="*/ 6687 w 10000"/>
                <a:gd name="connsiteY204" fmla="*/ 1207 h 10000"/>
                <a:gd name="connsiteX205" fmla="*/ 6945 w 10000"/>
                <a:gd name="connsiteY205" fmla="*/ 1331 h 10000"/>
                <a:gd name="connsiteX206" fmla="*/ 6967 w 10000"/>
                <a:gd name="connsiteY206" fmla="*/ 1362 h 10000"/>
                <a:gd name="connsiteX207" fmla="*/ 7194 w 10000"/>
                <a:gd name="connsiteY207" fmla="*/ 1611 h 10000"/>
                <a:gd name="connsiteX208" fmla="*/ 7367 w 10000"/>
                <a:gd name="connsiteY208" fmla="*/ 1507 h 10000"/>
                <a:gd name="connsiteX209" fmla="*/ 7582 w 10000"/>
                <a:gd name="connsiteY209" fmla="*/ 1538 h 10000"/>
                <a:gd name="connsiteX210" fmla="*/ 7657 w 10000"/>
                <a:gd name="connsiteY210" fmla="*/ 1611 h 10000"/>
                <a:gd name="connsiteX211" fmla="*/ 7928 w 10000"/>
                <a:gd name="connsiteY211" fmla="*/ 1930 h 10000"/>
                <a:gd name="connsiteX212" fmla="*/ 8231 w 10000"/>
                <a:gd name="connsiteY212" fmla="*/ 1879 h 10000"/>
                <a:gd name="connsiteX213" fmla="*/ 8339 w 10000"/>
                <a:gd name="connsiteY213" fmla="*/ 2033 h 10000"/>
                <a:gd name="connsiteX214" fmla="*/ 8490 w 10000"/>
                <a:gd name="connsiteY214" fmla="*/ 2157 h 10000"/>
                <a:gd name="connsiteX215" fmla="*/ 8519 w 10000"/>
                <a:gd name="connsiteY215" fmla="*/ 2105 h 10000"/>
                <a:gd name="connsiteX216" fmla="*/ 8497 w 10000"/>
                <a:gd name="connsiteY216" fmla="*/ 2074 h 10000"/>
                <a:gd name="connsiteX217" fmla="*/ 8383 w 10000"/>
                <a:gd name="connsiteY217" fmla="*/ 1930 h 10000"/>
                <a:gd name="connsiteX218" fmla="*/ 8465 w 10000"/>
                <a:gd name="connsiteY218" fmla="*/ 1755 h 10000"/>
                <a:gd name="connsiteX219" fmla="*/ 8664 w 10000"/>
                <a:gd name="connsiteY219" fmla="*/ 1910 h 10000"/>
                <a:gd name="connsiteX220" fmla="*/ 8950 w 10000"/>
                <a:gd name="connsiteY220" fmla="*/ 1982 h 10000"/>
                <a:gd name="connsiteX221" fmla="*/ 9206 w 10000"/>
                <a:gd name="connsiteY221" fmla="*/ 2260 h 10000"/>
                <a:gd name="connsiteX222" fmla="*/ 9344 w 10000"/>
                <a:gd name="connsiteY222" fmla="*/ 2332 h 10000"/>
                <a:gd name="connsiteX223" fmla="*/ 9451 w 10000"/>
                <a:gd name="connsiteY223" fmla="*/ 2446 h 10000"/>
                <a:gd name="connsiteX224" fmla="*/ 9574 w 10000"/>
                <a:gd name="connsiteY224" fmla="*/ 2632 h 10000"/>
                <a:gd name="connsiteX225" fmla="*/ 9631 w 10000"/>
                <a:gd name="connsiteY225" fmla="*/ 2756 h 10000"/>
                <a:gd name="connsiteX226" fmla="*/ 9726 w 10000"/>
                <a:gd name="connsiteY226" fmla="*/ 2787 h 10000"/>
                <a:gd name="connsiteX227" fmla="*/ 9590 w 10000"/>
                <a:gd name="connsiteY227" fmla="*/ 2570 h 10000"/>
                <a:gd name="connsiteX228" fmla="*/ 9915 w 10000"/>
                <a:gd name="connsiteY228" fmla="*/ 2756 h 10000"/>
                <a:gd name="connsiteX229" fmla="*/ 10000 w 10000"/>
                <a:gd name="connsiteY229" fmla="*/ 3014 h 10000"/>
                <a:gd name="connsiteX230" fmla="*/ 9934 w 10000"/>
                <a:gd name="connsiteY230" fmla="*/ 2941 h 10000"/>
                <a:gd name="connsiteX231" fmla="*/ 9874 w 10000"/>
                <a:gd name="connsiteY231" fmla="*/ 2952 h 10000"/>
                <a:gd name="connsiteX232" fmla="*/ 10000 w 10000"/>
                <a:gd name="connsiteY232" fmla="*/ 3292 h 10000"/>
                <a:gd name="connsiteX233" fmla="*/ 9845 w 10000"/>
                <a:gd name="connsiteY233" fmla="*/ 3220 h 10000"/>
                <a:gd name="connsiteX234" fmla="*/ 9745 w 10000"/>
                <a:gd name="connsiteY234" fmla="*/ 3075 h 10000"/>
                <a:gd name="connsiteX235" fmla="*/ 9641 w 10000"/>
                <a:gd name="connsiteY235" fmla="*/ 2972 h 10000"/>
                <a:gd name="connsiteX236" fmla="*/ 9555 w 10000"/>
                <a:gd name="connsiteY236" fmla="*/ 3003 h 10000"/>
                <a:gd name="connsiteX237" fmla="*/ 9470 w 10000"/>
                <a:gd name="connsiteY237" fmla="*/ 2787 h 10000"/>
                <a:gd name="connsiteX238" fmla="*/ 9366 w 10000"/>
                <a:gd name="connsiteY238" fmla="*/ 2725 h 10000"/>
                <a:gd name="connsiteX239" fmla="*/ 9461 w 10000"/>
                <a:gd name="connsiteY239" fmla="*/ 2972 h 10000"/>
                <a:gd name="connsiteX240" fmla="*/ 9470 w 10000"/>
                <a:gd name="connsiteY240" fmla="*/ 3230 h 10000"/>
                <a:gd name="connsiteX241" fmla="*/ 9288 w 10000"/>
                <a:gd name="connsiteY241" fmla="*/ 3065 h 10000"/>
                <a:gd name="connsiteX242" fmla="*/ 9262 w 10000"/>
                <a:gd name="connsiteY242" fmla="*/ 3230 h 10000"/>
                <a:gd name="connsiteX243" fmla="*/ 9363 w 10000"/>
                <a:gd name="connsiteY243" fmla="*/ 3230 h 10000"/>
                <a:gd name="connsiteX244" fmla="*/ 9451 w 10000"/>
                <a:gd name="connsiteY244" fmla="*/ 3354 h 10000"/>
                <a:gd name="connsiteX245" fmla="*/ 9659 w 10000"/>
                <a:gd name="connsiteY245" fmla="*/ 3685 h 10000"/>
                <a:gd name="connsiteX246" fmla="*/ 9735 w 10000"/>
                <a:gd name="connsiteY246" fmla="*/ 3839 h 10000"/>
                <a:gd name="connsiteX247" fmla="*/ 9552 w 10000"/>
                <a:gd name="connsiteY247" fmla="*/ 3757 h 10000"/>
                <a:gd name="connsiteX248" fmla="*/ 9451 w 10000"/>
                <a:gd name="connsiteY248" fmla="*/ 4025 h 10000"/>
                <a:gd name="connsiteX249" fmla="*/ 9385 w 10000"/>
                <a:gd name="connsiteY249" fmla="*/ 4283 h 10000"/>
                <a:gd name="connsiteX250" fmla="*/ 9376 w 10000"/>
                <a:gd name="connsiteY250" fmla="*/ 4499 h 10000"/>
                <a:gd name="connsiteX251" fmla="*/ 9335 w 10000"/>
                <a:gd name="connsiteY251" fmla="*/ 4303 h 10000"/>
                <a:gd name="connsiteX252" fmla="*/ 9149 w 10000"/>
                <a:gd name="connsiteY252" fmla="*/ 4314 h 10000"/>
                <a:gd name="connsiteX253" fmla="*/ 9155 w 10000"/>
                <a:gd name="connsiteY253" fmla="*/ 4531 h 10000"/>
                <a:gd name="connsiteX254" fmla="*/ 9061 w 10000"/>
                <a:gd name="connsiteY254" fmla="*/ 4365 h 10000"/>
                <a:gd name="connsiteX255" fmla="*/ 9054 w 10000"/>
                <a:gd name="connsiteY255" fmla="*/ 4521 h 10000"/>
                <a:gd name="connsiteX256" fmla="*/ 8998 w 10000"/>
                <a:gd name="connsiteY256" fmla="*/ 4458 h 10000"/>
                <a:gd name="connsiteX257" fmla="*/ 8966 w 10000"/>
                <a:gd name="connsiteY257" fmla="*/ 4562 h 10000"/>
                <a:gd name="connsiteX258" fmla="*/ 9007 w 10000"/>
                <a:gd name="connsiteY258" fmla="*/ 4686 h 10000"/>
                <a:gd name="connsiteX259" fmla="*/ 9004 w 10000"/>
                <a:gd name="connsiteY259" fmla="*/ 4995 h 10000"/>
                <a:gd name="connsiteX260" fmla="*/ 9073 w 10000"/>
                <a:gd name="connsiteY260" fmla="*/ 5211 h 10000"/>
                <a:gd name="connsiteX261" fmla="*/ 9130 w 10000"/>
                <a:gd name="connsiteY261" fmla="*/ 5150 h 10000"/>
                <a:gd name="connsiteX262" fmla="*/ 9158 w 10000"/>
                <a:gd name="connsiteY262" fmla="*/ 5211 h 10000"/>
                <a:gd name="connsiteX263" fmla="*/ 9231 w 10000"/>
                <a:gd name="connsiteY263" fmla="*/ 5428 h 10000"/>
                <a:gd name="connsiteX264" fmla="*/ 9215 w 10000"/>
                <a:gd name="connsiteY264" fmla="*/ 5604 h 10000"/>
                <a:gd name="connsiteX265" fmla="*/ 9221 w 10000"/>
                <a:gd name="connsiteY265" fmla="*/ 5769 h 10000"/>
                <a:gd name="connsiteX266" fmla="*/ 9269 w 10000"/>
                <a:gd name="connsiteY266" fmla="*/ 5883 h 10000"/>
                <a:gd name="connsiteX267" fmla="*/ 9344 w 10000"/>
                <a:gd name="connsiteY267" fmla="*/ 6068 h 10000"/>
                <a:gd name="connsiteX268" fmla="*/ 9269 w 10000"/>
                <a:gd name="connsiteY268" fmla="*/ 6068 h 10000"/>
                <a:gd name="connsiteX269" fmla="*/ 9253 w 10000"/>
                <a:gd name="connsiteY269" fmla="*/ 6223 h 10000"/>
                <a:gd name="connsiteX270" fmla="*/ 9319 w 10000"/>
                <a:gd name="connsiteY270" fmla="*/ 6408 h 10000"/>
                <a:gd name="connsiteX271" fmla="*/ 9250 w 10000"/>
                <a:gd name="connsiteY271" fmla="*/ 6502 h 10000"/>
                <a:gd name="connsiteX272" fmla="*/ 9297 w 10000"/>
                <a:gd name="connsiteY272" fmla="*/ 6729 h 10000"/>
                <a:gd name="connsiteX273" fmla="*/ 9281 w 10000"/>
                <a:gd name="connsiteY273" fmla="*/ 7069 h 10000"/>
                <a:gd name="connsiteX274" fmla="*/ 9061 w 10000"/>
                <a:gd name="connsiteY274" fmla="*/ 6408 h 10000"/>
                <a:gd name="connsiteX275" fmla="*/ 8824 w 10000"/>
                <a:gd name="connsiteY275" fmla="*/ 5759 h 10000"/>
                <a:gd name="connsiteX276" fmla="*/ 8771 w 10000"/>
                <a:gd name="connsiteY276" fmla="*/ 5459 h 10000"/>
                <a:gd name="connsiteX277" fmla="*/ 8768 w 10000"/>
                <a:gd name="connsiteY277" fmla="*/ 5211 h 10000"/>
                <a:gd name="connsiteX278" fmla="*/ 8692 w 10000"/>
                <a:gd name="connsiteY278" fmla="*/ 5047 h 10000"/>
                <a:gd name="connsiteX279" fmla="*/ 8771 w 10000"/>
                <a:gd name="connsiteY279" fmla="*/ 5088 h 10000"/>
                <a:gd name="connsiteX280" fmla="*/ 8809 w 10000"/>
                <a:gd name="connsiteY280" fmla="*/ 5108 h 10000"/>
                <a:gd name="connsiteX281" fmla="*/ 8809 w 10000"/>
                <a:gd name="connsiteY281" fmla="*/ 4840 h 10000"/>
                <a:gd name="connsiteX282" fmla="*/ 8827 w 10000"/>
                <a:gd name="connsiteY282" fmla="*/ 4437 h 10000"/>
                <a:gd name="connsiteX283" fmla="*/ 8853 w 10000"/>
                <a:gd name="connsiteY283" fmla="*/ 4252 h 10000"/>
                <a:gd name="connsiteX284" fmla="*/ 8909 w 10000"/>
                <a:gd name="connsiteY284" fmla="*/ 4221 h 10000"/>
                <a:gd name="connsiteX285" fmla="*/ 8786 w 10000"/>
                <a:gd name="connsiteY285" fmla="*/ 3901 h 10000"/>
                <a:gd name="connsiteX286" fmla="*/ 8853 w 10000"/>
                <a:gd name="connsiteY286" fmla="*/ 3839 h 10000"/>
                <a:gd name="connsiteX287" fmla="*/ 8739 w 10000"/>
                <a:gd name="connsiteY287" fmla="*/ 3788 h 10000"/>
                <a:gd name="connsiteX288" fmla="*/ 8755 w 10000"/>
                <a:gd name="connsiteY288" fmla="*/ 3984 h 10000"/>
                <a:gd name="connsiteX289" fmla="*/ 8692 w 10000"/>
                <a:gd name="connsiteY289" fmla="*/ 4303 h 10000"/>
                <a:gd name="connsiteX290" fmla="*/ 8604 w 10000"/>
                <a:gd name="connsiteY290" fmla="*/ 4210 h 10000"/>
                <a:gd name="connsiteX291" fmla="*/ 8550 w 10000"/>
                <a:gd name="connsiteY291" fmla="*/ 4056 h 10000"/>
                <a:gd name="connsiteX292" fmla="*/ 8481 w 10000"/>
                <a:gd name="connsiteY292" fmla="*/ 4138 h 10000"/>
                <a:gd name="connsiteX293" fmla="*/ 8389 w 10000"/>
                <a:gd name="connsiteY293" fmla="*/ 4107 h 10000"/>
                <a:gd name="connsiteX294" fmla="*/ 8352 w 10000"/>
                <a:gd name="connsiteY294" fmla="*/ 4406 h 10000"/>
                <a:gd name="connsiteX295" fmla="*/ 8481 w 10000"/>
                <a:gd name="connsiteY295" fmla="*/ 4655 h 10000"/>
                <a:gd name="connsiteX296" fmla="*/ 8405 w 10000"/>
                <a:gd name="connsiteY296" fmla="*/ 4830 h 10000"/>
                <a:gd name="connsiteX297" fmla="*/ 8225 w 10000"/>
                <a:gd name="connsiteY297" fmla="*/ 4799 h 10000"/>
                <a:gd name="connsiteX298" fmla="*/ 8209 w 10000"/>
                <a:gd name="connsiteY298" fmla="*/ 4655 h 10000"/>
                <a:gd name="connsiteX299" fmla="*/ 8102 w 10000"/>
                <a:gd name="connsiteY299" fmla="*/ 4634 h 10000"/>
                <a:gd name="connsiteX300" fmla="*/ 7641 w 10000"/>
                <a:gd name="connsiteY300" fmla="*/ 4779 h 10000"/>
                <a:gd name="connsiteX301" fmla="*/ 7610 w 10000"/>
                <a:gd name="connsiteY301" fmla="*/ 5005 h 10000"/>
                <a:gd name="connsiteX302" fmla="*/ 7550 w 10000"/>
                <a:gd name="connsiteY302" fmla="*/ 5666 h 10000"/>
                <a:gd name="connsiteX303" fmla="*/ 7496 w 10000"/>
                <a:gd name="connsiteY303" fmla="*/ 5965 h 10000"/>
                <a:gd name="connsiteX304" fmla="*/ 7701 w 10000"/>
                <a:gd name="connsiteY304" fmla="*/ 6161 h 10000"/>
                <a:gd name="connsiteX305" fmla="*/ 7745 w 10000"/>
                <a:gd name="connsiteY305" fmla="*/ 6243 h 10000"/>
                <a:gd name="connsiteX306" fmla="*/ 7771 w 10000"/>
                <a:gd name="connsiteY306" fmla="*/ 6285 h 10000"/>
                <a:gd name="connsiteX307" fmla="*/ 7793 w 10000"/>
                <a:gd name="connsiteY307" fmla="*/ 6068 h 10000"/>
                <a:gd name="connsiteX308" fmla="*/ 7912 w 10000"/>
                <a:gd name="connsiteY308" fmla="*/ 6089 h 10000"/>
                <a:gd name="connsiteX309" fmla="*/ 8004 w 10000"/>
                <a:gd name="connsiteY309" fmla="*/ 6367 h 10000"/>
                <a:gd name="connsiteX310" fmla="*/ 8064 w 10000"/>
                <a:gd name="connsiteY310" fmla="*/ 6616 h 10000"/>
                <a:gd name="connsiteX311" fmla="*/ 8111 w 10000"/>
                <a:gd name="connsiteY311" fmla="*/ 6781 h 10000"/>
                <a:gd name="connsiteX312" fmla="*/ 8048 w 10000"/>
                <a:gd name="connsiteY312" fmla="*/ 6491 h 10000"/>
                <a:gd name="connsiteX313" fmla="*/ 8124 w 10000"/>
                <a:gd name="connsiteY313" fmla="*/ 6336 h 10000"/>
                <a:gd name="connsiteX314" fmla="*/ 8177 w 10000"/>
                <a:gd name="connsiteY314" fmla="*/ 6512 h 10000"/>
                <a:gd name="connsiteX315" fmla="*/ 8300 w 10000"/>
                <a:gd name="connsiteY315" fmla="*/ 6987 h 10000"/>
                <a:gd name="connsiteX316" fmla="*/ 8361 w 10000"/>
                <a:gd name="connsiteY316" fmla="*/ 7152 h 10000"/>
                <a:gd name="connsiteX317" fmla="*/ 8490 w 10000"/>
                <a:gd name="connsiteY317" fmla="*/ 7482 h 10000"/>
                <a:gd name="connsiteX318" fmla="*/ 8604 w 10000"/>
                <a:gd name="connsiteY318" fmla="*/ 7854 h 10000"/>
                <a:gd name="connsiteX319" fmla="*/ 8474 w 10000"/>
                <a:gd name="connsiteY319" fmla="*/ 7647 h 10000"/>
                <a:gd name="connsiteX320" fmla="*/ 8443 w 10000"/>
                <a:gd name="connsiteY320" fmla="*/ 7678 h 10000"/>
                <a:gd name="connsiteX321" fmla="*/ 8512 w 10000"/>
                <a:gd name="connsiteY321" fmla="*/ 8050 h 10000"/>
                <a:gd name="connsiteX322" fmla="*/ 8588 w 10000"/>
                <a:gd name="connsiteY322" fmla="*/ 8266 h 10000"/>
                <a:gd name="connsiteX323" fmla="*/ 8642 w 10000"/>
                <a:gd name="connsiteY323" fmla="*/ 8472 h 10000"/>
                <a:gd name="connsiteX324" fmla="*/ 8566 w 10000"/>
                <a:gd name="connsiteY324" fmla="*/ 8421 h 10000"/>
                <a:gd name="connsiteX325" fmla="*/ 8556 w 10000"/>
                <a:gd name="connsiteY325" fmla="*/ 8669 h 10000"/>
                <a:gd name="connsiteX326" fmla="*/ 8497 w 10000"/>
                <a:gd name="connsiteY326" fmla="*/ 8493 h 10000"/>
                <a:gd name="connsiteX327" fmla="*/ 8481 w 10000"/>
                <a:gd name="connsiteY327" fmla="*/ 8421 h 10000"/>
                <a:gd name="connsiteX328" fmla="*/ 8361 w 10000"/>
                <a:gd name="connsiteY328" fmla="*/ 7751 h 10000"/>
                <a:gd name="connsiteX329" fmla="*/ 8322 w 10000"/>
                <a:gd name="connsiteY329" fmla="*/ 7524 h 10000"/>
                <a:gd name="connsiteX330" fmla="*/ 8291 w 10000"/>
                <a:gd name="connsiteY330" fmla="*/ 7378 h 10000"/>
                <a:gd name="connsiteX331" fmla="*/ 8275 w 10000"/>
                <a:gd name="connsiteY331" fmla="*/ 7306 h 10000"/>
                <a:gd name="connsiteX332" fmla="*/ 8139 w 10000"/>
                <a:gd name="connsiteY332" fmla="*/ 6863 h 10000"/>
                <a:gd name="connsiteX333" fmla="*/ 8199 w 10000"/>
                <a:gd name="connsiteY333" fmla="*/ 7451 h 10000"/>
                <a:gd name="connsiteX334" fmla="*/ 8247 w 10000"/>
                <a:gd name="connsiteY334" fmla="*/ 7998 h 10000"/>
                <a:gd name="connsiteX335" fmla="*/ 8177 w 10000"/>
                <a:gd name="connsiteY335" fmla="*/ 9133 h 10000"/>
                <a:gd name="connsiteX336" fmla="*/ 8124 w 10000"/>
                <a:gd name="connsiteY336" fmla="*/ 9484 h 10000"/>
                <a:gd name="connsiteX337" fmla="*/ 7972 w 10000"/>
                <a:gd name="connsiteY337" fmla="*/ 9432 h 10000"/>
                <a:gd name="connsiteX338" fmla="*/ 7897 w 10000"/>
                <a:gd name="connsiteY338" fmla="*/ 9660 h 10000"/>
                <a:gd name="connsiteX339" fmla="*/ 7868 w 10000"/>
                <a:gd name="connsiteY339" fmla="*/ 9588 h 10000"/>
                <a:gd name="connsiteX340" fmla="*/ 7884 w 10000"/>
                <a:gd name="connsiteY340" fmla="*/ 9536 h 10000"/>
                <a:gd name="connsiteX341" fmla="*/ 7897 w 10000"/>
                <a:gd name="connsiteY341" fmla="*/ 9380 h 10000"/>
                <a:gd name="connsiteX342" fmla="*/ 7884 w 10000"/>
                <a:gd name="connsiteY342" fmla="*/ 9236 h 10000"/>
                <a:gd name="connsiteX343" fmla="*/ 7793 w 10000"/>
                <a:gd name="connsiteY343" fmla="*/ 8865 h 10000"/>
                <a:gd name="connsiteX344" fmla="*/ 7831 w 10000"/>
                <a:gd name="connsiteY344" fmla="*/ 8741 h 10000"/>
                <a:gd name="connsiteX345" fmla="*/ 7928 w 10000"/>
                <a:gd name="connsiteY345" fmla="*/ 8844 h 10000"/>
                <a:gd name="connsiteX346" fmla="*/ 7912 w 10000"/>
                <a:gd name="connsiteY346" fmla="*/ 8318 h 10000"/>
                <a:gd name="connsiteX347" fmla="*/ 7906 w 10000"/>
                <a:gd name="connsiteY347" fmla="*/ 8019 h 10000"/>
                <a:gd name="connsiteX348" fmla="*/ 7846 w 10000"/>
                <a:gd name="connsiteY348" fmla="*/ 7802 h 10000"/>
                <a:gd name="connsiteX349" fmla="*/ 7723 w 10000"/>
                <a:gd name="connsiteY349" fmla="*/ 8050 h 10000"/>
                <a:gd name="connsiteX350" fmla="*/ 7619 w 10000"/>
                <a:gd name="connsiteY350" fmla="*/ 8019 h 10000"/>
                <a:gd name="connsiteX351" fmla="*/ 7528 w 10000"/>
                <a:gd name="connsiteY351" fmla="*/ 7699 h 10000"/>
                <a:gd name="connsiteX352" fmla="*/ 7355 w 10000"/>
                <a:gd name="connsiteY352" fmla="*/ 7482 h 10000"/>
                <a:gd name="connsiteX353" fmla="*/ 7279 w 10000"/>
                <a:gd name="connsiteY353" fmla="*/ 7482 h 10000"/>
                <a:gd name="connsiteX354" fmla="*/ 7080 w 10000"/>
                <a:gd name="connsiteY354" fmla="*/ 6781 h 10000"/>
                <a:gd name="connsiteX355" fmla="*/ 6901 w 10000"/>
                <a:gd name="connsiteY355" fmla="*/ 6460 h 10000"/>
                <a:gd name="connsiteX356" fmla="*/ 6724 w 10000"/>
                <a:gd name="connsiteY356" fmla="*/ 6336 h 10000"/>
                <a:gd name="connsiteX357" fmla="*/ 6583 w 10000"/>
                <a:gd name="connsiteY357" fmla="*/ 6408 h 10000"/>
                <a:gd name="connsiteX358" fmla="*/ 6567 w 10000"/>
                <a:gd name="connsiteY358" fmla="*/ 6585 h 10000"/>
                <a:gd name="connsiteX359" fmla="*/ 6664 w 10000"/>
                <a:gd name="connsiteY359" fmla="*/ 6760 h 10000"/>
                <a:gd name="connsiteX360" fmla="*/ 6636 w 10000"/>
                <a:gd name="connsiteY360" fmla="*/ 6935 h 10000"/>
                <a:gd name="connsiteX361" fmla="*/ 6636 w 10000"/>
                <a:gd name="connsiteY361" fmla="*/ 7399 h 10000"/>
                <a:gd name="connsiteX362" fmla="*/ 6560 w 10000"/>
                <a:gd name="connsiteY362" fmla="*/ 7482 h 10000"/>
                <a:gd name="connsiteX363" fmla="*/ 6485 w 10000"/>
                <a:gd name="connsiteY363" fmla="*/ 7378 h 10000"/>
                <a:gd name="connsiteX364" fmla="*/ 6400 w 10000"/>
                <a:gd name="connsiteY364" fmla="*/ 7399 h 10000"/>
                <a:gd name="connsiteX365" fmla="*/ 6334 w 10000"/>
                <a:gd name="connsiteY365" fmla="*/ 7275 h 10000"/>
                <a:gd name="connsiteX366" fmla="*/ 6258 w 10000"/>
                <a:gd name="connsiteY366" fmla="*/ 7358 h 10000"/>
                <a:gd name="connsiteX367" fmla="*/ 6220 w 10000"/>
                <a:gd name="connsiteY367" fmla="*/ 7524 h 10000"/>
                <a:gd name="connsiteX368" fmla="*/ 6081 w 10000"/>
                <a:gd name="connsiteY368" fmla="*/ 7606 h 10000"/>
                <a:gd name="connsiteX369" fmla="*/ 5892 w 10000"/>
                <a:gd name="connsiteY369" fmla="*/ 7575 h 10000"/>
                <a:gd name="connsiteX370" fmla="*/ 5855 w 10000"/>
                <a:gd name="connsiteY370" fmla="*/ 7327 h 10000"/>
                <a:gd name="connsiteX371" fmla="*/ 5643 w 10000"/>
                <a:gd name="connsiteY371" fmla="*/ 7255 h 10000"/>
                <a:gd name="connsiteX372" fmla="*/ 5539 w 10000"/>
                <a:gd name="connsiteY372" fmla="*/ 7358 h 10000"/>
                <a:gd name="connsiteX373" fmla="*/ 5416 w 10000"/>
                <a:gd name="connsiteY373" fmla="*/ 7203 h 10000"/>
                <a:gd name="connsiteX374" fmla="*/ 5372 w 10000"/>
                <a:gd name="connsiteY374"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471 w 10000"/>
                <a:gd name="connsiteY9" fmla="*/ 6212 h 10000"/>
                <a:gd name="connsiteX10" fmla="*/ 3291 w 10000"/>
                <a:gd name="connsiteY10" fmla="*/ 6367 h 10000"/>
                <a:gd name="connsiteX11" fmla="*/ 1610 w 10000"/>
                <a:gd name="connsiteY11" fmla="*/ 7183 h 10000"/>
                <a:gd name="connsiteX12" fmla="*/ 1655 w 10000"/>
                <a:gd name="connsiteY12" fmla="*/ 7430 h 10000"/>
                <a:gd name="connsiteX13" fmla="*/ 1604 w 10000"/>
                <a:gd name="connsiteY13" fmla="*/ 7430 h 10000"/>
                <a:gd name="connsiteX14" fmla="*/ 1551 w 10000"/>
                <a:gd name="connsiteY14" fmla="*/ 7255 h 10000"/>
                <a:gd name="connsiteX15" fmla="*/ 1513 w 10000"/>
                <a:gd name="connsiteY15" fmla="*/ 7430 h 10000"/>
                <a:gd name="connsiteX16" fmla="*/ 1519 w 10000"/>
                <a:gd name="connsiteY16" fmla="*/ 7854 h 10000"/>
                <a:gd name="connsiteX17" fmla="*/ 1604 w 10000"/>
                <a:gd name="connsiteY17" fmla="*/ 8070 h 10000"/>
                <a:gd name="connsiteX18" fmla="*/ 1648 w 10000"/>
                <a:gd name="connsiteY18" fmla="*/ 8019 h 10000"/>
                <a:gd name="connsiteX19" fmla="*/ 1741 w 10000"/>
                <a:gd name="connsiteY19" fmla="*/ 8493 h 10000"/>
                <a:gd name="connsiteX20" fmla="*/ 1610 w 10000"/>
                <a:gd name="connsiteY20" fmla="*/ 8669 h 10000"/>
                <a:gd name="connsiteX21" fmla="*/ 1595 w 10000"/>
                <a:gd name="connsiteY21" fmla="*/ 9009 h 10000"/>
                <a:gd name="connsiteX22" fmla="*/ 1664 w 10000"/>
                <a:gd name="connsiteY22" fmla="*/ 9236 h 10000"/>
                <a:gd name="connsiteX23" fmla="*/ 1664 w 10000"/>
                <a:gd name="connsiteY23" fmla="*/ 9484 h 10000"/>
                <a:gd name="connsiteX24" fmla="*/ 1769 w 10000"/>
                <a:gd name="connsiteY24" fmla="*/ 9835 h 10000"/>
                <a:gd name="connsiteX25" fmla="*/ 1703 w 10000"/>
                <a:gd name="connsiteY25" fmla="*/ 10000 h 10000"/>
                <a:gd name="connsiteX26" fmla="*/ 1604 w 10000"/>
                <a:gd name="connsiteY26" fmla="*/ 9753 h 10000"/>
                <a:gd name="connsiteX27" fmla="*/ 1465 w 10000"/>
                <a:gd name="connsiteY27" fmla="*/ 9505 h 10000"/>
                <a:gd name="connsiteX28" fmla="*/ 1406 w 10000"/>
                <a:gd name="connsiteY28" fmla="*/ 9588 h 10000"/>
                <a:gd name="connsiteX29" fmla="*/ 1308 w 10000"/>
                <a:gd name="connsiteY29" fmla="*/ 9380 h 10000"/>
                <a:gd name="connsiteX30" fmla="*/ 1097 w 10000"/>
                <a:gd name="connsiteY30" fmla="*/ 9339 h 10000"/>
                <a:gd name="connsiteX31" fmla="*/ 848 w 10000"/>
                <a:gd name="connsiteY31" fmla="*/ 8813 h 10000"/>
                <a:gd name="connsiteX32" fmla="*/ 914 w 10000"/>
                <a:gd name="connsiteY32" fmla="*/ 8721 h 10000"/>
                <a:gd name="connsiteX33" fmla="*/ 961 w 10000"/>
                <a:gd name="connsiteY33" fmla="*/ 8493 h 10000"/>
                <a:gd name="connsiteX34" fmla="*/ 908 w 10000"/>
                <a:gd name="connsiteY34" fmla="*/ 8390 h 10000"/>
                <a:gd name="connsiteX35" fmla="*/ 1021 w 10000"/>
                <a:gd name="connsiteY35" fmla="*/ 8245 h 10000"/>
                <a:gd name="connsiteX36" fmla="*/ 945 w 10000"/>
                <a:gd name="connsiteY36" fmla="*/ 8194 h 10000"/>
                <a:gd name="connsiteX37" fmla="*/ 958 w 10000"/>
                <a:gd name="connsiteY37" fmla="*/ 8091 h 10000"/>
                <a:gd name="connsiteX38" fmla="*/ 1005 w 10000"/>
                <a:gd name="connsiteY38" fmla="*/ 8111 h 10000"/>
                <a:gd name="connsiteX39" fmla="*/ 1059 w 10000"/>
                <a:gd name="connsiteY39" fmla="*/ 8019 h 10000"/>
                <a:gd name="connsiteX40" fmla="*/ 1034 w 10000"/>
                <a:gd name="connsiteY40" fmla="*/ 7864 h 10000"/>
                <a:gd name="connsiteX41" fmla="*/ 1043 w 10000"/>
                <a:gd name="connsiteY41" fmla="*/ 7503 h 10000"/>
                <a:gd name="connsiteX42" fmla="*/ 930 w 10000"/>
                <a:gd name="connsiteY42" fmla="*/ 7440 h 10000"/>
                <a:gd name="connsiteX43" fmla="*/ 832 w 10000"/>
                <a:gd name="connsiteY43" fmla="*/ 7286 h 10000"/>
                <a:gd name="connsiteX44" fmla="*/ 700 w 10000"/>
                <a:gd name="connsiteY44" fmla="*/ 7275 h 10000"/>
                <a:gd name="connsiteX45" fmla="*/ 684 w 10000"/>
                <a:gd name="connsiteY45" fmla="*/ 7090 h 10000"/>
                <a:gd name="connsiteX46" fmla="*/ 596 w 10000"/>
                <a:gd name="connsiteY46" fmla="*/ 6945 h 10000"/>
                <a:gd name="connsiteX47" fmla="*/ 615 w 10000"/>
                <a:gd name="connsiteY47" fmla="*/ 6822 h 10000"/>
                <a:gd name="connsiteX48" fmla="*/ 561 w 10000"/>
                <a:gd name="connsiteY48" fmla="*/ 6698 h 10000"/>
                <a:gd name="connsiteX49" fmla="*/ 457 w 10000"/>
                <a:gd name="connsiteY49" fmla="*/ 6698 h 10000"/>
                <a:gd name="connsiteX50" fmla="*/ 425 w 10000"/>
                <a:gd name="connsiteY50" fmla="*/ 6791 h 10000"/>
                <a:gd name="connsiteX51" fmla="*/ 400 w 10000"/>
                <a:gd name="connsiteY51" fmla="*/ 6750 h 10000"/>
                <a:gd name="connsiteX52" fmla="*/ 378 w 10000"/>
                <a:gd name="connsiteY52" fmla="*/ 6439 h 10000"/>
                <a:gd name="connsiteX53" fmla="*/ 419 w 10000"/>
                <a:gd name="connsiteY53" fmla="*/ 6470 h 10000"/>
                <a:gd name="connsiteX54" fmla="*/ 466 w 10000"/>
                <a:gd name="connsiteY54" fmla="*/ 6347 h 10000"/>
                <a:gd name="connsiteX55" fmla="*/ 400 w 10000"/>
                <a:gd name="connsiteY55" fmla="*/ 6233 h 10000"/>
                <a:gd name="connsiteX56" fmla="*/ 315 w 10000"/>
                <a:gd name="connsiteY56" fmla="*/ 6017 h 10000"/>
                <a:gd name="connsiteX57" fmla="*/ 334 w 10000"/>
                <a:gd name="connsiteY57" fmla="*/ 5821 h 10000"/>
                <a:gd name="connsiteX58" fmla="*/ 274 w 10000"/>
                <a:gd name="connsiteY58" fmla="*/ 5697 h 10000"/>
                <a:gd name="connsiteX59" fmla="*/ 227 w 10000"/>
                <a:gd name="connsiteY59" fmla="*/ 5728 h 10000"/>
                <a:gd name="connsiteX60" fmla="*/ 202 w 10000"/>
                <a:gd name="connsiteY60" fmla="*/ 5604 h 10000"/>
                <a:gd name="connsiteX61" fmla="*/ 164 w 10000"/>
                <a:gd name="connsiteY61" fmla="*/ 5645 h 10000"/>
                <a:gd name="connsiteX62" fmla="*/ 117 w 10000"/>
                <a:gd name="connsiteY62" fmla="*/ 5604 h 10000"/>
                <a:gd name="connsiteX63" fmla="*/ 69 w 10000"/>
                <a:gd name="connsiteY63" fmla="*/ 5181 h 10000"/>
                <a:gd name="connsiteX64" fmla="*/ 85 w 10000"/>
                <a:gd name="connsiteY64" fmla="*/ 5057 h 10000"/>
                <a:gd name="connsiteX65" fmla="*/ 41 w 10000"/>
                <a:gd name="connsiteY65" fmla="*/ 4892 h 10000"/>
                <a:gd name="connsiteX66" fmla="*/ 66 w 10000"/>
                <a:gd name="connsiteY66" fmla="*/ 4655 h 10000"/>
                <a:gd name="connsiteX67" fmla="*/ 211 w 10000"/>
                <a:gd name="connsiteY67" fmla="*/ 4510 h 10000"/>
                <a:gd name="connsiteX68" fmla="*/ 129 w 10000"/>
                <a:gd name="connsiteY68" fmla="*/ 4406 h 10000"/>
                <a:gd name="connsiteX69" fmla="*/ 82 w 10000"/>
                <a:gd name="connsiteY69" fmla="*/ 4283 h 10000"/>
                <a:gd name="connsiteX70" fmla="*/ 205 w 10000"/>
                <a:gd name="connsiteY70" fmla="*/ 3912 h 10000"/>
                <a:gd name="connsiteX71" fmla="*/ 249 w 10000"/>
                <a:gd name="connsiteY71" fmla="*/ 3664 h 10000"/>
                <a:gd name="connsiteX72" fmla="*/ 151 w 10000"/>
                <a:gd name="connsiteY72" fmla="*/ 3488 h 10000"/>
                <a:gd name="connsiteX73" fmla="*/ 189 w 10000"/>
                <a:gd name="connsiteY73" fmla="*/ 3344 h 10000"/>
                <a:gd name="connsiteX74" fmla="*/ 113 w 10000"/>
                <a:gd name="connsiteY74" fmla="*/ 3148 h 10000"/>
                <a:gd name="connsiteX75" fmla="*/ 113 w 10000"/>
                <a:gd name="connsiteY75" fmla="*/ 2972 h 10000"/>
                <a:gd name="connsiteX76" fmla="*/ 60 w 10000"/>
                <a:gd name="connsiteY76" fmla="*/ 2622 h 10000"/>
                <a:gd name="connsiteX77" fmla="*/ 98 w 10000"/>
                <a:gd name="connsiteY77" fmla="*/ 2404 h 10000"/>
                <a:gd name="connsiteX78" fmla="*/ 38 w 10000"/>
                <a:gd name="connsiteY78" fmla="*/ 2301 h 10000"/>
                <a:gd name="connsiteX79" fmla="*/ 0 w 10000"/>
                <a:gd name="connsiteY79" fmla="*/ 2178 h 10000"/>
                <a:gd name="connsiteX80" fmla="*/ 54 w 10000"/>
                <a:gd name="connsiteY80" fmla="*/ 1951 h 10000"/>
                <a:gd name="connsiteX81" fmla="*/ 120 w 10000"/>
                <a:gd name="connsiteY81" fmla="*/ 1910 h 10000"/>
                <a:gd name="connsiteX82" fmla="*/ 195 w 10000"/>
                <a:gd name="connsiteY82" fmla="*/ 1858 h 10000"/>
                <a:gd name="connsiteX83" fmla="*/ 309 w 10000"/>
                <a:gd name="connsiteY83" fmla="*/ 1951 h 10000"/>
                <a:gd name="connsiteX84" fmla="*/ 482 w 10000"/>
                <a:gd name="connsiteY84" fmla="*/ 2054 h 10000"/>
                <a:gd name="connsiteX85" fmla="*/ 633 w 10000"/>
                <a:gd name="connsiteY85" fmla="*/ 2229 h 10000"/>
                <a:gd name="connsiteX86" fmla="*/ 756 w 10000"/>
                <a:gd name="connsiteY86" fmla="*/ 2373 h 10000"/>
                <a:gd name="connsiteX87" fmla="*/ 725 w 10000"/>
                <a:gd name="connsiteY87" fmla="*/ 2777 h 10000"/>
                <a:gd name="connsiteX88" fmla="*/ 362 w 10000"/>
                <a:gd name="connsiteY88" fmla="*/ 2673 h 10000"/>
                <a:gd name="connsiteX89" fmla="*/ 243 w 10000"/>
                <a:gd name="connsiteY89" fmla="*/ 2550 h 10000"/>
                <a:gd name="connsiteX90" fmla="*/ 287 w 10000"/>
                <a:gd name="connsiteY90" fmla="*/ 2622 h 10000"/>
                <a:gd name="connsiteX91" fmla="*/ 331 w 10000"/>
                <a:gd name="connsiteY91" fmla="*/ 2797 h 10000"/>
                <a:gd name="connsiteX92" fmla="*/ 400 w 10000"/>
                <a:gd name="connsiteY92" fmla="*/ 2921 h 10000"/>
                <a:gd name="connsiteX93" fmla="*/ 416 w 10000"/>
                <a:gd name="connsiteY93" fmla="*/ 3189 h 10000"/>
                <a:gd name="connsiteX94" fmla="*/ 507 w 10000"/>
                <a:gd name="connsiteY94" fmla="*/ 3313 h 10000"/>
                <a:gd name="connsiteX95" fmla="*/ 583 w 10000"/>
                <a:gd name="connsiteY95" fmla="*/ 3436 h 10000"/>
                <a:gd name="connsiteX96" fmla="*/ 605 w 10000"/>
                <a:gd name="connsiteY96" fmla="*/ 3467 h 10000"/>
                <a:gd name="connsiteX97" fmla="*/ 649 w 10000"/>
                <a:gd name="connsiteY97" fmla="*/ 3436 h 10000"/>
                <a:gd name="connsiteX98" fmla="*/ 633 w 10000"/>
                <a:gd name="connsiteY98" fmla="*/ 3364 h 10000"/>
                <a:gd name="connsiteX99" fmla="*/ 545 w 10000"/>
                <a:gd name="connsiteY99" fmla="*/ 3189 h 10000"/>
                <a:gd name="connsiteX100" fmla="*/ 801 w 10000"/>
                <a:gd name="connsiteY100" fmla="*/ 3344 h 10000"/>
                <a:gd name="connsiteX101" fmla="*/ 810 w 10000"/>
                <a:gd name="connsiteY101" fmla="*/ 3271 h 10000"/>
                <a:gd name="connsiteX102" fmla="*/ 785 w 10000"/>
                <a:gd name="connsiteY102" fmla="*/ 3220 h 10000"/>
                <a:gd name="connsiteX103" fmla="*/ 741 w 10000"/>
                <a:gd name="connsiteY103" fmla="*/ 2993 h 10000"/>
                <a:gd name="connsiteX104" fmla="*/ 870 w 10000"/>
                <a:gd name="connsiteY104" fmla="*/ 2777 h 10000"/>
                <a:gd name="connsiteX105" fmla="*/ 968 w 10000"/>
                <a:gd name="connsiteY105" fmla="*/ 2921 h 10000"/>
                <a:gd name="connsiteX106" fmla="*/ 999 w 10000"/>
                <a:gd name="connsiteY106" fmla="*/ 2725 h 10000"/>
                <a:gd name="connsiteX107" fmla="*/ 952 w 10000"/>
                <a:gd name="connsiteY107" fmla="*/ 2653 h 10000"/>
                <a:gd name="connsiteX108" fmla="*/ 936 w 10000"/>
                <a:gd name="connsiteY108" fmla="*/ 2281 h 10000"/>
                <a:gd name="connsiteX109" fmla="*/ 914 w 10000"/>
                <a:gd name="connsiteY109" fmla="*/ 2229 h 10000"/>
                <a:gd name="connsiteX110" fmla="*/ 1037 w 10000"/>
                <a:gd name="connsiteY110" fmla="*/ 2250 h 10000"/>
                <a:gd name="connsiteX111" fmla="*/ 1087 w 10000"/>
                <a:gd name="connsiteY111" fmla="*/ 2404 h 10000"/>
                <a:gd name="connsiteX112" fmla="*/ 1021 w 10000"/>
                <a:gd name="connsiteY112" fmla="*/ 2529 h 10000"/>
                <a:gd name="connsiteX113" fmla="*/ 1135 w 10000"/>
                <a:gd name="connsiteY113" fmla="*/ 2694 h 10000"/>
                <a:gd name="connsiteX114" fmla="*/ 1226 w 10000"/>
                <a:gd name="connsiteY114" fmla="*/ 2529 h 10000"/>
                <a:gd name="connsiteX115" fmla="*/ 1339 w 10000"/>
                <a:gd name="connsiteY115" fmla="*/ 2301 h 10000"/>
                <a:gd name="connsiteX116" fmla="*/ 1459 w 10000"/>
                <a:gd name="connsiteY116" fmla="*/ 2157 h 10000"/>
                <a:gd name="connsiteX117" fmla="*/ 1497 w 10000"/>
                <a:gd name="connsiteY117" fmla="*/ 2250 h 10000"/>
                <a:gd name="connsiteX118" fmla="*/ 1807 w 10000"/>
                <a:gd name="connsiteY118" fmla="*/ 2054 h 10000"/>
                <a:gd name="connsiteX119" fmla="*/ 1870 w 10000"/>
                <a:gd name="connsiteY119" fmla="*/ 2250 h 10000"/>
                <a:gd name="connsiteX120" fmla="*/ 1860 w 10000"/>
                <a:gd name="connsiteY120" fmla="*/ 2002 h 10000"/>
                <a:gd name="connsiteX121" fmla="*/ 1778 w 10000"/>
                <a:gd name="connsiteY121" fmla="*/ 1786 h 10000"/>
                <a:gd name="connsiteX122" fmla="*/ 1763 w 10000"/>
                <a:gd name="connsiteY122" fmla="*/ 1703 h 10000"/>
                <a:gd name="connsiteX123" fmla="*/ 1823 w 10000"/>
                <a:gd name="connsiteY123" fmla="*/ 1786 h 10000"/>
                <a:gd name="connsiteX124" fmla="*/ 2034 w 10000"/>
                <a:gd name="connsiteY124" fmla="*/ 1951 h 10000"/>
                <a:gd name="connsiteX125" fmla="*/ 2270 w 10000"/>
                <a:gd name="connsiteY125" fmla="*/ 2126 h 10000"/>
                <a:gd name="connsiteX126" fmla="*/ 2384 w 10000"/>
                <a:gd name="connsiteY126" fmla="*/ 2250 h 10000"/>
                <a:gd name="connsiteX127" fmla="*/ 2421 w 10000"/>
                <a:gd name="connsiteY127" fmla="*/ 2074 h 10000"/>
                <a:gd name="connsiteX128" fmla="*/ 2368 w 10000"/>
                <a:gd name="connsiteY128" fmla="*/ 2033 h 10000"/>
                <a:gd name="connsiteX129" fmla="*/ 2299 w 10000"/>
                <a:gd name="connsiteY129" fmla="*/ 1930 h 10000"/>
                <a:gd name="connsiteX130" fmla="*/ 2254 w 10000"/>
                <a:gd name="connsiteY130" fmla="*/ 1734 h 10000"/>
                <a:gd name="connsiteX131" fmla="*/ 2185 w 10000"/>
                <a:gd name="connsiteY131" fmla="*/ 1486 h 10000"/>
                <a:gd name="connsiteX132" fmla="*/ 2210 w 10000"/>
                <a:gd name="connsiteY132" fmla="*/ 1434 h 10000"/>
                <a:gd name="connsiteX133" fmla="*/ 2232 w 10000"/>
                <a:gd name="connsiteY133" fmla="*/ 1455 h 10000"/>
                <a:gd name="connsiteX134" fmla="*/ 2292 w 10000"/>
                <a:gd name="connsiteY134" fmla="*/ 1115 h 10000"/>
                <a:gd name="connsiteX135" fmla="*/ 2443 w 10000"/>
                <a:gd name="connsiteY135" fmla="*/ 1135 h 10000"/>
                <a:gd name="connsiteX136" fmla="*/ 2488 w 10000"/>
                <a:gd name="connsiteY136" fmla="*/ 1311 h 10000"/>
                <a:gd name="connsiteX137" fmla="*/ 2519 w 10000"/>
                <a:gd name="connsiteY137" fmla="*/ 1538 h 10000"/>
                <a:gd name="connsiteX138" fmla="*/ 2573 w 10000"/>
                <a:gd name="connsiteY138" fmla="*/ 1734 h 10000"/>
                <a:gd name="connsiteX139" fmla="*/ 2670 w 10000"/>
                <a:gd name="connsiteY139" fmla="*/ 2157 h 10000"/>
                <a:gd name="connsiteX140" fmla="*/ 2481 w 10000"/>
                <a:gd name="connsiteY140" fmla="*/ 2673 h 10000"/>
                <a:gd name="connsiteX141" fmla="*/ 2557 w 10000"/>
                <a:gd name="connsiteY141" fmla="*/ 2746 h 10000"/>
                <a:gd name="connsiteX142" fmla="*/ 2655 w 10000"/>
                <a:gd name="connsiteY142" fmla="*/ 2818 h 10000"/>
                <a:gd name="connsiteX143" fmla="*/ 2784 w 10000"/>
                <a:gd name="connsiteY143" fmla="*/ 2622 h 10000"/>
                <a:gd name="connsiteX144" fmla="*/ 2790 w 10000"/>
                <a:gd name="connsiteY144" fmla="*/ 2404 h 10000"/>
                <a:gd name="connsiteX145" fmla="*/ 2746 w 10000"/>
                <a:gd name="connsiteY145" fmla="*/ 2301 h 10000"/>
                <a:gd name="connsiteX146" fmla="*/ 2919 w 10000"/>
                <a:gd name="connsiteY146" fmla="*/ 2250 h 10000"/>
                <a:gd name="connsiteX147" fmla="*/ 2989 w 10000"/>
                <a:gd name="connsiteY147" fmla="*/ 2497 h 10000"/>
                <a:gd name="connsiteX148" fmla="*/ 2989 w 10000"/>
                <a:gd name="connsiteY148" fmla="*/ 2425 h 10000"/>
                <a:gd name="connsiteX149" fmla="*/ 2973 w 10000"/>
                <a:gd name="connsiteY149" fmla="*/ 2353 h 10000"/>
                <a:gd name="connsiteX150" fmla="*/ 2967 w 10000"/>
                <a:gd name="connsiteY150" fmla="*/ 2178 h 10000"/>
                <a:gd name="connsiteX151" fmla="*/ 2800 w 10000"/>
                <a:gd name="connsiteY151" fmla="*/ 1930 h 10000"/>
                <a:gd name="connsiteX152" fmla="*/ 2670 w 10000"/>
                <a:gd name="connsiteY152" fmla="*/ 2002 h 10000"/>
                <a:gd name="connsiteX153" fmla="*/ 2617 w 10000"/>
                <a:gd name="connsiteY153" fmla="*/ 1683 h 10000"/>
                <a:gd name="connsiteX154" fmla="*/ 2563 w 10000"/>
                <a:gd name="connsiteY154" fmla="*/ 1507 h 10000"/>
                <a:gd name="connsiteX155" fmla="*/ 2617 w 10000"/>
                <a:gd name="connsiteY155" fmla="*/ 1331 h 10000"/>
                <a:gd name="connsiteX156" fmla="*/ 2611 w 10000"/>
                <a:gd name="connsiteY156" fmla="*/ 1166 h 10000"/>
                <a:gd name="connsiteX157" fmla="*/ 2588 w 10000"/>
                <a:gd name="connsiteY157" fmla="*/ 1115 h 10000"/>
                <a:gd name="connsiteX158" fmla="*/ 2626 w 10000"/>
                <a:gd name="connsiteY158" fmla="*/ 1115 h 10000"/>
                <a:gd name="connsiteX159" fmla="*/ 2670 w 10000"/>
                <a:gd name="connsiteY159" fmla="*/ 1455 h 10000"/>
                <a:gd name="connsiteX160" fmla="*/ 2891 w 10000"/>
                <a:gd name="connsiteY160" fmla="*/ 1662 h 10000"/>
                <a:gd name="connsiteX161" fmla="*/ 2724 w 10000"/>
                <a:gd name="connsiteY161" fmla="*/ 1383 h 10000"/>
                <a:gd name="connsiteX162" fmla="*/ 3049 w 10000"/>
                <a:gd name="connsiteY162" fmla="*/ 1383 h 10000"/>
                <a:gd name="connsiteX163" fmla="*/ 3102 w 10000"/>
                <a:gd name="connsiteY163" fmla="*/ 1362 h 10000"/>
                <a:gd name="connsiteX164" fmla="*/ 2897 w 10000"/>
                <a:gd name="connsiteY164" fmla="*/ 1115 h 10000"/>
                <a:gd name="connsiteX165" fmla="*/ 2951 w 10000"/>
                <a:gd name="connsiteY165" fmla="*/ 888 h 10000"/>
                <a:gd name="connsiteX166" fmla="*/ 3178 w 10000"/>
                <a:gd name="connsiteY166" fmla="*/ 888 h 10000"/>
                <a:gd name="connsiteX167" fmla="*/ 3156 w 10000"/>
                <a:gd name="connsiteY167" fmla="*/ 713 h 10000"/>
                <a:gd name="connsiteX168" fmla="*/ 3231 w 10000"/>
                <a:gd name="connsiteY168" fmla="*/ 589 h 10000"/>
                <a:gd name="connsiteX169" fmla="*/ 3276 w 10000"/>
                <a:gd name="connsiteY169" fmla="*/ 548 h 10000"/>
                <a:gd name="connsiteX170" fmla="*/ 3443 w 10000"/>
                <a:gd name="connsiteY170" fmla="*/ 423 h 10000"/>
                <a:gd name="connsiteX171" fmla="*/ 3487 w 10000"/>
                <a:gd name="connsiteY171" fmla="*/ 371 h 10000"/>
                <a:gd name="connsiteX172" fmla="*/ 3480 w 10000"/>
                <a:gd name="connsiteY172" fmla="*/ 444 h 10000"/>
                <a:gd name="connsiteX173" fmla="*/ 3660 w 10000"/>
                <a:gd name="connsiteY173" fmla="*/ 371 h 10000"/>
                <a:gd name="connsiteX174" fmla="*/ 3805 w 10000"/>
                <a:gd name="connsiteY174" fmla="*/ 248 h 10000"/>
                <a:gd name="connsiteX175" fmla="*/ 3827 w 10000"/>
                <a:gd name="connsiteY175" fmla="*/ 0 h 10000"/>
                <a:gd name="connsiteX176" fmla="*/ 3988 w 10000"/>
                <a:gd name="connsiteY176" fmla="*/ 21 h 10000"/>
                <a:gd name="connsiteX177" fmla="*/ 3978 w 10000"/>
                <a:gd name="connsiteY177" fmla="*/ 93 h 10000"/>
                <a:gd name="connsiteX178" fmla="*/ 3988 w 10000"/>
                <a:gd name="connsiteY178" fmla="*/ 176 h 10000"/>
                <a:gd name="connsiteX179" fmla="*/ 4085 w 10000"/>
                <a:gd name="connsiteY179" fmla="*/ 248 h 10000"/>
                <a:gd name="connsiteX180" fmla="*/ 4379 w 10000"/>
                <a:gd name="connsiteY180" fmla="*/ 268 h 10000"/>
                <a:gd name="connsiteX181" fmla="*/ 4539 w 10000"/>
                <a:gd name="connsiteY181" fmla="*/ 392 h 10000"/>
                <a:gd name="connsiteX182" fmla="*/ 4486 w 10000"/>
                <a:gd name="connsiteY182" fmla="*/ 795 h 10000"/>
                <a:gd name="connsiteX183" fmla="*/ 4426 w 10000"/>
                <a:gd name="connsiteY183" fmla="*/ 919 h 10000"/>
                <a:gd name="connsiteX184" fmla="*/ 4356 w 10000"/>
                <a:gd name="connsiteY184" fmla="*/ 1043 h 10000"/>
                <a:gd name="connsiteX185" fmla="*/ 4372 w 10000"/>
                <a:gd name="connsiteY185" fmla="*/ 1115 h 10000"/>
                <a:gd name="connsiteX186" fmla="*/ 4583 w 10000"/>
                <a:gd name="connsiteY186" fmla="*/ 919 h 10000"/>
                <a:gd name="connsiteX187" fmla="*/ 5060 w 10000"/>
                <a:gd name="connsiteY187" fmla="*/ 991 h 10000"/>
                <a:gd name="connsiteX188" fmla="*/ 5108 w 10000"/>
                <a:gd name="connsiteY188" fmla="*/ 1063 h 10000"/>
                <a:gd name="connsiteX189" fmla="*/ 5212 w 10000"/>
                <a:gd name="connsiteY189" fmla="*/ 1187 h 10000"/>
                <a:gd name="connsiteX190" fmla="*/ 5357 w 10000"/>
                <a:gd name="connsiteY190" fmla="*/ 919 h 10000"/>
                <a:gd name="connsiteX191" fmla="*/ 5577 w 10000"/>
                <a:gd name="connsiteY191" fmla="*/ 1063 h 10000"/>
                <a:gd name="connsiteX192" fmla="*/ 5643 w 10000"/>
                <a:gd name="connsiteY192" fmla="*/ 1115 h 10000"/>
                <a:gd name="connsiteX193" fmla="*/ 5697 w 10000"/>
                <a:gd name="connsiteY193" fmla="*/ 1166 h 10000"/>
                <a:gd name="connsiteX194" fmla="*/ 5908 w 10000"/>
                <a:gd name="connsiteY194" fmla="*/ 1631 h 10000"/>
                <a:gd name="connsiteX195" fmla="*/ 5984 w 10000"/>
                <a:gd name="connsiteY195" fmla="*/ 1611 h 10000"/>
                <a:gd name="connsiteX196" fmla="*/ 5977 w 10000"/>
                <a:gd name="connsiteY196" fmla="*/ 1507 h 10000"/>
                <a:gd name="connsiteX197" fmla="*/ 5984 w 10000"/>
                <a:gd name="connsiteY197" fmla="*/ 1383 h 10000"/>
                <a:gd name="connsiteX198" fmla="*/ 6091 w 10000"/>
                <a:gd name="connsiteY198" fmla="*/ 1486 h 10000"/>
                <a:gd name="connsiteX199" fmla="*/ 6264 w 10000"/>
                <a:gd name="connsiteY199" fmla="*/ 1507 h 10000"/>
                <a:gd name="connsiteX200" fmla="*/ 6409 w 10000"/>
                <a:gd name="connsiteY200" fmla="*/ 1455 h 10000"/>
                <a:gd name="connsiteX201" fmla="*/ 6340 w 10000"/>
                <a:gd name="connsiteY201" fmla="*/ 1362 h 10000"/>
                <a:gd name="connsiteX202" fmla="*/ 6431 w 10000"/>
                <a:gd name="connsiteY202" fmla="*/ 1084 h 10000"/>
                <a:gd name="connsiteX203" fmla="*/ 6687 w 10000"/>
                <a:gd name="connsiteY203" fmla="*/ 1207 h 10000"/>
                <a:gd name="connsiteX204" fmla="*/ 6945 w 10000"/>
                <a:gd name="connsiteY204" fmla="*/ 1331 h 10000"/>
                <a:gd name="connsiteX205" fmla="*/ 6967 w 10000"/>
                <a:gd name="connsiteY205" fmla="*/ 1362 h 10000"/>
                <a:gd name="connsiteX206" fmla="*/ 7194 w 10000"/>
                <a:gd name="connsiteY206" fmla="*/ 1611 h 10000"/>
                <a:gd name="connsiteX207" fmla="*/ 7367 w 10000"/>
                <a:gd name="connsiteY207" fmla="*/ 1507 h 10000"/>
                <a:gd name="connsiteX208" fmla="*/ 7582 w 10000"/>
                <a:gd name="connsiteY208" fmla="*/ 1538 h 10000"/>
                <a:gd name="connsiteX209" fmla="*/ 7657 w 10000"/>
                <a:gd name="connsiteY209" fmla="*/ 1611 h 10000"/>
                <a:gd name="connsiteX210" fmla="*/ 7928 w 10000"/>
                <a:gd name="connsiteY210" fmla="*/ 1930 h 10000"/>
                <a:gd name="connsiteX211" fmla="*/ 8231 w 10000"/>
                <a:gd name="connsiteY211" fmla="*/ 1879 h 10000"/>
                <a:gd name="connsiteX212" fmla="*/ 8339 w 10000"/>
                <a:gd name="connsiteY212" fmla="*/ 2033 h 10000"/>
                <a:gd name="connsiteX213" fmla="*/ 8490 w 10000"/>
                <a:gd name="connsiteY213" fmla="*/ 2157 h 10000"/>
                <a:gd name="connsiteX214" fmla="*/ 8519 w 10000"/>
                <a:gd name="connsiteY214" fmla="*/ 2105 h 10000"/>
                <a:gd name="connsiteX215" fmla="*/ 8497 w 10000"/>
                <a:gd name="connsiteY215" fmla="*/ 2074 h 10000"/>
                <a:gd name="connsiteX216" fmla="*/ 8383 w 10000"/>
                <a:gd name="connsiteY216" fmla="*/ 1930 h 10000"/>
                <a:gd name="connsiteX217" fmla="*/ 8465 w 10000"/>
                <a:gd name="connsiteY217" fmla="*/ 1755 h 10000"/>
                <a:gd name="connsiteX218" fmla="*/ 8664 w 10000"/>
                <a:gd name="connsiteY218" fmla="*/ 1910 h 10000"/>
                <a:gd name="connsiteX219" fmla="*/ 8950 w 10000"/>
                <a:gd name="connsiteY219" fmla="*/ 1982 h 10000"/>
                <a:gd name="connsiteX220" fmla="*/ 9206 w 10000"/>
                <a:gd name="connsiteY220" fmla="*/ 2260 h 10000"/>
                <a:gd name="connsiteX221" fmla="*/ 9344 w 10000"/>
                <a:gd name="connsiteY221" fmla="*/ 2332 h 10000"/>
                <a:gd name="connsiteX222" fmla="*/ 9451 w 10000"/>
                <a:gd name="connsiteY222" fmla="*/ 2446 h 10000"/>
                <a:gd name="connsiteX223" fmla="*/ 9574 w 10000"/>
                <a:gd name="connsiteY223" fmla="*/ 2632 h 10000"/>
                <a:gd name="connsiteX224" fmla="*/ 9631 w 10000"/>
                <a:gd name="connsiteY224" fmla="*/ 2756 h 10000"/>
                <a:gd name="connsiteX225" fmla="*/ 9726 w 10000"/>
                <a:gd name="connsiteY225" fmla="*/ 2787 h 10000"/>
                <a:gd name="connsiteX226" fmla="*/ 9590 w 10000"/>
                <a:gd name="connsiteY226" fmla="*/ 2570 h 10000"/>
                <a:gd name="connsiteX227" fmla="*/ 9915 w 10000"/>
                <a:gd name="connsiteY227" fmla="*/ 2756 h 10000"/>
                <a:gd name="connsiteX228" fmla="*/ 10000 w 10000"/>
                <a:gd name="connsiteY228" fmla="*/ 3014 h 10000"/>
                <a:gd name="connsiteX229" fmla="*/ 9934 w 10000"/>
                <a:gd name="connsiteY229" fmla="*/ 2941 h 10000"/>
                <a:gd name="connsiteX230" fmla="*/ 9874 w 10000"/>
                <a:gd name="connsiteY230" fmla="*/ 2952 h 10000"/>
                <a:gd name="connsiteX231" fmla="*/ 10000 w 10000"/>
                <a:gd name="connsiteY231" fmla="*/ 3292 h 10000"/>
                <a:gd name="connsiteX232" fmla="*/ 9845 w 10000"/>
                <a:gd name="connsiteY232" fmla="*/ 3220 h 10000"/>
                <a:gd name="connsiteX233" fmla="*/ 9745 w 10000"/>
                <a:gd name="connsiteY233" fmla="*/ 3075 h 10000"/>
                <a:gd name="connsiteX234" fmla="*/ 9641 w 10000"/>
                <a:gd name="connsiteY234" fmla="*/ 2972 h 10000"/>
                <a:gd name="connsiteX235" fmla="*/ 9555 w 10000"/>
                <a:gd name="connsiteY235" fmla="*/ 3003 h 10000"/>
                <a:gd name="connsiteX236" fmla="*/ 9470 w 10000"/>
                <a:gd name="connsiteY236" fmla="*/ 2787 h 10000"/>
                <a:gd name="connsiteX237" fmla="*/ 9366 w 10000"/>
                <a:gd name="connsiteY237" fmla="*/ 2725 h 10000"/>
                <a:gd name="connsiteX238" fmla="*/ 9461 w 10000"/>
                <a:gd name="connsiteY238" fmla="*/ 2972 h 10000"/>
                <a:gd name="connsiteX239" fmla="*/ 9470 w 10000"/>
                <a:gd name="connsiteY239" fmla="*/ 3230 h 10000"/>
                <a:gd name="connsiteX240" fmla="*/ 9288 w 10000"/>
                <a:gd name="connsiteY240" fmla="*/ 3065 h 10000"/>
                <a:gd name="connsiteX241" fmla="*/ 9262 w 10000"/>
                <a:gd name="connsiteY241" fmla="*/ 3230 h 10000"/>
                <a:gd name="connsiteX242" fmla="*/ 9363 w 10000"/>
                <a:gd name="connsiteY242" fmla="*/ 3230 h 10000"/>
                <a:gd name="connsiteX243" fmla="*/ 9451 w 10000"/>
                <a:gd name="connsiteY243" fmla="*/ 3354 h 10000"/>
                <a:gd name="connsiteX244" fmla="*/ 9659 w 10000"/>
                <a:gd name="connsiteY244" fmla="*/ 3685 h 10000"/>
                <a:gd name="connsiteX245" fmla="*/ 9735 w 10000"/>
                <a:gd name="connsiteY245" fmla="*/ 3839 h 10000"/>
                <a:gd name="connsiteX246" fmla="*/ 9552 w 10000"/>
                <a:gd name="connsiteY246" fmla="*/ 3757 h 10000"/>
                <a:gd name="connsiteX247" fmla="*/ 9451 w 10000"/>
                <a:gd name="connsiteY247" fmla="*/ 4025 h 10000"/>
                <a:gd name="connsiteX248" fmla="*/ 9385 w 10000"/>
                <a:gd name="connsiteY248" fmla="*/ 4283 h 10000"/>
                <a:gd name="connsiteX249" fmla="*/ 9376 w 10000"/>
                <a:gd name="connsiteY249" fmla="*/ 4499 h 10000"/>
                <a:gd name="connsiteX250" fmla="*/ 9335 w 10000"/>
                <a:gd name="connsiteY250" fmla="*/ 4303 h 10000"/>
                <a:gd name="connsiteX251" fmla="*/ 9149 w 10000"/>
                <a:gd name="connsiteY251" fmla="*/ 4314 h 10000"/>
                <a:gd name="connsiteX252" fmla="*/ 9155 w 10000"/>
                <a:gd name="connsiteY252" fmla="*/ 4531 h 10000"/>
                <a:gd name="connsiteX253" fmla="*/ 9061 w 10000"/>
                <a:gd name="connsiteY253" fmla="*/ 4365 h 10000"/>
                <a:gd name="connsiteX254" fmla="*/ 9054 w 10000"/>
                <a:gd name="connsiteY254" fmla="*/ 4521 h 10000"/>
                <a:gd name="connsiteX255" fmla="*/ 8998 w 10000"/>
                <a:gd name="connsiteY255" fmla="*/ 4458 h 10000"/>
                <a:gd name="connsiteX256" fmla="*/ 8966 w 10000"/>
                <a:gd name="connsiteY256" fmla="*/ 4562 h 10000"/>
                <a:gd name="connsiteX257" fmla="*/ 9007 w 10000"/>
                <a:gd name="connsiteY257" fmla="*/ 4686 h 10000"/>
                <a:gd name="connsiteX258" fmla="*/ 9004 w 10000"/>
                <a:gd name="connsiteY258" fmla="*/ 4995 h 10000"/>
                <a:gd name="connsiteX259" fmla="*/ 9073 w 10000"/>
                <a:gd name="connsiteY259" fmla="*/ 5211 h 10000"/>
                <a:gd name="connsiteX260" fmla="*/ 9130 w 10000"/>
                <a:gd name="connsiteY260" fmla="*/ 5150 h 10000"/>
                <a:gd name="connsiteX261" fmla="*/ 9158 w 10000"/>
                <a:gd name="connsiteY261" fmla="*/ 5211 h 10000"/>
                <a:gd name="connsiteX262" fmla="*/ 9231 w 10000"/>
                <a:gd name="connsiteY262" fmla="*/ 5428 h 10000"/>
                <a:gd name="connsiteX263" fmla="*/ 9215 w 10000"/>
                <a:gd name="connsiteY263" fmla="*/ 5604 h 10000"/>
                <a:gd name="connsiteX264" fmla="*/ 9221 w 10000"/>
                <a:gd name="connsiteY264" fmla="*/ 5769 h 10000"/>
                <a:gd name="connsiteX265" fmla="*/ 9269 w 10000"/>
                <a:gd name="connsiteY265" fmla="*/ 5883 h 10000"/>
                <a:gd name="connsiteX266" fmla="*/ 9344 w 10000"/>
                <a:gd name="connsiteY266" fmla="*/ 6068 h 10000"/>
                <a:gd name="connsiteX267" fmla="*/ 9269 w 10000"/>
                <a:gd name="connsiteY267" fmla="*/ 6068 h 10000"/>
                <a:gd name="connsiteX268" fmla="*/ 9253 w 10000"/>
                <a:gd name="connsiteY268" fmla="*/ 6223 h 10000"/>
                <a:gd name="connsiteX269" fmla="*/ 9319 w 10000"/>
                <a:gd name="connsiteY269" fmla="*/ 6408 h 10000"/>
                <a:gd name="connsiteX270" fmla="*/ 9250 w 10000"/>
                <a:gd name="connsiteY270" fmla="*/ 6502 h 10000"/>
                <a:gd name="connsiteX271" fmla="*/ 9297 w 10000"/>
                <a:gd name="connsiteY271" fmla="*/ 6729 h 10000"/>
                <a:gd name="connsiteX272" fmla="*/ 9281 w 10000"/>
                <a:gd name="connsiteY272" fmla="*/ 7069 h 10000"/>
                <a:gd name="connsiteX273" fmla="*/ 9061 w 10000"/>
                <a:gd name="connsiteY273" fmla="*/ 6408 h 10000"/>
                <a:gd name="connsiteX274" fmla="*/ 8824 w 10000"/>
                <a:gd name="connsiteY274" fmla="*/ 5759 h 10000"/>
                <a:gd name="connsiteX275" fmla="*/ 8771 w 10000"/>
                <a:gd name="connsiteY275" fmla="*/ 5459 h 10000"/>
                <a:gd name="connsiteX276" fmla="*/ 8768 w 10000"/>
                <a:gd name="connsiteY276" fmla="*/ 5211 h 10000"/>
                <a:gd name="connsiteX277" fmla="*/ 8692 w 10000"/>
                <a:gd name="connsiteY277" fmla="*/ 5047 h 10000"/>
                <a:gd name="connsiteX278" fmla="*/ 8771 w 10000"/>
                <a:gd name="connsiteY278" fmla="*/ 5088 h 10000"/>
                <a:gd name="connsiteX279" fmla="*/ 8809 w 10000"/>
                <a:gd name="connsiteY279" fmla="*/ 5108 h 10000"/>
                <a:gd name="connsiteX280" fmla="*/ 8809 w 10000"/>
                <a:gd name="connsiteY280" fmla="*/ 4840 h 10000"/>
                <a:gd name="connsiteX281" fmla="*/ 8827 w 10000"/>
                <a:gd name="connsiteY281" fmla="*/ 4437 h 10000"/>
                <a:gd name="connsiteX282" fmla="*/ 8853 w 10000"/>
                <a:gd name="connsiteY282" fmla="*/ 4252 h 10000"/>
                <a:gd name="connsiteX283" fmla="*/ 8909 w 10000"/>
                <a:gd name="connsiteY283" fmla="*/ 4221 h 10000"/>
                <a:gd name="connsiteX284" fmla="*/ 8786 w 10000"/>
                <a:gd name="connsiteY284" fmla="*/ 3901 h 10000"/>
                <a:gd name="connsiteX285" fmla="*/ 8853 w 10000"/>
                <a:gd name="connsiteY285" fmla="*/ 3839 h 10000"/>
                <a:gd name="connsiteX286" fmla="*/ 8739 w 10000"/>
                <a:gd name="connsiteY286" fmla="*/ 3788 h 10000"/>
                <a:gd name="connsiteX287" fmla="*/ 8755 w 10000"/>
                <a:gd name="connsiteY287" fmla="*/ 3984 h 10000"/>
                <a:gd name="connsiteX288" fmla="*/ 8692 w 10000"/>
                <a:gd name="connsiteY288" fmla="*/ 4303 h 10000"/>
                <a:gd name="connsiteX289" fmla="*/ 8604 w 10000"/>
                <a:gd name="connsiteY289" fmla="*/ 4210 h 10000"/>
                <a:gd name="connsiteX290" fmla="*/ 8550 w 10000"/>
                <a:gd name="connsiteY290" fmla="*/ 4056 h 10000"/>
                <a:gd name="connsiteX291" fmla="*/ 8481 w 10000"/>
                <a:gd name="connsiteY291" fmla="*/ 4138 h 10000"/>
                <a:gd name="connsiteX292" fmla="*/ 8389 w 10000"/>
                <a:gd name="connsiteY292" fmla="*/ 4107 h 10000"/>
                <a:gd name="connsiteX293" fmla="*/ 8352 w 10000"/>
                <a:gd name="connsiteY293" fmla="*/ 4406 h 10000"/>
                <a:gd name="connsiteX294" fmla="*/ 8481 w 10000"/>
                <a:gd name="connsiteY294" fmla="*/ 4655 h 10000"/>
                <a:gd name="connsiteX295" fmla="*/ 8405 w 10000"/>
                <a:gd name="connsiteY295" fmla="*/ 4830 h 10000"/>
                <a:gd name="connsiteX296" fmla="*/ 8225 w 10000"/>
                <a:gd name="connsiteY296" fmla="*/ 4799 h 10000"/>
                <a:gd name="connsiteX297" fmla="*/ 8209 w 10000"/>
                <a:gd name="connsiteY297" fmla="*/ 4655 h 10000"/>
                <a:gd name="connsiteX298" fmla="*/ 8102 w 10000"/>
                <a:gd name="connsiteY298" fmla="*/ 4634 h 10000"/>
                <a:gd name="connsiteX299" fmla="*/ 7641 w 10000"/>
                <a:gd name="connsiteY299" fmla="*/ 4779 h 10000"/>
                <a:gd name="connsiteX300" fmla="*/ 7610 w 10000"/>
                <a:gd name="connsiteY300" fmla="*/ 5005 h 10000"/>
                <a:gd name="connsiteX301" fmla="*/ 7550 w 10000"/>
                <a:gd name="connsiteY301" fmla="*/ 5666 h 10000"/>
                <a:gd name="connsiteX302" fmla="*/ 7496 w 10000"/>
                <a:gd name="connsiteY302" fmla="*/ 5965 h 10000"/>
                <a:gd name="connsiteX303" fmla="*/ 7701 w 10000"/>
                <a:gd name="connsiteY303" fmla="*/ 6161 h 10000"/>
                <a:gd name="connsiteX304" fmla="*/ 7745 w 10000"/>
                <a:gd name="connsiteY304" fmla="*/ 6243 h 10000"/>
                <a:gd name="connsiteX305" fmla="*/ 7771 w 10000"/>
                <a:gd name="connsiteY305" fmla="*/ 6285 h 10000"/>
                <a:gd name="connsiteX306" fmla="*/ 7793 w 10000"/>
                <a:gd name="connsiteY306" fmla="*/ 6068 h 10000"/>
                <a:gd name="connsiteX307" fmla="*/ 7912 w 10000"/>
                <a:gd name="connsiteY307" fmla="*/ 6089 h 10000"/>
                <a:gd name="connsiteX308" fmla="*/ 8004 w 10000"/>
                <a:gd name="connsiteY308" fmla="*/ 6367 h 10000"/>
                <a:gd name="connsiteX309" fmla="*/ 8064 w 10000"/>
                <a:gd name="connsiteY309" fmla="*/ 6616 h 10000"/>
                <a:gd name="connsiteX310" fmla="*/ 8111 w 10000"/>
                <a:gd name="connsiteY310" fmla="*/ 6781 h 10000"/>
                <a:gd name="connsiteX311" fmla="*/ 8048 w 10000"/>
                <a:gd name="connsiteY311" fmla="*/ 6491 h 10000"/>
                <a:gd name="connsiteX312" fmla="*/ 8124 w 10000"/>
                <a:gd name="connsiteY312" fmla="*/ 6336 h 10000"/>
                <a:gd name="connsiteX313" fmla="*/ 8177 w 10000"/>
                <a:gd name="connsiteY313" fmla="*/ 6512 h 10000"/>
                <a:gd name="connsiteX314" fmla="*/ 8300 w 10000"/>
                <a:gd name="connsiteY314" fmla="*/ 6987 h 10000"/>
                <a:gd name="connsiteX315" fmla="*/ 8361 w 10000"/>
                <a:gd name="connsiteY315" fmla="*/ 7152 h 10000"/>
                <a:gd name="connsiteX316" fmla="*/ 8490 w 10000"/>
                <a:gd name="connsiteY316" fmla="*/ 7482 h 10000"/>
                <a:gd name="connsiteX317" fmla="*/ 8604 w 10000"/>
                <a:gd name="connsiteY317" fmla="*/ 7854 h 10000"/>
                <a:gd name="connsiteX318" fmla="*/ 8474 w 10000"/>
                <a:gd name="connsiteY318" fmla="*/ 7647 h 10000"/>
                <a:gd name="connsiteX319" fmla="*/ 8443 w 10000"/>
                <a:gd name="connsiteY319" fmla="*/ 7678 h 10000"/>
                <a:gd name="connsiteX320" fmla="*/ 8512 w 10000"/>
                <a:gd name="connsiteY320" fmla="*/ 8050 h 10000"/>
                <a:gd name="connsiteX321" fmla="*/ 8588 w 10000"/>
                <a:gd name="connsiteY321" fmla="*/ 8266 h 10000"/>
                <a:gd name="connsiteX322" fmla="*/ 8642 w 10000"/>
                <a:gd name="connsiteY322" fmla="*/ 8472 h 10000"/>
                <a:gd name="connsiteX323" fmla="*/ 8566 w 10000"/>
                <a:gd name="connsiteY323" fmla="*/ 8421 h 10000"/>
                <a:gd name="connsiteX324" fmla="*/ 8556 w 10000"/>
                <a:gd name="connsiteY324" fmla="*/ 8669 h 10000"/>
                <a:gd name="connsiteX325" fmla="*/ 8497 w 10000"/>
                <a:gd name="connsiteY325" fmla="*/ 8493 h 10000"/>
                <a:gd name="connsiteX326" fmla="*/ 8481 w 10000"/>
                <a:gd name="connsiteY326" fmla="*/ 8421 h 10000"/>
                <a:gd name="connsiteX327" fmla="*/ 8361 w 10000"/>
                <a:gd name="connsiteY327" fmla="*/ 7751 h 10000"/>
                <a:gd name="connsiteX328" fmla="*/ 8322 w 10000"/>
                <a:gd name="connsiteY328" fmla="*/ 7524 h 10000"/>
                <a:gd name="connsiteX329" fmla="*/ 8291 w 10000"/>
                <a:gd name="connsiteY329" fmla="*/ 7378 h 10000"/>
                <a:gd name="connsiteX330" fmla="*/ 8275 w 10000"/>
                <a:gd name="connsiteY330" fmla="*/ 7306 h 10000"/>
                <a:gd name="connsiteX331" fmla="*/ 8139 w 10000"/>
                <a:gd name="connsiteY331" fmla="*/ 6863 h 10000"/>
                <a:gd name="connsiteX332" fmla="*/ 8199 w 10000"/>
                <a:gd name="connsiteY332" fmla="*/ 7451 h 10000"/>
                <a:gd name="connsiteX333" fmla="*/ 8247 w 10000"/>
                <a:gd name="connsiteY333" fmla="*/ 7998 h 10000"/>
                <a:gd name="connsiteX334" fmla="*/ 8177 w 10000"/>
                <a:gd name="connsiteY334" fmla="*/ 9133 h 10000"/>
                <a:gd name="connsiteX335" fmla="*/ 8124 w 10000"/>
                <a:gd name="connsiteY335" fmla="*/ 9484 h 10000"/>
                <a:gd name="connsiteX336" fmla="*/ 7972 w 10000"/>
                <a:gd name="connsiteY336" fmla="*/ 9432 h 10000"/>
                <a:gd name="connsiteX337" fmla="*/ 7897 w 10000"/>
                <a:gd name="connsiteY337" fmla="*/ 9660 h 10000"/>
                <a:gd name="connsiteX338" fmla="*/ 7868 w 10000"/>
                <a:gd name="connsiteY338" fmla="*/ 9588 h 10000"/>
                <a:gd name="connsiteX339" fmla="*/ 7884 w 10000"/>
                <a:gd name="connsiteY339" fmla="*/ 9536 h 10000"/>
                <a:gd name="connsiteX340" fmla="*/ 7897 w 10000"/>
                <a:gd name="connsiteY340" fmla="*/ 9380 h 10000"/>
                <a:gd name="connsiteX341" fmla="*/ 7884 w 10000"/>
                <a:gd name="connsiteY341" fmla="*/ 9236 h 10000"/>
                <a:gd name="connsiteX342" fmla="*/ 7793 w 10000"/>
                <a:gd name="connsiteY342" fmla="*/ 8865 h 10000"/>
                <a:gd name="connsiteX343" fmla="*/ 7831 w 10000"/>
                <a:gd name="connsiteY343" fmla="*/ 8741 h 10000"/>
                <a:gd name="connsiteX344" fmla="*/ 7928 w 10000"/>
                <a:gd name="connsiteY344" fmla="*/ 8844 h 10000"/>
                <a:gd name="connsiteX345" fmla="*/ 7912 w 10000"/>
                <a:gd name="connsiteY345" fmla="*/ 8318 h 10000"/>
                <a:gd name="connsiteX346" fmla="*/ 7906 w 10000"/>
                <a:gd name="connsiteY346" fmla="*/ 8019 h 10000"/>
                <a:gd name="connsiteX347" fmla="*/ 7846 w 10000"/>
                <a:gd name="connsiteY347" fmla="*/ 7802 h 10000"/>
                <a:gd name="connsiteX348" fmla="*/ 7723 w 10000"/>
                <a:gd name="connsiteY348" fmla="*/ 8050 h 10000"/>
                <a:gd name="connsiteX349" fmla="*/ 7619 w 10000"/>
                <a:gd name="connsiteY349" fmla="*/ 8019 h 10000"/>
                <a:gd name="connsiteX350" fmla="*/ 7528 w 10000"/>
                <a:gd name="connsiteY350" fmla="*/ 7699 h 10000"/>
                <a:gd name="connsiteX351" fmla="*/ 7355 w 10000"/>
                <a:gd name="connsiteY351" fmla="*/ 7482 h 10000"/>
                <a:gd name="connsiteX352" fmla="*/ 7279 w 10000"/>
                <a:gd name="connsiteY352" fmla="*/ 7482 h 10000"/>
                <a:gd name="connsiteX353" fmla="*/ 7080 w 10000"/>
                <a:gd name="connsiteY353" fmla="*/ 6781 h 10000"/>
                <a:gd name="connsiteX354" fmla="*/ 6901 w 10000"/>
                <a:gd name="connsiteY354" fmla="*/ 6460 h 10000"/>
                <a:gd name="connsiteX355" fmla="*/ 6724 w 10000"/>
                <a:gd name="connsiteY355" fmla="*/ 6336 h 10000"/>
                <a:gd name="connsiteX356" fmla="*/ 6583 w 10000"/>
                <a:gd name="connsiteY356" fmla="*/ 6408 h 10000"/>
                <a:gd name="connsiteX357" fmla="*/ 6567 w 10000"/>
                <a:gd name="connsiteY357" fmla="*/ 6585 h 10000"/>
                <a:gd name="connsiteX358" fmla="*/ 6664 w 10000"/>
                <a:gd name="connsiteY358" fmla="*/ 6760 h 10000"/>
                <a:gd name="connsiteX359" fmla="*/ 6636 w 10000"/>
                <a:gd name="connsiteY359" fmla="*/ 6935 h 10000"/>
                <a:gd name="connsiteX360" fmla="*/ 6636 w 10000"/>
                <a:gd name="connsiteY360" fmla="*/ 7399 h 10000"/>
                <a:gd name="connsiteX361" fmla="*/ 6560 w 10000"/>
                <a:gd name="connsiteY361" fmla="*/ 7482 h 10000"/>
                <a:gd name="connsiteX362" fmla="*/ 6485 w 10000"/>
                <a:gd name="connsiteY362" fmla="*/ 7378 h 10000"/>
                <a:gd name="connsiteX363" fmla="*/ 6400 w 10000"/>
                <a:gd name="connsiteY363" fmla="*/ 7399 h 10000"/>
                <a:gd name="connsiteX364" fmla="*/ 6334 w 10000"/>
                <a:gd name="connsiteY364" fmla="*/ 7275 h 10000"/>
                <a:gd name="connsiteX365" fmla="*/ 6258 w 10000"/>
                <a:gd name="connsiteY365" fmla="*/ 7358 h 10000"/>
                <a:gd name="connsiteX366" fmla="*/ 6220 w 10000"/>
                <a:gd name="connsiteY366" fmla="*/ 7524 h 10000"/>
                <a:gd name="connsiteX367" fmla="*/ 6081 w 10000"/>
                <a:gd name="connsiteY367" fmla="*/ 7606 h 10000"/>
                <a:gd name="connsiteX368" fmla="*/ 5892 w 10000"/>
                <a:gd name="connsiteY368" fmla="*/ 7575 h 10000"/>
                <a:gd name="connsiteX369" fmla="*/ 5855 w 10000"/>
                <a:gd name="connsiteY369" fmla="*/ 7327 h 10000"/>
                <a:gd name="connsiteX370" fmla="*/ 5643 w 10000"/>
                <a:gd name="connsiteY370" fmla="*/ 7255 h 10000"/>
                <a:gd name="connsiteX371" fmla="*/ 5539 w 10000"/>
                <a:gd name="connsiteY371" fmla="*/ 7358 h 10000"/>
                <a:gd name="connsiteX372" fmla="*/ 5416 w 10000"/>
                <a:gd name="connsiteY372" fmla="*/ 7203 h 10000"/>
                <a:gd name="connsiteX373" fmla="*/ 5372 w 10000"/>
                <a:gd name="connsiteY373"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3291 w 10000"/>
                <a:gd name="connsiteY9" fmla="*/ 6367 h 10000"/>
                <a:gd name="connsiteX10" fmla="*/ 1610 w 10000"/>
                <a:gd name="connsiteY10" fmla="*/ 7183 h 10000"/>
                <a:gd name="connsiteX11" fmla="*/ 1655 w 10000"/>
                <a:gd name="connsiteY11" fmla="*/ 7430 h 10000"/>
                <a:gd name="connsiteX12" fmla="*/ 1604 w 10000"/>
                <a:gd name="connsiteY12" fmla="*/ 7430 h 10000"/>
                <a:gd name="connsiteX13" fmla="*/ 1551 w 10000"/>
                <a:gd name="connsiteY13" fmla="*/ 7255 h 10000"/>
                <a:gd name="connsiteX14" fmla="*/ 1513 w 10000"/>
                <a:gd name="connsiteY14" fmla="*/ 7430 h 10000"/>
                <a:gd name="connsiteX15" fmla="*/ 1519 w 10000"/>
                <a:gd name="connsiteY15" fmla="*/ 7854 h 10000"/>
                <a:gd name="connsiteX16" fmla="*/ 1604 w 10000"/>
                <a:gd name="connsiteY16" fmla="*/ 8070 h 10000"/>
                <a:gd name="connsiteX17" fmla="*/ 1648 w 10000"/>
                <a:gd name="connsiteY17" fmla="*/ 8019 h 10000"/>
                <a:gd name="connsiteX18" fmla="*/ 1741 w 10000"/>
                <a:gd name="connsiteY18" fmla="*/ 8493 h 10000"/>
                <a:gd name="connsiteX19" fmla="*/ 1610 w 10000"/>
                <a:gd name="connsiteY19" fmla="*/ 8669 h 10000"/>
                <a:gd name="connsiteX20" fmla="*/ 1595 w 10000"/>
                <a:gd name="connsiteY20" fmla="*/ 9009 h 10000"/>
                <a:gd name="connsiteX21" fmla="*/ 1664 w 10000"/>
                <a:gd name="connsiteY21" fmla="*/ 9236 h 10000"/>
                <a:gd name="connsiteX22" fmla="*/ 1664 w 10000"/>
                <a:gd name="connsiteY22" fmla="*/ 9484 h 10000"/>
                <a:gd name="connsiteX23" fmla="*/ 1769 w 10000"/>
                <a:gd name="connsiteY23" fmla="*/ 9835 h 10000"/>
                <a:gd name="connsiteX24" fmla="*/ 1703 w 10000"/>
                <a:gd name="connsiteY24" fmla="*/ 10000 h 10000"/>
                <a:gd name="connsiteX25" fmla="*/ 1604 w 10000"/>
                <a:gd name="connsiteY25" fmla="*/ 9753 h 10000"/>
                <a:gd name="connsiteX26" fmla="*/ 1465 w 10000"/>
                <a:gd name="connsiteY26" fmla="*/ 9505 h 10000"/>
                <a:gd name="connsiteX27" fmla="*/ 1406 w 10000"/>
                <a:gd name="connsiteY27" fmla="*/ 9588 h 10000"/>
                <a:gd name="connsiteX28" fmla="*/ 1308 w 10000"/>
                <a:gd name="connsiteY28" fmla="*/ 9380 h 10000"/>
                <a:gd name="connsiteX29" fmla="*/ 1097 w 10000"/>
                <a:gd name="connsiteY29" fmla="*/ 9339 h 10000"/>
                <a:gd name="connsiteX30" fmla="*/ 848 w 10000"/>
                <a:gd name="connsiteY30" fmla="*/ 8813 h 10000"/>
                <a:gd name="connsiteX31" fmla="*/ 914 w 10000"/>
                <a:gd name="connsiteY31" fmla="*/ 8721 h 10000"/>
                <a:gd name="connsiteX32" fmla="*/ 961 w 10000"/>
                <a:gd name="connsiteY32" fmla="*/ 8493 h 10000"/>
                <a:gd name="connsiteX33" fmla="*/ 908 w 10000"/>
                <a:gd name="connsiteY33" fmla="*/ 8390 h 10000"/>
                <a:gd name="connsiteX34" fmla="*/ 1021 w 10000"/>
                <a:gd name="connsiteY34" fmla="*/ 8245 h 10000"/>
                <a:gd name="connsiteX35" fmla="*/ 945 w 10000"/>
                <a:gd name="connsiteY35" fmla="*/ 8194 h 10000"/>
                <a:gd name="connsiteX36" fmla="*/ 958 w 10000"/>
                <a:gd name="connsiteY36" fmla="*/ 8091 h 10000"/>
                <a:gd name="connsiteX37" fmla="*/ 1005 w 10000"/>
                <a:gd name="connsiteY37" fmla="*/ 8111 h 10000"/>
                <a:gd name="connsiteX38" fmla="*/ 1059 w 10000"/>
                <a:gd name="connsiteY38" fmla="*/ 8019 h 10000"/>
                <a:gd name="connsiteX39" fmla="*/ 1034 w 10000"/>
                <a:gd name="connsiteY39" fmla="*/ 7864 h 10000"/>
                <a:gd name="connsiteX40" fmla="*/ 1043 w 10000"/>
                <a:gd name="connsiteY40" fmla="*/ 7503 h 10000"/>
                <a:gd name="connsiteX41" fmla="*/ 930 w 10000"/>
                <a:gd name="connsiteY41" fmla="*/ 7440 h 10000"/>
                <a:gd name="connsiteX42" fmla="*/ 832 w 10000"/>
                <a:gd name="connsiteY42" fmla="*/ 7286 h 10000"/>
                <a:gd name="connsiteX43" fmla="*/ 700 w 10000"/>
                <a:gd name="connsiteY43" fmla="*/ 7275 h 10000"/>
                <a:gd name="connsiteX44" fmla="*/ 684 w 10000"/>
                <a:gd name="connsiteY44" fmla="*/ 7090 h 10000"/>
                <a:gd name="connsiteX45" fmla="*/ 596 w 10000"/>
                <a:gd name="connsiteY45" fmla="*/ 6945 h 10000"/>
                <a:gd name="connsiteX46" fmla="*/ 615 w 10000"/>
                <a:gd name="connsiteY46" fmla="*/ 6822 h 10000"/>
                <a:gd name="connsiteX47" fmla="*/ 561 w 10000"/>
                <a:gd name="connsiteY47" fmla="*/ 6698 h 10000"/>
                <a:gd name="connsiteX48" fmla="*/ 457 w 10000"/>
                <a:gd name="connsiteY48" fmla="*/ 6698 h 10000"/>
                <a:gd name="connsiteX49" fmla="*/ 425 w 10000"/>
                <a:gd name="connsiteY49" fmla="*/ 6791 h 10000"/>
                <a:gd name="connsiteX50" fmla="*/ 400 w 10000"/>
                <a:gd name="connsiteY50" fmla="*/ 6750 h 10000"/>
                <a:gd name="connsiteX51" fmla="*/ 378 w 10000"/>
                <a:gd name="connsiteY51" fmla="*/ 6439 h 10000"/>
                <a:gd name="connsiteX52" fmla="*/ 419 w 10000"/>
                <a:gd name="connsiteY52" fmla="*/ 6470 h 10000"/>
                <a:gd name="connsiteX53" fmla="*/ 466 w 10000"/>
                <a:gd name="connsiteY53" fmla="*/ 6347 h 10000"/>
                <a:gd name="connsiteX54" fmla="*/ 400 w 10000"/>
                <a:gd name="connsiteY54" fmla="*/ 6233 h 10000"/>
                <a:gd name="connsiteX55" fmla="*/ 315 w 10000"/>
                <a:gd name="connsiteY55" fmla="*/ 6017 h 10000"/>
                <a:gd name="connsiteX56" fmla="*/ 334 w 10000"/>
                <a:gd name="connsiteY56" fmla="*/ 5821 h 10000"/>
                <a:gd name="connsiteX57" fmla="*/ 274 w 10000"/>
                <a:gd name="connsiteY57" fmla="*/ 5697 h 10000"/>
                <a:gd name="connsiteX58" fmla="*/ 227 w 10000"/>
                <a:gd name="connsiteY58" fmla="*/ 5728 h 10000"/>
                <a:gd name="connsiteX59" fmla="*/ 202 w 10000"/>
                <a:gd name="connsiteY59" fmla="*/ 5604 h 10000"/>
                <a:gd name="connsiteX60" fmla="*/ 164 w 10000"/>
                <a:gd name="connsiteY60" fmla="*/ 5645 h 10000"/>
                <a:gd name="connsiteX61" fmla="*/ 117 w 10000"/>
                <a:gd name="connsiteY61" fmla="*/ 5604 h 10000"/>
                <a:gd name="connsiteX62" fmla="*/ 69 w 10000"/>
                <a:gd name="connsiteY62" fmla="*/ 5181 h 10000"/>
                <a:gd name="connsiteX63" fmla="*/ 85 w 10000"/>
                <a:gd name="connsiteY63" fmla="*/ 5057 h 10000"/>
                <a:gd name="connsiteX64" fmla="*/ 41 w 10000"/>
                <a:gd name="connsiteY64" fmla="*/ 4892 h 10000"/>
                <a:gd name="connsiteX65" fmla="*/ 66 w 10000"/>
                <a:gd name="connsiteY65" fmla="*/ 4655 h 10000"/>
                <a:gd name="connsiteX66" fmla="*/ 211 w 10000"/>
                <a:gd name="connsiteY66" fmla="*/ 4510 h 10000"/>
                <a:gd name="connsiteX67" fmla="*/ 129 w 10000"/>
                <a:gd name="connsiteY67" fmla="*/ 4406 h 10000"/>
                <a:gd name="connsiteX68" fmla="*/ 82 w 10000"/>
                <a:gd name="connsiteY68" fmla="*/ 4283 h 10000"/>
                <a:gd name="connsiteX69" fmla="*/ 205 w 10000"/>
                <a:gd name="connsiteY69" fmla="*/ 3912 h 10000"/>
                <a:gd name="connsiteX70" fmla="*/ 249 w 10000"/>
                <a:gd name="connsiteY70" fmla="*/ 3664 h 10000"/>
                <a:gd name="connsiteX71" fmla="*/ 151 w 10000"/>
                <a:gd name="connsiteY71" fmla="*/ 3488 h 10000"/>
                <a:gd name="connsiteX72" fmla="*/ 189 w 10000"/>
                <a:gd name="connsiteY72" fmla="*/ 3344 h 10000"/>
                <a:gd name="connsiteX73" fmla="*/ 113 w 10000"/>
                <a:gd name="connsiteY73" fmla="*/ 3148 h 10000"/>
                <a:gd name="connsiteX74" fmla="*/ 113 w 10000"/>
                <a:gd name="connsiteY74" fmla="*/ 2972 h 10000"/>
                <a:gd name="connsiteX75" fmla="*/ 60 w 10000"/>
                <a:gd name="connsiteY75" fmla="*/ 2622 h 10000"/>
                <a:gd name="connsiteX76" fmla="*/ 98 w 10000"/>
                <a:gd name="connsiteY76" fmla="*/ 2404 h 10000"/>
                <a:gd name="connsiteX77" fmla="*/ 38 w 10000"/>
                <a:gd name="connsiteY77" fmla="*/ 2301 h 10000"/>
                <a:gd name="connsiteX78" fmla="*/ 0 w 10000"/>
                <a:gd name="connsiteY78" fmla="*/ 2178 h 10000"/>
                <a:gd name="connsiteX79" fmla="*/ 54 w 10000"/>
                <a:gd name="connsiteY79" fmla="*/ 1951 h 10000"/>
                <a:gd name="connsiteX80" fmla="*/ 120 w 10000"/>
                <a:gd name="connsiteY80" fmla="*/ 1910 h 10000"/>
                <a:gd name="connsiteX81" fmla="*/ 195 w 10000"/>
                <a:gd name="connsiteY81" fmla="*/ 1858 h 10000"/>
                <a:gd name="connsiteX82" fmla="*/ 309 w 10000"/>
                <a:gd name="connsiteY82" fmla="*/ 1951 h 10000"/>
                <a:gd name="connsiteX83" fmla="*/ 482 w 10000"/>
                <a:gd name="connsiteY83" fmla="*/ 2054 h 10000"/>
                <a:gd name="connsiteX84" fmla="*/ 633 w 10000"/>
                <a:gd name="connsiteY84" fmla="*/ 2229 h 10000"/>
                <a:gd name="connsiteX85" fmla="*/ 756 w 10000"/>
                <a:gd name="connsiteY85" fmla="*/ 2373 h 10000"/>
                <a:gd name="connsiteX86" fmla="*/ 725 w 10000"/>
                <a:gd name="connsiteY86" fmla="*/ 2777 h 10000"/>
                <a:gd name="connsiteX87" fmla="*/ 362 w 10000"/>
                <a:gd name="connsiteY87" fmla="*/ 2673 h 10000"/>
                <a:gd name="connsiteX88" fmla="*/ 243 w 10000"/>
                <a:gd name="connsiteY88" fmla="*/ 2550 h 10000"/>
                <a:gd name="connsiteX89" fmla="*/ 287 w 10000"/>
                <a:gd name="connsiteY89" fmla="*/ 2622 h 10000"/>
                <a:gd name="connsiteX90" fmla="*/ 331 w 10000"/>
                <a:gd name="connsiteY90" fmla="*/ 2797 h 10000"/>
                <a:gd name="connsiteX91" fmla="*/ 400 w 10000"/>
                <a:gd name="connsiteY91" fmla="*/ 2921 h 10000"/>
                <a:gd name="connsiteX92" fmla="*/ 416 w 10000"/>
                <a:gd name="connsiteY92" fmla="*/ 3189 h 10000"/>
                <a:gd name="connsiteX93" fmla="*/ 507 w 10000"/>
                <a:gd name="connsiteY93" fmla="*/ 3313 h 10000"/>
                <a:gd name="connsiteX94" fmla="*/ 583 w 10000"/>
                <a:gd name="connsiteY94" fmla="*/ 3436 h 10000"/>
                <a:gd name="connsiteX95" fmla="*/ 605 w 10000"/>
                <a:gd name="connsiteY95" fmla="*/ 3467 h 10000"/>
                <a:gd name="connsiteX96" fmla="*/ 649 w 10000"/>
                <a:gd name="connsiteY96" fmla="*/ 3436 h 10000"/>
                <a:gd name="connsiteX97" fmla="*/ 633 w 10000"/>
                <a:gd name="connsiteY97" fmla="*/ 3364 h 10000"/>
                <a:gd name="connsiteX98" fmla="*/ 545 w 10000"/>
                <a:gd name="connsiteY98" fmla="*/ 3189 h 10000"/>
                <a:gd name="connsiteX99" fmla="*/ 801 w 10000"/>
                <a:gd name="connsiteY99" fmla="*/ 3344 h 10000"/>
                <a:gd name="connsiteX100" fmla="*/ 810 w 10000"/>
                <a:gd name="connsiteY100" fmla="*/ 3271 h 10000"/>
                <a:gd name="connsiteX101" fmla="*/ 785 w 10000"/>
                <a:gd name="connsiteY101" fmla="*/ 3220 h 10000"/>
                <a:gd name="connsiteX102" fmla="*/ 741 w 10000"/>
                <a:gd name="connsiteY102" fmla="*/ 2993 h 10000"/>
                <a:gd name="connsiteX103" fmla="*/ 870 w 10000"/>
                <a:gd name="connsiteY103" fmla="*/ 2777 h 10000"/>
                <a:gd name="connsiteX104" fmla="*/ 968 w 10000"/>
                <a:gd name="connsiteY104" fmla="*/ 2921 h 10000"/>
                <a:gd name="connsiteX105" fmla="*/ 999 w 10000"/>
                <a:gd name="connsiteY105" fmla="*/ 2725 h 10000"/>
                <a:gd name="connsiteX106" fmla="*/ 952 w 10000"/>
                <a:gd name="connsiteY106" fmla="*/ 2653 h 10000"/>
                <a:gd name="connsiteX107" fmla="*/ 936 w 10000"/>
                <a:gd name="connsiteY107" fmla="*/ 2281 h 10000"/>
                <a:gd name="connsiteX108" fmla="*/ 914 w 10000"/>
                <a:gd name="connsiteY108" fmla="*/ 2229 h 10000"/>
                <a:gd name="connsiteX109" fmla="*/ 1037 w 10000"/>
                <a:gd name="connsiteY109" fmla="*/ 2250 h 10000"/>
                <a:gd name="connsiteX110" fmla="*/ 1087 w 10000"/>
                <a:gd name="connsiteY110" fmla="*/ 2404 h 10000"/>
                <a:gd name="connsiteX111" fmla="*/ 1021 w 10000"/>
                <a:gd name="connsiteY111" fmla="*/ 2529 h 10000"/>
                <a:gd name="connsiteX112" fmla="*/ 1135 w 10000"/>
                <a:gd name="connsiteY112" fmla="*/ 2694 h 10000"/>
                <a:gd name="connsiteX113" fmla="*/ 1226 w 10000"/>
                <a:gd name="connsiteY113" fmla="*/ 2529 h 10000"/>
                <a:gd name="connsiteX114" fmla="*/ 1339 w 10000"/>
                <a:gd name="connsiteY114" fmla="*/ 2301 h 10000"/>
                <a:gd name="connsiteX115" fmla="*/ 1459 w 10000"/>
                <a:gd name="connsiteY115" fmla="*/ 2157 h 10000"/>
                <a:gd name="connsiteX116" fmla="*/ 1497 w 10000"/>
                <a:gd name="connsiteY116" fmla="*/ 2250 h 10000"/>
                <a:gd name="connsiteX117" fmla="*/ 1807 w 10000"/>
                <a:gd name="connsiteY117" fmla="*/ 2054 h 10000"/>
                <a:gd name="connsiteX118" fmla="*/ 1870 w 10000"/>
                <a:gd name="connsiteY118" fmla="*/ 2250 h 10000"/>
                <a:gd name="connsiteX119" fmla="*/ 1860 w 10000"/>
                <a:gd name="connsiteY119" fmla="*/ 2002 h 10000"/>
                <a:gd name="connsiteX120" fmla="*/ 1778 w 10000"/>
                <a:gd name="connsiteY120" fmla="*/ 1786 h 10000"/>
                <a:gd name="connsiteX121" fmla="*/ 1763 w 10000"/>
                <a:gd name="connsiteY121" fmla="*/ 1703 h 10000"/>
                <a:gd name="connsiteX122" fmla="*/ 1823 w 10000"/>
                <a:gd name="connsiteY122" fmla="*/ 1786 h 10000"/>
                <a:gd name="connsiteX123" fmla="*/ 2034 w 10000"/>
                <a:gd name="connsiteY123" fmla="*/ 1951 h 10000"/>
                <a:gd name="connsiteX124" fmla="*/ 2270 w 10000"/>
                <a:gd name="connsiteY124" fmla="*/ 2126 h 10000"/>
                <a:gd name="connsiteX125" fmla="*/ 2384 w 10000"/>
                <a:gd name="connsiteY125" fmla="*/ 2250 h 10000"/>
                <a:gd name="connsiteX126" fmla="*/ 2421 w 10000"/>
                <a:gd name="connsiteY126" fmla="*/ 2074 h 10000"/>
                <a:gd name="connsiteX127" fmla="*/ 2368 w 10000"/>
                <a:gd name="connsiteY127" fmla="*/ 2033 h 10000"/>
                <a:gd name="connsiteX128" fmla="*/ 2299 w 10000"/>
                <a:gd name="connsiteY128" fmla="*/ 1930 h 10000"/>
                <a:gd name="connsiteX129" fmla="*/ 2254 w 10000"/>
                <a:gd name="connsiteY129" fmla="*/ 1734 h 10000"/>
                <a:gd name="connsiteX130" fmla="*/ 2185 w 10000"/>
                <a:gd name="connsiteY130" fmla="*/ 1486 h 10000"/>
                <a:gd name="connsiteX131" fmla="*/ 2210 w 10000"/>
                <a:gd name="connsiteY131" fmla="*/ 1434 h 10000"/>
                <a:gd name="connsiteX132" fmla="*/ 2232 w 10000"/>
                <a:gd name="connsiteY132" fmla="*/ 1455 h 10000"/>
                <a:gd name="connsiteX133" fmla="*/ 2292 w 10000"/>
                <a:gd name="connsiteY133" fmla="*/ 1115 h 10000"/>
                <a:gd name="connsiteX134" fmla="*/ 2443 w 10000"/>
                <a:gd name="connsiteY134" fmla="*/ 1135 h 10000"/>
                <a:gd name="connsiteX135" fmla="*/ 2488 w 10000"/>
                <a:gd name="connsiteY135" fmla="*/ 1311 h 10000"/>
                <a:gd name="connsiteX136" fmla="*/ 2519 w 10000"/>
                <a:gd name="connsiteY136" fmla="*/ 1538 h 10000"/>
                <a:gd name="connsiteX137" fmla="*/ 2573 w 10000"/>
                <a:gd name="connsiteY137" fmla="*/ 1734 h 10000"/>
                <a:gd name="connsiteX138" fmla="*/ 2670 w 10000"/>
                <a:gd name="connsiteY138" fmla="*/ 2157 h 10000"/>
                <a:gd name="connsiteX139" fmla="*/ 2481 w 10000"/>
                <a:gd name="connsiteY139" fmla="*/ 2673 h 10000"/>
                <a:gd name="connsiteX140" fmla="*/ 2557 w 10000"/>
                <a:gd name="connsiteY140" fmla="*/ 2746 h 10000"/>
                <a:gd name="connsiteX141" fmla="*/ 2655 w 10000"/>
                <a:gd name="connsiteY141" fmla="*/ 2818 h 10000"/>
                <a:gd name="connsiteX142" fmla="*/ 2784 w 10000"/>
                <a:gd name="connsiteY142" fmla="*/ 2622 h 10000"/>
                <a:gd name="connsiteX143" fmla="*/ 2790 w 10000"/>
                <a:gd name="connsiteY143" fmla="*/ 2404 h 10000"/>
                <a:gd name="connsiteX144" fmla="*/ 2746 w 10000"/>
                <a:gd name="connsiteY144" fmla="*/ 2301 h 10000"/>
                <a:gd name="connsiteX145" fmla="*/ 2919 w 10000"/>
                <a:gd name="connsiteY145" fmla="*/ 2250 h 10000"/>
                <a:gd name="connsiteX146" fmla="*/ 2989 w 10000"/>
                <a:gd name="connsiteY146" fmla="*/ 2497 h 10000"/>
                <a:gd name="connsiteX147" fmla="*/ 2989 w 10000"/>
                <a:gd name="connsiteY147" fmla="*/ 2425 h 10000"/>
                <a:gd name="connsiteX148" fmla="*/ 2973 w 10000"/>
                <a:gd name="connsiteY148" fmla="*/ 2353 h 10000"/>
                <a:gd name="connsiteX149" fmla="*/ 2967 w 10000"/>
                <a:gd name="connsiteY149" fmla="*/ 2178 h 10000"/>
                <a:gd name="connsiteX150" fmla="*/ 2800 w 10000"/>
                <a:gd name="connsiteY150" fmla="*/ 1930 h 10000"/>
                <a:gd name="connsiteX151" fmla="*/ 2670 w 10000"/>
                <a:gd name="connsiteY151" fmla="*/ 2002 h 10000"/>
                <a:gd name="connsiteX152" fmla="*/ 2617 w 10000"/>
                <a:gd name="connsiteY152" fmla="*/ 1683 h 10000"/>
                <a:gd name="connsiteX153" fmla="*/ 2563 w 10000"/>
                <a:gd name="connsiteY153" fmla="*/ 1507 h 10000"/>
                <a:gd name="connsiteX154" fmla="*/ 2617 w 10000"/>
                <a:gd name="connsiteY154" fmla="*/ 1331 h 10000"/>
                <a:gd name="connsiteX155" fmla="*/ 2611 w 10000"/>
                <a:gd name="connsiteY155" fmla="*/ 1166 h 10000"/>
                <a:gd name="connsiteX156" fmla="*/ 2588 w 10000"/>
                <a:gd name="connsiteY156" fmla="*/ 1115 h 10000"/>
                <a:gd name="connsiteX157" fmla="*/ 2626 w 10000"/>
                <a:gd name="connsiteY157" fmla="*/ 1115 h 10000"/>
                <a:gd name="connsiteX158" fmla="*/ 2670 w 10000"/>
                <a:gd name="connsiteY158" fmla="*/ 1455 h 10000"/>
                <a:gd name="connsiteX159" fmla="*/ 2891 w 10000"/>
                <a:gd name="connsiteY159" fmla="*/ 1662 h 10000"/>
                <a:gd name="connsiteX160" fmla="*/ 2724 w 10000"/>
                <a:gd name="connsiteY160" fmla="*/ 1383 h 10000"/>
                <a:gd name="connsiteX161" fmla="*/ 3049 w 10000"/>
                <a:gd name="connsiteY161" fmla="*/ 1383 h 10000"/>
                <a:gd name="connsiteX162" fmla="*/ 3102 w 10000"/>
                <a:gd name="connsiteY162" fmla="*/ 1362 h 10000"/>
                <a:gd name="connsiteX163" fmla="*/ 2897 w 10000"/>
                <a:gd name="connsiteY163" fmla="*/ 1115 h 10000"/>
                <a:gd name="connsiteX164" fmla="*/ 2951 w 10000"/>
                <a:gd name="connsiteY164" fmla="*/ 888 h 10000"/>
                <a:gd name="connsiteX165" fmla="*/ 3178 w 10000"/>
                <a:gd name="connsiteY165" fmla="*/ 888 h 10000"/>
                <a:gd name="connsiteX166" fmla="*/ 3156 w 10000"/>
                <a:gd name="connsiteY166" fmla="*/ 713 h 10000"/>
                <a:gd name="connsiteX167" fmla="*/ 3231 w 10000"/>
                <a:gd name="connsiteY167" fmla="*/ 589 h 10000"/>
                <a:gd name="connsiteX168" fmla="*/ 3276 w 10000"/>
                <a:gd name="connsiteY168" fmla="*/ 548 h 10000"/>
                <a:gd name="connsiteX169" fmla="*/ 3443 w 10000"/>
                <a:gd name="connsiteY169" fmla="*/ 423 h 10000"/>
                <a:gd name="connsiteX170" fmla="*/ 3487 w 10000"/>
                <a:gd name="connsiteY170" fmla="*/ 371 h 10000"/>
                <a:gd name="connsiteX171" fmla="*/ 3480 w 10000"/>
                <a:gd name="connsiteY171" fmla="*/ 444 h 10000"/>
                <a:gd name="connsiteX172" fmla="*/ 3660 w 10000"/>
                <a:gd name="connsiteY172" fmla="*/ 371 h 10000"/>
                <a:gd name="connsiteX173" fmla="*/ 3805 w 10000"/>
                <a:gd name="connsiteY173" fmla="*/ 248 h 10000"/>
                <a:gd name="connsiteX174" fmla="*/ 3827 w 10000"/>
                <a:gd name="connsiteY174" fmla="*/ 0 h 10000"/>
                <a:gd name="connsiteX175" fmla="*/ 3988 w 10000"/>
                <a:gd name="connsiteY175" fmla="*/ 21 h 10000"/>
                <a:gd name="connsiteX176" fmla="*/ 3978 w 10000"/>
                <a:gd name="connsiteY176" fmla="*/ 93 h 10000"/>
                <a:gd name="connsiteX177" fmla="*/ 3988 w 10000"/>
                <a:gd name="connsiteY177" fmla="*/ 176 h 10000"/>
                <a:gd name="connsiteX178" fmla="*/ 4085 w 10000"/>
                <a:gd name="connsiteY178" fmla="*/ 248 h 10000"/>
                <a:gd name="connsiteX179" fmla="*/ 4379 w 10000"/>
                <a:gd name="connsiteY179" fmla="*/ 268 h 10000"/>
                <a:gd name="connsiteX180" fmla="*/ 4539 w 10000"/>
                <a:gd name="connsiteY180" fmla="*/ 392 h 10000"/>
                <a:gd name="connsiteX181" fmla="*/ 4486 w 10000"/>
                <a:gd name="connsiteY181" fmla="*/ 795 h 10000"/>
                <a:gd name="connsiteX182" fmla="*/ 4426 w 10000"/>
                <a:gd name="connsiteY182" fmla="*/ 919 h 10000"/>
                <a:gd name="connsiteX183" fmla="*/ 4356 w 10000"/>
                <a:gd name="connsiteY183" fmla="*/ 1043 h 10000"/>
                <a:gd name="connsiteX184" fmla="*/ 4372 w 10000"/>
                <a:gd name="connsiteY184" fmla="*/ 1115 h 10000"/>
                <a:gd name="connsiteX185" fmla="*/ 4583 w 10000"/>
                <a:gd name="connsiteY185" fmla="*/ 919 h 10000"/>
                <a:gd name="connsiteX186" fmla="*/ 5060 w 10000"/>
                <a:gd name="connsiteY186" fmla="*/ 991 h 10000"/>
                <a:gd name="connsiteX187" fmla="*/ 5108 w 10000"/>
                <a:gd name="connsiteY187" fmla="*/ 1063 h 10000"/>
                <a:gd name="connsiteX188" fmla="*/ 5212 w 10000"/>
                <a:gd name="connsiteY188" fmla="*/ 1187 h 10000"/>
                <a:gd name="connsiteX189" fmla="*/ 5357 w 10000"/>
                <a:gd name="connsiteY189" fmla="*/ 919 h 10000"/>
                <a:gd name="connsiteX190" fmla="*/ 5577 w 10000"/>
                <a:gd name="connsiteY190" fmla="*/ 1063 h 10000"/>
                <a:gd name="connsiteX191" fmla="*/ 5643 w 10000"/>
                <a:gd name="connsiteY191" fmla="*/ 1115 h 10000"/>
                <a:gd name="connsiteX192" fmla="*/ 5697 w 10000"/>
                <a:gd name="connsiteY192" fmla="*/ 1166 h 10000"/>
                <a:gd name="connsiteX193" fmla="*/ 5908 w 10000"/>
                <a:gd name="connsiteY193" fmla="*/ 1631 h 10000"/>
                <a:gd name="connsiteX194" fmla="*/ 5984 w 10000"/>
                <a:gd name="connsiteY194" fmla="*/ 1611 h 10000"/>
                <a:gd name="connsiteX195" fmla="*/ 5977 w 10000"/>
                <a:gd name="connsiteY195" fmla="*/ 1507 h 10000"/>
                <a:gd name="connsiteX196" fmla="*/ 5984 w 10000"/>
                <a:gd name="connsiteY196" fmla="*/ 1383 h 10000"/>
                <a:gd name="connsiteX197" fmla="*/ 6091 w 10000"/>
                <a:gd name="connsiteY197" fmla="*/ 1486 h 10000"/>
                <a:gd name="connsiteX198" fmla="*/ 6264 w 10000"/>
                <a:gd name="connsiteY198" fmla="*/ 1507 h 10000"/>
                <a:gd name="connsiteX199" fmla="*/ 6409 w 10000"/>
                <a:gd name="connsiteY199" fmla="*/ 1455 h 10000"/>
                <a:gd name="connsiteX200" fmla="*/ 6340 w 10000"/>
                <a:gd name="connsiteY200" fmla="*/ 1362 h 10000"/>
                <a:gd name="connsiteX201" fmla="*/ 6431 w 10000"/>
                <a:gd name="connsiteY201" fmla="*/ 1084 h 10000"/>
                <a:gd name="connsiteX202" fmla="*/ 6687 w 10000"/>
                <a:gd name="connsiteY202" fmla="*/ 1207 h 10000"/>
                <a:gd name="connsiteX203" fmla="*/ 6945 w 10000"/>
                <a:gd name="connsiteY203" fmla="*/ 1331 h 10000"/>
                <a:gd name="connsiteX204" fmla="*/ 6967 w 10000"/>
                <a:gd name="connsiteY204" fmla="*/ 1362 h 10000"/>
                <a:gd name="connsiteX205" fmla="*/ 7194 w 10000"/>
                <a:gd name="connsiteY205" fmla="*/ 1611 h 10000"/>
                <a:gd name="connsiteX206" fmla="*/ 7367 w 10000"/>
                <a:gd name="connsiteY206" fmla="*/ 1507 h 10000"/>
                <a:gd name="connsiteX207" fmla="*/ 7582 w 10000"/>
                <a:gd name="connsiteY207" fmla="*/ 1538 h 10000"/>
                <a:gd name="connsiteX208" fmla="*/ 7657 w 10000"/>
                <a:gd name="connsiteY208" fmla="*/ 1611 h 10000"/>
                <a:gd name="connsiteX209" fmla="*/ 7928 w 10000"/>
                <a:gd name="connsiteY209" fmla="*/ 1930 h 10000"/>
                <a:gd name="connsiteX210" fmla="*/ 8231 w 10000"/>
                <a:gd name="connsiteY210" fmla="*/ 1879 h 10000"/>
                <a:gd name="connsiteX211" fmla="*/ 8339 w 10000"/>
                <a:gd name="connsiteY211" fmla="*/ 2033 h 10000"/>
                <a:gd name="connsiteX212" fmla="*/ 8490 w 10000"/>
                <a:gd name="connsiteY212" fmla="*/ 2157 h 10000"/>
                <a:gd name="connsiteX213" fmla="*/ 8519 w 10000"/>
                <a:gd name="connsiteY213" fmla="*/ 2105 h 10000"/>
                <a:gd name="connsiteX214" fmla="*/ 8497 w 10000"/>
                <a:gd name="connsiteY214" fmla="*/ 2074 h 10000"/>
                <a:gd name="connsiteX215" fmla="*/ 8383 w 10000"/>
                <a:gd name="connsiteY215" fmla="*/ 1930 h 10000"/>
                <a:gd name="connsiteX216" fmla="*/ 8465 w 10000"/>
                <a:gd name="connsiteY216" fmla="*/ 1755 h 10000"/>
                <a:gd name="connsiteX217" fmla="*/ 8664 w 10000"/>
                <a:gd name="connsiteY217" fmla="*/ 1910 h 10000"/>
                <a:gd name="connsiteX218" fmla="*/ 8950 w 10000"/>
                <a:gd name="connsiteY218" fmla="*/ 1982 h 10000"/>
                <a:gd name="connsiteX219" fmla="*/ 9206 w 10000"/>
                <a:gd name="connsiteY219" fmla="*/ 2260 h 10000"/>
                <a:gd name="connsiteX220" fmla="*/ 9344 w 10000"/>
                <a:gd name="connsiteY220" fmla="*/ 2332 h 10000"/>
                <a:gd name="connsiteX221" fmla="*/ 9451 w 10000"/>
                <a:gd name="connsiteY221" fmla="*/ 2446 h 10000"/>
                <a:gd name="connsiteX222" fmla="*/ 9574 w 10000"/>
                <a:gd name="connsiteY222" fmla="*/ 2632 h 10000"/>
                <a:gd name="connsiteX223" fmla="*/ 9631 w 10000"/>
                <a:gd name="connsiteY223" fmla="*/ 2756 h 10000"/>
                <a:gd name="connsiteX224" fmla="*/ 9726 w 10000"/>
                <a:gd name="connsiteY224" fmla="*/ 2787 h 10000"/>
                <a:gd name="connsiteX225" fmla="*/ 9590 w 10000"/>
                <a:gd name="connsiteY225" fmla="*/ 2570 h 10000"/>
                <a:gd name="connsiteX226" fmla="*/ 9915 w 10000"/>
                <a:gd name="connsiteY226" fmla="*/ 2756 h 10000"/>
                <a:gd name="connsiteX227" fmla="*/ 10000 w 10000"/>
                <a:gd name="connsiteY227" fmla="*/ 3014 h 10000"/>
                <a:gd name="connsiteX228" fmla="*/ 9934 w 10000"/>
                <a:gd name="connsiteY228" fmla="*/ 2941 h 10000"/>
                <a:gd name="connsiteX229" fmla="*/ 9874 w 10000"/>
                <a:gd name="connsiteY229" fmla="*/ 2952 h 10000"/>
                <a:gd name="connsiteX230" fmla="*/ 10000 w 10000"/>
                <a:gd name="connsiteY230" fmla="*/ 3292 h 10000"/>
                <a:gd name="connsiteX231" fmla="*/ 9845 w 10000"/>
                <a:gd name="connsiteY231" fmla="*/ 3220 h 10000"/>
                <a:gd name="connsiteX232" fmla="*/ 9745 w 10000"/>
                <a:gd name="connsiteY232" fmla="*/ 3075 h 10000"/>
                <a:gd name="connsiteX233" fmla="*/ 9641 w 10000"/>
                <a:gd name="connsiteY233" fmla="*/ 2972 h 10000"/>
                <a:gd name="connsiteX234" fmla="*/ 9555 w 10000"/>
                <a:gd name="connsiteY234" fmla="*/ 3003 h 10000"/>
                <a:gd name="connsiteX235" fmla="*/ 9470 w 10000"/>
                <a:gd name="connsiteY235" fmla="*/ 2787 h 10000"/>
                <a:gd name="connsiteX236" fmla="*/ 9366 w 10000"/>
                <a:gd name="connsiteY236" fmla="*/ 2725 h 10000"/>
                <a:gd name="connsiteX237" fmla="*/ 9461 w 10000"/>
                <a:gd name="connsiteY237" fmla="*/ 2972 h 10000"/>
                <a:gd name="connsiteX238" fmla="*/ 9470 w 10000"/>
                <a:gd name="connsiteY238" fmla="*/ 3230 h 10000"/>
                <a:gd name="connsiteX239" fmla="*/ 9288 w 10000"/>
                <a:gd name="connsiteY239" fmla="*/ 3065 h 10000"/>
                <a:gd name="connsiteX240" fmla="*/ 9262 w 10000"/>
                <a:gd name="connsiteY240" fmla="*/ 3230 h 10000"/>
                <a:gd name="connsiteX241" fmla="*/ 9363 w 10000"/>
                <a:gd name="connsiteY241" fmla="*/ 3230 h 10000"/>
                <a:gd name="connsiteX242" fmla="*/ 9451 w 10000"/>
                <a:gd name="connsiteY242" fmla="*/ 3354 h 10000"/>
                <a:gd name="connsiteX243" fmla="*/ 9659 w 10000"/>
                <a:gd name="connsiteY243" fmla="*/ 3685 h 10000"/>
                <a:gd name="connsiteX244" fmla="*/ 9735 w 10000"/>
                <a:gd name="connsiteY244" fmla="*/ 3839 h 10000"/>
                <a:gd name="connsiteX245" fmla="*/ 9552 w 10000"/>
                <a:gd name="connsiteY245" fmla="*/ 3757 h 10000"/>
                <a:gd name="connsiteX246" fmla="*/ 9451 w 10000"/>
                <a:gd name="connsiteY246" fmla="*/ 4025 h 10000"/>
                <a:gd name="connsiteX247" fmla="*/ 9385 w 10000"/>
                <a:gd name="connsiteY247" fmla="*/ 4283 h 10000"/>
                <a:gd name="connsiteX248" fmla="*/ 9376 w 10000"/>
                <a:gd name="connsiteY248" fmla="*/ 4499 h 10000"/>
                <a:gd name="connsiteX249" fmla="*/ 9335 w 10000"/>
                <a:gd name="connsiteY249" fmla="*/ 4303 h 10000"/>
                <a:gd name="connsiteX250" fmla="*/ 9149 w 10000"/>
                <a:gd name="connsiteY250" fmla="*/ 4314 h 10000"/>
                <a:gd name="connsiteX251" fmla="*/ 9155 w 10000"/>
                <a:gd name="connsiteY251" fmla="*/ 4531 h 10000"/>
                <a:gd name="connsiteX252" fmla="*/ 9061 w 10000"/>
                <a:gd name="connsiteY252" fmla="*/ 4365 h 10000"/>
                <a:gd name="connsiteX253" fmla="*/ 9054 w 10000"/>
                <a:gd name="connsiteY253" fmla="*/ 4521 h 10000"/>
                <a:gd name="connsiteX254" fmla="*/ 8998 w 10000"/>
                <a:gd name="connsiteY254" fmla="*/ 4458 h 10000"/>
                <a:gd name="connsiteX255" fmla="*/ 8966 w 10000"/>
                <a:gd name="connsiteY255" fmla="*/ 4562 h 10000"/>
                <a:gd name="connsiteX256" fmla="*/ 9007 w 10000"/>
                <a:gd name="connsiteY256" fmla="*/ 4686 h 10000"/>
                <a:gd name="connsiteX257" fmla="*/ 9004 w 10000"/>
                <a:gd name="connsiteY257" fmla="*/ 4995 h 10000"/>
                <a:gd name="connsiteX258" fmla="*/ 9073 w 10000"/>
                <a:gd name="connsiteY258" fmla="*/ 5211 h 10000"/>
                <a:gd name="connsiteX259" fmla="*/ 9130 w 10000"/>
                <a:gd name="connsiteY259" fmla="*/ 5150 h 10000"/>
                <a:gd name="connsiteX260" fmla="*/ 9158 w 10000"/>
                <a:gd name="connsiteY260" fmla="*/ 5211 h 10000"/>
                <a:gd name="connsiteX261" fmla="*/ 9231 w 10000"/>
                <a:gd name="connsiteY261" fmla="*/ 5428 h 10000"/>
                <a:gd name="connsiteX262" fmla="*/ 9215 w 10000"/>
                <a:gd name="connsiteY262" fmla="*/ 5604 h 10000"/>
                <a:gd name="connsiteX263" fmla="*/ 9221 w 10000"/>
                <a:gd name="connsiteY263" fmla="*/ 5769 h 10000"/>
                <a:gd name="connsiteX264" fmla="*/ 9269 w 10000"/>
                <a:gd name="connsiteY264" fmla="*/ 5883 h 10000"/>
                <a:gd name="connsiteX265" fmla="*/ 9344 w 10000"/>
                <a:gd name="connsiteY265" fmla="*/ 6068 h 10000"/>
                <a:gd name="connsiteX266" fmla="*/ 9269 w 10000"/>
                <a:gd name="connsiteY266" fmla="*/ 6068 h 10000"/>
                <a:gd name="connsiteX267" fmla="*/ 9253 w 10000"/>
                <a:gd name="connsiteY267" fmla="*/ 6223 h 10000"/>
                <a:gd name="connsiteX268" fmla="*/ 9319 w 10000"/>
                <a:gd name="connsiteY268" fmla="*/ 6408 h 10000"/>
                <a:gd name="connsiteX269" fmla="*/ 9250 w 10000"/>
                <a:gd name="connsiteY269" fmla="*/ 6502 h 10000"/>
                <a:gd name="connsiteX270" fmla="*/ 9297 w 10000"/>
                <a:gd name="connsiteY270" fmla="*/ 6729 h 10000"/>
                <a:gd name="connsiteX271" fmla="*/ 9281 w 10000"/>
                <a:gd name="connsiteY271" fmla="*/ 7069 h 10000"/>
                <a:gd name="connsiteX272" fmla="*/ 9061 w 10000"/>
                <a:gd name="connsiteY272" fmla="*/ 6408 h 10000"/>
                <a:gd name="connsiteX273" fmla="*/ 8824 w 10000"/>
                <a:gd name="connsiteY273" fmla="*/ 5759 h 10000"/>
                <a:gd name="connsiteX274" fmla="*/ 8771 w 10000"/>
                <a:gd name="connsiteY274" fmla="*/ 5459 h 10000"/>
                <a:gd name="connsiteX275" fmla="*/ 8768 w 10000"/>
                <a:gd name="connsiteY275" fmla="*/ 5211 h 10000"/>
                <a:gd name="connsiteX276" fmla="*/ 8692 w 10000"/>
                <a:gd name="connsiteY276" fmla="*/ 5047 h 10000"/>
                <a:gd name="connsiteX277" fmla="*/ 8771 w 10000"/>
                <a:gd name="connsiteY277" fmla="*/ 5088 h 10000"/>
                <a:gd name="connsiteX278" fmla="*/ 8809 w 10000"/>
                <a:gd name="connsiteY278" fmla="*/ 5108 h 10000"/>
                <a:gd name="connsiteX279" fmla="*/ 8809 w 10000"/>
                <a:gd name="connsiteY279" fmla="*/ 4840 h 10000"/>
                <a:gd name="connsiteX280" fmla="*/ 8827 w 10000"/>
                <a:gd name="connsiteY280" fmla="*/ 4437 h 10000"/>
                <a:gd name="connsiteX281" fmla="*/ 8853 w 10000"/>
                <a:gd name="connsiteY281" fmla="*/ 4252 h 10000"/>
                <a:gd name="connsiteX282" fmla="*/ 8909 w 10000"/>
                <a:gd name="connsiteY282" fmla="*/ 4221 h 10000"/>
                <a:gd name="connsiteX283" fmla="*/ 8786 w 10000"/>
                <a:gd name="connsiteY283" fmla="*/ 3901 h 10000"/>
                <a:gd name="connsiteX284" fmla="*/ 8853 w 10000"/>
                <a:gd name="connsiteY284" fmla="*/ 3839 h 10000"/>
                <a:gd name="connsiteX285" fmla="*/ 8739 w 10000"/>
                <a:gd name="connsiteY285" fmla="*/ 3788 h 10000"/>
                <a:gd name="connsiteX286" fmla="*/ 8755 w 10000"/>
                <a:gd name="connsiteY286" fmla="*/ 3984 h 10000"/>
                <a:gd name="connsiteX287" fmla="*/ 8692 w 10000"/>
                <a:gd name="connsiteY287" fmla="*/ 4303 h 10000"/>
                <a:gd name="connsiteX288" fmla="*/ 8604 w 10000"/>
                <a:gd name="connsiteY288" fmla="*/ 4210 h 10000"/>
                <a:gd name="connsiteX289" fmla="*/ 8550 w 10000"/>
                <a:gd name="connsiteY289" fmla="*/ 4056 h 10000"/>
                <a:gd name="connsiteX290" fmla="*/ 8481 w 10000"/>
                <a:gd name="connsiteY290" fmla="*/ 4138 h 10000"/>
                <a:gd name="connsiteX291" fmla="*/ 8389 w 10000"/>
                <a:gd name="connsiteY291" fmla="*/ 4107 h 10000"/>
                <a:gd name="connsiteX292" fmla="*/ 8352 w 10000"/>
                <a:gd name="connsiteY292" fmla="*/ 4406 h 10000"/>
                <a:gd name="connsiteX293" fmla="*/ 8481 w 10000"/>
                <a:gd name="connsiteY293" fmla="*/ 4655 h 10000"/>
                <a:gd name="connsiteX294" fmla="*/ 8405 w 10000"/>
                <a:gd name="connsiteY294" fmla="*/ 4830 h 10000"/>
                <a:gd name="connsiteX295" fmla="*/ 8225 w 10000"/>
                <a:gd name="connsiteY295" fmla="*/ 4799 h 10000"/>
                <a:gd name="connsiteX296" fmla="*/ 8209 w 10000"/>
                <a:gd name="connsiteY296" fmla="*/ 4655 h 10000"/>
                <a:gd name="connsiteX297" fmla="*/ 8102 w 10000"/>
                <a:gd name="connsiteY297" fmla="*/ 4634 h 10000"/>
                <a:gd name="connsiteX298" fmla="*/ 7641 w 10000"/>
                <a:gd name="connsiteY298" fmla="*/ 4779 h 10000"/>
                <a:gd name="connsiteX299" fmla="*/ 7610 w 10000"/>
                <a:gd name="connsiteY299" fmla="*/ 5005 h 10000"/>
                <a:gd name="connsiteX300" fmla="*/ 7550 w 10000"/>
                <a:gd name="connsiteY300" fmla="*/ 5666 h 10000"/>
                <a:gd name="connsiteX301" fmla="*/ 7496 w 10000"/>
                <a:gd name="connsiteY301" fmla="*/ 5965 h 10000"/>
                <a:gd name="connsiteX302" fmla="*/ 7701 w 10000"/>
                <a:gd name="connsiteY302" fmla="*/ 6161 h 10000"/>
                <a:gd name="connsiteX303" fmla="*/ 7745 w 10000"/>
                <a:gd name="connsiteY303" fmla="*/ 6243 h 10000"/>
                <a:gd name="connsiteX304" fmla="*/ 7771 w 10000"/>
                <a:gd name="connsiteY304" fmla="*/ 6285 h 10000"/>
                <a:gd name="connsiteX305" fmla="*/ 7793 w 10000"/>
                <a:gd name="connsiteY305" fmla="*/ 6068 h 10000"/>
                <a:gd name="connsiteX306" fmla="*/ 7912 w 10000"/>
                <a:gd name="connsiteY306" fmla="*/ 6089 h 10000"/>
                <a:gd name="connsiteX307" fmla="*/ 8004 w 10000"/>
                <a:gd name="connsiteY307" fmla="*/ 6367 h 10000"/>
                <a:gd name="connsiteX308" fmla="*/ 8064 w 10000"/>
                <a:gd name="connsiteY308" fmla="*/ 6616 h 10000"/>
                <a:gd name="connsiteX309" fmla="*/ 8111 w 10000"/>
                <a:gd name="connsiteY309" fmla="*/ 6781 h 10000"/>
                <a:gd name="connsiteX310" fmla="*/ 8048 w 10000"/>
                <a:gd name="connsiteY310" fmla="*/ 6491 h 10000"/>
                <a:gd name="connsiteX311" fmla="*/ 8124 w 10000"/>
                <a:gd name="connsiteY311" fmla="*/ 6336 h 10000"/>
                <a:gd name="connsiteX312" fmla="*/ 8177 w 10000"/>
                <a:gd name="connsiteY312" fmla="*/ 6512 h 10000"/>
                <a:gd name="connsiteX313" fmla="*/ 8300 w 10000"/>
                <a:gd name="connsiteY313" fmla="*/ 6987 h 10000"/>
                <a:gd name="connsiteX314" fmla="*/ 8361 w 10000"/>
                <a:gd name="connsiteY314" fmla="*/ 7152 h 10000"/>
                <a:gd name="connsiteX315" fmla="*/ 8490 w 10000"/>
                <a:gd name="connsiteY315" fmla="*/ 7482 h 10000"/>
                <a:gd name="connsiteX316" fmla="*/ 8604 w 10000"/>
                <a:gd name="connsiteY316" fmla="*/ 7854 h 10000"/>
                <a:gd name="connsiteX317" fmla="*/ 8474 w 10000"/>
                <a:gd name="connsiteY317" fmla="*/ 7647 h 10000"/>
                <a:gd name="connsiteX318" fmla="*/ 8443 w 10000"/>
                <a:gd name="connsiteY318" fmla="*/ 7678 h 10000"/>
                <a:gd name="connsiteX319" fmla="*/ 8512 w 10000"/>
                <a:gd name="connsiteY319" fmla="*/ 8050 h 10000"/>
                <a:gd name="connsiteX320" fmla="*/ 8588 w 10000"/>
                <a:gd name="connsiteY320" fmla="*/ 8266 h 10000"/>
                <a:gd name="connsiteX321" fmla="*/ 8642 w 10000"/>
                <a:gd name="connsiteY321" fmla="*/ 8472 h 10000"/>
                <a:gd name="connsiteX322" fmla="*/ 8566 w 10000"/>
                <a:gd name="connsiteY322" fmla="*/ 8421 h 10000"/>
                <a:gd name="connsiteX323" fmla="*/ 8556 w 10000"/>
                <a:gd name="connsiteY323" fmla="*/ 8669 h 10000"/>
                <a:gd name="connsiteX324" fmla="*/ 8497 w 10000"/>
                <a:gd name="connsiteY324" fmla="*/ 8493 h 10000"/>
                <a:gd name="connsiteX325" fmla="*/ 8481 w 10000"/>
                <a:gd name="connsiteY325" fmla="*/ 8421 h 10000"/>
                <a:gd name="connsiteX326" fmla="*/ 8361 w 10000"/>
                <a:gd name="connsiteY326" fmla="*/ 7751 h 10000"/>
                <a:gd name="connsiteX327" fmla="*/ 8322 w 10000"/>
                <a:gd name="connsiteY327" fmla="*/ 7524 h 10000"/>
                <a:gd name="connsiteX328" fmla="*/ 8291 w 10000"/>
                <a:gd name="connsiteY328" fmla="*/ 7378 h 10000"/>
                <a:gd name="connsiteX329" fmla="*/ 8275 w 10000"/>
                <a:gd name="connsiteY329" fmla="*/ 7306 h 10000"/>
                <a:gd name="connsiteX330" fmla="*/ 8139 w 10000"/>
                <a:gd name="connsiteY330" fmla="*/ 6863 h 10000"/>
                <a:gd name="connsiteX331" fmla="*/ 8199 w 10000"/>
                <a:gd name="connsiteY331" fmla="*/ 7451 h 10000"/>
                <a:gd name="connsiteX332" fmla="*/ 8247 w 10000"/>
                <a:gd name="connsiteY332" fmla="*/ 7998 h 10000"/>
                <a:gd name="connsiteX333" fmla="*/ 8177 w 10000"/>
                <a:gd name="connsiteY333" fmla="*/ 9133 h 10000"/>
                <a:gd name="connsiteX334" fmla="*/ 8124 w 10000"/>
                <a:gd name="connsiteY334" fmla="*/ 9484 h 10000"/>
                <a:gd name="connsiteX335" fmla="*/ 7972 w 10000"/>
                <a:gd name="connsiteY335" fmla="*/ 9432 h 10000"/>
                <a:gd name="connsiteX336" fmla="*/ 7897 w 10000"/>
                <a:gd name="connsiteY336" fmla="*/ 9660 h 10000"/>
                <a:gd name="connsiteX337" fmla="*/ 7868 w 10000"/>
                <a:gd name="connsiteY337" fmla="*/ 9588 h 10000"/>
                <a:gd name="connsiteX338" fmla="*/ 7884 w 10000"/>
                <a:gd name="connsiteY338" fmla="*/ 9536 h 10000"/>
                <a:gd name="connsiteX339" fmla="*/ 7897 w 10000"/>
                <a:gd name="connsiteY339" fmla="*/ 9380 h 10000"/>
                <a:gd name="connsiteX340" fmla="*/ 7884 w 10000"/>
                <a:gd name="connsiteY340" fmla="*/ 9236 h 10000"/>
                <a:gd name="connsiteX341" fmla="*/ 7793 w 10000"/>
                <a:gd name="connsiteY341" fmla="*/ 8865 h 10000"/>
                <a:gd name="connsiteX342" fmla="*/ 7831 w 10000"/>
                <a:gd name="connsiteY342" fmla="*/ 8741 h 10000"/>
                <a:gd name="connsiteX343" fmla="*/ 7928 w 10000"/>
                <a:gd name="connsiteY343" fmla="*/ 8844 h 10000"/>
                <a:gd name="connsiteX344" fmla="*/ 7912 w 10000"/>
                <a:gd name="connsiteY344" fmla="*/ 8318 h 10000"/>
                <a:gd name="connsiteX345" fmla="*/ 7906 w 10000"/>
                <a:gd name="connsiteY345" fmla="*/ 8019 h 10000"/>
                <a:gd name="connsiteX346" fmla="*/ 7846 w 10000"/>
                <a:gd name="connsiteY346" fmla="*/ 7802 h 10000"/>
                <a:gd name="connsiteX347" fmla="*/ 7723 w 10000"/>
                <a:gd name="connsiteY347" fmla="*/ 8050 h 10000"/>
                <a:gd name="connsiteX348" fmla="*/ 7619 w 10000"/>
                <a:gd name="connsiteY348" fmla="*/ 8019 h 10000"/>
                <a:gd name="connsiteX349" fmla="*/ 7528 w 10000"/>
                <a:gd name="connsiteY349" fmla="*/ 7699 h 10000"/>
                <a:gd name="connsiteX350" fmla="*/ 7355 w 10000"/>
                <a:gd name="connsiteY350" fmla="*/ 7482 h 10000"/>
                <a:gd name="connsiteX351" fmla="*/ 7279 w 10000"/>
                <a:gd name="connsiteY351" fmla="*/ 7482 h 10000"/>
                <a:gd name="connsiteX352" fmla="*/ 7080 w 10000"/>
                <a:gd name="connsiteY352" fmla="*/ 6781 h 10000"/>
                <a:gd name="connsiteX353" fmla="*/ 6901 w 10000"/>
                <a:gd name="connsiteY353" fmla="*/ 6460 h 10000"/>
                <a:gd name="connsiteX354" fmla="*/ 6724 w 10000"/>
                <a:gd name="connsiteY354" fmla="*/ 6336 h 10000"/>
                <a:gd name="connsiteX355" fmla="*/ 6583 w 10000"/>
                <a:gd name="connsiteY355" fmla="*/ 6408 h 10000"/>
                <a:gd name="connsiteX356" fmla="*/ 6567 w 10000"/>
                <a:gd name="connsiteY356" fmla="*/ 6585 h 10000"/>
                <a:gd name="connsiteX357" fmla="*/ 6664 w 10000"/>
                <a:gd name="connsiteY357" fmla="*/ 6760 h 10000"/>
                <a:gd name="connsiteX358" fmla="*/ 6636 w 10000"/>
                <a:gd name="connsiteY358" fmla="*/ 6935 h 10000"/>
                <a:gd name="connsiteX359" fmla="*/ 6636 w 10000"/>
                <a:gd name="connsiteY359" fmla="*/ 7399 h 10000"/>
                <a:gd name="connsiteX360" fmla="*/ 6560 w 10000"/>
                <a:gd name="connsiteY360" fmla="*/ 7482 h 10000"/>
                <a:gd name="connsiteX361" fmla="*/ 6485 w 10000"/>
                <a:gd name="connsiteY361" fmla="*/ 7378 h 10000"/>
                <a:gd name="connsiteX362" fmla="*/ 6400 w 10000"/>
                <a:gd name="connsiteY362" fmla="*/ 7399 h 10000"/>
                <a:gd name="connsiteX363" fmla="*/ 6334 w 10000"/>
                <a:gd name="connsiteY363" fmla="*/ 7275 h 10000"/>
                <a:gd name="connsiteX364" fmla="*/ 6258 w 10000"/>
                <a:gd name="connsiteY364" fmla="*/ 7358 h 10000"/>
                <a:gd name="connsiteX365" fmla="*/ 6220 w 10000"/>
                <a:gd name="connsiteY365" fmla="*/ 7524 h 10000"/>
                <a:gd name="connsiteX366" fmla="*/ 6081 w 10000"/>
                <a:gd name="connsiteY366" fmla="*/ 7606 h 10000"/>
                <a:gd name="connsiteX367" fmla="*/ 5892 w 10000"/>
                <a:gd name="connsiteY367" fmla="*/ 7575 h 10000"/>
                <a:gd name="connsiteX368" fmla="*/ 5855 w 10000"/>
                <a:gd name="connsiteY368" fmla="*/ 7327 h 10000"/>
                <a:gd name="connsiteX369" fmla="*/ 5643 w 10000"/>
                <a:gd name="connsiteY369" fmla="*/ 7255 h 10000"/>
                <a:gd name="connsiteX370" fmla="*/ 5539 w 10000"/>
                <a:gd name="connsiteY370" fmla="*/ 7358 h 10000"/>
                <a:gd name="connsiteX371" fmla="*/ 5416 w 10000"/>
                <a:gd name="connsiteY371" fmla="*/ 7203 h 10000"/>
                <a:gd name="connsiteX372" fmla="*/ 5372 w 10000"/>
                <a:gd name="connsiteY372"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3584 w 10000"/>
                <a:gd name="connsiteY8" fmla="*/ 6388 h 10000"/>
                <a:gd name="connsiteX9" fmla="*/ 1610 w 10000"/>
                <a:gd name="connsiteY9" fmla="*/ 7183 h 10000"/>
                <a:gd name="connsiteX10" fmla="*/ 1655 w 10000"/>
                <a:gd name="connsiteY10" fmla="*/ 7430 h 10000"/>
                <a:gd name="connsiteX11" fmla="*/ 1604 w 10000"/>
                <a:gd name="connsiteY11" fmla="*/ 7430 h 10000"/>
                <a:gd name="connsiteX12" fmla="*/ 1551 w 10000"/>
                <a:gd name="connsiteY12" fmla="*/ 7255 h 10000"/>
                <a:gd name="connsiteX13" fmla="*/ 1513 w 10000"/>
                <a:gd name="connsiteY13" fmla="*/ 7430 h 10000"/>
                <a:gd name="connsiteX14" fmla="*/ 1519 w 10000"/>
                <a:gd name="connsiteY14" fmla="*/ 7854 h 10000"/>
                <a:gd name="connsiteX15" fmla="*/ 1604 w 10000"/>
                <a:gd name="connsiteY15" fmla="*/ 8070 h 10000"/>
                <a:gd name="connsiteX16" fmla="*/ 1648 w 10000"/>
                <a:gd name="connsiteY16" fmla="*/ 8019 h 10000"/>
                <a:gd name="connsiteX17" fmla="*/ 1741 w 10000"/>
                <a:gd name="connsiteY17" fmla="*/ 8493 h 10000"/>
                <a:gd name="connsiteX18" fmla="*/ 1610 w 10000"/>
                <a:gd name="connsiteY18" fmla="*/ 8669 h 10000"/>
                <a:gd name="connsiteX19" fmla="*/ 1595 w 10000"/>
                <a:gd name="connsiteY19" fmla="*/ 9009 h 10000"/>
                <a:gd name="connsiteX20" fmla="*/ 1664 w 10000"/>
                <a:gd name="connsiteY20" fmla="*/ 9236 h 10000"/>
                <a:gd name="connsiteX21" fmla="*/ 1664 w 10000"/>
                <a:gd name="connsiteY21" fmla="*/ 9484 h 10000"/>
                <a:gd name="connsiteX22" fmla="*/ 1769 w 10000"/>
                <a:gd name="connsiteY22" fmla="*/ 9835 h 10000"/>
                <a:gd name="connsiteX23" fmla="*/ 1703 w 10000"/>
                <a:gd name="connsiteY23" fmla="*/ 10000 h 10000"/>
                <a:gd name="connsiteX24" fmla="*/ 1604 w 10000"/>
                <a:gd name="connsiteY24" fmla="*/ 9753 h 10000"/>
                <a:gd name="connsiteX25" fmla="*/ 1465 w 10000"/>
                <a:gd name="connsiteY25" fmla="*/ 9505 h 10000"/>
                <a:gd name="connsiteX26" fmla="*/ 1406 w 10000"/>
                <a:gd name="connsiteY26" fmla="*/ 9588 h 10000"/>
                <a:gd name="connsiteX27" fmla="*/ 1308 w 10000"/>
                <a:gd name="connsiteY27" fmla="*/ 9380 h 10000"/>
                <a:gd name="connsiteX28" fmla="*/ 1097 w 10000"/>
                <a:gd name="connsiteY28" fmla="*/ 9339 h 10000"/>
                <a:gd name="connsiteX29" fmla="*/ 848 w 10000"/>
                <a:gd name="connsiteY29" fmla="*/ 8813 h 10000"/>
                <a:gd name="connsiteX30" fmla="*/ 914 w 10000"/>
                <a:gd name="connsiteY30" fmla="*/ 8721 h 10000"/>
                <a:gd name="connsiteX31" fmla="*/ 961 w 10000"/>
                <a:gd name="connsiteY31" fmla="*/ 8493 h 10000"/>
                <a:gd name="connsiteX32" fmla="*/ 908 w 10000"/>
                <a:gd name="connsiteY32" fmla="*/ 8390 h 10000"/>
                <a:gd name="connsiteX33" fmla="*/ 1021 w 10000"/>
                <a:gd name="connsiteY33" fmla="*/ 8245 h 10000"/>
                <a:gd name="connsiteX34" fmla="*/ 945 w 10000"/>
                <a:gd name="connsiteY34" fmla="*/ 8194 h 10000"/>
                <a:gd name="connsiteX35" fmla="*/ 958 w 10000"/>
                <a:gd name="connsiteY35" fmla="*/ 8091 h 10000"/>
                <a:gd name="connsiteX36" fmla="*/ 1005 w 10000"/>
                <a:gd name="connsiteY36" fmla="*/ 8111 h 10000"/>
                <a:gd name="connsiteX37" fmla="*/ 1059 w 10000"/>
                <a:gd name="connsiteY37" fmla="*/ 8019 h 10000"/>
                <a:gd name="connsiteX38" fmla="*/ 1034 w 10000"/>
                <a:gd name="connsiteY38" fmla="*/ 7864 h 10000"/>
                <a:gd name="connsiteX39" fmla="*/ 1043 w 10000"/>
                <a:gd name="connsiteY39" fmla="*/ 7503 h 10000"/>
                <a:gd name="connsiteX40" fmla="*/ 930 w 10000"/>
                <a:gd name="connsiteY40" fmla="*/ 7440 h 10000"/>
                <a:gd name="connsiteX41" fmla="*/ 832 w 10000"/>
                <a:gd name="connsiteY41" fmla="*/ 7286 h 10000"/>
                <a:gd name="connsiteX42" fmla="*/ 700 w 10000"/>
                <a:gd name="connsiteY42" fmla="*/ 7275 h 10000"/>
                <a:gd name="connsiteX43" fmla="*/ 684 w 10000"/>
                <a:gd name="connsiteY43" fmla="*/ 7090 h 10000"/>
                <a:gd name="connsiteX44" fmla="*/ 596 w 10000"/>
                <a:gd name="connsiteY44" fmla="*/ 6945 h 10000"/>
                <a:gd name="connsiteX45" fmla="*/ 615 w 10000"/>
                <a:gd name="connsiteY45" fmla="*/ 6822 h 10000"/>
                <a:gd name="connsiteX46" fmla="*/ 561 w 10000"/>
                <a:gd name="connsiteY46" fmla="*/ 6698 h 10000"/>
                <a:gd name="connsiteX47" fmla="*/ 457 w 10000"/>
                <a:gd name="connsiteY47" fmla="*/ 6698 h 10000"/>
                <a:gd name="connsiteX48" fmla="*/ 425 w 10000"/>
                <a:gd name="connsiteY48" fmla="*/ 6791 h 10000"/>
                <a:gd name="connsiteX49" fmla="*/ 400 w 10000"/>
                <a:gd name="connsiteY49" fmla="*/ 6750 h 10000"/>
                <a:gd name="connsiteX50" fmla="*/ 378 w 10000"/>
                <a:gd name="connsiteY50" fmla="*/ 6439 h 10000"/>
                <a:gd name="connsiteX51" fmla="*/ 419 w 10000"/>
                <a:gd name="connsiteY51" fmla="*/ 6470 h 10000"/>
                <a:gd name="connsiteX52" fmla="*/ 466 w 10000"/>
                <a:gd name="connsiteY52" fmla="*/ 6347 h 10000"/>
                <a:gd name="connsiteX53" fmla="*/ 400 w 10000"/>
                <a:gd name="connsiteY53" fmla="*/ 6233 h 10000"/>
                <a:gd name="connsiteX54" fmla="*/ 315 w 10000"/>
                <a:gd name="connsiteY54" fmla="*/ 6017 h 10000"/>
                <a:gd name="connsiteX55" fmla="*/ 334 w 10000"/>
                <a:gd name="connsiteY55" fmla="*/ 5821 h 10000"/>
                <a:gd name="connsiteX56" fmla="*/ 274 w 10000"/>
                <a:gd name="connsiteY56" fmla="*/ 5697 h 10000"/>
                <a:gd name="connsiteX57" fmla="*/ 227 w 10000"/>
                <a:gd name="connsiteY57" fmla="*/ 5728 h 10000"/>
                <a:gd name="connsiteX58" fmla="*/ 202 w 10000"/>
                <a:gd name="connsiteY58" fmla="*/ 5604 h 10000"/>
                <a:gd name="connsiteX59" fmla="*/ 164 w 10000"/>
                <a:gd name="connsiteY59" fmla="*/ 5645 h 10000"/>
                <a:gd name="connsiteX60" fmla="*/ 117 w 10000"/>
                <a:gd name="connsiteY60" fmla="*/ 5604 h 10000"/>
                <a:gd name="connsiteX61" fmla="*/ 69 w 10000"/>
                <a:gd name="connsiteY61" fmla="*/ 5181 h 10000"/>
                <a:gd name="connsiteX62" fmla="*/ 85 w 10000"/>
                <a:gd name="connsiteY62" fmla="*/ 5057 h 10000"/>
                <a:gd name="connsiteX63" fmla="*/ 41 w 10000"/>
                <a:gd name="connsiteY63" fmla="*/ 4892 h 10000"/>
                <a:gd name="connsiteX64" fmla="*/ 66 w 10000"/>
                <a:gd name="connsiteY64" fmla="*/ 4655 h 10000"/>
                <a:gd name="connsiteX65" fmla="*/ 211 w 10000"/>
                <a:gd name="connsiteY65" fmla="*/ 4510 h 10000"/>
                <a:gd name="connsiteX66" fmla="*/ 129 w 10000"/>
                <a:gd name="connsiteY66" fmla="*/ 4406 h 10000"/>
                <a:gd name="connsiteX67" fmla="*/ 82 w 10000"/>
                <a:gd name="connsiteY67" fmla="*/ 4283 h 10000"/>
                <a:gd name="connsiteX68" fmla="*/ 205 w 10000"/>
                <a:gd name="connsiteY68" fmla="*/ 3912 h 10000"/>
                <a:gd name="connsiteX69" fmla="*/ 249 w 10000"/>
                <a:gd name="connsiteY69" fmla="*/ 3664 h 10000"/>
                <a:gd name="connsiteX70" fmla="*/ 151 w 10000"/>
                <a:gd name="connsiteY70" fmla="*/ 3488 h 10000"/>
                <a:gd name="connsiteX71" fmla="*/ 189 w 10000"/>
                <a:gd name="connsiteY71" fmla="*/ 3344 h 10000"/>
                <a:gd name="connsiteX72" fmla="*/ 113 w 10000"/>
                <a:gd name="connsiteY72" fmla="*/ 3148 h 10000"/>
                <a:gd name="connsiteX73" fmla="*/ 113 w 10000"/>
                <a:gd name="connsiteY73" fmla="*/ 2972 h 10000"/>
                <a:gd name="connsiteX74" fmla="*/ 60 w 10000"/>
                <a:gd name="connsiteY74" fmla="*/ 2622 h 10000"/>
                <a:gd name="connsiteX75" fmla="*/ 98 w 10000"/>
                <a:gd name="connsiteY75" fmla="*/ 2404 h 10000"/>
                <a:gd name="connsiteX76" fmla="*/ 38 w 10000"/>
                <a:gd name="connsiteY76" fmla="*/ 2301 h 10000"/>
                <a:gd name="connsiteX77" fmla="*/ 0 w 10000"/>
                <a:gd name="connsiteY77" fmla="*/ 2178 h 10000"/>
                <a:gd name="connsiteX78" fmla="*/ 54 w 10000"/>
                <a:gd name="connsiteY78" fmla="*/ 1951 h 10000"/>
                <a:gd name="connsiteX79" fmla="*/ 120 w 10000"/>
                <a:gd name="connsiteY79" fmla="*/ 1910 h 10000"/>
                <a:gd name="connsiteX80" fmla="*/ 195 w 10000"/>
                <a:gd name="connsiteY80" fmla="*/ 1858 h 10000"/>
                <a:gd name="connsiteX81" fmla="*/ 309 w 10000"/>
                <a:gd name="connsiteY81" fmla="*/ 1951 h 10000"/>
                <a:gd name="connsiteX82" fmla="*/ 482 w 10000"/>
                <a:gd name="connsiteY82" fmla="*/ 2054 h 10000"/>
                <a:gd name="connsiteX83" fmla="*/ 633 w 10000"/>
                <a:gd name="connsiteY83" fmla="*/ 2229 h 10000"/>
                <a:gd name="connsiteX84" fmla="*/ 756 w 10000"/>
                <a:gd name="connsiteY84" fmla="*/ 2373 h 10000"/>
                <a:gd name="connsiteX85" fmla="*/ 725 w 10000"/>
                <a:gd name="connsiteY85" fmla="*/ 2777 h 10000"/>
                <a:gd name="connsiteX86" fmla="*/ 362 w 10000"/>
                <a:gd name="connsiteY86" fmla="*/ 2673 h 10000"/>
                <a:gd name="connsiteX87" fmla="*/ 243 w 10000"/>
                <a:gd name="connsiteY87" fmla="*/ 2550 h 10000"/>
                <a:gd name="connsiteX88" fmla="*/ 287 w 10000"/>
                <a:gd name="connsiteY88" fmla="*/ 2622 h 10000"/>
                <a:gd name="connsiteX89" fmla="*/ 331 w 10000"/>
                <a:gd name="connsiteY89" fmla="*/ 2797 h 10000"/>
                <a:gd name="connsiteX90" fmla="*/ 400 w 10000"/>
                <a:gd name="connsiteY90" fmla="*/ 2921 h 10000"/>
                <a:gd name="connsiteX91" fmla="*/ 416 w 10000"/>
                <a:gd name="connsiteY91" fmla="*/ 3189 h 10000"/>
                <a:gd name="connsiteX92" fmla="*/ 507 w 10000"/>
                <a:gd name="connsiteY92" fmla="*/ 3313 h 10000"/>
                <a:gd name="connsiteX93" fmla="*/ 583 w 10000"/>
                <a:gd name="connsiteY93" fmla="*/ 3436 h 10000"/>
                <a:gd name="connsiteX94" fmla="*/ 605 w 10000"/>
                <a:gd name="connsiteY94" fmla="*/ 3467 h 10000"/>
                <a:gd name="connsiteX95" fmla="*/ 649 w 10000"/>
                <a:gd name="connsiteY95" fmla="*/ 3436 h 10000"/>
                <a:gd name="connsiteX96" fmla="*/ 633 w 10000"/>
                <a:gd name="connsiteY96" fmla="*/ 3364 h 10000"/>
                <a:gd name="connsiteX97" fmla="*/ 545 w 10000"/>
                <a:gd name="connsiteY97" fmla="*/ 3189 h 10000"/>
                <a:gd name="connsiteX98" fmla="*/ 801 w 10000"/>
                <a:gd name="connsiteY98" fmla="*/ 3344 h 10000"/>
                <a:gd name="connsiteX99" fmla="*/ 810 w 10000"/>
                <a:gd name="connsiteY99" fmla="*/ 3271 h 10000"/>
                <a:gd name="connsiteX100" fmla="*/ 785 w 10000"/>
                <a:gd name="connsiteY100" fmla="*/ 3220 h 10000"/>
                <a:gd name="connsiteX101" fmla="*/ 741 w 10000"/>
                <a:gd name="connsiteY101" fmla="*/ 2993 h 10000"/>
                <a:gd name="connsiteX102" fmla="*/ 870 w 10000"/>
                <a:gd name="connsiteY102" fmla="*/ 2777 h 10000"/>
                <a:gd name="connsiteX103" fmla="*/ 968 w 10000"/>
                <a:gd name="connsiteY103" fmla="*/ 2921 h 10000"/>
                <a:gd name="connsiteX104" fmla="*/ 999 w 10000"/>
                <a:gd name="connsiteY104" fmla="*/ 2725 h 10000"/>
                <a:gd name="connsiteX105" fmla="*/ 952 w 10000"/>
                <a:gd name="connsiteY105" fmla="*/ 2653 h 10000"/>
                <a:gd name="connsiteX106" fmla="*/ 936 w 10000"/>
                <a:gd name="connsiteY106" fmla="*/ 2281 h 10000"/>
                <a:gd name="connsiteX107" fmla="*/ 914 w 10000"/>
                <a:gd name="connsiteY107" fmla="*/ 2229 h 10000"/>
                <a:gd name="connsiteX108" fmla="*/ 1037 w 10000"/>
                <a:gd name="connsiteY108" fmla="*/ 2250 h 10000"/>
                <a:gd name="connsiteX109" fmla="*/ 1087 w 10000"/>
                <a:gd name="connsiteY109" fmla="*/ 2404 h 10000"/>
                <a:gd name="connsiteX110" fmla="*/ 1021 w 10000"/>
                <a:gd name="connsiteY110" fmla="*/ 2529 h 10000"/>
                <a:gd name="connsiteX111" fmla="*/ 1135 w 10000"/>
                <a:gd name="connsiteY111" fmla="*/ 2694 h 10000"/>
                <a:gd name="connsiteX112" fmla="*/ 1226 w 10000"/>
                <a:gd name="connsiteY112" fmla="*/ 2529 h 10000"/>
                <a:gd name="connsiteX113" fmla="*/ 1339 w 10000"/>
                <a:gd name="connsiteY113" fmla="*/ 2301 h 10000"/>
                <a:gd name="connsiteX114" fmla="*/ 1459 w 10000"/>
                <a:gd name="connsiteY114" fmla="*/ 2157 h 10000"/>
                <a:gd name="connsiteX115" fmla="*/ 1497 w 10000"/>
                <a:gd name="connsiteY115" fmla="*/ 2250 h 10000"/>
                <a:gd name="connsiteX116" fmla="*/ 1807 w 10000"/>
                <a:gd name="connsiteY116" fmla="*/ 2054 h 10000"/>
                <a:gd name="connsiteX117" fmla="*/ 1870 w 10000"/>
                <a:gd name="connsiteY117" fmla="*/ 2250 h 10000"/>
                <a:gd name="connsiteX118" fmla="*/ 1860 w 10000"/>
                <a:gd name="connsiteY118" fmla="*/ 2002 h 10000"/>
                <a:gd name="connsiteX119" fmla="*/ 1778 w 10000"/>
                <a:gd name="connsiteY119" fmla="*/ 1786 h 10000"/>
                <a:gd name="connsiteX120" fmla="*/ 1763 w 10000"/>
                <a:gd name="connsiteY120" fmla="*/ 1703 h 10000"/>
                <a:gd name="connsiteX121" fmla="*/ 1823 w 10000"/>
                <a:gd name="connsiteY121" fmla="*/ 1786 h 10000"/>
                <a:gd name="connsiteX122" fmla="*/ 2034 w 10000"/>
                <a:gd name="connsiteY122" fmla="*/ 1951 h 10000"/>
                <a:gd name="connsiteX123" fmla="*/ 2270 w 10000"/>
                <a:gd name="connsiteY123" fmla="*/ 2126 h 10000"/>
                <a:gd name="connsiteX124" fmla="*/ 2384 w 10000"/>
                <a:gd name="connsiteY124" fmla="*/ 2250 h 10000"/>
                <a:gd name="connsiteX125" fmla="*/ 2421 w 10000"/>
                <a:gd name="connsiteY125" fmla="*/ 2074 h 10000"/>
                <a:gd name="connsiteX126" fmla="*/ 2368 w 10000"/>
                <a:gd name="connsiteY126" fmla="*/ 2033 h 10000"/>
                <a:gd name="connsiteX127" fmla="*/ 2299 w 10000"/>
                <a:gd name="connsiteY127" fmla="*/ 1930 h 10000"/>
                <a:gd name="connsiteX128" fmla="*/ 2254 w 10000"/>
                <a:gd name="connsiteY128" fmla="*/ 1734 h 10000"/>
                <a:gd name="connsiteX129" fmla="*/ 2185 w 10000"/>
                <a:gd name="connsiteY129" fmla="*/ 1486 h 10000"/>
                <a:gd name="connsiteX130" fmla="*/ 2210 w 10000"/>
                <a:gd name="connsiteY130" fmla="*/ 1434 h 10000"/>
                <a:gd name="connsiteX131" fmla="*/ 2232 w 10000"/>
                <a:gd name="connsiteY131" fmla="*/ 1455 h 10000"/>
                <a:gd name="connsiteX132" fmla="*/ 2292 w 10000"/>
                <a:gd name="connsiteY132" fmla="*/ 1115 h 10000"/>
                <a:gd name="connsiteX133" fmla="*/ 2443 w 10000"/>
                <a:gd name="connsiteY133" fmla="*/ 1135 h 10000"/>
                <a:gd name="connsiteX134" fmla="*/ 2488 w 10000"/>
                <a:gd name="connsiteY134" fmla="*/ 1311 h 10000"/>
                <a:gd name="connsiteX135" fmla="*/ 2519 w 10000"/>
                <a:gd name="connsiteY135" fmla="*/ 1538 h 10000"/>
                <a:gd name="connsiteX136" fmla="*/ 2573 w 10000"/>
                <a:gd name="connsiteY136" fmla="*/ 1734 h 10000"/>
                <a:gd name="connsiteX137" fmla="*/ 2670 w 10000"/>
                <a:gd name="connsiteY137" fmla="*/ 2157 h 10000"/>
                <a:gd name="connsiteX138" fmla="*/ 2481 w 10000"/>
                <a:gd name="connsiteY138" fmla="*/ 2673 h 10000"/>
                <a:gd name="connsiteX139" fmla="*/ 2557 w 10000"/>
                <a:gd name="connsiteY139" fmla="*/ 2746 h 10000"/>
                <a:gd name="connsiteX140" fmla="*/ 2655 w 10000"/>
                <a:gd name="connsiteY140" fmla="*/ 2818 h 10000"/>
                <a:gd name="connsiteX141" fmla="*/ 2784 w 10000"/>
                <a:gd name="connsiteY141" fmla="*/ 2622 h 10000"/>
                <a:gd name="connsiteX142" fmla="*/ 2790 w 10000"/>
                <a:gd name="connsiteY142" fmla="*/ 2404 h 10000"/>
                <a:gd name="connsiteX143" fmla="*/ 2746 w 10000"/>
                <a:gd name="connsiteY143" fmla="*/ 2301 h 10000"/>
                <a:gd name="connsiteX144" fmla="*/ 2919 w 10000"/>
                <a:gd name="connsiteY144" fmla="*/ 2250 h 10000"/>
                <a:gd name="connsiteX145" fmla="*/ 2989 w 10000"/>
                <a:gd name="connsiteY145" fmla="*/ 2497 h 10000"/>
                <a:gd name="connsiteX146" fmla="*/ 2989 w 10000"/>
                <a:gd name="connsiteY146" fmla="*/ 2425 h 10000"/>
                <a:gd name="connsiteX147" fmla="*/ 2973 w 10000"/>
                <a:gd name="connsiteY147" fmla="*/ 2353 h 10000"/>
                <a:gd name="connsiteX148" fmla="*/ 2967 w 10000"/>
                <a:gd name="connsiteY148" fmla="*/ 2178 h 10000"/>
                <a:gd name="connsiteX149" fmla="*/ 2800 w 10000"/>
                <a:gd name="connsiteY149" fmla="*/ 1930 h 10000"/>
                <a:gd name="connsiteX150" fmla="*/ 2670 w 10000"/>
                <a:gd name="connsiteY150" fmla="*/ 2002 h 10000"/>
                <a:gd name="connsiteX151" fmla="*/ 2617 w 10000"/>
                <a:gd name="connsiteY151" fmla="*/ 1683 h 10000"/>
                <a:gd name="connsiteX152" fmla="*/ 2563 w 10000"/>
                <a:gd name="connsiteY152" fmla="*/ 1507 h 10000"/>
                <a:gd name="connsiteX153" fmla="*/ 2617 w 10000"/>
                <a:gd name="connsiteY153" fmla="*/ 1331 h 10000"/>
                <a:gd name="connsiteX154" fmla="*/ 2611 w 10000"/>
                <a:gd name="connsiteY154" fmla="*/ 1166 h 10000"/>
                <a:gd name="connsiteX155" fmla="*/ 2588 w 10000"/>
                <a:gd name="connsiteY155" fmla="*/ 1115 h 10000"/>
                <a:gd name="connsiteX156" fmla="*/ 2626 w 10000"/>
                <a:gd name="connsiteY156" fmla="*/ 1115 h 10000"/>
                <a:gd name="connsiteX157" fmla="*/ 2670 w 10000"/>
                <a:gd name="connsiteY157" fmla="*/ 1455 h 10000"/>
                <a:gd name="connsiteX158" fmla="*/ 2891 w 10000"/>
                <a:gd name="connsiteY158" fmla="*/ 1662 h 10000"/>
                <a:gd name="connsiteX159" fmla="*/ 2724 w 10000"/>
                <a:gd name="connsiteY159" fmla="*/ 1383 h 10000"/>
                <a:gd name="connsiteX160" fmla="*/ 3049 w 10000"/>
                <a:gd name="connsiteY160" fmla="*/ 1383 h 10000"/>
                <a:gd name="connsiteX161" fmla="*/ 3102 w 10000"/>
                <a:gd name="connsiteY161" fmla="*/ 1362 h 10000"/>
                <a:gd name="connsiteX162" fmla="*/ 2897 w 10000"/>
                <a:gd name="connsiteY162" fmla="*/ 1115 h 10000"/>
                <a:gd name="connsiteX163" fmla="*/ 2951 w 10000"/>
                <a:gd name="connsiteY163" fmla="*/ 888 h 10000"/>
                <a:gd name="connsiteX164" fmla="*/ 3178 w 10000"/>
                <a:gd name="connsiteY164" fmla="*/ 888 h 10000"/>
                <a:gd name="connsiteX165" fmla="*/ 3156 w 10000"/>
                <a:gd name="connsiteY165" fmla="*/ 713 h 10000"/>
                <a:gd name="connsiteX166" fmla="*/ 3231 w 10000"/>
                <a:gd name="connsiteY166" fmla="*/ 589 h 10000"/>
                <a:gd name="connsiteX167" fmla="*/ 3276 w 10000"/>
                <a:gd name="connsiteY167" fmla="*/ 548 h 10000"/>
                <a:gd name="connsiteX168" fmla="*/ 3443 w 10000"/>
                <a:gd name="connsiteY168" fmla="*/ 423 h 10000"/>
                <a:gd name="connsiteX169" fmla="*/ 3487 w 10000"/>
                <a:gd name="connsiteY169" fmla="*/ 371 h 10000"/>
                <a:gd name="connsiteX170" fmla="*/ 3480 w 10000"/>
                <a:gd name="connsiteY170" fmla="*/ 444 h 10000"/>
                <a:gd name="connsiteX171" fmla="*/ 3660 w 10000"/>
                <a:gd name="connsiteY171" fmla="*/ 371 h 10000"/>
                <a:gd name="connsiteX172" fmla="*/ 3805 w 10000"/>
                <a:gd name="connsiteY172" fmla="*/ 248 h 10000"/>
                <a:gd name="connsiteX173" fmla="*/ 3827 w 10000"/>
                <a:gd name="connsiteY173" fmla="*/ 0 h 10000"/>
                <a:gd name="connsiteX174" fmla="*/ 3988 w 10000"/>
                <a:gd name="connsiteY174" fmla="*/ 21 h 10000"/>
                <a:gd name="connsiteX175" fmla="*/ 3978 w 10000"/>
                <a:gd name="connsiteY175" fmla="*/ 93 h 10000"/>
                <a:gd name="connsiteX176" fmla="*/ 3988 w 10000"/>
                <a:gd name="connsiteY176" fmla="*/ 176 h 10000"/>
                <a:gd name="connsiteX177" fmla="*/ 4085 w 10000"/>
                <a:gd name="connsiteY177" fmla="*/ 248 h 10000"/>
                <a:gd name="connsiteX178" fmla="*/ 4379 w 10000"/>
                <a:gd name="connsiteY178" fmla="*/ 268 h 10000"/>
                <a:gd name="connsiteX179" fmla="*/ 4539 w 10000"/>
                <a:gd name="connsiteY179" fmla="*/ 392 h 10000"/>
                <a:gd name="connsiteX180" fmla="*/ 4486 w 10000"/>
                <a:gd name="connsiteY180" fmla="*/ 795 h 10000"/>
                <a:gd name="connsiteX181" fmla="*/ 4426 w 10000"/>
                <a:gd name="connsiteY181" fmla="*/ 919 h 10000"/>
                <a:gd name="connsiteX182" fmla="*/ 4356 w 10000"/>
                <a:gd name="connsiteY182" fmla="*/ 1043 h 10000"/>
                <a:gd name="connsiteX183" fmla="*/ 4372 w 10000"/>
                <a:gd name="connsiteY183" fmla="*/ 1115 h 10000"/>
                <a:gd name="connsiteX184" fmla="*/ 4583 w 10000"/>
                <a:gd name="connsiteY184" fmla="*/ 919 h 10000"/>
                <a:gd name="connsiteX185" fmla="*/ 5060 w 10000"/>
                <a:gd name="connsiteY185" fmla="*/ 991 h 10000"/>
                <a:gd name="connsiteX186" fmla="*/ 5108 w 10000"/>
                <a:gd name="connsiteY186" fmla="*/ 1063 h 10000"/>
                <a:gd name="connsiteX187" fmla="*/ 5212 w 10000"/>
                <a:gd name="connsiteY187" fmla="*/ 1187 h 10000"/>
                <a:gd name="connsiteX188" fmla="*/ 5357 w 10000"/>
                <a:gd name="connsiteY188" fmla="*/ 919 h 10000"/>
                <a:gd name="connsiteX189" fmla="*/ 5577 w 10000"/>
                <a:gd name="connsiteY189" fmla="*/ 1063 h 10000"/>
                <a:gd name="connsiteX190" fmla="*/ 5643 w 10000"/>
                <a:gd name="connsiteY190" fmla="*/ 1115 h 10000"/>
                <a:gd name="connsiteX191" fmla="*/ 5697 w 10000"/>
                <a:gd name="connsiteY191" fmla="*/ 1166 h 10000"/>
                <a:gd name="connsiteX192" fmla="*/ 5908 w 10000"/>
                <a:gd name="connsiteY192" fmla="*/ 1631 h 10000"/>
                <a:gd name="connsiteX193" fmla="*/ 5984 w 10000"/>
                <a:gd name="connsiteY193" fmla="*/ 1611 h 10000"/>
                <a:gd name="connsiteX194" fmla="*/ 5977 w 10000"/>
                <a:gd name="connsiteY194" fmla="*/ 1507 h 10000"/>
                <a:gd name="connsiteX195" fmla="*/ 5984 w 10000"/>
                <a:gd name="connsiteY195" fmla="*/ 1383 h 10000"/>
                <a:gd name="connsiteX196" fmla="*/ 6091 w 10000"/>
                <a:gd name="connsiteY196" fmla="*/ 1486 h 10000"/>
                <a:gd name="connsiteX197" fmla="*/ 6264 w 10000"/>
                <a:gd name="connsiteY197" fmla="*/ 1507 h 10000"/>
                <a:gd name="connsiteX198" fmla="*/ 6409 w 10000"/>
                <a:gd name="connsiteY198" fmla="*/ 1455 h 10000"/>
                <a:gd name="connsiteX199" fmla="*/ 6340 w 10000"/>
                <a:gd name="connsiteY199" fmla="*/ 1362 h 10000"/>
                <a:gd name="connsiteX200" fmla="*/ 6431 w 10000"/>
                <a:gd name="connsiteY200" fmla="*/ 1084 h 10000"/>
                <a:gd name="connsiteX201" fmla="*/ 6687 w 10000"/>
                <a:gd name="connsiteY201" fmla="*/ 1207 h 10000"/>
                <a:gd name="connsiteX202" fmla="*/ 6945 w 10000"/>
                <a:gd name="connsiteY202" fmla="*/ 1331 h 10000"/>
                <a:gd name="connsiteX203" fmla="*/ 6967 w 10000"/>
                <a:gd name="connsiteY203" fmla="*/ 1362 h 10000"/>
                <a:gd name="connsiteX204" fmla="*/ 7194 w 10000"/>
                <a:gd name="connsiteY204" fmla="*/ 1611 h 10000"/>
                <a:gd name="connsiteX205" fmla="*/ 7367 w 10000"/>
                <a:gd name="connsiteY205" fmla="*/ 1507 h 10000"/>
                <a:gd name="connsiteX206" fmla="*/ 7582 w 10000"/>
                <a:gd name="connsiteY206" fmla="*/ 1538 h 10000"/>
                <a:gd name="connsiteX207" fmla="*/ 7657 w 10000"/>
                <a:gd name="connsiteY207" fmla="*/ 1611 h 10000"/>
                <a:gd name="connsiteX208" fmla="*/ 7928 w 10000"/>
                <a:gd name="connsiteY208" fmla="*/ 1930 h 10000"/>
                <a:gd name="connsiteX209" fmla="*/ 8231 w 10000"/>
                <a:gd name="connsiteY209" fmla="*/ 1879 h 10000"/>
                <a:gd name="connsiteX210" fmla="*/ 8339 w 10000"/>
                <a:gd name="connsiteY210" fmla="*/ 2033 h 10000"/>
                <a:gd name="connsiteX211" fmla="*/ 8490 w 10000"/>
                <a:gd name="connsiteY211" fmla="*/ 2157 h 10000"/>
                <a:gd name="connsiteX212" fmla="*/ 8519 w 10000"/>
                <a:gd name="connsiteY212" fmla="*/ 2105 h 10000"/>
                <a:gd name="connsiteX213" fmla="*/ 8497 w 10000"/>
                <a:gd name="connsiteY213" fmla="*/ 2074 h 10000"/>
                <a:gd name="connsiteX214" fmla="*/ 8383 w 10000"/>
                <a:gd name="connsiteY214" fmla="*/ 1930 h 10000"/>
                <a:gd name="connsiteX215" fmla="*/ 8465 w 10000"/>
                <a:gd name="connsiteY215" fmla="*/ 1755 h 10000"/>
                <a:gd name="connsiteX216" fmla="*/ 8664 w 10000"/>
                <a:gd name="connsiteY216" fmla="*/ 1910 h 10000"/>
                <a:gd name="connsiteX217" fmla="*/ 8950 w 10000"/>
                <a:gd name="connsiteY217" fmla="*/ 1982 h 10000"/>
                <a:gd name="connsiteX218" fmla="*/ 9206 w 10000"/>
                <a:gd name="connsiteY218" fmla="*/ 2260 h 10000"/>
                <a:gd name="connsiteX219" fmla="*/ 9344 w 10000"/>
                <a:gd name="connsiteY219" fmla="*/ 2332 h 10000"/>
                <a:gd name="connsiteX220" fmla="*/ 9451 w 10000"/>
                <a:gd name="connsiteY220" fmla="*/ 2446 h 10000"/>
                <a:gd name="connsiteX221" fmla="*/ 9574 w 10000"/>
                <a:gd name="connsiteY221" fmla="*/ 2632 h 10000"/>
                <a:gd name="connsiteX222" fmla="*/ 9631 w 10000"/>
                <a:gd name="connsiteY222" fmla="*/ 2756 h 10000"/>
                <a:gd name="connsiteX223" fmla="*/ 9726 w 10000"/>
                <a:gd name="connsiteY223" fmla="*/ 2787 h 10000"/>
                <a:gd name="connsiteX224" fmla="*/ 9590 w 10000"/>
                <a:gd name="connsiteY224" fmla="*/ 2570 h 10000"/>
                <a:gd name="connsiteX225" fmla="*/ 9915 w 10000"/>
                <a:gd name="connsiteY225" fmla="*/ 2756 h 10000"/>
                <a:gd name="connsiteX226" fmla="*/ 10000 w 10000"/>
                <a:gd name="connsiteY226" fmla="*/ 3014 h 10000"/>
                <a:gd name="connsiteX227" fmla="*/ 9934 w 10000"/>
                <a:gd name="connsiteY227" fmla="*/ 2941 h 10000"/>
                <a:gd name="connsiteX228" fmla="*/ 9874 w 10000"/>
                <a:gd name="connsiteY228" fmla="*/ 2952 h 10000"/>
                <a:gd name="connsiteX229" fmla="*/ 10000 w 10000"/>
                <a:gd name="connsiteY229" fmla="*/ 3292 h 10000"/>
                <a:gd name="connsiteX230" fmla="*/ 9845 w 10000"/>
                <a:gd name="connsiteY230" fmla="*/ 3220 h 10000"/>
                <a:gd name="connsiteX231" fmla="*/ 9745 w 10000"/>
                <a:gd name="connsiteY231" fmla="*/ 3075 h 10000"/>
                <a:gd name="connsiteX232" fmla="*/ 9641 w 10000"/>
                <a:gd name="connsiteY232" fmla="*/ 2972 h 10000"/>
                <a:gd name="connsiteX233" fmla="*/ 9555 w 10000"/>
                <a:gd name="connsiteY233" fmla="*/ 3003 h 10000"/>
                <a:gd name="connsiteX234" fmla="*/ 9470 w 10000"/>
                <a:gd name="connsiteY234" fmla="*/ 2787 h 10000"/>
                <a:gd name="connsiteX235" fmla="*/ 9366 w 10000"/>
                <a:gd name="connsiteY235" fmla="*/ 2725 h 10000"/>
                <a:gd name="connsiteX236" fmla="*/ 9461 w 10000"/>
                <a:gd name="connsiteY236" fmla="*/ 2972 h 10000"/>
                <a:gd name="connsiteX237" fmla="*/ 9470 w 10000"/>
                <a:gd name="connsiteY237" fmla="*/ 3230 h 10000"/>
                <a:gd name="connsiteX238" fmla="*/ 9288 w 10000"/>
                <a:gd name="connsiteY238" fmla="*/ 3065 h 10000"/>
                <a:gd name="connsiteX239" fmla="*/ 9262 w 10000"/>
                <a:gd name="connsiteY239" fmla="*/ 3230 h 10000"/>
                <a:gd name="connsiteX240" fmla="*/ 9363 w 10000"/>
                <a:gd name="connsiteY240" fmla="*/ 3230 h 10000"/>
                <a:gd name="connsiteX241" fmla="*/ 9451 w 10000"/>
                <a:gd name="connsiteY241" fmla="*/ 3354 h 10000"/>
                <a:gd name="connsiteX242" fmla="*/ 9659 w 10000"/>
                <a:gd name="connsiteY242" fmla="*/ 3685 h 10000"/>
                <a:gd name="connsiteX243" fmla="*/ 9735 w 10000"/>
                <a:gd name="connsiteY243" fmla="*/ 3839 h 10000"/>
                <a:gd name="connsiteX244" fmla="*/ 9552 w 10000"/>
                <a:gd name="connsiteY244" fmla="*/ 3757 h 10000"/>
                <a:gd name="connsiteX245" fmla="*/ 9451 w 10000"/>
                <a:gd name="connsiteY245" fmla="*/ 4025 h 10000"/>
                <a:gd name="connsiteX246" fmla="*/ 9385 w 10000"/>
                <a:gd name="connsiteY246" fmla="*/ 4283 h 10000"/>
                <a:gd name="connsiteX247" fmla="*/ 9376 w 10000"/>
                <a:gd name="connsiteY247" fmla="*/ 4499 h 10000"/>
                <a:gd name="connsiteX248" fmla="*/ 9335 w 10000"/>
                <a:gd name="connsiteY248" fmla="*/ 4303 h 10000"/>
                <a:gd name="connsiteX249" fmla="*/ 9149 w 10000"/>
                <a:gd name="connsiteY249" fmla="*/ 4314 h 10000"/>
                <a:gd name="connsiteX250" fmla="*/ 9155 w 10000"/>
                <a:gd name="connsiteY250" fmla="*/ 4531 h 10000"/>
                <a:gd name="connsiteX251" fmla="*/ 9061 w 10000"/>
                <a:gd name="connsiteY251" fmla="*/ 4365 h 10000"/>
                <a:gd name="connsiteX252" fmla="*/ 9054 w 10000"/>
                <a:gd name="connsiteY252" fmla="*/ 4521 h 10000"/>
                <a:gd name="connsiteX253" fmla="*/ 8998 w 10000"/>
                <a:gd name="connsiteY253" fmla="*/ 4458 h 10000"/>
                <a:gd name="connsiteX254" fmla="*/ 8966 w 10000"/>
                <a:gd name="connsiteY254" fmla="*/ 4562 h 10000"/>
                <a:gd name="connsiteX255" fmla="*/ 9007 w 10000"/>
                <a:gd name="connsiteY255" fmla="*/ 4686 h 10000"/>
                <a:gd name="connsiteX256" fmla="*/ 9004 w 10000"/>
                <a:gd name="connsiteY256" fmla="*/ 4995 h 10000"/>
                <a:gd name="connsiteX257" fmla="*/ 9073 w 10000"/>
                <a:gd name="connsiteY257" fmla="*/ 5211 h 10000"/>
                <a:gd name="connsiteX258" fmla="*/ 9130 w 10000"/>
                <a:gd name="connsiteY258" fmla="*/ 5150 h 10000"/>
                <a:gd name="connsiteX259" fmla="*/ 9158 w 10000"/>
                <a:gd name="connsiteY259" fmla="*/ 5211 h 10000"/>
                <a:gd name="connsiteX260" fmla="*/ 9231 w 10000"/>
                <a:gd name="connsiteY260" fmla="*/ 5428 h 10000"/>
                <a:gd name="connsiteX261" fmla="*/ 9215 w 10000"/>
                <a:gd name="connsiteY261" fmla="*/ 5604 h 10000"/>
                <a:gd name="connsiteX262" fmla="*/ 9221 w 10000"/>
                <a:gd name="connsiteY262" fmla="*/ 5769 h 10000"/>
                <a:gd name="connsiteX263" fmla="*/ 9269 w 10000"/>
                <a:gd name="connsiteY263" fmla="*/ 5883 h 10000"/>
                <a:gd name="connsiteX264" fmla="*/ 9344 w 10000"/>
                <a:gd name="connsiteY264" fmla="*/ 6068 h 10000"/>
                <a:gd name="connsiteX265" fmla="*/ 9269 w 10000"/>
                <a:gd name="connsiteY265" fmla="*/ 6068 h 10000"/>
                <a:gd name="connsiteX266" fmla="*/ 9253 w 10000"/>
                <a:gd name="connsiteY266" fmla="*/ 6223 h 10000"/>
                <a:gd name="connsiteX267" fmla="*/ 9319 w 10000"/>
                <a:gd name="connsiteY267" fmla="*/ 6408 h 10000"/>
                <a:gd name="connsiteX268" fmla="*/ 9250 w 10000"/>
                <a:gd name="connsiteY268" fmla="*/ 6502 h 10000"/>
                <a:gd name="connsiteX269" fmla="*/ 9297 w 10000"/>
                <a:gd name="connsiteY269" fmla="*/ 6729 h 10000"/>
                <a:gd name="connsiteX270" fmla="*/ 9281 w 10000"/>
                <a:gd name="connsiteY270" fmla="*/ 7069 h 10000"/>
                <a:gd name="connsiteX271" fmla="*/ 9061 w 10000"/>
                <a:gd name="connsiteY271" fmla="*/ 6408 h 10000"/>
                <a:gd name="connsiteX272" fmla="*/ 8824 w 10000"/>
                <a:gd name="connsiteY272" fmla="*/ 5759 h 10000"/>
                <a:gd name="connsiteX273" fmla="*/ 8771 w 10000"/>
                <a:gd name="connsiteY273" fmla="*/ 5459 h 10000"/>
                <a:gd name="connsiteX274" fmla="*/ 8768 w 10000"/>
                <a:gd name="connsiteY274" fmla="*/ 5211 h 10000"/>
                <a:gd name="connsiteX275" fmla="*/ 8692 w 10000"/>
                <a:gd name="connsiteY275" fmla="*/ 5047 h 10000"/>
                <a:gd name="connsiteX276" fmla="*/ 8771 w 10000"/>
                <a:gd name="connsiteY276" fmla="*/ 5088 h 10000"/>
                <a:gd name="connsiteX277" fmla="*/ 8809 w 10000"/>
                <a:gd name="connsiteY277" fmla="*/ 5108 h 10000"/>
                <a:gd name="connsiteX278" fmla="*/ 8809 w 10000"/>
                <a:gd name="connsiteY278" fmla="*/ 4840 h 10000"/>
                <a:gd name="connsiteX279" fmla="*/ 8827 w 10000"/>
                <a:gd name="connsiteY279" fmla="*/ 4437 h 10000"/>
                <a:gd name="connsiteX280" fmla="*/ 8853 w 10000"/>
                <a:gd name="connsiteY280" fmla="*/ 4252 h 10000"/>
                <a:gd name="connsiteX281" fmla="*/ 8909 w 10000"/>
                <a:gd name="connsiteY281" fmla="*/ 4221 h 10000"/>
                <a:gd name="connsiteX282" fmla="*/ 8786 w 10000"/>
                <a:gd name="connsiteY282" fmla="*/ 3901 h 10000"/>
                <a:gd name="connsiteX283" fmla="*/ 8853 w 10000"/>
                <a:gd name="connsiteY283" fmla="*/ 3839 h 10000"/>
                <a:gd name="connsiteX284" fmla="*/ 8739 w 10000"/>
                <a:gd name="connsiteY284" fmla="*/ 3788 h 10000"/>
                <a:gd name="connsiteX285" fmla="*/ 8755 w 10000"/>
                <a:gd name="connsiteY285" fmla="*/ 3984 h 10000"/>
                <a:gd name="connsiteX286" fmla="*/ 8692 w 10000"/>
                <a:gd name="connsiteY286" fmla="*/ 4303 h 10000"/>
                <a:gd name="connsiteX287" fmla="*/ 8604 w 10000"/>
                <a:gd name="connsiteY287" fmla="*/ 4210 h 10000"/>
                <a:gd name="connsiteX288" fmla="*/ 8550 w 10000"/>
                <a:gd name="connsiteY288" fmla="*/ 4056 h 10000"/>
                <a:gd name="connsiteX289" fmla="*/ 8481 w 10000"/>
                <a:gd name="connsiteY289" fmla="*/ 4138 h 10000"/>
                <a:gd name="connsiteX290" fmla="*/ 8389 w 10000"/>
                <a:gd name="connsiteY290" fmla="*/ 4107 h 10000"/>
                <a:gd name="connsiteX291" fmla="*/ 8352 w 10000"/>
                <a:gd name="connsiteY291" fmla="*/ 4406 h 10000"/>
                <a:gd name="connsiteX292" fmla="*/ 8481 w 10000"/>
                <a:gd name="connsiteY292" fmla="*/ 4655 h 10000"/>
                <a:gd name="connsiteX293" fmla="*/ 8405 w 10000"/>
                <a:gd name="connsiteY293" fmla="*/ 4830 h 10000"/>
                <a:gd name="connsiteX294" fmla="*/ 8225 w 10000"/>
                <a:gd name="connsiteY294" fmla="*/ 4799 h 10000"/>
                <a:gd name="connsiteX295" fmla="*/ 8209 w 10000"/>
                <a:gd name="connsiteY295" fmla="*/ 4655 h 10000"/>
                <a:gd name="connsiteX296" fmla="*/ 8102 w 10000"/>
                <a:gd name="connsiteY296" fmla="*/ 4634 h 10000"/>
                <a:gd name="connsiteX297" fmla="*/ 7641 w 10000"/>
                <a:gd name="connsiteY297" fmla="*/ 4779 h 10000"/>
                <a:gd name="connsiteX298" fmla="*/ 7610 w 10000"/>
                <a:gd name="connsiteY298" fmla="*/ 5005 h 10000"/>
                <a:gd name="connsiteX299" fmla="*/ 7550 w 10000"/>
                <a:gd name="connsiteY299" fmla="*/ 5666 h 10000"/>
                <a:gd name="connsiteX300" fmla="*/ 7496 w 10000"/>
                <a:gd name="connsiteY300" fmla="*/ 5965 h 10000"/>
                <a:gd name="connsiteX301" fmla="*/ 7701 w 10000"/>
                <a:gd name="connsiteY301" fmla="*/ 6161 h 10000"/>
                <a:gd name="connsiteX302" fmla="*/ 7745 w 10000"/>
                <a:gd name="connsiteY302" fmla="*/ 6243 h 10000"/>
                <a:gd name="connsiteX303" fmla="*/ 7771 w 10000"/>
                <a:gd name="connsiteY303" fmla="*/ 6285 h 10000"/>
                <a:gd name="connsiteX304" fmla="*/ 7793 w 10000"/>
                <a:gd name="connsiteY304" fmla="*/ 6068 h 10000"/>
                <a:gd name="connsiteX305" fmla="*/ 7912 w 10000"/>
                <a:gd name="connsiteY305" fmla="*/ 6089 h 10000"/>
                <a:gd name="connsiteX306" fmla="*/ 8004 w 10000"/>
                <a:gd name="connsiteY306" fmla="*/ 6367 h 10000"/>
                <a:gd name="connsiteX307" fmla="*/ 8064 w 10000"/>
                <a:gd name="connsiteY307" fmla="*/ 6616 h 10000"/>
                <a:gd name="connsiteX308" fmla="*/ 8111 w 10000"/>
                <a:gd name="connsiteY308" fmla="*/ 6781 h 10000"/>
                <a:gd name="connsiteX309" fmla="*/ 8048 w 10000"/>
                <a:gd name="connsiteY309" fmla="*/ 6491 h 10000"/>
                <a:gd name="connsiteX310" fmla="*/ 8124 w 10000"/>
                <a:gd name="connsiteY310" fmla="*/ 6336 h 10000"/>
                <a:gd name="connsiteX311" fmla="*/ 8177 w 10000"/>
                <a:gd name="connsiteY311" fmla="*/ 6512 h 10000"/>
                <a:gd name="connsiteX312" fmla="*/ 8300 w 10000"/>
                <a:gd name="connsiteY312" fmla="*/ 6987 h 10000"/>
                <a:gd name="connsiteX313" fmla="*/ 8361 w 10000"/>
                <a:gd name="connsiteY313" fmla="*/ 7152 h 10000"/>
                <a:gd name="connsiteX314" fmla="*/ 8490 w 10000"/>
                <a:gd name="connsiteY314" fmla="*/ 7482 h 10000"/>
                <a:gd name="connsiteX315" fmla="*/ 8604 w 10000"/>
                <a:gd name="connsiteY315" fmla="*/ 7854 h 10000"/>
                <a:gd name="connsiteX316" fmla="*/ 8474 w 10000"/>
                <a:gd name="connsiteY316" fmla="*/ 7647 h 10000"/>
                <a:gd name="connsiteX317" fmla="*/ 8443 w 10000"/>
                <a:gd name="connsiteY317" fmla="*/ 7678 h 10000"/>
                <a:gd name="connsiteX318" fmla="*/ 8512 w 10000"/>
                <a:gd name="connsiteY318" fmla="*/ 8050 h 10000"/>
                <a:gd name="connsiteX319" fmla="*/ 8588 w 10000"/>
                <a:gd name="connsiteY319" fmla="*/ 8266 h 10000"/>
                <a:gd name="connsiteX320" fmla="*/ 8642 w 10000"/>
                <a:gd name="connsiteY320" fmla="*/ 8472 h 10000"/>
                <a:gd name="connsiteX321" fmla="*/ 8566 w 10000"/>
                <a:gd name="connsiteY321" fmla="*/ 8421 h 10000"/>
                <a:gd name="connsiteX322" fmla="*/ 8556 w 10000"/>
                <a:gd name="connsiteY322" fmla="*/ 8669 h 10000"/>
                <a:gd name="connsiteX323" fmla="*/ 8497 w 10000"/>
                <a:gd name="connsiteY323" fmla="*/ 8493 h 10000"/>
                <a:gd name="connsiteX324" fmla="*/ 8481 w 10000"/>
                <a:gd name="connsiteY324" fmla="*/ 8421 h 10000"/>
                <a:gd name="connsiteX325" fmla="*/ 8361 w 10000"/>
                <a:gd name="connsiteY325" fmla="*/ 7751 h 10000"/>
                <a:gd name="connsiteX326" fmla="*/ 8322 w 10000"/>
                <a:gd name="connsiteY326" fmla="*/ 7524 h 10000"/>
                <a:gd name="connsiteX327" fmla="*/ 8291 w 10000"/>
                <a:gd name="connsiteY327" fmla="*/ 7378 h 10000"/>
                <a:gd name="connsiteX328" fmla="*/ 8275 w 10000"/>
                <a:gd name="connsiteY328" fmla="*/ 7306 h 10000"/>
                <a:gd name="connsiteX329" fmla="*/ 8139 w 10000"/>
                <a:gd name="connsiteY329" fmla="*/ 6863 h 10000"/>
                <a:gd name="connsiteX330" fmla="*/ 8199 w 10000"/>
                <a:gd name="connsiteY330" fmla="*/ 7451 h 10000"/>
                <a:gd name="connsiteX331" fmla="*/ 8247 w 10000"/>
                <a:gd name="connsiteY331" fmla="*/ 7998 h 10000"/>
                <a:gd name="connsiteX332" fmla="*/ 8177 w 10000"/>
                <a:gd name="connsiteY332" fmla="*/ 9133 h 10000"/>
                <a:gd name="connsiteX333" fmla="*/ 8124 w 10000"/>
                <a:gd name="connsiteY333" fmla="*/ 9484 h 10000"/>
                <a:gd name="connsiteX334" fmla="*/ 7972 w 10000"/>
                <a:gd name="connsiteY334" fmla="*/ 9432 h 10000"/>
                <a:gd name="connsiteX335" fmla="*/ 7897 w 10000"/>
                <a:gd name="connsiteY335" fmla="*/ 9660 h 10000"/>
                <a:gd name="connsiteX336" fmla="*/ 7868 w 10000"/>
                <a:gd name="connsiteY336" fmla="*/ 9588 h 10000"/>
                <a:gd name="connsiteX337" fmla="*/ 7884 w 10000"/>
                <a:gd name="connsiteY337" fmla="*/ 9536 h 10000"/>
                <a:gd name="connsiteX338" fmla="*/ 7897 w 10000"/>
                <a:gd name="connsiteY338" fmla="*/ 9380 h 10000"/>
                <a:gd name="connsiteX339" fmla="*/ 7884 w 10000"/>
                <a:gd name="connsiteY339" fmla="*/ 9236 h 10000"/>
                <a:gd name="connsiteX340" fmla="*/ 7793 w 10000"/>
                <a:gd name="connsiteY340" fmla="*/ 8865 h 10000"/>
                <a:gd name="connsiteX341" fmla="*/ 7831 w 10000"/>
                <a:gd name="connsiteY341" fmla="*/ 8741 h 10000"/>
                <a:gd name="connsiteX342" fmla="*/ 7928 w 10000"/>
                <a:gd name="connsiteY342" fmla="*/ 8844 h 10000"/>
                <a:gd name="connsiteX343" fmla="*/ 7912 w 10000"/>
                <a:gd name="connsiteY343" fmla="*/ 8318 h 10000"/>
                <a:gd name="connsiteX344" fmla="*/ 7906 w 10000"/>
                <a:gd name="connsiteY344" fmla="*/ 8019 h 10000"/>
                <a:gd name="connsiteX345" fmla="*/ 7846 w 10000"/>
                <a:gd name="connsiteY345" fmla="*/ 7802 h 10000"/>
                <a:gd name="connsiteX346" fmla="*/ 7723 w 10000"/>
                <a:gd name="connsiteY346" fmla="*/ 8050 h 10000"/>
                <a:gd name="connsiteX347" fmla="*/ 7619 w 10000"/>
                <a:gd name="connsiteY347" fmla="*/ 8019 h 10000"/>
                <a:gd name="connsiteX348" fmla="*/ 7528 w 10000"/>
                <a:gd name="connsiteY348" fmla="*/ 7699 h 10000"/>
                <a:gd name="connsiteX349" fmla="*/ 7355 w 10000"/>
                <a:gd name="connsiteY349" fmla="*/ 7482 h 10000"/>
                <a:gd name="connsiteX350" fmla="*/ 7279 w 10000"/>
                <a:gd name="connsiteY350" fmla="*/ 7482 h 10000"/>
                <a:gd name="connsiteX351" fmla="*/ 7080 w 10000"/>
                <a:gd name="connsiteY351" fmla="*/ 6781 h 10000"/>
                <a:gd name="connsiteX352" fmla="*/ 6901 w 10000"/>
                <a:gd name="connsiteY352" fmla="*/ 6460 h 10000"/>
                <a:gd name="connsiteX353" fmla="*/ 6724 w 10000"/>
                <a:gd name="connsiteY353" fmla="*/ 6336 h 10000"/>
                <a:gd name="connsiteX354" fmla="*/ 6583 w 10000"/>
                <a:gd name="connsiteY354" fmla="*/ 6408 h 10000"/>
                <a:gd name="connsiteX355" fmla="*/ 6567 w 10000"/>
                <a:gd name="connsiteY355" fmla="*/ 6585 h 10000"/>
                <a:gd name="connsiteX356" fmla="*/ 6664 w 10000"/>
                <a:gd name="connsiteY356" fmla="*/ 6760 h 10000"/>
                <a:gd name="connsiteX357" fmla="*/ 6636 w 10000"/>
                <a:gd name="connsiteY357" fmla="*/ 6935 h 10000"/>
                <a:gd name="connsiteX358" fmla="*/ 6636 w 10000"/>
                <a:gd name="connsiteY358" fmla="*/ 7399 h 10000"/>
                <a:gd name="connsiteX359" fmla="*/ 6560 w 10000"/>
                <a:gd name="connsiteY359" fmla="*/ 7482 h 10000"/>
                <a:gd name="connsiteX360" fmla="*/ 6485 w 10000"/>
                <a:gd name="connsiteY360" fmla="*/ 7378 h 10000"/>
                <a:gd name="connsiteX361" fmla="*/ 6400 w 10000"/>
                <a:gd name="connsiteY361" fmla="*/ 7399 h 10000"/>
                <a:gd name="connsiteX362" fmla="*/ 6334 w 10000"/>
                <a:gd name="connsiteY362" fmla="*/ 7275 h 10000"/>
                <a:gd name="connsiteX363" fmla="*/ 6258 w 10000"/>
                <a:gd name="connsiteY363" fmla="*/ 7358 h 10000"/>
                <a:gd name="connsiteX364" fmla="*/ 6220 w 10000"/>
                <a:gd name="connsiteY364" fmla="*/ 7524 h 10000"/>
                <a:gd name="connsiteX365" fmla="*/ 6081 w 10000"/>
                <a:gd name="connsiteY365" fmla="*/ 7606 h 10000"/>
                <a:gd name="connsiteX366" fmla="*/ 5892 w 10000"/>
                <a:gd name="connsiteY366" fmla="*/ 7575 h 10000"/>
                <a:gd name="connsiteX367" fmla="*/ 5855 w 10000"/>
                <a:gd name="connsiteY367" fmla="*/ 7327 h 10000"/>
                <a:gd name="connsiteX368" fmla="*/ 5643 w 10000"/>
                <a:gd name="connsiteY368" fmla="*/ 7255 h 10000"/>
                <a:gd name="connsiteX369" fmla="*/ 5539 w 10000"/>
                <a:gd name="connsiteY369" fmla="*/ 7358 h 10000"/>
                <a:gd name="connsiteX370" fmla="*/ 5416 w 10000"/>
                <a:gd name="connsiteY370" fmla="*/ 7203 h 10000"/>
                <a:gd name="connsiteX371" fmla="*/ 5372 w 10000"/>
                <a:gd name="connsiteY371"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4076 w 10000"/>
                <a:gd name="connsiteY7" fmla="*/ 7059 h 10000"/>
                <a:gd name="connsiteX8" fmla="*/ 1610 w 10000"/>
                <a:gd name="connsiteY8" fmla="*/ 7183 h 10000"/>
                <a:gd name="connsiteX9" fmla="*/ 1655 w 10000"/>
                <a:gd name="connsiteY9" fmla="*/ 7430 h 10000"/>
                <a:gd name="connsiteX10" fmla="*/ 1604 w 10000"/>
                <a:gd name="connsiteY10" fmla="*/ 7430 h 10000"/>
                <a:gd name="connsiteX11" fmla="*/ 1551 w 10000"/>
                <a:gd name="connsiteY11" fmla="*/ 7255 h 10000"/>
                <a:gd name="connsiteX12" fmla="*/ 1513 w 10000"/>
                <a:gd name="connsiteY12" fmla="*/ 7430 h 10000"/>
                <a:gd name="connsiteX13" fmla="*/ 1519 w 10000"/>
                <a:gd name="connsiteY13" fmla="*/ 7854 h 10000"/>
                <a:gd name="connsiteX14" fmla="*/ 1604 w 10000"/>
                <a:gd name="connsiteY14" fmla="*/ 8070 h 10000"/>
                <a:gd name="connsiteX15" fmla="*/ 1648 w 10000"/>
                <a:gd name="connsiteY15" fmla="*/ 8019 h 10000"/>
                <a:gd name="connsiteX16" fmla="*/ 1741 w 10000"/>
                <a:gd name="connsiteY16" fmla="*/ 8493 h 10000"/>
                <a:gd name="connsiteX17" fmla="*/ 1610 w 10000"/>
                <a:gd name="connsiteY17" fmla="*/ 8669 h 10000"/>
                <a:gd name="connsiteX18" fmla="*/ 1595 w 10000"/>
                <a:gd name="connsiteY18" fmla="*/ 9009 h 10000"/>
                <a:gd name="connsiteX19" fmla="*/ 1664 w 10000"/>
                <a:gd name="connsiteY19" fmla="*/ 9236 h 10000"/>
                <a:gd name="connsiteX20" fmla="*/ 1664 w 10000"/>
                <a:gd name="connsiteY20" fmla="*/ 9484 h 10000"/>
                <a:gd name="connsiteX21" fmla="*/ 1769 w 10000"/>
                <a:gd name="connsiteY21" fmla="*/ 9835 h 10000"/>
                <a:gd name="connsiteX22" fmla="*/ 1703 w 10000"/>
                <a:gd name="connsiteY22" fmla="*/ 10000 h 10000"/>
                <a:gd name="connsiteX23" fmla="*/ 1604 w 10000"/>
                <a:gd name="connsiteY23" fmla="*/ 9753 h 10000"/>
                <a:gd name="connsiteX24" fmla="*/ 1465 w 10000"/>
                <a:gd name="connsiteY24" fmla="*/ 9505 h 10000"/>
                <a:gd name="connsiteX25" fmla="*/ 1406 w 10000"/>
                <a:gd name="connsiteY25" fmla="*/ 9588 h 10000"/>
                <a:gd name="connsiteX26" fmla="*/ 1308 w 10000"/>
                <a:gd name="connsiteY26" fmla="*/ 9380 h 10000"/>
                <a:gd name="connsiteX27" fmla="*/ 1097 w 10000"/>
                <a:gd name="connsiteY27" fmla="*/ 9339 h 10000"/>
                <a:gd name="connsiteX28" fmla="*/ 848 w 10000"/>
                <a:gd name="connsiteY28" fmla="*/ 8813 h 10000"/>
                <a:gd name="connsiteX29" fmla="*/ 914 w 10000"/>
                <a:gd name="connsiteY29" fmla="*/ 8721 h 10000"/>
                <a:gd name="connsiteX30" fmla="*/ 961 w 10000"/>
                <a:gd name="connsiteY30" fmla="*/ 8493 h 10000"/>
                <a:gd name="connsiteX31" fmla="*/ 908 w 10000"/>
                <a:gd name="connsiteY31" fmla="*/ 8390 h 10000"/>
                <a:gd name="connsiteX32" fmla="*/ 1021 w 10000"/>
                <a:gd name="connsiteY32" fmla="*/ 8245 h 10000"/>
                <a:gd name="connsiteX33" fmla="*/ 945 w 10000"/>
                <a:gd name="connsiteY33" fmla="*/ 8194 h 10000"/>
                <a:gd name="connsiteX34" fmla="*/ 958 w 10000"/>
                <a:gd name="connsiteY34" fmla="*/ 8091 h 10000"/>
                <a:gd name="connsiteX35" fmla="*/ 1005 w 10000"/>
                <a:gd name="connsiteY35" fmla="*/ 8111 h 10000"/>
                <a:gd name="connsiteX36" fmla="*/ 1059 w 10000"/>
                <a:gd name="connsiteY36" fmla="*/ 8019 h 10000"/>
                <a:gd name="connsiteX37" fmla="*/ 1034 w 10000"/>
                <a:gd name="connsiteY37" fmla="*/ 7864 h 10000"/>
                <a:gd name="connsiteX38" fmla="*/ 1043 w 10000"/>
                <a:gd name="connsiteY38" fmla="*/ 7503 h 10000"/>
                <a:gd name="connsiteX39" fmla="*/ 930 w 10000"/>
                <a:gd name="connsiteY39" fmla="*/ 7440 h 10000"/>
                <a:gd name="connsiteX40" fmla="*/ 832 w 10000"/>
                <a:gd name="connsiteY40" fmla="*/ 7286 h 10000"/>
                <a:gd name="connsiteX41" fmla="*/ 700 w 10000"/>
                <a:gd name="connsiteY41" fmla="*/ 7275 h 10000"/>
                <a:gd name="connsiteX42" fmla="*/ 684 w 10000"/>
                <a:gd name="connsiteY42" fmla="*/ 7090 h 10000"/>
                <a:gd name="connsiteX43" fmla="*/ 596 w 10000"/>
                <a:gd name="connsiteY43" fmla="*/ 6945 h 10000"/>
                <a:gd name="connsiteX44" fmla="*/ 615 w 10000"/>
                <a:gd name="connsiteY44" fmla="*/ 6822 h 10000"/>
                <a:gd name="connsiteX45" fmla="*/ 561 w 10000"/>
                <a:gd name="connsiteY45" fmla="*/ 6698 h 10000"/>
                <a:gd name="connsiteX46" fmla="*/ 457 w 10000"/>
                <a:gd name="connsiteY46" fmla="*/ 6698 h 10000"/>
                <a:gd name="connsiteX47" fmla="*/ 425 w 10000"/>
                <a:gd name="connsiteY47" fmla="*/ 6791 h 10000"/>
                <a:gd name="connsiteX48" fmla="*/ 400 w 10000"/>
                <a:gd name="connsiteY48" fmla="*/ 6750 h 10000"/>
                <a:gd name="connsiteX49" fmla="*/ 378 w 10000"/>
                <a:gd name="connsiteY49" fmla="*/ 6439 h 10000"/>
                <a:gd name="connsiteX50" fmla="*/ 419 w 10000"/>
                <a:gd name="connsiteY50" fmla="*/ 6470 h 10000"/>
                <a:gd name="connsiteX51" fmla="*/ 466 w 10000"/>
                <a:gd name="connsiteY51" fmla="*/ 6347 h 10000"/>
                <a:gd name="connsiteX52" fmla="*/ 400 w 10000"/>
                <a:gd name="connsiteY52" fmla="*/ 6233 h 10000"/>
                <a:gd name="connsiteX53" fmla="*/ 315 w 10000"/>
                <a:gd name="connsiteY53" fmla="*/ 6017 h 10000"/>
                <a:gd name="connsiteX54" fmla="*/ 334 w 10000"/>
                <a:gd name="connsiteY54" fmla="*/ 5821 h 10000"/>
                <a:gd name="connsiteX55" fmla="*/ 274 w 10000"/>
                <a:gd name="connsiteY55" fmla="*/ 5697 h 10000"/>
                <a:gd name="connsiteX56" fmla="*/ 227 w 10000"/>
                <a:gd name="connsiteY56" fmla="*/ 5728 h 10000"/>
                <a:gd name="connsiteX57" fmla="*/ 202 w 10000"/>
                <a:gd name="connsiteY57" fmla="*/ 5604 h 10000"/>
                <a:gd name="connsiteX58" fmla="*/ 164 w 10000"/>
                <a:gd name="connsiteY58" fmla="*/ 5645 h 10000"/>
                <a:gd name="connsiteX59" fmla="*/ 117 w 10000"/>
                <a:gd name="connsiteY59" fmla="*/ 5604 h 10000"/>
                <a:gd name="connsiteX60" fmla="*/ 69 w 10000"/>
                <a:gd name="connsiteY60" fmla="*/ 5181 h 10000"/>
                <a:gd name="connsiteX61" fmla="*/ 85 w 10000"/>
                <a:gd name="connsiteY61" fmla="*/ 5057 h 10000"/>
                <a:gd name="connsiteX62" fmla="*/ 41 w 10000"/>
                <a:gd name="connsiteY62" fmla="*/ 4892 h 10000"/>
                <a:gd name="connsiteX63" fmla="*/ 66 w 10000"/>
                <a:gd name="connsiteY63" fmla="*/ 4655 h 10000"/>
                <a:gd name="connsiteX64" fmla="*/ 211 w 10000"/>
                <a:gd name="connsiteY64" fmla="*/ 4510 h 10000"/>
                <a:gd name="connsiteX65" fmla="*/ 129 w 10000"/>
                <a:gd name="connsiteY65" fmla="*/ 4406 h 10000"/>
                <a:gd name="connsiteX66" fmla="*/ 82 w 10000"/>
                <a:gd name="connsiteY66" fmla="*/ 4283 h 10000"/>
                <a:gd name="connsiteX67" fmla="*/ 205 w 10000"/>
                <a:gd name="connsiteY67" fmla="*/ 3912 h 10000"/>
                <a:gd name="connsiteX68" fmla="*/ 249 w 10000"/>
                <a:gd name="connsiteY68" fmla="*/ 3664 h 10000"/>
                <a:gd name="connsiteX69" fmla="*/ 151 w 10000"/>
                <a:gd name="connsiteY69" fmla="*/ 3488 h 10000"/>
                <a:gd name="connsiteX70" fmla="*/ 189 w 10000"/>
                <a:gd name="connsiteY70" fmla="*/ 3344 h 10000"/>
                <a:gd name="connsiteX71" fmla="*/ 113 w 10000"/>
                <a:gd name="connsiteY71" fmla="*/ 3148 h 10000"/>
                <a:gd name="connsiteX72" fmla="*/ 113 w 10000"/>
                <a:gd name="connsiteY72" fmla="*/ 2972 h 10000"/>
                <a:gd name="connsiteX73" fmla="*/ 60 w 10000"/>
                <a:gd name="connsiteY73" fmla="*/ 2622 h 10000"/>
                <a:gd name="connsiteX74" fmla="*/ 98 w 10000"/>
                <a:gd name="connsiteY74" fmla="*/ 2404 h 10000"/>
                <a:gd name="connsiteX75" fmla="*/ 38 w 10000"/>
                <a:gd name="connsiteY75" fmla="*/ 2301 h 10000"/>
                <a:gd name="connsiteX76" fmla="*/ 0 w 10000"/>
                <a:gd name="connsiteY76" fmla="*/ 2178 h 10000"/>
                <a:gd name="connsiteX77" fmla="*/ 54 w 10000"/>
                <a:gd name="connsiteY77" fmla="*/ 1951 h 10000"/>
                <a:gd name="connsiteX78" fmla="*/ 120 w 10000"/>
                <a:gd name="connsiteY78" fmla="*/ 1910 h 10000"/>
                <a:gd name="connsiteX79" fmla="*/ 195 w 10000"/>
                <a:gd name="connsiteY79" fmla="*/ 1858 h 10000"/>
                <a:gd name="connsiteX80" fmla="*/ 309 w 10000"/>
                <a:gd name="connsiteY80" fmla="*/ 1951 h 10000"/>
                <a:gd name="connsiteX81" fmla="*/ 482 w 10000"/>
                <a:gd name="connsiteY81" fmla="*/ 2054 h 10000"/>
                <a:gd name="connsiteX82" fmla="*/ 633 w 10000"/>
                <a:gd name="connsiteY82" fmla="*/ 2229 h 10000"/>
                <a:gd name="connsiteX83" fmla="*/ 756 w 10000"/>
                <a:gd name="connsiteY83" fmla="*/ 2373 h 10000"/>
                <a:gd name="connsiteX84" fmla="*/ 725 w 10000"/>
                <a:gd name="connsiteY84" fmla="*/ 2777 h 10000"/>
                <a:gd name="connsiteX85" fmla="*/ 362 w 10000"/>
                <a:gd name="connsiteY85" fmla="*/ 2673 h 10000"/>
                <a:gd name="connsiteX86" fmla="*/ 243 w 10000"/>
                <a:gd name="connsiteY86" fmla="*/ 2550 h 10000"/>
                <a:gd name="connsiteX87" fmla="*/ 287 w 10000"/>
                <a:gd name="connsiteY87" fmla="*/ 2622 h 10000"/>
                <a:gd name="connsiteX88" fmla="*/ 331 w 10000"/>
                <a:gd name="connsiteY88" fmla="*/ 2797 h 10000"/>
                <a:gd name="connsiteX89" fmla="*/ 400 w 10000"/>
                <a:gd name="connsiteY89" fmla="*/ 2921 h 10000"/>
                <a:gd name="connsiteX90" fmla="*/ 416 w 10000"/>
                <a:gd name="connsiteY90" fmla="*/ 3189 h 10000"/>
                <a:gd name="connsiteX91" fmla="*/ 507 w 10000"/>
                <a:gd name="connsiteY91" fmla="*/ 3313 h 10000"/>
                <a:gd name="connsiteX92" fmla="*/ 583 w 10000"/>
                <a:gd name="connsiteY92" fmla="*/ 3436 h 10000"/>
                <a:gd name="connsiteX93" fmla="*/ 605 w 10000"/>
                <a:gd name="connsiteY93" fmla="*/ 3467 h 10000"/>
                <a:gd name="connsiteX94" fmla="*/ 649 w 10000"/>
                <a:gd name="connsiteY94" fmla="*/ 3436 h 10000"/>
                <a:gd name="connsiteX95" fmla="*/ 633 w 10000"/>
                <a:gd name="connsiteY95" fmla="*/ 3364 h 10000"/>
                <a:gd name="connsiteX96" fmla="*/ 545 w 10000"/>
                <a:gd name="connsiteY96" fmla="*/ 3189 h 10000"/>
                <a:gd name="connsiteX97" fmla="*/ 801 w 10000"/>
                <a:gd name="connsiteY97" fmla="*/ 3344 h 10000"/>
                <a:gd name="connsiteX98" fmla="*/ 810 w 10000"/>
                <a:gd name="connsiteY98" fmla="*/ 3271 h 10000"/>
                <a:gd name="connsiteX99" fmla="*/ 785 w 10000"/>
                <a:gd name="connsiteY99" fmla="*/ 3220 h 10000"/>
                <a:gd name="connsiteX100" fmla="*/ 741 w 10000"/>
                <a:gd name="connsiteY100" fmla="*/ 2993 h 10000"/>
                <a:gd name="connsiteX101" fmla="*/ 870 w 10000"/>
                <a:gd name="connsiteY101" fmla="*/ 2777 h 10000"/>
                <a:gd name="connsiteX102" fmla="*/ 968 w 10000"/>
                <a:gd name="connsiteY102" fmla="*/ 2921 h 10000"/>
                <a:gd name="connsiteX103" fmla="*/ 999 w 10000"/>
                <a:gd name="connsiteY103" fmla="*/ 2725 h 10000"/>
                <a:gd name="connsiteX104" fmla="*/ 952 w 10000"/>
                <a:gd name="connsiteY104" fmla="*/ 2653 h 10000"/>
                <a:gd name="connsiteX105" fmla="*/ 936 w 10000"/>
                <a:gd name="connsiteY105" fmla="*/ 2281 h 10000"/>
                <a:gd name="connsiteX106" fmla="*/ 914 w 10000"/>
                <a:gd name="connsiteY106" fmla="*/ 2229 h 10000"/>
                <a:gd name="connsiteX107" fmla="*/ 1037 w 10000"/>
                <a:gd name="connsiteY107" fmla="*/ 2250 h 10000"/>
                <a:gd name="connsiteX108" fmla="*/ 1087 w 10000"/>
                <a:gd name="connsiteY108" fmla="*/ 2404 h 10000"/>
                <a:gd name="connsiteX109" fmla="*/ 1021 w 10000"/>
                <a:gd name="connsiteY109" fmla="*/ 2529 h 10000"/>
                <a:gd name="connsiteX110" fmla="*/ 1135 w 10000"/>
                <a:gd name="connsiteY110" fmla="*/ 2694 h 10000"/>
                <a:gd name="connsiteX111" fmla="*/ 1226 w 10000"/>
                <a:gd name="connsiteY111" fmla="*/ 2529 h 10000"/>
                <a:gd name="connsiteX112" fmla="*/ 1339 w 10000"/>
                <a:gd name="connsiteY112" fmla="*/ 2301 h 10000"/>
                <a:gd name="connsiteX113" fmla="*/ 1459 w 10000"/>
                <a:gd name="connsiteY113" fmla="*/ 2157 h 10000"/>
                <a:gd name="connsiteX114" fmla="*/ 1497 w 10000"/>
                <a:gd name="connsiteY114" fmla="*/ 2250 h 10000"/>
                <a:gd name="connsiteX115" fmla="*/ 1807 w 10000"/>
                <a:gd name="connsiteY115" fmla="*/ 2054 h 10000"/>
                <a:gd name="connsiteX116" fmla="*/ 1870 w 10000"/>
                <a:gd name="connsiteY116" fmla="*/ 2250 h 10000"/>
                <a:gd name="connsiteX117" fmla="*/ 1860 w 10000"/>
                <a:gd name="connsiteY117" fmla="*/ 2002 h 10000"/>
                <a:gd name="connsiteX118" fmla="*/ 1778 w 10000"/>
                <a:gd name="connsiteY118" fmla="*/ 1786 h 10000"/>
                <a:gd name="connsiteX119" fmla="*/ 1763 w 10000"/>
                <a:gd name="connsiteY119" fmla="*/ 1703 h 10000"/>
                <a:gd name="connsiteX120" fmla="*/ 1823 w 10000"/>
                <a:gd name="connsiteY120" fmla="*/ 1786 h 10000"/>
                <a:gd name="connsiteX121" fmla="*/ 2034 w 10000"/>
                <a:gd name="connsiteY121" fmla="*/ 1951 h 10000"/>
                <a:gd name="connsiteX122" fmla="*/ 2270 w 10000"/>
                <a:gd name="connsiteY122" fmla="*/ 2126 h 10000"/>
                <a:gd name="connsiteX123" fmla="*/ 2384 w 10000"/>
                <a:gd name="connsiteY123" fmla="*/ 2250 h 10000"/>
                <a:gd name="connsiteX124" fmla="*/ 2421 w 10000"/>
                <a:gd name="connsiteY124" fmla="*/ 2074 h 10000"/>
                <a:gd name="connsiteX125" fmla="*/ 2368 w 10000"/>
                <a:gd name="connsiteY125" fmla="*/ 2033 h 10000"/>
                <a:gd name="connsiteX126" fmla="*/ 2299 w 10000"/>
                <a:gd name="connsiteY126" fmla="*/ 1930 h 10000"/>
                <a:gd name="connsiteX127" fmla="*/ 2254 w 10000"/>
                <a:gd name="connsiteY127" fmla="*/ 1734 h 10000"/>
                <a:gd name="connsiteX128" fmla="*/ 2185 w 10000"/>
                <a:gd name="connsiteY128" fmla="*/ 1486 h 10000"/>
                <a:gd name="connsiteX129" fmla="*/ 2210 w 10000"/>
                <a:gd name="connsiteY129" fmla="*/ 1434 h 10000"/>
                <a:gd name="connsiteX130" fmla="*/ 2232 w 10000"/>
                <a:gd name="connsiteY130" fmla="*/ 1455 h 10000"/>
                <a:gd name="connsiteX131" fmla="*/ 2292 w 10000"/>
                <a:gd name="connsiteY131" fmla="*/ 1115 h 10000"/>
                <a:gd name="connsiteX132" fmla="*/ 2443 w 10000"/>
                <a:gd name="connsiteY132" fmla="*/ 1135 h 10000"/>
                <a:gd name="connsiteX133" fmla="*/ 2488 w 10000"/>
                <a:gd name="connsiteY133" fmla="*/ 1311 h 10000"/>
                <a:gd name="connsiteX134" fmla="*/ 2519 w 10000"/>
                <a:gd name="connsiteY134" fmla="*/ 1538 h 10000"/>
                <a:gd name="connsiteX135" fmla="*/ 2573 w 10000"/>
                <a:gd name="connsiteY135" fmla="*/ 1734 h 10000"/>
                <a:gd name="connsiteX136" fmla="*/ 2670 w 10000"/>
                <a:gd name="connsiteY136" fmla="*/ 2157 h 10000"/>
                <a:gd name="connsiteX137" fmla="*/ 2481 w 10000"/>
                <a:gd name="connsiteY137" fmla="*/ 2673 h 10000"/>
                <a:gd name="connsiteX138" fmla="*/ 2557 w 10000"/>
                <a:gd name="connsiteY138" fmla="*/ 2746 h 10000"/>
                <a:gd name="connsiteX139" fmla="*/ 2655 w 10000"/>
                <a:gd name="connsiteY139" fmla="*/ 2818 h 10000"/>
                <a:gd name="connsiteX140" fmla="*/ 2784 w 10000"/>
                <a:gd name="connsiteY140" fmla="*/ 2622 h 10000"/>
                <a:gd name="connsiteX141" fmla="*/ 2790 w 10000"/>
                <a:gd name="connsiteY141" fmla="*/ 2404 h 10000"/>
                <a:gd name="connsiteX142" fmla="*/ 2746 w 10000"/>
                <a:gd name="connsiteY142" fmla="*/ 2301 h 10000"/>
                <a:gd name="connsiteX143" fmla="*/ 2919 w 10000"/>
                <a:gd name="connsiteY143" fmla="*/ 2250 h 10000"/>
                <a:gd name="connsiteX144" fmla="*/ 2989 w 10000"/>
                <a:gd name="connsiteY144" fmla="*/ 2497 h 10000"/>
                <a:gd name="connsiteX145" fmla="*/ 2989 w 10000"/>
                <a:gd name="connsiteY145" fmla="*/ 2425 h 10000"/>
                <a:gd name="connsiteX146" fmla="*/ 2973 w 10000"/>
                <a:gd name="connsiteY146" fmla="*/ 2353 h 10000"/>
                <a:gd name="connsiteX147" fmla="*/ 2967 w 10000"/>
                <a:gd name="connsiteY147" fmla="*/ 2178 h 10000"/>
                <a:gd name="connsiteX148" fmla="*/ 2800 w 10000"/>
                <a:gd name="connsiteY148" fmla="*/ 1930 h 10000"/>
                <a:gd name="connsiteX149" fmla="*/ 2670 w 10000"/>
                <a:gd name="connsiteY149" fmla="*/ 2002 h 10000"/>
                <a:gd name="connsiteX150" fmla="*/ 2617 w 10000"/>
                <a:gd name="connsiteY150" fmla="*/ 1683 h 10000"/>
                <a:gd name="connsiteX151" fmla="*/ 2563 w 10000"/>
                <a:gd name="connsiteY151" fmla="*/ 1507 h 10000"/>
                <a:gd name="connsiteX152" fmla="*/ 2617 w 10000"/>
                <a:gd name="connsiteY152" fmla="*/ 1331 h 10000"/>
                <a:gd name="connsiteX153" fmla="*/ 2611 w 10000"/>
                <a:gd name="connsiteY153" fmla="*/ 1166 h 10000"/>
                <a:gd name="connsiteX154" fmla="*/ 2588 w 10000"/>
                <a:gd name="connsiteY154" fmla="*/ 1115 h 10000"/>
                <a:gd name="connsiteX155" fmla="*/ 2626 w 10000"/>
                <a:gd name="connsiteY155" fmla="*/ 1115 h 10000"/>
                <a:gd name="connsiteX156" fmla="*/ 2670 w 10000"/>
                <a:gd name="connsiteY156" fmla="*/ 1455 h 10000"/>
                <a:gd name="connsiteX157" fmla="*/ 2891 w 10000"/>
                <a:gd name="connsiteY157" fmla="*/ 1662 h 10000"/>
                <a:gd name="connsiteX158" fmla="*/ 2724 w 10000"/>
                <a:gd name="connsiteY158" fmla="*/ 1383 h 10000"/>
                <a:gd name="connsiteX159" fmla="*/ 3049 w 10000"/>
                <a:gd name="connsiteY159" fmla="*/ 1383 h 10000"/>
                <a:gd name="connsiteX160" fmla="*/ 3102 w 10000"/>
                <a:gd name="connsiteY160" fmla="*/ 1362 h 10000"/>
                <a:gd name="connsiteX161" fmla="*/ 2897 w 10000"/>
                <a:gd name="connsiteY161" fmla="*/ 1115 h 10000"/>
                <a:gd name="connsiteX162" fmla="*/ 2951 w 10000"/>
                <a:gd name="connsiteY162" fmla="*/ 888 h 10000"/>
                <a:gd name="connsiteX163" fmla="*/ 3178 w 10000"/>
                <a:gd name="connsiteY163" fmla="*/ 888 h 10000"/>
                <a:gd name="connsiteX164" fmla="*/ 3156 w 10000"/>
                <a:gd name="connsiteY164" fmla="*/ 713 h 10000"/>
                <a:gd name="connsiteX165" fmla="*/ 3231 w 10000"/>
                <a:gd name="connsiteY165" fmla="*/ 589 h 10000"/>
                <a:gd name="connsiteX166" fmla="*/ 3276 w 10000"/>
                <a:gd name="connsiteY166" fmla="*/ 548 h 10000"/>
                <a:gd name="connsiteX167" fmla="*/ 3443 w 10000"/>
                <a:gd name="connsiteY167" fmla="*/ 423 h 10000"/>
                <a:gd name="connsiteX168" fmla="*/ 3487 w 10000"/>
                <a:gd name="connsiteY168" fmla="*/ 371 h 10000"/>
                <a:gd name="connsiteX169" fmla="*/ 3480 w 10000"/>
                <a:gd name="connsiteY169" fmla="*/ 444 h 10000"/>
                <a:gd name="connsiteX170" fmla="*/ 3660 w 10000"/>
                <a:gd name="connsiteY170" fmla="*/ 371 h 10000"/>
                <a:gd name="connsiteX171" fmla="*/ 3805 w 10000"/>
                <a:gd name="connsiteY171" fmla="*/ 248 h 10000"/>
                <a:gd name="connsiteX172" fmla="*/ 3827 w 10000"/>
                <a:gd name="connsiteY172" fmla="*/ 0 h 10000"/>
                <a:gd name="connsiteX173" fmla="*/ 3988 w 10000"/>
                <a:gd name="connsiteY173" fmla="*/ 21 h 10000"/>
                <a:gd name="connsiteX174" fmla="*/ 3978 w 10000"/>
                <a:gd name="connsiteY174" fmla="*/ 93 h 10000"/>
                <a:gd name="connsiteX175" fmla="*/ 3988 w 10000"/>
                <a:gd name="connsiteY175" fmla="*/ 176 h 10000"/>
                <a:gd name="connsiteX176" fmla="*/ 4085 w 10000"/>
                <a:gd name="connsiteY176" fmla="*/ 248 h 10000"/>
                <a:gd name="connsiteX177" fmla="*/ 4379 w 10000"/>
                <a:gd name="connsiteY177" fmla="*/ 268 h 10000"/>
                <a:gd name="connsiteX178" fmla="*/ 4539 w 10000"/>
                <a:gd name="connsiteY178" fmla="*/ 392 h 10000"/>
                <a:gd name="connsiteX179" fmla="*/ 4486 w 10000"/>
                <a:gd name="connsiteY179" fmla="*/ 795 h 10000"/>
                <a:gd name="connsiteX180" fmla="*/ 4426 w 10000"/>
                <a:gd name="connsiteY180" fmla="*/ 919 h 10000"/>
                <a:gd name="connsiteX181" fmla="*/ 4356 w 10000"/>
                <a:gd name="connsiteY181" fmla="*/ 1043 h 10000"/>
                <a:gd name="connsiteX182" fmla="*/ 4372 w 10000"/>
                <a:gd name="connsiteY182" fmla="*/ 1115 h 10000"/>
                <a:gd name="connsiteX183" fmla="*/ 4583 w 10000"/>
                <a:gd name="connsiteY183" fmla="*/ 919 h 10000"/>
                <a:gd name="connsiteX184" fmla="*/ 5060 w 10000"/>
                <a:gd name="connsiteY184" fmla="*/ 991 h 10000"/>
                <a:gd name="connsiteX185" fmla="*/ 5108 w 10000"/>
                <a:gd name="connsiteY185" fmla="*/ 1063 h 10000"/>
                <a:gd name="connsiteX186" fmla="*/ 5212 w 10000"/>
                <a:gd name="connsiteY186" fmla="*/ 1187 h 10000"/>
                <a:gd name="connsiteX187" fmla="*/ 5357 w 10000"/>
                <a:gd name="connsiteY187" fmla="*/ 919 h 10000"/>
                <a:gd name="connsiteX188" fmla="*/ 5577 w 10000"/>
                <a:gd name="connsiteY188" fmla="*/ 1063 h 10000"/>
                <a:gd name="connsiteX189" fmla="*/ 5643 w 10000"/>
                <a:gd name="connsiteY189" fmla="*/ 1115 h 10000"/>
                <a:gd name="connsiteX190" fmla="*/ 5697 w 10000"/>
                <a:gd name="connsiteY190" fmla="*/ 1166 h 10000"/>
                <a:gd name="connsiteX191" fmla="*/ 5908 w 10000"/>
                <a:gd name="connsiteY191" fmla="*/ 1631 h 10000"/>
                <a:gd name="connsiteX192" fmla="*/ 5984 w 10000"/>
                <a:gd name="connsiteY192" fmla="*/ 1611 h 10000"/>
                <a:gd name="connsiteX193" fmla="*/ 5977 w 10000"/>
                <a:gd name="connsiteY193" fmla="*/ 1507 h 10000"/>
                <a:gd name="connsiteX194" fmla="*/ 5984 w 10000"/>
                <a:gd name="connsiteY194" fmla="*/ 1383 h 10000"/>
                <a:gd name="connsiteX195" fmla="*/ 6091 w 10000"/>
                <a:gd name="connsiteY195" fmla="*/ 1486 h 10000"/>
                <a:gd name="connsiteX196" fmla="*/ 6264 w 10000"/>
                <a:gd name="connsiteY196" fmla="*/ 1507 h 10000"/>
                <a:gd name="connsiteX197" fmla="*/ 6409 w 10000"/>
                <a:gd name="connsiteY197" fmla="*/ 1455 h 10000"/>
                <a:gd name="connsiteX198" fmla="*/ 6340 w 10000"/>
                <a:gd name="connsiteY198" fmla="*/ 1362 h 10000"/>
                <a:gd name="connsiteX199" fmla="*/ 6431 w 10000"/>
                <a:gd name="connsiteY199" fmla="*/ 1084 h 10000"/>
                <a:gd name="connsiteX200" fmla="*/ 6687 w 10000"/>
                <a:gd name="connsiteY200" fmla="*/ 1207 h 10000"/>
                <a:gd name="connsiteX201" fmla="*/ 6945 w 10000"/>
                <a:gd name="connsiteY201" fmla="*/ 1331 h 10000"/>
                <a:gd name="connsiteX202" fmla="*/ 6967 w 10000"/>
                <a:gd name="connsiteY202" fmla="*/ 1362 h 10000"/>
                <a:gd name="connsiteX203" fmla="*/ 7194 w 10000"/>
                <a:gd name="connsiteY203" fmla="*/ 1611 h 10000"/>
                <a:gd name="connsiteX204" fmla="*/ 7367 w 10000"/>
                <a:gd name="connsiteY204" fmla="*/ 1507 h 10000"/>
                <a:gd name="connsiteX205" fmla="*/ 7582 w 10000"/>
                <a:gd name="connsiteY205" fmla="*/ 1538 h 10000"/>
                <a:gd name="connsiteX206" fmla="*/ 7657 w 10000"/>
                <a:gd name="connsiteY206" fmla="*/ 1611 h 10000"/>
                <a:gd name="connsiteX207" fmla="*/ 7928 w 10000"/>
                <a:gd name="connsiteY207" fmla="*/ 1930 h 10000"/>
                <a:gd name="connsiteX208" fmla="*/ 8231 w 10000"/>
                <a:gd name="connsiteY208" fmla="*/ 1879 h 10000"/>
                <a:gd name="connsiteX209" fmla="*/ 8339 w 10000"/>
                <a:gd name="connsiteY209" fmla="*/ 2033 h 10000"/>
                <a:gd name="connsiteX210" fmla="*/ 8490 w 10000"/>
                <a:gd name="connsiteY210" fmla="*/ 2157 h 10000"/>
                <a:gd name="connsiteX211" fmla="*/ 8519 w 10000"/>
                <a:gd name="connsiteY211" fmla="*/ 2105 h 10000"/>
                <a:gd name="connsiteX212" fmla="*/ 8497 w 10000"/>
                <a:gd name="connsiteY212" fmla="*/ 2074 h 10000"/>
                <a:gd name="connsiteX213" fmla="*/ 8383 w 10000"/>
                <a:gd name="connsiteY213" fmla="*/ 1930 h 10000"/>
                <a:gd name="connsiteX214" fmla="*/ 8465 w 10000"/>
                <a:gd name="connsiteY214" fmla="*/ 1755 h 10000"/>
                <a:gd name="connsiteX215" fmla="*/ 8664 w 10000"/>
                <a:gd name="connsiteY215" fmla="*/ 1910 h 10000"/>
                <a:gd name="connsiteX216" fmla="*/ 8950 w 10000"/>
                <a:gd name="connsiteY216" fmla="*/ 1982 h 10000"/>
                <a:gd name="connsiteX217" fmla="*/ 9206 w 10000"/>
                <a:gd name="connsiteY217" fmla="*/ 2260 h 10000"/>
                <a:gd name="connsiteX218" fmla="*/ 9344 w 10000"/>
                <a:gd name="connsiteY218" fmla="*/ 2332 h 10000"/>
                <a:gd name="connsiteX219" fmla="*/ 9451 w 10000"/>
                <a:gd name="connsiteY219" fmla="*/ 2446 h 10000"/>
                <a:gd name="connsiteX220" fmla="*/ 9574 w 10000"/>
                <a:gd name="connsiteY220" fmla="*/ 2632 h 10000"/>
                <a:gd name="connsiteX221" fmla="*/ 9631 w 10000"/>
                <a:gd name="connsiteY221" fmla="*/ 2756 h 10000"/>
                <a:gd name="connsiteX222" fmla="*/ 9726 w 10000"/>
                <a:gd name="connsiteY222" fmla="*/ 2787 h 10000"/>
                <a:gd name="connsiteX223" fmla="*/ 9590 w 10000"/>
                <a:gd name="connsiteY223" fmla="*/ 2570 h 10000"/>
                <a:gd name="connsiteX224" fmla="*/ 9915 w 10000"/>
                <a:gd name="connsiteY224" fmla="*/ 2756 h 10000"/>
                <a:gd name="connsiteX225" fmla="*/ 10000 w 10000"/>
                <a:gd name="connsiteY225" fmla="*/ 3014 h 10000"/>
                <a:gd name="connsiteX226" fmla="*/ 9934 w 10000"/>
                <a:gd name="connsiteY226" fmla="*/ 2941 h 10000"/>
                <a:gd name="connsiteX227" fmla="*/ 9874 w 10000"/>
                <a:gd name="connsiteY227" fmla="*/ 2952 h 10000"/>
                <a:gd name="connsiteX228" fmla="*/ 10000 w 10000"/>
                <a:gd name="connsiteY228" fmla="*/ 3292 h 10000"/>
                <a:gd name="connsiteX229" fmla="*/ 9845 w 10000"/>
                <a:gd name="connsiteY229" fmla="*/ 3220 h 10000"/>
                <a:gd name="connsiteX230" fmla="*/ 9745 w 10000"/>
                <a:gd name="connsiteY230" fmla="*/ 3075 h 10000"/>
                <a:gd name="connsiteX231" fmla="*/ 9641 w 10000"/>
                <a:gd name="connsiteY231" fmla="*/ 2972 h 10000"/>
                <a:gd name="connsiteX232" fmla="*/ 9555 w 10000"/>
                <a:gd name="connsiteY232" fmla="*/ 3003 h 10000"/>
                <a:gd name="connsiteX233" fmla="*/ 9470 w 10000"/>
                <a:gd name="connsiteY233" fmla="*/ 2787 h 10000"/>
                <a:gd name="connsiteX234" fmla="*/ 9366 w 10000"/>
                <a:gd name="connsiteY234" fmla="*/ 2725 h 10000"/>
                <a:gd name="connsiteX235" fmla="*/ 9461 w 10000"/>
                <a:gd name="connsiteY235" fmla="*/ 2972 h 10000"/>
                <a:gd name="connsiteX236" fmla="*/ 9470 w 10000"/>
                <a:gd name="connsiteY236" fmla="*/ 3230 h 10000"/>
                <a:gd name="connsiteX237" fmla="*/ 9288 w 10000"/>
                <a:gd name="connsiteY237" fmla="*/ 3065 h 10000"/>
                <a:gd name="connsiteX238" fmla="*/ 9262 w 10000"/>
                <a:gd name="connsiteY238" fmla="*/ 3230 h 10000"/>
                <a:gd name="connsiteX239" fmla="*/ 9363 w 10000"/>
                <a:gd name="connsiteY239" fmla="*/ 3230 h 10000"/>
                <a:gd name="connsiteX240" fmla="*/ 9451 w 10000"/>
                <a:gd name="connsiteY240" fmla="*/ 3354 h 10000"/>
                <a:gd name="connsiteX241" fmla="*/ 9659 w 10000"/>
                <a:gd name="connsiteY241" fmla="*/ 3685 h 10000"/>
                <a:gd name="connsiteX242" fmla="*/ 9735 w 10000"/>
                <a:gd name="connsiteY242" fmla="*/ 3839 h 10000"/>
                <a:gd name="connsiteX243" fmla="*/ 9552 w 10000"/>
                <a:gd name="connsiteY243" fmla="*/ 3757 h 10000"/>
                <a:gd name="connsiteX244" fmla="*/ 9451 w 10000"/>
                <a:gd name="connsiteY244" fmla="*/ 4025 h 10000"/>
                <a:gd name="connsiteX245" fmla="*/ 9385 w 10000"/>
                <a:gd name="connsiteY245" fmla="*/ 4283 h 10000"/>
                <a:gd name="connsiteX246" fmla="*/ 9376 w 10000"/>
                <a:gd name="connsiteY246" fmla="*/ 4499 h 10000"/>
                <a:gd name="connsiteX247" fmla="*/ 9335 w 10000"/>
                <a:gd name="connsiteY247" fmla="*/ 4303 h 10000"/>
                <a:gd name="connsiteX248" fmla="*/ 9149 w 10000"/>
                <a:gd name="connsiteY248" fmla="*/ 4314 h 10000"/>
                <a:gd name="connsiteX249" fmla="*/ 9155 w 10000"/>
                <a:gd name="connsiteY249" fmla="*/ 4531 h 10000"/>
                <a:gd name="connsiteX250" fmla="*/ 9061 w 10000"/>
                <a:gd name="connsiteY250" fmla="*/ 4365 h 10000"/>
                <a:gd name="connsiteX251" fmla="*/ 9054 w 10000"/>
                <a:gd name="connsiteY251" fmla="*/ 4521 h 10000"/>
                <a:gd name="connsiteX252" fmla="*/ 8998 w 10000"/>
                <a:gd name="connsiteY252" fmla="*/ 4458 h 10000"/>
                <a:gd name="connsiteX253" fmla="*/ 8966 w 10000"/>
                <a:gd name="connsiteY253" fmla="*/ 4562 h 10000"/>
                <a:gd name="connsiteX254" fmla="*/ 9007 w 10000"/>
                <a:gd name="connsiteY254" fmla="*/ 4686 h 10000"/>
                <a:gd name="connsiteX255" fmla="*/ 9004 w 10000"/>
                <a:gd name="connsiteY255" fmla="*/ 4995 h 10000"/>
                <a:gd name="connsiteX256" fmla="*/ 9073 w 10000"/>
                <a:gd name="connsiteY256" fmla="*/ 5211 h 10000"/>
                <a:gd name="connsiteX257" fmla="*/ 9130 w 10000"/>
                <a:gd name="connsiteY257" fmla="*/ 5150 h 10000"/>
                <a:gd name="connsiteX258" fmla="*/ 9158 w 10000"/>
                <a:gd name="connsiteY258" fmla="*/ 5211 h 10000"/>
                <a:gd name="connsiteX259" fmla="*/ 9231 w 10000"/>
                <a:gd name="connsiteY259" fmla="*/ 5428 h 10000"/>
                <a:gd name="connsiteX260" fmla="*/ 9215 w 10000"/>
                <a:gd name="connsiteY260" fmla="*/ 5604 h 10000"/>
                <a:gd name="connsiteX261" fmla="*/ 9221 w 10000"/>
                <a:gd name="connsiteY261" fmla="*/ 5769 h 10000"/>
                <a:gd name="connsiteX262" fmla="*/ 9269 w 10000"/>
                <a:gd name="connsiteY262" fmla="*/ 5883 h 10000"/>
                <a:gd name="connsiteX263" fmla="*/ 9344 w 10000"/>
                <a:gd name="connsiteY263" fmla="*/ 6068 h 10000"/>
                <a:gd name="connsiteX264" fmla="*/ 9269 w 10000"/>
                <a:gd name="connsiteY264" fmla="*/ 6068 h 10000"/>
                <a:gd name="connsiteX265" fmla="*/ 9253 w 10000"/>
                <a:gd name="connsiteY265" fmla="*/ 6223 h 10000"/>
                <a:gd name="connsiteX266" fmla="*/ 9319 w 10000"/>
                <a:gd name="connsiteY266" fmla="*/ 6408 h 10000"/>
                <a:gd name="connsiteX267" fmla="*/ 9250 w 10000"/>
                <a:gd name="connsiteY267" fmla="*/ 6502 h 10000"/>
                <a:gd name="connsiteX268" fmla="*/ 9297 w 10000"/>
                <a:gd name="connsiteY268" fmla="*/ 6729 h 10000"/>
                <a:gd name="connsiteX269" fmla="*/ 9281 w 10000"/>
                <a:gd name="connsiteY269" fmla="*/ 7069 h 10000"/>
                <a:gd name="connsiteX270" fmla="*/ 9061 w 10000"/>
                <a:gd name="connsiteY270" fmla="*/ 6408 h 10000"/>
                <a:gd name="connsiteX271" fmla="*/ 8824 w 10000"/>
                <a:gd name="connsiteY271" fmla="*/ 5759 h 10000"/>
                <a:gd name="connsiteX272" fmla="*/ 8771 w 10000"/>
                <a:gd name="connsiteY272" fmla="*/ 5459 h 10000"/>
                <a:gd name="connsiteX273" fmla="*/ 8768 w 10000"/>
                <a:gd name="connsiteY273" fmla="*/ 5211 h 10000"/>
                <a:gd name="connsiteX274" fmla="*/ 8692 w 10000"/>
                <a:gd name="connsiteY274" fmla="*/ 5047 h 10000"/>
                <a:gd name="connsiteX275" fmla="*/ 8771 w 10000"/>
                <a:gd name="connsiteY275" fmla="*/ 5088 h 10000"/>
                <a:gd name="connsiteX276" fmla="*/ 8809 w 10000"/>
                <a:gd name="connsiteY276" fmla="*/ 5108 h 10000"/>
                <a:gd name="connsiteX277" fmla="*/ 8809 w 10000"/>
                <a:gd name="connsiteY277" fmla="*/ 4840 h 10000"/>
                <a:gd name="connsiteX278" fmla="*/ 8827 w 10000"/>
                <a:gd name="connsiteY278" fmla="*/ 4437 h 10000"/>
                <a:gd name="connsiteX279" fmla="*/ 8853 w 10000"/>
                <a:gd name="connsiteY279" fmla="*/ 4252 h 10000"/>
                <a:gd name="connsiteX280" fmla="*/ 8909 w 10000"/>
                <a:gd name="connsiteY280" fmla="*/ 4221 h 10000"/>
                <a:gd name="connsiteX281" fmla="*/ 8786 w 10000"/>
                <a:gd name="connsiteY281" fmla="*/ 3901 h 10000"/>
                <a:gd name="connsiteX282" fmla="*/ 8853 w 10000"/>
                <a:gd name="connsiteY282" fmla="*/ 3839 h 10000"/>
                <a:gd name="connsiteX283" fmla="*/ 8739 w 10000"/>
                <a:gd name="connsiteY283" fmla="*/ 3788 h 10000"/>
                <a:gd name="connsiteX284" fmla="*/ 8755 w 10000"/>
                <a:gd name="connsiteY284" fmla="*/ 3984 h 10000"/>
                <a:gd name="connsiteX285" fmla="*/ 8692 w 10000"/>
                <a:gd name="connsiteY285" fmla="*/ 4303 h 10000"/>
                <a:gd name="connsiteX286" fmla="*/ 8604 w 10000"/>
                <a:gd name="connsiteY286" fmla="*/ 4210 h 10000"/>
                <a:gd name="connsiteX287" fmla="*/ 8550 w 10000"/>
                <a:gd name="connsiteY287" fmla="*/ 4056 h 10000"/>
                <a:gd name="connsiteX288" fmla="*/ 8481 w 10000"/>
                <a:gd name="connsiteY288" fmla="*/ 4138 h 10000"/>
                <a:gd name="connsiteX289" fmla="*/ 8389 w 10000"/>
                <a:gd name="connsiteY289" fmla="*/ 4107 h 10000"/>
                <a:gd name="connsiteX290" fmla="*/ 8352 w 10000"/>
                <a:gd name="connsiteY290" fmla="*/ 4406 h 10000"/>
                <a:gd name="connsiteX291" fmla="*/ 8481 w 10000"/>
                <a:gd name="connsiteY291" fmla="*/ 4655 h 10000"/>
                <a:gd name="connsiteX292" fmla="*/ 8405 w 10000"/>
                <a:gd name="connsiteY292" fmla="*/ 4830 h 10000"/>
                <a:gd name="connsiteX293" fmla="*/ 8225 w 10000"/>
                <a:gd name="connsiteY293" fmla="*/ 4799 h 10000"/>
                <a:gd name="connsiteX294" fmla="*/ 8209 w 10000"/>
                <a:gd name="connsiteY294" fmla="*/ 4655 h 10000"/>
                <a:gd name="connsiteX295" fmla="*/ 8102 w 10000"/>
                <a:gd name="connsiteY295" fmla="*/ 4634 h 10000"/>
                <a:gd name="connsiteX296" fmla="*/ 7641 w 10000"/>
                <a:gd name="connsiteY296" fmla="*/ 4779 h 10000"/>
                <a:gd name="connsiteX297" fmla="*/ 7610 w 10000"/>
                <a:gd name="connsiteY297" fmla="*/ 5005 h 10000"/>
                <a:gd name="connsiteX298" fmla="*/ 7550 w 10000"/>
                <a:gd name="connsiteY298" fmla="*/ 5666 h 10000"/>
                <a:gd name="connsiteX299" fmla="*/ 7496 w 10000"/>
                <a:gd name="connsiteY299" fmla="*/ 5965 h 10000"/>
                <a:gd name="connsiteX300" fmla="*/ 7701 w 10000"/>
                <a:gd name="connsiteY300" fmla="*/ 6161 h 10000"/>
                <a:gd name="connsiteX301" fmla="*/ 7745 w 10000"/>
                <a:gd name="connsiteY301" fmla="*/ 6243 h 10000"/>
                <a:gd name="connsiteX302" fmla="*/ 7771 w 10000"/>
                <a:gd name="connsiteY302" fmla="*/ 6285 h 10000"/>
                <a:gd name="connsiteX303" fmla="*/ 7793 w 10000"/>
                <a:gd name="connsiteY303" fmla="*/ 6068 h 10000"/>
                <a:gd name="connsiteX304" fmla="*/ 7912 w 10000"/>
                <a:gd name="connsiteY304" fmla="*/ 6089 h 10000"/>
                <a:gd name="connsiteX305" fmla="*/ 8004 w 10000"/>
                <a:gd name="connsiteY305" fmla="*/ 6367 h 10000"/>
                <a:gd name="connsiteX306" fmla="*/ 8064 w 10000"/>
                <a:gd name="connsiteY306" fmla="*/ 6616 h 10000"/>
                <a:gd name="connsiteX307" fmla="*/ 8111 w 10000"/>
                <a:gd name="connsiteY307" fmla="*/ 6781 h 10000"/>
                <a:gd name="connsiteX308" fmla="*/ 8048 w 10000"/>
                <a:gd name="connsiteY308" fmla="*/ 6491 h 10000"/>
                <a:gd name="connsiteX309" fmla="*/ 8124 w 10000"/>
                <a:gd name="connsiteY309" fmla="*/ 6336 h 10000"/>
                <a:gd name="connsiteX310" fmla="*/ 8177 w 10000"/>
                <a:gd name="connsiteY310" fmla="*/ 6512 h 10000"/>
                <a:gd name="connsiteX311" fmla="*/ 8300 w 10000"/>
                <a:gd name="connsiteY311" fmla="*/ 6987 h 10000"/>
                <a:gd name="connsiteX312" fmla="*/ 8361 w 10000"/>
                <a:gd name="connsiteY312" fmla="*/ 7152 h 10000"/>
                <a:gd name="connsiteX313" fmla="*/ 8490 w 10000"/>
                <a:gd name="connsiteY313" fmla="*/ 7482 h 10000"/>
                <a:gd name="connsiteX314" fmla="*/ 8604 w 10000"/>
                <a:gd name="connsiteY314" fmla="*/ 7854 h 10000"/>
                <a:gd name="connsiteX315" fmla="*/ 8474 w 10000"/>
                <a:gd name="connsiteY315" fmla="*/ 7647 h 10000"/>
                <a:gd name="connsiteX316" fmla="*/ 8443 w 10000"/>
                <a:gd name="connsiteY316" fmla="*/ 7678 h 10000"/>
                <a:gd name="connsiteX317" fmla="*/ 8512 w 10000"/>
                <a:gd name="connsiteY317" fmla="*/ 8050 h 10000"/>
                <a:gd name="connsiteX318" fmla="*/ 8588 w 10000"/>
                <a:gd name="connsiteY318" fmla="*/ 8266 h 10000"/>
                <a:gd name="connsiteX319" fmla="*/ 8642 w 10000"/>
                <a:gd name="connsiteY319" fmla="*/ 8472 h 10000"/>
                <a:gd name="connsiteX320" fmla="*/ 8566 w 10000"/>
                <a:gd name="connsiteY320" fmla="*/ 8421 h 10000"/>
                <a:gd name="connsiteX321" fmla="*/ 8556 w 10000"/>
                <a:gd name="connsiteY321" fmla="*/ 8669 h 10000"/>
                <a:gd name="connsiteX322" fmla="*/ 8497 w 10000"/>
                <a:gd name="connsiteY322" fmla="*/ 8493 h 10000"/>
                <a:gd name="connsiteX323" fmla="*/ 8481 w 10000"/>
                <a:gd name="connsiteY323" fmla="*/ 8421 h 10000"/>
                <a:gd name="connsiteX324" fmla="*/ 8361 w 10000"/>
                <a:gd name="connsiteY324" fmla="*/ 7751 h 10000"/>
                <a:gd name="connsiteX325" fmla="*/ 8322 w 10000"/>
                <a:gd name="connsiteY325" fmla="*/ 7524 h 10000"/>
                <a:gd name="connsiteX326" fmla="*/ 8291 w 10000"/>
                <a:gd name="connsiteY326" fmla="*/ 7378 h 10000"/>
                <a:gd name="connsiteX327" fmla="*/ 8275 w 10000"/>
                <a:gd name="connsiteY327" fmla="*/ 7306 h 10000"/>
                <a:gd name="connsiteX328" fmla="*/ 8139 w 10000"/>
                <a:gd name="connsiteY328" fmla="*/ 6863 h 10000"/>
                <a:gd name="connsiteX329" fmla="*/ 8199 w 10000"/>
                <a:gd name="connsiteY329" fmla="*/ 7451 h 10000"/>
                <a:gd name="connsiteX330" fmla="*/ 8247 w 10000"/>
                <a:gd name="connsiteY330" fmla="*/ 7998 h 10000"/>
                <a:gd name="connsiteX331" fmla="*/ 8177 w 10000"/>
                <a:gd name="connsiteY331" fmla="*/ 9133 h 10000"/>
                <a:gd name="connsiteX332" fmla="*/ 8124 w 10000"/>
                <a:gd name="connsiteY332" fmla="*/ 9484 h 10000"/>
                <a:gd name="connsiteX333" fmla="*/ 7972 w 10000"/>
                <a:gd name="connsiteY333" fmla="*/ 9432 h 10000"/>
                <a:gd name="connsiteX334" fmla="*/ 7897 w 10000"/>
                <a:gd name="connsiteY334" fmla="*/ 9660 h 10000"/>
                <a:gd name="connsiteX335" fmla="*/ 7868 w 10000"/>
                <a:gd name="connsiteY335" fmla="*/ 9588 h 10000"/>
                <a:gd name="connsiteX336" fmla="*/ 7884 w 10000"/>
                <a:gd name="connsiteY336" fmla="*/ 9536 h 10000"/>
                <a:gd name="connsiteX337" fmla="*/ 7897 w 10000"/>
                <a:gd name="connsiteY337" fmla="*/ 9380 h 10000"/>
                <a:gd name="connsiteX338" fmla="*/ 7884 w 10000"/>
                <a:gd name="connsiteY338" fmla="*/ 9236 h 10000"/>
                <a:gd name="connsiteX339" fmla="*/ 7793 w 10000"/>
                <a:gd name="connsiteY339" fmla="*/ 8865 h 10000"/>
                <a:gd name="connsiteX340" fmla="*/ 7831 w 10000"/>
                <a:gd name="connsiteY340" fmla="*/ 8741 h 10000"/>
                <a:gd name="connsiteX341" fmla="*/ 7928 w 10000"/>
                <a:gd name="connsiteY341" fmla="*/ 8844 h 10000"/>
                <a:gd name="connsiteX342" fmla="*/ 7912 w 10000"/>
                <a:gd name="connsiteY342" fmla="*/ 8318 h 10000"/>
                <a:gd name="connsiteX343" fmla="*/ 7906 w 10000"/>
                <a:gd name="connsiteY343" fmla="*/ 8019 h 10000"/>
                <a:gd name="connsiteX344" fmla="*/ 7846 w 10000"/>
                <a:gd name="connsiteY344" fmla="*/ 7802 h 10000"/>
                <a:gd name="connsiteX345" fmla="*/ 7723 w 10000"/>
                <a:gd name="connsiteY345" fmla="*/ 8050 h 10000"/>
                <a:gd name="connsiteX346" fmla="*/ 7619 w 10000"/>
                <a:gd name="connsiteY346" fmla="*/ 8019 h 10000"/>
                <a:gd name="connsiteX347" fmla="*/ 7528 w 10000"/>
                <a:gd name="connsiteY347" fmla="*/ 7699 h 10000"/>
                <a:gd name="connsiteX348" fmla="*/ 7355 w 10000"/>
                <a:gd name="connsiteY348" fmla="*/ 7482 h 10000"/>
                <a:gd name="connsiteX349" fmla="*/ 7279 w 10000"/>
                <a:gd name="connsiteY349" fmla="*/ 7482 h 10000"/>
                <a:gd name="connsiteX350" fmla="*/ 7080 w 10000"/>
                <a:gd name="connsiteY350" fmla="*/ 6781 h 10000"/>
                <a:gd name="connsiteX351" fmla="*/ 6901 w 10000"/>
                <a:gd name="connsiteY351" fmla="*/ 6460 h 10000"/>
                <a:gd name="connsiteX352" fmla="*/ 6724 w 10000"/>
                <a:gd name="connsiteY352" fmla="*/ 6336 h 10000"/>
                <a:gd name="connsiteX353" fmla="*/ 6583 w 10000"/>
                <a:gd name="connsiteY353" fmla="*/ 6408 h 10000"/>
                <a:gd name="connsiteX354" fmla="*/ 6567 w 10000"/>
                <a:gd name="connsiteY354" fmla="*/ 6585 h 10000"/>
                <a:gd name="connsiteX355" fmla="*/ 6664 w 10000"/>
                <a:gd name="connsiteY355" fmla="*/ 6760 h 10000"/>
                <a:gd name="connsiteX356" fmla="*/ 6636 w 10000"/>
                <a:gd name="connsiteY356" fmla="*/ 6935 h 10000"/>
                <a:gd name="connsiteX357" fmla="*/ 6636 w 10000"/>
                <a:gd name="connsiteY357" fmla="*/ 7399 h 10000"/>
                <a:gd name="connsiteX358" fmla="*/ 6560 w 10000"/>
                <a:gd name="connsiteY358" fmla="*/ 7482 h 10000"/>
                <a:gd name="connsiteX359" fmla="*/ 6485 w 10000"/>
                <a:gd name="connsiteY359" fmla="*/ 7378 h 10000"/>
                <a:gd name="connsiteX360" fmla="*/ 6400 w 10000"/>
                <a:gd name="connsiteY360" fmla="*/ 7399 h 10000"/>
                <a:gd name="connsiteX361" fmla="*/ 6334 w 10000"/>
                <a:gd name="connsiteY361" fmla="*/ 7275 h 10000"/>
                <a:gd name="connsiteX362" fmla="*/ 6258 w 10000"/>
                <a:gd name="connsiteY362" fmla="*/ 7358 h 10000"/>
                <a:gd name="connsiteX363" fmla="*/ 6220 w 10000"/>
                <a:gd name="connsiteY363" fmla="*/ 7524 h 10000"/>
                <a:gd name="connsiteX364" fmla="*/ 6081 w 10000"/>
                <a:gd name="connsiteY364" fmla="*/ 7606 h 10000"/>
                <a:gd name="connsiteX365" fmla="*/ 5892 w 10000"/>
                <a:gd name="connsiteY365" fmla="*/ 7575 h 10000"/>
                <a:gd name="connsiteX366" fmla="*/ 5855 w 10000"/>
                <a:gd name="connsiteY366" fmla="*/ 7327 h 10000"/>
                <a:gd name="connsiteX367" fmla="*/ 5643 w 10000"/>
                <a:gd name="connsiteY367" fmla="*/ 7255 h 10000"/>
                <a:gd name="connsiteX368" fmla="*/ 5539 w 10000"/>
                <a:gd name="connsiteY368" fmla="*/ 7358 h 10000"/>
                <a:gd name="connsiteX369" fmla="*/ 5416 w 10000"/>
                <a:gd name="connsiteY369" fmla="*/ 7203 h 10000"/>
                <a:gd name="connsiteX370" fmla="*/ 5372 w 10000"/>
                <a:gd name="connsiteY370"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4130 w 10000"/>
                <a:gd name="connsiteY6" fmla="*/ 7255 h 10000"/>
                <a:gd name="connsiteX7" fmla="*/ 1610 w 10000"/>
                <a:gd name="connsiteY7" fmla="*/ 7183 h 10000"/>
                <a:gd name="connsiteX8" fmla="*/ 1655 w 10000"/>
                <a:gd name="connsiteY8" fmla="*/ 7430 h 10000"/>
                <a:gd name="connsiteX9" fmla="*/ 1604 w 10000"/>
                <a:gd name="connsiteY9" fmla="*/ 7430 h 10000"/>
                <a:gd name="connsiteX10" fmla="*/ 1551 w 10000"/>
                <a:gd name="connsiteY10" fmla="*/ 7255 h 10000"/>
                <a:gd name="connsiteX11" fmla="*/ 1513 w 10000"/>
                <a:gd name="connsiteY11" fmla="*/ 7430 h 10000"/>
                <a:gd name="connsiteX12" fmla="*/ 1519 w 10000"/>
                <a:gd name="connsiteY12" fmla="*/ 7854 h 10000"/>
                <a:gd name="connsiteX13" fmla="*/ 1604 w 10000"/>
                <a:gd name="connsiteY13" fmla="*/ 8070 h 10000"/>
                <a:gd name="connsiteX14" fmla="*/ 1648 w 10000"/>
                <a:gd name="connsiteY14" fmla="*/ 8019 h 10000"/>
                <a:gd name="connsiteX15" fmla="*/ 1741 w 10000"/>
                <a:gd name="connsiteY15" fmla="*/ 8493 h 10000"/>
                <a:gd name="connsiteX16" fmla="*/ 1610 w 10000"/>
                <a:gd name="connsiteY16" fmla="*/ 8669 h 10000"/>
                <a:gd name="connsiteX17" fmla="*/ 1595 w 10000"/>
                <a:gd name="connsiteY17" fmla="*/ 9009 h 10000"/>
                <a:gd name="connsiteX18" fmla="*/ 1664 w 10000"/>
                <a:gd name="connsiteY18" fmla="*/ 9236 h 10000"/>
                <a:gd name="connsiteX19" fmla="*/ 1664 w 10000"/>
                <a:gd name="connsiteY19" fmla="*/ 9484 h 10000"/>
                <a:gd name="connsiteX20" fmla="*/ 1769 w 10000"/>
                <a:gd name="connsiteY20" fmla="*/ 9835 h 10000"/>
                <a:gd name="connsiteX21" fmla="*/ 1703 w 10000"/>
                <a:gd name="connsiteY21" fmla="*/ 10000 h 10000"/>
                <a:gd name="connsiteX22" fmla="*/ 1604 w 10000"/>
                <a:gd name="connsiteY22" fmla="*/ 9753 h 10000"/>
                <a:gd name="connsiteX23" fmla="*/ 1465 w 10000"/>
                <a:gd name="connsiteY23" fmla="*/ 9505 h 10000"/>
                <a:gd name="connsiteX24" fmla="*/ 1406 w 10000"/>
                <a:gd name="connsiteY24" fmla="*/ 9588 h 10000"/>
                <a:gd name="connsiteX25" fmla="*/ 1308 w 10000"/>
                <a:gd name="connsiteY25" fmla="*/ 9380 h 10000"/>
                <a:gd name="connsiteX26" fmla="*/ 1097 w 10000"/>
                <a:gd name="connsiteY26" fmla="*/ 9339 h 10000"/>
                <a:gd name="connsiteX27" fmla="*/ 848 w 10000"/>
                <a:gd name="connsiteY27" fmla="*/ 8813 h 10000"/>
                <a:gd name="connsiteX28" fmla="*/ 914 w 10000"/>
                <a:gd name="connsiteY28" fmla="*/ 8721 h 10000"/>
                <a:gd name="connsiteX29" fmla="*/ 961 w 10000"/>
                <a:gd name="connsiteY29" fmla="*/ 8493 h 10000"/>
                <a:gd name="connsiteX30" fmla="*/ 908 w 10000"/>
                <a:gd name="connsiteY30" fmla="*/ 8390 h 10000"/>
                <a:gd name="connsiteX31" fmla="*/ 1021 w 10000"/>
                <a:gd name="connsiteY31" fmla="*/ 8245 h 10000"/>
                <a:gd name="connsiteX32" fmla="*/ 945 w 10000"/>
                <a:gd name="connsiteY32" fmla="*/ 8194 h 10000"/>
                <a:gd name="connsiteX33" fmla="*/ 958 w 10000"/>
                <a:gd name="connsiteY33" fmla="*/ 8091 h 10000"/>
                <a:gd name="connsiteX34" fmla="*/ 1005 w 10000"/>
                <a:gd name="connsiteY34" fmla="*/ 8111 h 10000"/>
                <a:gd name="connsiteX35" fmla="*/ 1059 w 10000"/>
                <a:gd name="connsiteY35" fmla="*/ 8019 h 10000"/>
                <a:gd name="connsiteX36" fmla="*/ 1034 w 10000"/>
                <a:gd name="connsiteY36" fmla="*/ 7864 h 10000"/>
                <a:gd name="connsiteX37" fmla="*/ 1043 w 10000"/>
                <a:gd name="connsiteY37" fmla="*/ 7503 h 10000"/>
                <a:gd name="connsiteX38" fmla="*/ 930 w 10000"/>
                <a:gd name="connsiteY38" fmla="*/ 7440 h 10000"/>
                <a:gd name="connsiteX39" fmla="*/ 832 w 10000"/>
                <a:gd name="connsiteY39" fmla="*/ 7286 h 10000"/>
                <a:gd name="connsiteX40" fmla="*/ 700 w 10000"/>
                <a:gd name="connsiteY40" fmla="*/ 7275 h 10000"/>
                <a:gd name="connsiteX41" fmla="*/ 684 w 10000"/>
                <a:gd name="connsiteY41" fmla="*/ 7090 h 10000"/>
                <a:gd name="connsiteX42" fmla="*/ 596 w 10000"/>
                <a:gd name="connsiteY42" fmla="*/ 6945 h 10000"/>
                <a:gd name="connsiteX43" fmla="*/ 615 w 10000"/>
                <a:gd name="connsiteY43" fmla="*/ 6822 h 10000"/>
                <a:gd name="connsiteX44" fmla="*/ 561 w 10000"/>
                <a:gd name="connsiteY44" fmla="*/ 6698 h 10000"/>
                <a:gd name="connsiteX45" fmla="*/ 457 w 10000"/>
                <a:gd name="connsiteY45" fmla="*/ 6698 h 10000"/>
                <a:gd name="connsiteX46" fmla="*/ 425 w 10000"/>
                <a:gd name="connsiteY46" fmla="*/ 6791 h 10000"/>
                <a:gd name="connsiteX47" fmla="*/ 400 w 10000"/>
                <a:gd name="connsiteY47" fmla="*/ 6750 h 10000"/>
                <a:gd name="connsiteX48" fmla="*/ 378 w 10000"/>
                <a:gd name="connsiteY48" fmla="*/ 6439 h 10000"/>
                <a:gd name="connsiteX49" fmla="*/ 419 w 10000"/>
                <a:gd name="connsiteY49" fmla="*/ 6470 h 10000"/>
                <a:gd name="connsiteX50" fmla="*/ 466 w 10000"/>
                <a:gd name="connsiteY50" fmla="*/ 6347 h 10000"/>
                <a:gd name="connsiteX51" fmla="*/ 400 w 10000"/>
                <a:gd name="connsiteY51" fmla="*/ 6233 h 10000"/>
                <a:gd name="connsiteX52" fmla="*/ 315 w 10000"/>
                <a:gd name="connsiteY52" fmla="*/ 6017 h 10000"/>
                <a:gd name="connsiteX53" fmla="*/ 334 w 10000"/>
                <a:gd name="connsiteY53" fmla="*/ 5821 h 10000"/>
                <a:gd name="connsiteX54" fmla="*/ 274 w 10000"/>
                <a:gd name="connsiteY54" fmla="*/ 5697 h 10000"/>
                <a:gd name="connsiteX55" fmla="*/ 227 w 10000"/>
                <a:gd name="connsiteY55" fmla="*/ 5728 h 10000"/>
                <a:gd name="connsiteX56" fmla="*/ 202 w 10000"/>
                <a:gd name="connsiteY56" fmla="*/ 5604 h 10000"/>
                <a:gd name="connsiteX57" fmla="*/ 164 w 10000"/>
                <a:gd name="connsiteY57" fmla="*/ 5645 h 10000"/>
                <a:gd name="connsiteX58" fmla="*/ 117 w 10000"/>
                <a:gd name="connsiteY58" fmla="*/ 5604 h 10000"/>
                <a:gd name="connsiteX59" fmla="*/ 69 w 10000"/>
                <a:gd name="connsiteY59" fmla="*/ 5181 h 10000"/>
                <a:gd name="connsiteX60" fmla="*/ 85 w 10000"/>
                <a:gd name="connsiteY60" fmla="*/ 5057 h 10000"/>
                <a:gd name="connsiteX61" fmla="*/ 41 w 10000"/>
                <a:gd name="connsiteY61" fmla="*/ 4892 h 10000"/>
                <a:gd name="connsiteX62" fmla="*/ 66 w 10000"/>
                <a:gd name="connsiteY62" fmla="*/ 4655 h 10000"/>
                <a:gd name="connsiteX63" fmla="*/ 211 w 10000"/>
                <a:gd name="connsiteY63" fmla="*/ 4510 h 10000"/>
                <a:gd name="connsiteX64" fmla="*/ 129 w 10000"/>
                <a:gd name="connsiteY64" fmla="*/ 4406 h 10000"/>
                <a:gd name="connsiteX65" fmla="*/ 82 w 10000"/>
                <a:gd name="connsiteY65" fmla="*/ 4283 h 10000"/>
                <a:gd name="connsiteX66" fmla="*/ 205 w 10000"/>
                <a:gd name="connsiteY66" fmla="*/ 3912 h 10000"/>
                <a:gd name="connsiteX67" fmla="*/ 249 w 10000"/>
                <a:gd name="connsiteY67" fmla="*/ 3664 h 10000"/>
                <a:gd name="connsiteX68" fmla="*/ 151 w 10000"/>
                <a:gd name="connsiteY68" fmla="*/ 3488 h 10000"/>
                <a:gd name="connsiteX69" fmla="*/ 189 w 10000"/>
                <a:gd name="connsiteY69" fmla="*/ 3344 h 10000"/>
                <a:gd name="connsiteX70" fmla="*/ 113 w 10000"/>
                <a:gd name="connsiteY70" fmla="*/ 3148 h 10000"/>
                <a:gd name="connsiteX71" fmla="*/ 113 w 10000"/>
                <a:gd name="connsiteY71" fmla="*/ 2972 h 10000"/>
                <a:gd name="connsiteX72" fmla="*/ 60 w 10000"/>
                <a:gd name="connsiteY72" fmla="*/ 2622 h 10000"/>
                <a:gd name="connsiteX73" fmla="*/ 98 w 10000"/>
                <a:gd name="connsiteY73" fmla="*/ 2404 h 10000"/>
                <a:gd name="connsiteX74" fmla="*/ 38 w 10000"/>
                <a:gd name="connsiteY74" fmla="*/ 2301 h 10000"/>
                <a:gd name="connsiteX75" fmla="*/ 0 w 10000"/>
                <a:gd name="connsiteY75" fmla="*/ 2178 h 10000"/>
                <a:gd name="connsiteX76" fmla="*/ 54 w 10000"/>
                <a:gd name="connsiteY76" fmla="*/ 1951 h 10000"/>
                <a:gd name="connsiteX77" fmla="*/ 120 w 10000"/>
                <a:gd name="connsiteY77" fmla="*/ 1910 h 10000"/>
                <a:gd name="connsiteX78" fmla="*/ 195 w 10000"/>
                <a:gd name="connsiteY78" fmla="*/ 1858 h 10000"/>
                <a:gd name="connsiteX79" fmla="*/ 309 w 10000"/>
                <a:gd name="connsiteY79" fmla="*/ 1951 h 10000"/>
                <a:gd name="connsiteX80" fmla="*/ 482 w 10000"/>
                <a:gd name="connsiteY80" fmla="*/ 2054 h 10000"/>
                <a:gd name="connsiteX81" fmla="*/ 633 w 10000"/>
                <a:gd name="connsiteY81" fmla="*/ 2229 h 10000"/>
                <a:gd name="connsiteX82" fmla="*/ 756 w 10000"/>
                <a:gd name="connsiteY82" fmla="*/ 2373 h 10000"/>
                <a:gd name="connsiteX83" fmla="*/ 725 w 10000"/>
                <a:gd name="connsiteY83" fmla="*/ 2777 h 10000"/>
                <a:gd name="connsiteX84" fmla="*/ 362 w 10000"/>
                <a:gd name="connsiteY84" fmla="*/ 2673 h 10000"/>
                <a:gd name="connsiteX85" fmla="*/ 243 w 10000"/>
                <a:gd name="connsiteY85" fmla="*/ 2550 h 10000"/>
                <a:gd name="connsiteX86" fmla="*/ 287 w 10000"/>
                <a:gd name="connsiteY86" fmla="*/ 2622 h 10000"/>
                <a:gd name="connsiteX87" fmla="*/ 331 w 10000"/>
                <a:gd name="connsiteY87" fmla="*/ 2797 h 10000"/>
                <a:gd name="connsiteX88" fmla="*/ 400 w 10000"/>
                <a:gd name="connsiteY88" fmla="*/ 2921 h 10000"/>
                <a:gd name="connsiteX89" fmla="*/ 416 w 10000"/>
                <a:gd name="connsiteY89" fmla="*/ 3189 h 10000"/>
                <a:gd name="connsiteX90" fmla="*/ 507 w 10000"/>
                <a:gd name="connsiteY90" fmla="*/ 3313 h 10000"/>
                <a:gd name="connsiteX91" fmla="*/ 583 w 10000"/>
                <a:gd name="connsiteY91" fmla="*/ 3436 h 10000"/>
                <a:gd name="connsiteX92" fmla="*/ 605 w 10000"/>
                <a:gd name="connsiteY92" fmla="*/ 3467 h 10000"/>
                <a:gd name="connsiteX93" fmla="*/ 649 w 10000"/>
                <a:gd name="connsiteY93" fmla="*/ 3436 h 10000"/>
                <a:gd name="connsiteX94" fmla="*/ 633 w 10000"/>
                <a:gd name="connsiteY94" fmla="*/ 3364 h 10000"/>
                <a:gd name="connsiteX95" fmla="*/ 545 w 10000"/>
                <a:gd name="connsiteY95" fmla="*/ 3189 h 10000"/>
                <a:gd name="connsiteX96" fmla="*/ 801 w 10000"/>
                <a:gd name="connsiteY96" fmla="*/ 3344 h 10000"/>
                <a:gd name="connsiteX97" fmla="*/ 810 w 10000"/>
                <a:gd name="connsiteY97" fmla="*/ 3271 h 10000"/>
                <a:gd name="connsiteX98" fmla="*/ 785 w 10000"/>
                <a:gd name="connsiteY98" fmla="*/ 3220 h 10000"/>
                <a:gd name="connsiteX99" fmla="*/ 741 w 10000"/>
                <a:gd name="connsiteY99" fmla="*/ 2993 h 10000"/>
                <a:gd name="connsiteX100" fmla="*/ 870 w 10000"/>
                <a:gd name="connsiteY100" fmla="*/ 2777 h 10000"/>
                <a:gd name="connsiteX101" fmla="*/ 968 w 10000"/>
                <a:gd name="connsiteY101" fmla="*/ 2921 h 10000"/>
                <a:gd name="connsiteX102" fmla="*/ 999 w 10000"/>
                <a:gd name="connsiteY102" fmla="*/ 2725 h 10000"/>
                <a:gd name="connsiteX103" fmla="*/ 952 w 10000"/>
                <a:gd name="connsiteY103" fmla="*/ 2653 h 10000"/>
                <a:gd name="connsiteX104" fmla="*/ 936 w 10000"/>
                <a:gd name="connsiteY104" fmla="*/ 2281 h 10000"/>
                <a:gd name="connsiteX105" fmla="*/ 914 w 10000"/>
                <a:gd name="connsiteY105" fmla="*/ 2229 h 10000"/>
                <a:gd name="connsiteX106" fmla="*/ 1037 w 10000"/>
                <a:gd name="connsiteY106" fmla="*/ 2250 h 10000"/>
                <a:gd name="connsiteX107" fmla="*/ 1087 w 10000"/>
                <a:gd name="connsiteY107" fmla="*/ 2404 h 10000"/>
                <a:gd name="connsiteX108" fmla="*/ 1021 w 10000"/>
                <a:gd name="connsiteY108" fmla="*/ 2529 h 10000"/>
                <a:gd name="connsiteX109" fmla="*/ 1135 w 10000"/>
                <a:gd name="connsiteY109" fmla="*/ 2694 h 10000"/>
                <a:gd name="connsiteX110" fmla="*/ 1226 w 10000"/>
                <a:gd name="connsiteY110" fmla="*/ 2529 h 10000"/>
                <a:gd name="connsiteX111" fmla="*/ 1339 w 10000"/>
                <a:gd name="connsiteY111" fmla="*/ 2301 h 10000"/>
                <a:gd name="connsiteX112" fmla="*/ 1459 w 10000"/>
                <a:gd name="connsiteY112" fmla="*/ 2157 h 10000"/>
                <a:gd name="connsiteX113" fmla="*/ 1497 w 10000"/>
                <a:gd name="connsiteY113" fmla="*/ 2250 h 10000"/>
                <a:gd name="connsiteX114" fmla="*/ 1807 w 10000"/>
                <a:gd name="connsiteY114" fmla="*/ 2054 h 10000"/>
                <a:gd name="connsiteX115" fmla="*/ 1870 w 10000"/>
                <a:gd name="connsiteY115" fmla="*/ 2250 h 10000"/>
                <a:gd name="connsiteX116" fmla="*/ 1860 w 10000"/>
                <a:gd name="connsiteY116" fmla="*/ 2002 h 10000"/>
                <a:gd name="connsiteX117" fmla="*/ 1778 w 10000"/>
                <a:gd name="connsiteY117" fmla="*/ 1786 h 10000"/>
                <a:gd name="connsiteX118" fmla="*/ 1763 w 10000"/>
                <a:gd name="connsiteY118" fmla="*/ 1703 h 10000"/>
                <a:gd name="connsiteX119" fmla="*/ 1823 w 10000"/>
                <a:gd name="connsiteY119" fmla="*/ 1786 h 10000"/>
                <a:gd name="connsiteX120" fmla="*/ 2034 w 10000"/>
                <a:gd name="connsiteY120" fmla="*/ 1951 h 10000"/>
                <a:gd name="connsiteX121" fmla="*/ 2270 w 10000"/>
                <a:gd name="connsiteY121" fmla="*/ 2126 h 10000"/>
                <a:gd name="connsiteX122" fmla="*/ 2384 w 10000"/>
                <a:gd name="connsiteY122" fmla="*/ 2250 h 10000"/>
                <a:gd name="connsiteX123" fmla="*/ 2421 w 10000"/>
                <a:gd name="connsiteY123" fmla="*/ 2074 h 10000"/>
                <a:gd name="connsiteX124" fmla="*/ 2368 w 10000"/>
                <a:gd name="connsiteY124" fmla="*/ 2033 h 10000"/>
                <a:gd name="connsiteX125" fmla="*/ 2299 w 10000"/>
                <a:gd name="connsiteY125" fmla="*/ 1930 h 10000"/>
                <a:gd name="connsiteX126" fmla="*/ 2254 w 10000"/>
                <a:gd name="connsiteY126" fmla="*/ 1734 h 10000"/>
                <a:gd name="connsiteX127" fmla="*/ 2185 w 10000"/>
                <a:gd name="connsiteY127" fmla="*/ 1486 h 10000"/>
                <a:gd name="connsiteX128" fmla="*/ 2210 w 10000"/>
                <a:gd name="connsiteY128" fmla="*/ 1434 h 10000"/>
                <a:gd name="connsiteX129" fmla="*/ 2232 w 10000"/>
                <a:gd name="connsiteY129" fmla="*/ 1455 h 10000"/>
                <a:gd name="connsiteX130" fmla="*/ 2292 w 10000"/>
                <a:gd name="connsiteY130" fmla="*/ 1115 h 10000"/>
                <a:gd name="connsiteX131" fmla="*/ 2443 w 10000"/>
                <a:gd name="connsiteY131" fmla="*/ 1135 h 10000"/>
                <a:gd name="connsiteX132" fmla="*/ 2488 w 10000"/>
                <a:gd name="connsiteY132" fmla="*/ 1311 h 10000"/>
                <a:gd name="connsiteX133" fmla="*/ 2519 w 10000"/>
                <a:gd name="connsiteY133" fmla="*/ 1538 h 10000"/>
                <a:gd name="connsiteX134" fmla="*/ 2573 w 10000"/>
                <a:gd name="connsiteY134" fmla="*/ 1734 h 10000"/>
                <a:gd name="connsiteX135" fmla="*/ 2670 w 10000"/>
                <a:gd name="connsiteY135" fmla="*/ 2157 h 10000"/>
                <a:gd name="connsiteX136" fmla="*/ 2481 w 10000"/>
                <a:gd name="connsiteY136" fmla="*/ 2673 h 10000"/>
                <a:gd name="connsiteX137" fmla="*/ 2557 w 10000"/>
                <a:gd name="connsiteY137" fmla="*/ 2746 h 10000"/>
                <a:gd name="connsiteX138" fmla="*/ 2655 w 10000"/>
                <a:gd name="connsiteY138" fmla="*/ 2818 h 10000"/>
                <a:gd name="connsiteX139" fmla="*/ 2784 w 10000"/>
                <a:gd name="connsiteY139" fmla="*/ 2622 h 10000"/>
                <a:gd name="connsiteX140" fmla="*/ 2790 w 10000"/>
                <a:gd name="connsiteY140" fmla="*/ 2404 h 10000"/>
                <a:gd name="connsiteX141" fmla="*/ 2746 w 10000"/>
                <a:gd name="connsiteY141" fmla="*/ 2301 h 10000"/>
                <a:gd name="connsiteX142" fmla="*/ 2919 w 10000"/>
                <a:gd name="connsiteY142" fmla="*/ 2250 h 10000"/>
                <a:gd name="connsiteX143" fmla="*/ 2989 w 10000"/>
                <a:gd name="connsiteY143" fmla="*/ 2497 h 10000"/>
                <a:gd name="connsiteX144" fmla="*/ 2989 w 10000"/>
                <a:gd name="connsiteY144" fmla="*/ 2425 h 10000"/>
                <a:gd name="connsiteX145" fmla="*/ 2973 w 10000"/>
                <a:gd name="connsiteY145" fmla="*/ 2353 h 10000"/>
                <a:gd name="connsiteX146" fmla="*/ 2967 w 10000"/>
                <a:gd name="connsiteY146" fmla="*/ 2178 h 10000"/>
                <a:gd name="connsiteX147" fmla="*/ 2800 w 10000"/>
                <a:gd name="connsiteY147" fmla="*/ 1930 h 10000"/>
                <a:gd name="connsiteX148" fmla="*/ 2670 w 10000"/>
                <a:gd name="connsiteY148" fmla="*/ 2002 h 10000"/>
                <a:gd name="connsiteX149" fmla="*/ 2617 w 10000"/>
                <a:gd name="connsiteY149" fmla="*/ 1683 h 10000"/>
                <a:gd name="connsiteX150" fmla="*/ 2563 w 10000"/>
                <a:gd name="connsiteY150" fmla="*/ 1507 h 10000"/>
                <a:gd name="connsiteX151" fmla="*/ 2617 w 10000"/>
                <a:gd name="connsiteY151" fmla="*/ 1331 h 10000"/>
                <a:gd name="connsiteX152" fmla="*/ 2611 w 10000"/>
                <a:gd name="connsiteY152" fmla="*/ 1166 h 10000"/>
                <a:gd name="connsiteX153" fmla="*/ 2588 w 10000"/>
                <a:gd name="connsiteY153" fmla="*/ 1115 h 10000"/>
                <a:gd name="connsiteX154" fmla="*/ 2626 w 10000"/>
                <a:gd name="connsiteY154" fmla="*/ 1115 h 10000"/>
                <a:gd name="connsiteX155" fmla="*/ 2670 w 10000"/>
                <a:gd name="connsiteY155" fmla="*/ 1455 h 10000"/>
                <a:gd name="connsiteX156" fmla="*/ 2891 w 10000"/>
                <a:gd name="connsiteY156" fmla="*/ 1662 h 10000"/>
                <a:gd name="connsiteX157" fmla="*/ 2724 w 10000"/>
                <a:gd name="connsiteY157" fmla="*/ 1383 h 10000"/>
                <a:gd name="connsiteX158" fmla="*/ 3049 w 10000"/>
                <a:gd name="connsiteY158" fmla="*/ 1383 h 10000"/>
                <a:gd name="connsiteX159" fmla="*/ 3102 w 10000"/>
                <a:gd name="connsiteY159" fmla="*/ 1362 h 10000"/>
                <a:gd name="connsiteX160" fmla="*/ 2897 w 10000"/>
                <a:gd name="connsiteY160" fmla="*/ 1115 h 10000"/>
                <a:gd name="connsiteX161" fmla="*/ 2951 w 10000"/>
                <a:gd name="connsiteY161" fmla="*/ 888 h 10000"/>
                <a:gd name="connsiteX162" fmla="*/ 3178 w 10000"/>
                <a:gd name="connsiteY162" fmla="*/ 888 h 10000"/>
                <a:gd name="connsiteX163" fmla="*/ 3156 w 10000"/>
                <a:gd name="connsiteY163" fmla="*/ 713 h 10000"/>
                <a:gd name="connsiteX164" fmla="*/ 3231 w 10000"/>
                <a:gd name="connsiteY164" fmla="*/ 589 h 10000"/>
                <a:gd name="connsiteX165" fmla="*/ 3276 w 10000"/>
                <a:gd name="connsiteY165" fmla="*/ 548 h 10000"/>
                <a:gd name="connsiteX166" fmla="*/ 3443 w 10000"/>
                <a:gd name="connsiteY166" fmla="*/ 423 h 10000"/>
                <a:gd name="connsiteX167" fmla="*/ 3487 w 10000"/>
                <a:gd name="connsiteY167" fmla="*/ 371 h 10000"/>
                <a:gd name="connsiteX168" fmla="*/ 3480 w 10000"/>
                <a:gd name="connsiteY168" fmla="*/ 444 h 10000"/>
                <a:gd name="connsiteX169" fmla="*/ 3660 w 10000"/>
                <a:gd name="connsiteY169" fmla="*/ 371 h 10000"/>
                <a:gd name="connsiteX170" fmla="*/ 3805 w 10000"/>
                <a:gd name="connsiteY170" fmla="*/ 248 h 10000"/>
                <a:gd name="connsiteX171" fmla="*/ 3827 w 10000"/>
                <a:gd name="connsiteY171" fmla="*/ 0 h 10000"/>
                <a:gd name="connsiteX172" fmla="*/ 3988 w 10000"/>
                <a:gd name="connsiteY172" fmla="*/ 21 h 10000"/>
                <a:gd name="connsiteX173" fmla="*/ 3978 w 10000"/>
                <a:gd name="connsiteY173" fmla="*/ 93 h 10000"/>
                <a:gd name="connsiteX174" fmla="*/ 3988 w 10000"/>
                <a:gd name="connsiteY174" fmla="*/ 176 h 10000"/>
                <a:gd name="connsiteX175" fmla="*/ 4085 w 10000"/>
                <a:gd name="connsiteY175" fmla="*/ 248 h 10000"/>
                <a:gd name="connsiteX176" fmla="*/ 4379 w 10000"/>
                <a:gd name="connsiteY176" fmla="*/ 268 h 10000"/>
                <a:gd name="connsiteX177" fmla="*/ 4539 w 10000"/>
                <a:gd name="connsiteY177" fmla="*/ 392 h 10000"/>
                <a:gd name="connsiteX178" fmla="*/ 4486 w 10000"/>
                <a:gd name="connsiteY178" fmla="*/ 795 h 10000"/>
                <a:gd name="connsiteX179" fmla="*/ 4426 w 10000"/>
                <a:gd name="connsiteY179" fmla="*/ 919 h 10000"/>
                <a:gd name="connsiteX180" fmla="*/ 4356 w 10000"/>
                <a:gd name="connsiteY180" fmla="*/ 1043 h 10000"/>
                <a:gd name="connsiteX181" fmla="*/ 4372 w 10000"/>
                <a:gd name="connsiteY181" fmla="*/ 1115 h 10000"/>
                <a:gd name="connsiteX182" fmla="*/ 4583 w 10000"/>
                <a:gd name="connsiteY182" fmla="*/ 919 h 10000"/>
                <a:gd name="connsiteX183" fmla="*/ 5060 w 10000"/>
                <a:gd name="connsiteY183" fmla="*/ 991 h 10000"/>
                <a:gd name="connsiteX184" fmla="*/ 5108 w 10000"/>
                <a:gd name="connsiteY184" fmla="*/ 1063 h 10000"/>
                <a:gd name="connsiteX185" fmla="*/ 5212 w 10000"/>
                <a:gd name="connsiteY185" fmla="*/ 1187 h 10000"/>
                <a:gd name="connsiteX186" fmla="*/ 5357 w 10000"/>
                <a:gd name="connsiteY186" fmla="*/ 919 h 10000"/>
                <a:gd name="connsiteX187" fmla="*/ 5577 w 10000"/>
                <a:gd name="connsiteY187" fmla="*/ 1063 h 10000"/>
                <a:gd name="connsiteX188" fmla="*/ 5643 w 10000"/>
                <a:gd name="connsiteY188" fmla="*/ 1115 h 10000"/>
                <a:gd name="connsiteX189" fmla="*/ 5697 w 10000"/>
                <a:gd name="connsiteY189" fmla="*/ 1166 h 10000"/>
                <a:gd name="connsiteX190" fmla="*/ 5908 w 10000"/>
                <a:gd name="connsiteY190" fmla="*/ 1631 h 10000"/>
                <a:gd name="connsiteX191" fmla="*/ 5984 w 10000"/>
                <a:gd name="connsiteY191" fmla="*/ 1611 h 10000"/>
                <a:gd name="connsiteX192" fmla="*/ 5977 w 10000"/>
                <a:gd name="connsiteY192" fmla="*/ 1507 h 10000"/>
                <a:gd name="connsiteX193" fmla="*/ 5984 w 10000"/>
                <a:gd name="connsiteY193" fmla="*/ 1383 h 10000"/>
                <a:gd name="connsiteX194" fmla="*/ 6091 w 10000"/>
                <a:gd name="connsiteY194" fmla="*/ 1486 h 10000"/>
                <a:gd name="connsiteX195" fmla="*/ 6264 w 10000"/>
                <a:gd name="connsiteY195" fmla="*/ 1507 h 10000"/>
                <a:gd name="connsiteX196" fmla="*/ 6409 w 10000"/>
                <a:gd name="connsiteY196" fmla="*/ 1455 h 10000"/>
                <a:gd name="connsiteX197" fmla="*/ 6340 w 10000"/>
                <a:gd name="connsiteY197" fmla="*/ 1362 h 10000"/>
                <a:gd name="connsiteX198" fmla="*/ 6431 w 10000"/>
                <a:gd name="connsiteY198" fmla="*/ 1084 h 10000"/>
                <a:gd name="connsiteX199" fmla="*/ 6687 w 10000"/>
                <a:gd name="connsiteY199" fmla="*/ 1207 h 10000"/>
                <a:gd name="connsiteX200" fmla="*/ 6945 w 10000"/>
                <a:gd name="connsiteY200" fmla="*/ 1331 h 10000"/>
                <a:gd name="connsiteX201" fmla="*/ 6967 w 10000"/>
                <a:gd name="connsiteY201" fmla="*/ 1362 h 10000"/>
                <a:gd name="connsiteX202" fmla="*/ 7194 w 10000"/>
                <a:gd name="connsiteY202" fmla="*/ 1611 h 10000"/>
                <a:gd name="connsiteX203" fmla="*/ 7367 w 10000"/>
                <a:gd name="connsiteY203" fmla="*/ 1507 h 10000"/>
                <a:gd name="connsiteX204" fmla="*/ 7582 w 10000"/>
                <a:gd name="connsiteY204" fmla="*/ 1538 h 10000"/>
                <a:gd name="connsiteX205" fmla="*/ 7657 w 10000"/>
                <a:gd name="connsiteY205" fmla="*/ 1611 h 10000"/>
                <a:gd name="connsiteX206" fmla="*/ 7928 w 10000"/>
                <a:gd name="connsiteY206" fmla="*/ 1930 h 10000"/>
                <a:gd name="connsiteX207" fmla="*/ 8231 w 10000"/>
                <a:gd name="connsiteY207" fmla="*/ 1879 h 10000"/>
                <a:gd name="connsiteX208" fmla="*/ 8339 w 10000"/>
                <a:gd name="connsiteY208" fmla="*/ 2033 h 10000"/>
                <a:gd name="connsiteX209" fmla="*/ 8490 w 10000"/>
                <a:gd name="connsiteY209" fmla="*/ 2157 h 10000"/>
                <a:gd name="connsiteX210" fmla="*/ 8519 w 10000"/>
                <a:gd name="connsiteY210" fmla="*/ 2105 h 10000"/>
                <a:gd name="connsiteX211" fmla="*/ 8497 w 10000"/>
                <a:gd name="connsiteY211" fmla="*/ 2074 h 10000"/>
                <a:gd name="connsiteX212" fmla="*/ 8383 w 10000"/>
                <a:gd name="connsiteY212" fmla="*/ 1930 h 10000"/>
                <a:gd name="connsiteX213" fmla="*/ 8465 w 10000"/>
                <a:gd name="connsiteY213" fmla="*/ 1755 h 10000"/>
                <a:gd name="connsiteX214" fmla="*/ 8664 w 10000"/>
                <a:gd name="connsiteY214" fmla="*/ 1910 h 10000"/>
                <a:gd name="connsiteX215" fmla="*/ 8950 w 10000"/>
                <a:gd name="connsiteY215" fmla="*/ 1982 h 10000"/>
                <a:gd name="connsiteX216" fmla="*/ 9206 w 10000"/>
                <a:gd name="connsiteY216" fmla="*/ 2260 h 10000"/>
                <a:gd name="connsiteX217" fmla="*/ 9344 w 10000"/>
                <a:gd name="connsiteY217" fmla="*/ 2332 h 10000"/>
                <a:gd name="connsiteX218" fmla="*/ 9451 w 10000"/>
                <a:gd name="connsiteY218" fmla="*/ 2446 h 10000"/>
                <a:gd name="connsiteX219" fmla="*/ 9574 w 10000"/>
                <a:gd name="connsiteY219" fmla="*/ 2632 h 10000"/>
                <a:gd name="connsiteX220" fmla="*/ 9631 w 10000"/>
                <a:gd name="connsiteY220" fmla="*/ 2756 h 10000"/>
                <a:gd name="connsiteX221" fmla="*/ 9726 w 10000"/>
                <a:gd name="connsiteY221" fmla="*/ 2787 h 10000"/>
                <a:gd name="connsiteX222" fmla="*/ 9590 w 10000"/>
                <a:gd name="connsiteY222" fmla="*/ 2570 h 10000"/>
                <a:gd name="connsiteX223" fmla="*/ 9915 w 10000"/>
                <a:gd name="connsiteY223" fmla="*/ 2756 h 10000"/>
                <a:gd name="connsiteX224" fmla="*/ 10000 w 10000"/>
                <a:gd name="connsiteY224" fmla="*/ 3014 h 10000"/>
                <a:gd name="connsiteX225" fmla="*/ 9934 w 10000"/>
                <a:gd name="connsiteY225" fmla="*/ 2941 h 10000"/>
                <a:gd name="connsiteX226" fmla="*/ 9874 w 10000"/>
                <a:gd name="connsiteY226" fmla="*/ 2952 h 10000"/>
                <a:gd name="connsiteX227" fmla="*/ 10000 w 10000"/>
                <a:gd name="connsiteY227" fmla="*/ 3292 h 10000"/>
                <a:gd name="connsiteX228" fmla="*/ 9845 w 10000"/>
                <a:gd name="connsiteY228" fmla="*/ 3220 h 10000"/>
                <a:gd name="connsiteX229" fmla="*/ 9745 w 10000"/>
                <a:gd name="connsiteY229" fmla="*/ 3075 h 10000"/>
                <a:gd name="connsiteX230" fmla="*/ 9641 w 10000"/>
                <a:gd name="connsiteY230" fmla="*/ 2972 h 10000"/>
                <a:gd name="connsiteX231" fmla="*/ 9555 w 10000"/>
                <a:gd name="connsiteY231" fmla="*/ 3003 h 10000"/>
                <a:gd name="connsiteX232" fmla="*/ 9470 w 10000"/>
                <a:gd name="connsiteY232" fmla="*/ 2787 h 10000"/>
                <a:gd name="connsiteX233" fmla="*/ 9366 w 10000"/>
                <a:gd name="connsiteY233" fmla="*/ 2725 h 10000"/>
                <a:gd name="connsiteX234" fmla="*/ 9461 w 10000"/>
                <a:gd name="connsiteY234" fmla="*/ 2972 h 10000"/>
                <a:gd name="connsiteX235" fmla="*/ 9470 w 10000"/>
                <a:gd name="connsiteY235" fmla="*/ 3230 h 10000"/>
                <a:gd name="connsiteX236" fmla="*/ 9288 w 10000"/>
                <a:gd name="connsiteY236" fmla="*/ 3065 h 10000"/>
                <a:gd name="connsiteX237" fmla="*/ 9262 w 10000"/>
                <a:gd name="connsiteY237" fmla="*/ 3230 h 10000"/>
                <a:gd name="connsiteX238" fmla="*/ 9363 w 10000"/>
                <a:gd name="connsiteY238" fmla="*/ 3230 h 10000"/>
                <a:gd name="connsiteX239" fmla="*/ 9451 w 10000"/>
                <a:gd name="connsiteY239" fmla="*/ 3354 h 10000"/>
                <a:gd name="connsiteX240" fmla="*/ 9659 w 10000"/>
                <a:gd name="connsiteY240" fmla="*/ 3685 h 10000"/>
                <a:gd name="connsiteX241" fmla="*/ 9735 w 10000"/>
                <a:gd name="connsiteY241" fmla="*/ 3839 h 10000"/>
                <a:gd name="connsiteX242" fmla="*/ 9552 w 10000"/>
                <a:gd name="connsiteY242" fmla="*/ 3757 h 10000"/>
                <a:gd name="connsiteX243" fmla="*/ 9451 w 10000"/>
                <a:gd name="connsiteY243" fmla="*/ 4025 h 10000"/>
                <a:gd name="connsiteX244" fmla="*/ 9385 w 10000"/>
                <a:gd name="connsiteY244" fmla="*/ 4283 h 10000"/>
                <a:gd name="connsiteX245" fmla="*/ 9376 w 10000"/>
                <a:gd name="connsiteY245" fmla="*/ 4499 h 10000"/>
                <a:gd name="connsiteX246" fmla="*/ 9335 w 10000"/>
                <a:gd name="connsiteY246" fmla="*/ 4303 h 10000"/>
                <a:gd name="connsiteX247" fmla="*/ 9149 w 10000"/>
                <a:gd name="connsiteY247" fmla="*/ 4314 h 10000"/>
                <a:gd name="connsiteX248" fmla="*/ 9155 w 10000"/>
                <a:gd name="connsiteY248" fmla="*/ 4531 h 10000"/>
                <a:gd name="connsiteX249" fmla="*/ 9061 w 10000"/>
                <a:gd name="connsiteY249" fmla="*/ 4365 h 10000"/>
                <a:gd name="connsiteX250" fmla="*/ 9054 w 10000"/>
                <a:gd name="connsiteY250" fmla="*/ 4521 h 10000"/>
                <a:gd name="connsiteX251" fmla="*/ 8998 w 10000"/>
                <a:gd name="connsiteY251" fmla="*/ 4458 h 10000"/>
                <a:gd name="connsiteX252" fmla="*/ 8966 w 10000"/>
                <a:gd name="connsiteY252" fmla="*/ 4562 h 10000"/>
                <a:gd name="connsiteX253" fmla="*/ 9007 w 10000"/>
                <a:gd name="connsiteY253" fmla="*/ 4686 h 10000"/>
                <a:gd name="connsiteX254" fmla="*/ 9004 w 10000"/>
                <a:gd name="connsiteY254" fmla="*/ 4995 h 10000"/>
                <a:gd name="connsiteX255" fmla="*/ 9073 w 10000"/>
                <a:gd name="connsiteY255" fmla="*/ 5211 h 10000"/>
                <a:gd name="connsiteX256" fmla="*/ 9130 w 10000"/>
                <a:gd name="connsiteY256" fmla="*/ 5150 h 10000"/>
                <a:gd name="connsiteX257" fmla="*/ 9158 w 10000"/>
                <a:gd name="connsiteY257" fmla="*/ 5211 h 10000"/>
                <a:gd name="connsiteX258" fmla="*/ 9231 w 10000"/>
                <a:gd name="connsiteY258" fmla="*/ 5428 h 10000"/>
                <a:gd name="connsiteX259" fmla="*/ 9215 w 10000"/>
                <a:gd name="connsiteY259" fmla="*/ 5604 h 10000"/>
                <a:gd name="connsiteX260" fmla="*/ 9221 w 10000"/>
                <a:gd name="connsiteY260" fmla="*/ 5769 h 10000"/>
                <a:gd name="connsiteX261" fmla="*/ 9269 w 10000"/>
                <a:gd name="connsiteY261" fmla="*/ 5883 h 10000"/>
                <a:gd name="connsiteX262" fmla="*/ 9344 w 10000"/>
                <a:gd name="connsiteY262" fmla="*/ 6068 h 10000"/>
                <a:gd name="connsiteX263" fmla="*/ 9269 w 10000"/>
                <a:gd name="connsiteY263" fmla="*/ 6068 h 10000"/>
                <a:gd name="connsiteX264" fmla="*/ 9253 w 10000"/>
                <a:gd name="connsiteY264" fmla="*/ 6223 h 10000"/>
                <a:gd name="connsiteX265" fmla="*/ 9319 w 10000"/>
                <a:gd name="connsiteY265" fmla="*/ 6408 h 10000"/>
                <a:gd name="connsiteX266" fmla="*/ 9250 w 10000"/>
                <a:gd name="connsiteY266" fmla="*/ 6502 h 10000"/>
                <a:gd name="connsiteX267" fmla="*/ 9297 w 10000"/>
                <a:gd name="connsiteY267" fmla="*/ 6729 h 10000"/>
                <a:gd name="connsiteX268" fmla="*/ 9281 w 10000"/>
                <a:gd name="connsiteY268" fmla="*/ 7069 h 10000"/>
                <a:gd name="connsiteX269" fmla="*/ 9061 w 10000"/>
                <a:gd name="connsiteY269" fmla="*/ 6408 h 10000"/>
                <a:gd name="connsiteX270" fmla="*/ 8824 w 10000"/>
                <a:gd name="connsiteY270" fmla="*/ 5759 h 10000"/>
                <a:gd name="connsiteX271" fmla="*/ 8771 w 10000"/>
                <a:gd name="connsiteY271" fmla="*/ 5459 h 10000"/>
                <a:gd name="connsiteX272" fmla="*/ 8768 w 10000"/>
                <a:gd name="connsiteY272" fmla="*/ 5211 h 10000"/>
                <a:gd name="connsiteX273" fmla="*/ 8692 w 10000"/>
                <a:gd name="connsiteY273" fmla="*/ 5047 h 10000"/>
                <a:gd name="connsiteX274" fmla="*/ 8771 w 10000"/>
                <a:gd name="connsiteY274" fmla="*/ 5088 h 10000"/>
                <a:gd name="connsiteX275" fmla="*/ 8809 w 10000"/>
                <a:gd name="connsiteY275" fmla="*/ 5108 h 10000"/>
                <a:gd name="connsiteX276" fmla="*/ 8809 w 10000"/>
                <a:gd name="connsiteY276" fmla="*/ 4840 h 10000"/>
                <a:gd name="connsiteX277" fmla="*/ 8827 w 10000"/>
                <a:gd name="connsiteY277" fmla="*/ 4437 h 10000"/>
                <a:gd name="connsiteX278" fmla="*/ 8853 w 10000"/>
                <a:gd name="connsiteY278" fmla="*/ 4252 h 10000"/>
                <a:gd name="connsiteX279" fmla="*/ 8909 w 10000"/>
                <a:gd name="connsiteY279" fmla="*/ 4221 h 10000"/>
                <a:gd name="connsiteX280" fmla="*/ 8786 w 10000"/>
                <a:gd name="connsiteY280" fmla="*/ 3901 h 10000"/>
                <a:gd name="connsiteX281" fmla="*/ 8853 w 10000"/>
                <a:gd name="connsiteY281" fmla="*/ 3839 h 10000"/>
                <a:gd name="connsiteX282" fmla="*/ 8739 w 10000"/>
                <a:gd name="connsiteY282" fmla="*/ 3788 h 10000"/>
                <a:gd name="connsiteX283" fmla="*/ 8755 w 10000"/>
                <a:gd name="connsiteY283" fmla="*/ 3984 h 10000"/>
                <a:gd name="connsiteX284" fmla="*/ 8692 w 10000"/>
                <a:gd name="connsiteY284" fmla="*/ 4303 h 10000"/>
                <a:gd name="connsiteX285" fmla="*/ 8604 w 10000"/>
                <a:gd name="connsiteY285" fmla="*/ 4210 h 10000"/>
                <a:gd name="connsiteX286" fmla="*/ 8550 w 10000"/>
                <a:gd name="connsiteY286" fmla="*/ 4056 h 10000"/>
                <a:gd name="connsiteX287" fmla="*/ 8481 w 10000"/>
                <a:gd name="connsiteY287" fmla="*/ 4138 h 10000"/>
                <a:gd name="connsiteX288" fmla="*/ 8389 w 10000"/>
                <a:gd name="connsiteY288" fmla="*/ 4107 h 10000"/>
                <a:gd name="connsiteX289" fmla="*/ 8352 w 10000"/>
                <a:gd name="connsiteY289" fmla="*/ 4406 h 10000"/>
                <a:gd name="connsiteX290" fmla="*/ 8481 w 10000"/>
                <a:gd name="connsiteY290" fmla="*/ 4655 h 10000"/>
                <a:gd name="connsiteX291" fmla="*/ 8405 w 10000"/>
                <a:gd name="connsiteY291" fmla="*/ 4830 h 10000"/>
                <a:gd name="connsiteX292" fmla="*/ 8225 w 10000"/>
                <a:gd name="connsiteY292" fmla="*/ 4799 h 10000"/>
                <a:gd name="connsiteX293" fmla="*/ 8209 w 10000"/>
                <a:gd name="connsiteY293" fmla="*/ 4655 h 10000"/>
                <a:gd name="connsiteX294" fmla="*/ 8102 w 10000"/>
                <a:gd name="connsiteY294" fmla="*/ 4634 h 10000"/>
                <a:gd name="connsiteX295" fmla="*/ 7641 w 10000"/>
                <a:gd name="connsiteY295" fmla="*/ 4779 h 10000"/>
                <a:gd name="connsiteX296" fmla="*/ 7610 w 10000"/>
                <a:gd name="connsiteY296" fmla="*/ 5005 h 10000"/>
                <a:gd name="connsiteX297" fmla="*/ 7550 w 10000"/>
                <a:gd name="connsiteY297" fmla="*/ 5666 h 10000"/>
                <a:gd name="connsiteX298" fmla="*/ 7496 w 10000"/>
                <a:gd name="connsiteY298" fmla="*/ 5965 h 10000"/>
                <a:gd name="connsiteX299" fmla="*/ 7701 w 10000"/>
                <a:gd name="connsiteY299" fmla="*/ 6161 h 10000"/>
                <a:gd name="connsiteX300" fmla="*/ 7745 w 10000"/>
                <a:gd name="connsiteY300" fmla="*/ 6243 h 10000"/>
                <a:gd name="connsiteX301" fmla="*/ 7771 w 10000"/>
                <a:gd name="connsiteY301" fmla="*/ 6285 h 10000"/>
                <a:gd name="connsiteX302" fmla="*/ 7793 w 10000"/>
                <a:gd name="connsiteY302" fmla="*/ 6068 h 10000"/>
                <a:gd name="connsiteX303" fmla="*/ 7912 w 10000"/>
                <a:gd name="connsiteY303" fmla="*/ 6089 h 10000"/>
                <a:gd name="connsiteX304" fmla="*/ 8004 w 10000"/>
                <a:gd name="connsiteY304" fmla="*/ 6367 h 10000"/>
                <a:gd name="connsiteX305" fmla="*/ 8064 w 10000"/>
                <a:gd name="connsiteY305" fmla="*/ 6616 h 10000"/>
                <a:gd name="connsiteX306" fmla="*/ 8111 w 10000"/>
                <a:gd name="connsiteY306" fmla="*/ 6781 h 10000"/>
                <a:gd name="connsiteX307" fmla="*/ 8048 w 10000"/>
                <a:gd name="connsiteY307" fmla="*/ 6491 h 10000"/>
                <a:gd name="connsiteX308" fmla="*/ 8124 w 10000"/>
                <a:gd name="connsiteY308" fmla="*/ 6336 h 10000"/>
                <a:gd name="connsiteX309" fmla="*/ 8177 w 10000"/>
                <a:gd name="connsiteY309" fmla="*/ 6512 h 10000"/>
                <a:gd name="connsiteX310" fmla="*/ 8300 w 10000"/>
                <a:gd name="connsiteY310" fmla="*/ 6987 h 10000"/>
                <a:gd name="connsiteX311" fmla="*/ 8361 w 10000"/>
                <a:gd name="connsiteY311" fmla="*/ 7152 h 10000"/>
                <a:gd name="connsiteX312" fmla="*/ 8490 w 10000"/>
                <a:gd name="connsiteY312" fmla="*/ 7482 h 10000"/>
                <a:gd name="connsiteX313" fmla="*/ 8604 w 10000"/>
                <a:gd name="connsiteY313" fmla="*/ 7854 h 10000"/>
                <a:gd name="connsiteX314" fmla="*/ 8474 w 10000"/>
                <a:gd name="connsiteY314" fmla="*/ 7647 h 10000"/>
                <a:gd name="connsiteX315" fmla="*/ 8443 w 10000"/>
                <a:gd name="connsiteY315" fmla="*/ 7678 h 10000"/>
                <a:gd name="connsiteX316" fmla="*/ 8512 w 10000"/>
                <a:gd name="connsiteY316" fmla="*/ 8050 h 10000"/>
                <a:gd name="connsiteX317" fmla="*/ 8588 w 10000"/>
                <a:gd name="connsiteY317" fmla="*/ 8266 h 10000"/>
                <a:gd name="connsiteX318" fmla="*/ 8642 w 10000"/>
                <a:gd name="connsiteY318" fmla="*/ 8472 h 10000"/>
                <a:gd name="connsiteX319" fmla="*/ 8566 w 10000"/>
                <a:gd name="connsiteY319" fmla="*/ 8421 h 10000"/>
                <a:gd name="connsiteX320" fmla="*/ 8556 w 10000"/>
                <a:gd name="connsiteY320" fmla="*/ 8669 h 10000"/>
                <a:gd name="connsiteX321" fmla="*/ 8497 w 10000"/>
                <a:gd name="connsiteY321" fmla="*/ 8493 h 10000"/>
                <a:gd name="connsiteX322" fmla="*/ 8481 w 10000"/>
                <a:gd name="connsiteY322" fmla="*/ 8421 h 10000"/>
                <a:gd name="connsiteX323" fmla="*/ 8361 w 10000"/>
                <a:gd name="connsiteY323" fmla="*/ 7751 h 10000"/>
                <a:gd name="connsiteX324" fmla="*/ 8322 w 10000"/>
                <a:gd name="connsiteY324" fmla="*/ 7524 h 10000"/>
                <a:gd name="connsiteX325" fmla="*/ 8291 w 10000"/>
                <a:gd name="connsiteY325" fmla="*/ 7378 h 10000"/>
                <a:gd name="connsiteX326" fmla="*/ 8275 w 10000"/>
                <a:gd name="connsiteY326" fmla="*/ 7306 h 10000"/>
                <a:gd name="connsiteX327" fmla="*/ 8139 w 10000"/>
                <a:gd name="connsiteY327" fmla="*/ 6863 h 10000"/>
                <a:gd name="connsiteX328" fmla="*/ 8199 w 10000"/>
                <a:gd name="connsiteY328" fmla="*/ 7451 h 10000"/>
                <a:gd name="connsiteX329" fmla="*/ 8247 w 10000"/>
                <a:gd name="connsiteY329" fmla="*/ 7998 h 10000"/>
                <a:gd name="connsiteX330" fmla="*/ 8177 w 10000"/>
                <a:gd name="connsiteY330" fmla="*/ 9133 h 10000"/>
                <a:gd name="connsiteX331" fmla="*/ 8124 w 10000"/>
                <a:gd name="connsiteY331" fmla="*/ 9484 h 10000"/>
                <a:gd name="connsiteX332" fmla="*/ 7972 w 10000"/>
                <a:gd name="connsiteY332" fmla="*/ 9432 h 10000"/>
                <a:gd name="connsiteX333" fmla="*/ 7897 w 10000"/>
                <a:gd name="connsiteY333" fmla="*/ 9660 h 10000"/>
                <a:gd name="connsiteX334" fmla="*/ 7868 w 10000"/>
                <a:gd name="connsiteY334" fmla="*/ 9588 h 10000"/>
                <a:gd name="connsiteX335" fmla="*/ 7884 w 10000"/>
                <a:gd name="connsiteY335" fmla="*/ 9536 h 10000"/>
                <a:gd name="connsiteX336" fmla="*/ 7897 w 10000"/>
                <a:gd name="connsiteY336" fmla="*/ 9380 h 10000"/>
                <a:gd name="connsiteX337" fmla="*/ 7884 w 10000"/>
                <a:gd name="connsiteY337" fmla="*/ 9236 h 10000"/>
                <a:gd name="connsiteX338" fmla="*/ 7793 w 10000"/>
                <a:gd name="connsiteY338" fmla="*/ 8865 h 10000"/>
                <a:gd name="connsiteX339" fmla="*/ 7831 w 10000"/>
                <a:gd name="connsiteY339" fmla="*/ 8741 h 10000"/>
                <a:gd name="connsiteX340" fmla="*/ 7928 w 10000"/>
                <a:gd name="connsiteY340" fmla="*/ 8844 h 10000"/>
                <a:gd name="connsiteX341" fmla="*/ 7912 w 10000"/>
                <a:gd name="connsiteY341" fmla="*/ 8318 h 10000"/>
                <a:gd name="connsiteX342" fmla="*/ 7906 w 10000"/>
                <a:gd name="connsiteY342" fmla="*/ 8019 h 10000"/>
                <a:gd name="connsiteX343" fmla="*/ 7846 w 10000"/>
                <a:gd name="connsiteY343" fmla="*/ 7802 h 10000"/>
                <a:gd name="connsiteX344" fmla="*/ 7723 w 10000"/>
                <a:gd name="connsiteY344" fmla="*/ 8050 h 10000"/>
                <a:gd name="connsiteX345" fmla="*/ 7619 w 10000"/>
                <a:gd name="connsiteY345" fmla="*/ 8019 h 10000"/>
                <a:gd name="connsiteX346" fmla="*/ 7528 w 10000"/>
                <a:gd name="connsiteY346" fmla="*/ 7699 h 10000"/>
                <a:gd name="connsiteX347" fmla="*/ 7355 w 10000"/>
                <a:gd name="connsiteY347" fmla="*/ 7482 h 10000"/>
                <a:gd name="connsiteX348" fmla="*/ 7279 w 10000"/>
                <a:gd name="connsiteY348" fmla="*/ 7482 h 10000"/>
                <a:gd name="connsiteX349" fmla="*/ 7080 w 10000"/>
                <a:gd name="connsiteY349" fmla="*/ 6781 h 10000"/>
                <a:gd name="connsiteX350" fmla="*/ 6901 w 10000"/>
                <a:gd name="connsiteY350" fmla="*/ 6460 h 10000"/>
                <a:gd name="connsiteX351" fmla="*/ 6724 w 10000"/>
                <a:gd name="connsiteY351" fmla="*/ 6336 h 10000"/>
                <a:gd name="connsiteX352" fmla="*/ 6583 w 10000"/>
                <a:gd name="connsiteY352" fmla="*/ 6408 h 10000"/>
                <a:gd name="connsiteX353" fmla="*/ 6567 w 10000"/>
                <a:gd name="connsiteY353" fmla="*/ 6585 h 10000"/>
                <a:gd name="connsiteX354" fmla="*/ 6664 w 10000"/>
                <a:gd name="connsiteY354" fmla="*/ 6760 h 10000"/>
                <a:gd name="connsiteX355" fmla="*/ 6636 w 10000"/>
                <a:gd name="connsiteY355" fmla="*/ 6935 h 10000"/>
                <a:gd name="connsiteX356" fmla="*/ 6636 w 10000"/>
                <a:gd name="connsiteY356" fmla="*/ 7399 h 10000"/>
                <a:gd name="connsiteX357" fmla="*/ 6560 w 10000"/>
                <a:gd name="connsiteY357" fmla="*/ 7482 h 10000"/>
                <a:gd name="connsiteX358" fmla="*/ 6485 w 10000"/>
                <a:gd name="connsiteY358" fmla="*/ 7378 h 10000"/>
                <a:gd name="connsiteX359" fmla="*/ 6400 w 10000"/>
                <a:gd name="connsiteY359" fmla="*/ 7399 h 10000"/>
                <a:gd name="connsiteX360" fmla="*/ 6334 w 10000"/>
                <a:gd name="connsiteY360" fmla="*/ 7275 h 10000"/>
                <a:gd name="connsiteX361" fmla="*/ 6258 w 10000"/>
                <a:gd name="connsiteY361" fmla="*/ 7358 h 10000"/>
                <a:gd name="connsiteX362" fmla="*/ 6220 w 10000"/>
                <a:gd name="connsiteY362" fmla="*/ 7524 h 10000"/>
                <a:gd name="connsiteX363" fmla="*/ 6081 w 10000"/>
                <a:gd name="connsiteY363" fmla="*/ 7606 h 10000"/>
                <a:gd name="connsiteX364" fmla="*/ 5892 w 10000"/>
                <a:gd name="connsiteY364" fmla="*/ 7575 h 10000"/>
                <a:gd name="connsiteX365" fmla="*/ 5855 w 10000"/>
                <a:gd name="connsiteY365" fmla="*/ 7327 h 10000"/>
                <a:gd name="connsiteX366" fmla="*/ 5643 w 10000"/>
                <a:gd name="connsiteY366" fmla="*/ 7255 h 10000"/>
                <a:gd name="connsiteX367" fmla="*/ 5539 w 10000"/>
                <a:gd name="connsiteY367" fmla="*/ 7358 h 10000"/>
                <a:gd name="connsiteX368" fmla="*/ 5416 w 10000"/>
                <a:gd name="connsiteY368" fmla="*/ 7203 h 10000"/>
                <a:gd name="connsiteX369" fmla="*/ 5372 w 10000"/>
                <a:gd name="connsiteY369"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4275 w 10000"/>
                <a:gd name="connsiteY5" fmla="*/ 7503 h 10000"/>
                <a:gd name="connsiteX6" fmla="*/ 1610 w 10000"/>
                <a:gd name="connsiteY6" fmla="*/ 7183 h 10000"/>
                <a:gd name="connsiteX7" fmla="*/ 1655 w 10000"/>
                <a:gd name="connsiteY7" fmla="*/ 7430 h 10000"/>
                <a:gd name="connsiteX8" fmla="*/ 1604 w 10000"/>
                <a:gd name="connsiteY8" fmla="*/ 7430 h 10000"/>
                <a:gd name="connsiteX9" fmla="*/ 1551 w 10000"/>
                <a:gd name="connsiteY9" fmla="*/ 7255 h 10000"/>
                <a:gd name="connsiteX10" fmla="*/ 1513 w 10000"/>
                <a:gd name="connsiteY10" fmla="*/ 7430 h 10000"/>
                <a:gd name="connsiteX11" fmla="*/ 1519 w 10000"/>
                <a:gd name="connsiteY11" fmla="*/ 7854 h 10000"/>
                <a:gd name="connsiteX12" fmla="*/ 1604 w 10000"/>
                <a:gd name="connsiteY12" fmla="*/ 8070 h 10000"/>
                <a:gd name="connsiteX13" fmla="*/ 1648 w 10000"/>
                <a:gd name="connsiteY13" fmla="*/ 8019 h 10000"/>
                <a:gd name="connsiteX14" fmla="*/ 1741 w 10000"/>
                <a:gd name="connsiteY14" fmla="*/ 8493 h 10000"/>
                <a:gd name="connsiteX15" fmla="*/ 1610 w 10000"/>
                <a:gd name="connsiteY15" fmla="*/ 8669 h 10000"/>
                <a:gd name="connsiteX16" fmla="*/ 1595 w 10000"/>
                <a:gd name="connsiteY16" fmla="*/ 9009 h 10000"/>
                <a:gd name="connsiteX17" fmla="*/ 1664 w 10000"/>
                <a:gd name="connsiteY17" fmla="*/ 9236 h 10000"/>
                <a:gd name="connsiteX18" fmla="*/ 1664 w 10000"/>
                <a:gd name="connsiteY18" fmla="*/ 9484 h 10000"/>
                <a:gd name="connsiteX19" fmla="*/ 1769 w 10000"/>
                <a:gd name="connsiteY19" fmla="*/ 9835 h 10000"/>
                <a:gd name="connsiteX20" fmla="*/ 1703 w 10000"/>
                <a:gd name="connsiteY20" fmla="*/ 10000 h 10000"/>
                <a:gd name="connsiteX21" fmla="*/ 1604 w 10000"/>
                <a:gd name="connsiteY21" fmla="*/ 9753 h 10000"/>
                <a:gd name="connsiteX22" fmla="*/ 1465 w 10000"/>
                <a:gd name="connsiteY22" fmla="*/ 9505 h 10000"/>
                <a:gd name="connsiteX23" fmla="*/ 1406 w 10000"/>
                <a:gd name="connsiteY23" fmla="*/ 9588 h 10000"/>
                <a:gd name="connsiteX24" fmla="*/ 1308 w 10000"/>
                <a:gd name="connsiteY24" fmla="*/ 9380 h 10000"/>
                <a:gd name="connsiteX25" fmla="*/ 1097 w 10000"/>
                <a:gd name="connsiteY25" fmla="*/ 9339 h 10000"/>
                <a:gd name="connsiteX26" fmla="*/ 848 w 10000"/>
                <a:gd name="connsiteY26" fmla="*/ 8813 h 10000"/>
                <a:gd name="connsiteX27" fmla="*/ 914 w 10000"/>
                <a:gd name="connsiteY27" fmla="*/ 8721 h 10000"/>
                <a:gd name="connsiteX28" fmla="*/ 961 w 10000"/>
                <a:gd name="connsiteY28" fmla="*/ 8493 h 10000"/>
                <a:gd name="connsiteX29" fmla="*/ 908 w 10000"/>
                <a:gd name="connsiteY29" fmla="*/ 8390 h 10000"/>
                <a:gd name="connsiteX30" fmla="*/ 1021 w 10000"/>
                <a:gd name="connsiteY30" fmla="*/ 8245 h 10000"/>
                <a:gd name="connsiteX31" fmla="*/ 945 w 10000"/>
                <a:gd name="connsiteY31" fmla="*/ 8194 h 10000"/>
                <a:gd name="connsiteX32" fmla="*/ 958 w 10000"/>
                <a:gd name="connsiteY32" fmla="*/ 8091 h 10000"/>
                <a:gd name="connsiteX33" fmla="*/ 1005 w 10000"/>
                <a:gd name="connsiteY33" fmla="*/ 8111 h 10000"/>
                <a:gd name="connsiteX34" fmla="*/ 1059 w 10000"/>
                <a:gd name="connsiteY34" fmla="*/ 8019 h 10000"/>
                <a:gd name="connsiteX35" fmla="*/ 1034 w 10000"/>
                <a:gd name="connsiteY35" fmla="*/ 7864 h 10000"/>
                <a:gd name="connsiteX36" fmla="*/ 1043 w 10000"/>
                <a:gd name="connsiteY36" fmla="*/ 7503 h 10000"/>
                <a:gd name="connsiteX37" fmla="*/ 930 w 10000"/>
                <a:gd name="connsiteY37" fmla="*/ 7440 h 10000"/>
                <a:gd name="connsiteX38" fmla="*/ 832 w 10000"/>
                <a:gd name="connsiteY38" fmla="*/ 7286 h 10000"/>
                <a:gd name="connsiteX39" fmla="*/ 700 w 10000"/>
                <a:gd name="connsiteY39" fmla="*/ 7275 h 10000"/>
                <a:gd name="connsiteX40" fmla="*/ 684 w 10000"/>
                <a:gd name="connsiteY40" fmla="*/ 7090 h 10000"/>
                <a:gd name="connsiteX41" fmla="*/ 596 w 10000"/>
                <a:gd name="connsiteY41" fmla="*/ 6945 h 10000"/>
                <a:gd name="connsiteX42" fmla="*/ 615 w 10000"/>
                <a:gd name="connsiteY42" fmla="*/ 6822 h 10000"/>
                <a:gd name="connsiteX43" fmla="*/ 561 w 10000"/>
                <a:gd name="connsiteY43" fmla="*/ 6698 h 10000"/>
                <a:gd name="connsiteX44" fmla="*/ 457 w 10000"/>
                <a:gd name="connsiteY44" fmla="*/ 6698 h 10000"/>
                <a:gd name="connsiteX45" fmla="*/ 425 w 10000"/>
                <a:gd name="connsiteY45" fmla="*/ 6791 h 10000"/>
                <a:gd name="connsiteX46" fmla="*/ 400 w 10000"/>
                <a:gd name="connsiteY46" fmla="*/ 6750 h 10000"/>
                <a:gd name="connsiteX47" fmla="*/ 378 w 10000"/>
                <a:gd name="connsiteY47" fmla="*/ 6439 h 10000"/>
                <a:gd name="connsiteX48" fmla="*/ 419 w 10000"/>
                <a:gd name="connsiteY48" fmla="*/ 6470 h 10000"/>
                <a:gd name="connsiteX49" fmla="*/ 466 w 10000"/>
                <a:gd name="connsiteY49" fmla="*/ 6347 h 10000"/>
                <a:gd name="connsiteX50" fmla="*/ 400 w 10000"/>
                <a:gd name="connsiteY50" fmla="*/ 6233 h 10000"/>
                <a:gd name="connsiteX51" fmla="*/ 315 w 10000"/>
                <a:gd name="connsiteY51" fmla="*/ 6017 h 10000"/>
                <a:gd name="connsiteX52" fmla="*/ 334 w 10000"/>
                <a:gd name="connsiteY52" fmla="*/ 5821 h 10000"/>
                <a:gd name="connsiteX53" fmla="*/ 274 w 10000"/>
                <a:gd name="connsiteY53" fmla="*/ 5697 h 10000"/>
                <a:gd name="connsiteX54" fmla="*/ 227 w 10000"/>
                <a:gd name="connsiteY54" fmla="*/ 5728 h 10000"/>
                <a:gd name="connsiteX55" fmla="*/ 202 w 10000"/>
                <a:gd name="connsiteY55" fmla="*/ 5604 h 10000"/>
                <a:gd name="connsiteX56" fmla="*/ 164 w 10000"/>
                <a:gd name="connsiteY56" fmla="*/ 5645 h 10000"/>
                <a:gd name="connsiteX57" fmla="*/ 117 w 10000"/>
                <a:gd name="connsiteY57" fmla="*/ 5604 h 10000"/>
                <a:gd name="connsiteX58" fmla="*/ 69 w 10000"/>
                <a:gd name="connsiteY58" fmla="*/ 5181 h 10000"/>
                <a:gd name="connsiteX59" fmla="*/ 85 w 10000"/>
                <a:gd name="connsiteY59" fmla="*/ 5057 h 10000"/>
                <a:gd name="connsiteX60" fmla="*/ 41 w 10000"/>
                <a:gd name="connsiteY60" fmla="*/ 4892 h 10000"/>
                <a:gd name="connsiteX61" fmla="*/ 66 w 10000"/>
                <a:gd name="connsiteY61" fmla="*/ 4655 h 10000"/>
                <a:gd name="connsiteX62" fmla="*/ 211 w 10000"/>
                <a:gd name="connsiteY62" fmla="*/ 4510 h 10000"/>
                <a:gd name="connsiteX63" fmla="*/ 129 w 10000"/>
                <a:gd name="connsiteY63" fmla="*/ 4406 h 10000"/>
                <a:gd name="connsiteX64" fmla="*/ 82 w 10000"/>
                <a:gd name="connsiteY64" fmla="*/ 4283 h 10000"/>
                <a:gd name="connsiteX65" fmla="*/ 205 w 10000"/>
                <a:gd name="connsiteY65" fmla="*/ 3912 h 10000"/>
                <a:gd name="connsiteX66" fmla="*/ 249 w 10000"/>
                <a:gd name="connsiteY66" fmla="*/ 3664 h 10000"/>
                <a:gd name="connsiteX67" fmla="*/ 151 w 10000"/>
                <a:gd name="connsiteY67" fmla="*/ 3488 h 10000"/>
                <a:gd name="connsiteX68" fmla="*/ 189 w 10000"/>
                <a:gd name="connsiteY68" fmla="*/ 3344 h 10000"/>
                <a:gd name="connsiteX69" fmla="*/ 113 w 10000"/>
                <a:gd name="connsiteY69" fmla="*/ 3148 h 10000"/>
                <a:gd name="connsiteX70" fmla="*/ 113 w 10000"/>
                <a:gd name="connsiteY70" fmla="*/ 2972 h 10000"/>
                <a:gd name="connsiteX71" fmla="*/ 60 w 10000"/>
                <a:gd name="connsiteY71" fmla="*/ 2622 h 10000"/>
                <a:gd name="connsiteX72" fmla="*/ 98 w 10000"/>
                <a:gd name="connsiteY72" fmla="*/ 2404 h 10000"/>
                <a:gd name="connsiteX73" fmla="*/ 38 w 10000"/>
                <a:gd name="connsiteY73" fmla="*/ 2301 h 10000"/>
                <a:gd name="connsiteX74" fmla="*/ 0 w 10000"/>
                <a:gd name="connsiteY74" fmla="*/ 2178 h 10000"/>
                <a:gd name="connsiteX75" fmla="*/ 54 w 10000"/>
                <a:gd name="connsiteY75" fmla="*/ 1951 h 10000"/>
                <a:gd name="connsiteX76" fmla="*/ 120 w 10000"/>
                <a:gd name="connsiteY76" fmla="*/ 1910 h 10000"/>
                <a:gd name="connsiteX77" fmla="*/ 195 w 10000"/>
                <a:gd name="connsiteY77" fmla="*/ 1858 h 10000"/>
                <a:gd name="connsiteX78" fmla="*/ 309 w 10000"/>
                <a:gd name="connsiteY78" fmla="*/ 1951 h 10000"/>
                <a:gd name="connsiteX79" fmla="*/ 482 w 10000"/>
                <a:gd name="connsiteY79" fmla="*/ 2054 h 10000"/>
                <a:gd name="connsiteX80" fmla="*/ 633 w 10000"/>
                <a:gd name="connsiteY80" fmla="*/ 2229 h 10000"/>
                <a:gd name="connsiteX81" fmla="*/ 756 w 10000"/>
                <a:gd name="connsiteY81" fmla="*/ 2373 h 10000"/>
                <a:gd name="connsiteX82" fmla="*/ 725 w 10000"/>
                <a:gd name="connsiteY82" fmla="*/ 2777 h 10000"/>
                <a:gd name="connsiteX83" fmla="*/ 362 w 10000"/>
                <a:gd name="connsiteY83" fmla="*/ 2673 h 10000"/>
                <a:gd name="connsiteX84" fmla="*/ 243 w 10000"/>
                <a:gd name="connsiteY84" fmla="*/ 2550 h 10000"/>
                <a:gd name="connsiteX85" fmla="*/ 287 w 10000"/>
                <a:gd name="connsiteY85" fmla="*/ 2622 h 10000"/>
                <a:gd name="connsiteX86" fmla="*/ 331 w 10000"/>
                <a:gd name="connsiteY86" fmla="*/ 2797 h 10000"/>
                <a:gd name="connsiteX87" fmla="*/ 400 w 10000"/>
                <a:gd name="connsiteY87" fmla="*/ 2921 h 10000"/>
                <a:gd name="connsiteX88" fmla="*/ 416 w 10000"/>
                <a:gd name="connsiteY88" fmla="*/ 3189 h 10000"/>
                <a:gd name="connsiteX89" fmla="*/ 507 w 10000"/>
                <a:gd name="connsiteY89" fmla="*/ 3313 h 10000"/>
                <a:gd name="connsiteX90" fmla="*/ 583 w 10000"/>
                <a:gd name="connsiteY90" fmla="*/ 3436 h 10000"/>
                <a:gd name="connsiteX91" fmla="*/ 605 w 10000"/>
                <a:gd name="connsiteY91" fmla="*/ 3467 h 10000"/>
                <a:gd name="connsiteX92" fmla="*/ 649 w 10000"/>
                <a:gd name="connsiteY92" fmla="*/ 3436 h 10000"/>
                <a:gd name="connsiteX93" fmla="*/ 633 w 10000"/>
                <a:gd name="connsiteY93" fmla="*/ 3364 h 10000"/>
                <a:gd name="connsiteX94" fmla="*/ 545 w 10000"/>
                <a:gd name="connsiteY94" fmla="*/ 3189 h 10000"/>
                <a:gd name="connsiteX95" fmla="*/ 801 w 10000"/>
                <a:gd name="connsiteY95" fmla="*/ 3344 h 10000"/>
                <a:gd name="connsiteX96" fmla="*/ 810 w 10000"/>
                <a:gd name="connsiteY96" fmla="*/ 3271 h 10000"/>
                <a:gd name="connsiteX97" fmla="*/ 785 w 10000"/>
                <a:gd name="connsiteY97" fmla="*/ 3220 h 10000"/>
                <a:gd name="connsiteX98" fmla="*/ 741 w 10000"/>
                <a:gd name="connsiteY98" fmla="*/ 2993 h 10000"/>
                <a:gd name="connsiteX99" fmla="*/ 870 w 10000"/>
                <a:gd name="connsiteY99" fmla="*/ 2777 h 10000"/>
                <a:gd name="connsiteX100" fmla="*/ 968 w 10000"/>
                <a:gd name="connsiteY100" fmla="*/ 2921 h 10000"/>
                <a:gd name="connsiteX101" fmla="*/ 999 w 10000"/>
                <a:gd name="connsiteY101" fmla="*/ 2725 h 10000"/>
                <a:gd name="connsiteX102" fmla="*/ 952 w 10000"/>
                <a:gd name="connsiteY102" fmla="*/ 2653 h 10000"/>
                <a:gd name="connsiteX103" fmla="*/ 936 w 10000"/>
                <a:gd name="connsiteY103" fmla="*/ 2281 h 10000"/>
                <a:gd name="connsiteX104" fmla="*/ 914 w 10000"/>
                <a:gd name="connsiteY104" fmla="*/ 2229 h 10000"/>
                <a:gd name="connsiteX105" fmla="*/ 1037 w 10000"/>
                <a:gd name="connsiteY105" fmla="*/ 2250 h 10000"/>
                <a:gd name="connsiteX106" fmla="*/ 1087 w 10000"/>
                <a:gd name="connsiteY106" fmla="*/ 2404 h 10000"/>
                <a:gd name="connsiteX107" fmla="*/ 1021 w 10000"/>
                <a:gd name="connsiteY107" fmla="*/ 2529 h 10000"/>
                <a:gd name="connsiteX108" fmla="*/ 1135 w 10000"/>
                <a:gd name="connsiteY108" fmla="*/ 2694 h 10000"/>
                <a:gd name="connsiteX109" fmla="*/ 1226 w 10000"/>
                <a:gd name="connsiteY109" fmla="*/ 2529 h 10000"/>
                <a:gd name="connsiteX110" fmla="*/ 1339 w 10000"/>
                <a:gd name="connsiteY110" fmla="*/ 2301 h 10000"/>
                <a:gd name="connsiteX111" fmla="*/ 1459 w 10000"/>
                <a:gd name="connsiteY111" fmla="*/ 2157 h 10000"/>
                <a:gd name="connsiteX112" fmla="*/ 1497 w 10000"/>
                <a:gd name="connsiteY112" fmla="*/ 2250 h 10000"/>
                <a:gd name="connsiteX113" fmla="*/ 1807 w 10000"/>
                <a:gd name="connsiteY113" fmla="*/ 2054 h 10000"/>
                <a:gd name="connsiteX114" fmla="*/ 1870 w 10000"/>
                <a:gd name="connsiteY114" fmla="*/ 2250 h 10000"/>
                <a:gd name="connsiteX115" fmla="*/ 1860 w 10000"/>
                <a:gd name="connsiteY115" fmla="*/ 2002 h 10000"/>
                <a:gd name="connsiteX116" fmla="*/ 1778 w 10000"/>
                <a:gd name="connsiteY116" fmla="*/ 1786 h 10000"/>
                <a:gd name="connsiteX117" fmla="*/ 1763 w 10000"/>
                <a:gd name="connsiteY117" fmla="*/ 1703 h 10000"/>
                <a:gd name="connsiteX118" fmla="*/ 1823 w 10000"/>
                <a:gd name="connsiteY118" fmla="*/ 1786 h 10000"/>
                <a:gd name="connsiteX119" fmla="*/ 2034 w 10000"/>
                <a:gd name="connsiteY119" fmla="*/ 1951 h 10000"/>
                <a:gd name="connsiteX120" fmla="*/ 2270 w 10000"/>
                <a:gd name="connsiteY120" fmla="*/ 2126 h 10000"/>
                <a:gd name="connsiteX121" fmla="*/ 2384 w 10000"/>
                <a:gd name="connsiteY121" fmla="*/ 2250 h 10000"/>
                <a:gd name="connsiteX122" fmla="*/ 2421 w 10000"/>
                <a:gd name="connsiteY122" fmla="*/ 2074 h 10000"/>
                <a:gd name="connsiteX123" fmla="*/ 2368 w 10000"/>
                <a:gd name="connsiteY123" fmla="*/ 2033 h 10000"/>
                <a:gd name="connsiteX124" fmla="*/ 2299 w 10000"/>
                <a:gd name="connsiteY124" fmla="*/ 1930 h 10000"/>
                <a:gd name="connsiteX125" fmla="*/ 2254 w 10000"/>
                <a:gd name="connsiteY125" fmla="*/ 1734 h 10000"/>
                <a:gd name="connsiteX126" fmla="*/ 2185 w 10000"/>
                <a:gd name="connsiteY126" fmla="*/ 1486 h 10000"/>
                <a:gd name="connsiteX127" fmla="*/ 2210 w 10000"/>
                <a:gd name="connsiteY127" fmla="*/ 1434 h 10000"/>
                <a:gd name="connsiteX128" fmla="*/ 2232 w 10000"/>
                <a:gd name="connsiteY128" fmla="*/ 1455 h 10000"/>
                <a:gd name="connsiteX129" fmla="*/ 2292 w 10000"/>
                <a:gd name="connsiteY129" fmla="*/ 1115 h 10000"/>
                <a:gd name="connsiteX130" fmla="*/ 2443 w 10000"/>
                <a:gd name="connsiteY130" fmla="*/ 1135 h 10000"/>
                <a:gd name="connsiteX131" fmla="*/ 2488 w 10000"/>
                <a:gd name="connsiteY131" fmla="*/ 1311 h 10000"/>
                <a:gd name="connsiteX132" fmla="*/ 2519 w 10000"/>
                <a:gd name="connsiteY132" fmla="*/ 1538 h 10000"/>
                <a:gd name="connsiteX133" fmla="*/ 2573 w 10000"/>
                <a:gd name="connsiteY133" fmla="*/ 1734 h 10000"/>
                <a:gd name="connsiteX134" fmla="*/ 2670 w 10000"/>
                <a:gd name="connsiteY134" fmla="*/ 2157 h 10000"/>
                <a:gd name="connsiteX135" fmla="*/ 2481 w 10000"/>
                <a:gd name="connsiteY135" fmla="*/ 2673 h 10000"/>
                <a:gd name="connsiteX136" fmla="*/ 2557 w 10000"/>
                <a:gd name="connsiteY136" fmla="*/ 2746 h 10000"/>
                <a:gd name="connsiteX137" fmla="*/ 2655 w 10000"/>
                <a:gd name="connsiteY137" fmla="*/ 2818 h 10000"/>
                <a:gd name="connsiteX138" fmla="*/ 2784 w 10000"/>
                <a:gd name="connsiteY138" fmla="*/ 2622 h 10000"/>
                <a:gd name="connsiteX139" fmla="*/ 2790 w 10000"/>
                <a:gd name="connsiteY139" fmla="*/ 2404 h 10000"/>
                <a:gd name="connsiteX140" fmla="*/ 2746 w 10000"/>
                <a:gd name="connsiteY140" fmla="*/ 2301 h 10000"/>
                <a:gd name="connsiteX141" fmla="*/ 2919 w 10000"/>
                <a:gd name="connsiteY141" fmla="*/ 2250 h 10000"/>
                <a:gd name="connsiteX142" fmla="*/ 2989 w 10000"/>
                <a:gd name="connsiteY142" fmla="*/ 2497 h 10000"/>
                <a:gd name="connsiteX143" fmla="*/ 2989 w 10000"/>
                <a:gd name="connsiteY143" fmla="*/ 2425 h 10000"/>
                <a:gd name="connsiteX144" fmla="*/ 2973 w 10000"/>
                <a:gd name="connsiteY144" fmla="*/ 2353 h 10000"/>
                <a:gd name="connsiteX145" fmla="*/ 2967 w 10000"/>
                <a:gd name="connsiteY145" fmla="*/ 2178 h 10000"/>
                <a:gd name="connsiteX146" fmla="*/ 2800 w 10000"/>
                <a:gd name="connsiteY146" fmla="*/ 1930 h 10000"/>
                <a:gd name="connsiteX147" fmla="*/ 2670 w 10000"/>
                <a:gd name="connsiteY147" fmla="*/ 2002 h 10000"/>
                <a:gd name="connsiteX148" fmla="*/ 2617 w 10000"/>
                <a:gd name="connsiteY148" fmla="*/ 1683 h 10000"/>
                <a:gd name="connsiteX149" fmla="*/ 2563 w 10000"/>
                <a:gd name="connsiteY149" fmla="*/ 1507 h 10000"/>
                <a:gd name="connsiteX150" fmla="*/ 2617 w 10000"/>
                <a:gd name="connsiteY150" fmla="*/ 1331 h 10000"/>
                <a:gd name="connsiteX151" fmla="*/ 2611 w 10000"/>
                <a:gd name="connsiteY151" fmla="*/ 1166 h 10000"/>
                <a:gd name="connsiteX152" fmla="*/ 2588 w 10000"/>
                <a:gd name="connsiteY152" fmla="*/ 1115 h 10000"/>
                <a:gd name="connsiteX153" fmla="*/ 2626 w 10000"/>
                <a:gd name="connsiteY153" fmla="*/ 1115 h 10000"/>
                <a:gd name="connsiteX154" fmla="*/ 2670 w 10000"/>
                <a:gd name="connsiteY154" fmla="*/ 1455 h 10000"/>
                <a:gd name="connsiteX155" fmla="*/ 2891 w 10000"/>
                <a:gd name="connsiteY155" fmla="*/ 1662 h 10000"/>
                <a:gd name="connsiteX156" fmla="*/ 2724 w 10000"/>
                <a:gd name="connsiteY156" fmla="*/ 1383 h 10000"/>
                <a:gd name="connsiteX157" fmla="*/ 3049 w 10000"/>
                <a:gd name="connsiteY157" fmla="*/ 1383 h 10000"/>
                <a:gd name="connsiteX158" fmla="*/ 3102 w 10000"/>
                <a:gd name="connsiteY158" fmla="*/ 1362 h 10000"/>
                <a:gd name="connsiteX159" fmla="*/ 2897 w 10000"/>
                <a:gd name="connsiteY159" fmla="*/ 1115 h 10000"/>
                <a:gd name="connsiteX160" fmla="*/ 2951 w 10000"/>
                <a:gd name="connsiteY160" fmla="*/ 888 h 10000"/>
                <a:gd name="connsiteX161" fmla="*/ 3178 w 10000"/>
                <a:gd name="connsiteY161" fmla="*/ 888 h 10000"/>
                <a:gd name="connsiteX162" fmla="*/ 3156 w 10000"/>
                <a:gd name="connsiteY162" fmla="*/ 713 h 10000"/>
                <a:gd name="connsiteX163" fmla="*/ 3231 w 10000"/>
                <a:gd name="connsiteY163" fmla="*/ 589 h 10000"/>
                <a:gd name="connsiteX164" fmla="*/ 3276 w 10000"/>
                <a:gd name="connsiteY164" fmla="*/ 548 h 10000"/>
                <a:gd name="connsiteX165" fmla="*/ 3443 w 10000"/>
                <a:gd name="connsiteY165" fmla="*/ 423 h 10000"/>
                <a:gd name="connsiteX166" fmla="*/ 3487 w 10000"/>
                <a:gd name="connsiteY166" fmla="*/ 371 h 10000"/>
                <a:gd name="connsiteX167" fmla="*/ 3480 w 10000"/>
                <a:gd name="connsiteY167" fmla="*/ 444 h 10000"/>
                <a:gd name="connsiteX168" fmla="*/ 3660 w 10000"/>
                <a:gd name="connsiteY168" fmla="*/ 371 h 10000"/>
                <a:gd name="connsiteX169" fmla="*/ 3805 w 10000"/>
                <a:gd name="connsiteY169" fmla="*/ 248 h 10000"/>
                <a:gd name="connsiteX170" fmla="*/ 3827 w 10000"/>
                <a:gd name="connsiteY170" fmla="*/ 0 h 10000"/>
                <a:gd name="connsiteX171" fmla="*/ 3988 w 10000"/>
                <a:gd name="connsiteY171" fmla="*/ 21 h 10000"/>
                <a:gd name="connsiteX172" fmla="*/ 3978 w 10000"/>
                <a:gd name="connsiteY172" fmla="*/ 93 h 10000"/>
                <a:gd name="connsiteX173" fmla="*/ 3988 w 10000"/>
                <a:gd name="connsiteY173" fmla="*/ 176 h 10000"/>
                <a:gd name="connsiteX174" fmla="*/ 4085 w 10000"/>
                <a:gd name="connsiteY174" fmla="*/ 248 h 10000"/>
                <a:gd name="connsiteX175" fmla="*/ 4379 w 10000"/>
                <a:gd name="connsiteY175" fmla="*/ 268 h 10000"/>
                <a:gd name="connsiteX176" fmla="*/ 4539 w 10000"/>
                <a:gd name="connsiteY176" fmla="*/ 392 h 10000"/>
                <a:gd name="connsiteX177" fmla="*/ 4486 w 10000"/>
                <a:gd name="connsiteY177" fmla="*/ 795 h 10000"/>
                <a:gd name="connsiteX178" fmla="*/ 4426 w 10000"/>
                <a:gd name="connsiteY178" fmla="*/ 919 h 10000"/>
                <a:gd name="connsiteX179" fmla="*/ 4356 w 10000"/>
                <a:gd name="connsiteY179" fmla="*/ 1043 h 10000"/>
                <a:gd name="connsiteX180" fmla="*/ 4372 w 10000"/>
                <a:gd name="connsiteY180" fmla="*/ 1115 h 10000"/>
                <a:gd name="connsiteX181" fmla="*/ 4583 w 10000"/>
                <a:gd name="connsiteY181" fmla="*/ 919 h 10000"/>
                <a:gd name="connsiteX182" fmla="*/ 5060 w 10000"/>
                <a:gd name="connsiteY182" fmla="*/ 991 h 10000"/>
                <a:gd name="connsiteX183" fmla="*/ 5108 w 10000"/>
                <a:gd name="connsiteY183" fmla="*/ 1063 h 10000"/>
                <a:gd name="connsiteX184" fmla="*/ 5212 w 10000"/>
                <a:gd name="connsiteY184" fmla="*/ 1187 h 10000"/>
                <a:gd name="connsiteX185" fmla="*/ 5357 w 10000"/>
                <a:gd name="connsiteY185" fmla="*/ 919 h 10000"/>
                <a:gd name="connsiteX186" fmla="*/ 5577 w 10000"/>
                <a:gd name="connsiteY186" fmla="*/ 1063 h 10000"/>
                <a:gd name="connsiteX187" fmla="*/ 5643 w 10000"/>
                <a:gd name="connsiteY187" fmla="*/ 1115 h 10000"/>
                <a:gd name="connsiteX188" fmla="*/ 5697 w 10000"/>
                <a:gd name="connsiteY188" fmla="*/ 1166 h 10000"/>
                <a:gd name="connsiteX189" fmla="*/ 5908 w 10000"/>
                <a:gd name="connsiteY189" fmla="*/ 1631 h 10000"/>
                <a:gd name="connsiteX190" fmla="*/ 5984 w 10000"/>
                <a:gd name="connsiteY190" fmla="*/ 1611 h 10000"/>
                <a:gd name="connsiteX191" fmla="*/ 5977 w 10000"/>
                <a:gd name="connsiteY191" fmla="*/ 1507 h 10000"/>
                <a:gd name="connsiteX192" fmla="*/ 5984 w 10000"/>
                <a:gd name="connsiteY192" fmla="*/ 1383 h 10000"/>
                <a:gd name="connsiteX193" fmla="*/ 6091 w 10000"/>
                <a:gd name="connsiteY193" fmla="*/ 1486 h 10000"/>
                <a:gd name="connsiteX194" fmla="*/ 6264 w 10000"/>
                <a:gd name="connsiteY194" fmla="*/ 1507 h 10000"/>
                <a:gd name="connsiteX195" fmla="*/ 6409 w 10000"/>
                <a:gd name="connsiteY195" fmla="*/ 1455 h 10000"/>
                <a:gd name="connsiteX196" fmla="*/ 6340 w 10000"/>
                <a:gd name="connsiteY196" fmla="*/ 1362 h 10000"/>
                <a:gd name="connsiteX197" fmla="*/ 6431 w 10000"/>
                <a:gd name="connsiteY197" fmla="*/ 1084 h 10000"/>
                <a:gd name="connsiteX198" fmla="*/ 6687 w 10000"/>
                <a:gd name="connsiteY198" fmla="*/ 1207 h 10000"/>
                <a:gd name="connsiteX199" fmla="*/ 6945 w 10000"/>
                <a:gd name="connsiteY199" fmla="*/ 1331 h 10000"/>
                <a:gd name="connsiteX200" fmla="*/ 6967 w 10000"/>
                <a:gd name="connsiteY200" fmla="*/ 1362 h 10000"/>
                <a:gd name="connsiteX201" fmla="*/ 7194 w 10000"/>
                <a:gd name="connsiteY201" fmla="*/ 1611 h 10000"/>
                <a:gd name="connsiteX202" fmla="*/ 7367 w 10000"/>
                <a:gd name="connsiteY202" fmla="*/ 1507 h 10000"/>
                <a:gd name="connsiteX203" fmla="*/ 7582 w 10000"/>
                <a:gd name="connsiteY203" fmla="*/ 1538 h 10000"/>
                <a:gd name="connsiteX204" fmla="*/ 7657 w 10000"/>
                <a:gd name="connsiteY204" fmla="*/ 1611 h 10000"/>
                <a:gd name="connsiteX205" fmla="*/ 7928 w 10000"/>
                <a:gd name="connsiteY205" fmla="*/ 1930 h 10000"/>
                <a:gd name="connsiteX206" fmla="*/ 8231 w 10000"/>
                <a:gd name="connsiteY206" fmla="*/ 1879 h 10000"/>
                <a:gd name="connsiteX207" fmla="*/ 8339 w 10000"/>
                <a:gd name="connsiteY207" fmla="*/ 2033 h 10000"/>
                <a:gd name="connsiteX208" fmla="*/ 8490 w 10000"/>
                <a:gd name="connsiteY208" fmla="*/ 2157 h 10000"/>
                <a:gd name="connsiteX209" fmla="*/ 8519 w 10000"/>
                <a:gd name="connsiteY209" fmla="*/ 2105 h 10000"/>
                <a:gd name="connsiteX210" fmla="*/ 8497 w 10000"/>
                <a:gd name="connsiteY210" fmla="*/ 2074 h 10000"/>
                <a:gd name="connsiteX211" fmla="*/ 8383 w 10000"/>
                <a:gd name="connsiteY211" fmla="*/ 1930 h 10000"/>
                <a:gd name="connsiteX212" fmla="*/ 8465 w 10000"/>
                <a:gd name="connsiteY212" fmla="*/ 1755 h 10000"/>
                <a:gd name="connsiteX213" fmla="*/ 8664 w 10000"/>
                <a:gd name="connsiteY213" fmla="*/ 1910 h 10000"/>
                <a:gd name="connsiteX214" fmla="*/ 8950 w 10000"/>
                <a:gd name="connsiteY214" fmla="*/ 1982 h 10000"/>
                <a:gd name="connsiteX215" fmla="*/ 9206 w 10000"/>
                <a:gd name="connsiteY215" fmla="*/ 2260 h 10000"/>
                <a:gd name="connsiteX216" fmla="*/ 9344 w 10000"/>
                <a:gd name="connsiteY216" fmla="*/ 2332 h 10000"/>
                <a:gd name="connsiteX217" fmla="*/ 9451 w 10000"/>
                <a:gd name="connsiteY217" fmla="*/ 2446 h 10000"/>
                <a:gd name="connsiteX218" fmla="*/ 9574 w 10000"/>
                <a:gd name="connsiteY218" fmla="*/ 2632 h 10000"/>
                <a:gd name="connsiteX219" fmla="*/ 9631 w 10000"/>
                <a:gd name="connsiteY219" fmla="*/ 2756 h 10000"/>
                <a:gd name="connsiteX220" fmla="*/ 9726 w 10000"/>
                <a:gd name="connsiteY220" fmla="*/ 2787 h 10000"/>
                <a:gd name="connsiteX221" fmla="*/ 9590 w 10000"/>
                <a:gd name="connsiteY221" fmla="*/ 2570 h 10000"/>
                <a:gd name="connsiteX222" fmla="*/ 9915 w 10000"/>
                <a:gd name="connsiteY222" fmla="*/ 2756 h 10000"/>
                <a:gd name="connsiteX223" fmla="*/ 10000 w 10000"/>
                <a:gd name="connsiteY223" fmla="*/ 3014 h 10000"/>
                <a:gd name="connsiteX224" fmla="*/ 9934 w 10000"/>
                <a:gd name="connsiteY224" fmla="*/ 2941 h 10000"/>
                <a:gd name="connsiteX225" fmla="*/ 9874 w 10000"/>
                <a:gd name="connsiteY225" fmla="*/ 2952 h 10000"/>
                <a:gd name="connsiteX226" fmla="*/ 10000 w 10000"/>
                <a:gd name="connsiteY226" fmla="*/ 3292 h 10000"/>
                <a:gd name="connsiteX227" fmla="*/ 9845 w 10000"/>
                <a:gd name="connsiteY227" fmla="*/ 3220 h 10000"/>
                <a:gd name="connsiteX228" fmla="*/ 9745 w 10000"/>
                <a:gd name="connsiteY228" fmla="*/ 3075 h 10000"/>
                <a:gd name="connsiteX229" fmla="*/ 9641 w 10000"/>
                <a:gd name="connsiteY229" fmla="*/ 2972 h 10000"/>
                <a:gd name="connsiteX230" fmla="*/ 9555 w 10000"/>
                <a:gd name="connsiteY230" fmla="*/ 3003 h 10000"/>
                <a:gd name="connsiteX231" fmla="*/ 9470 w 10000"/>
                <a:gd name="connsiteY231" fmla="*/ 2787 h 10000"/>
                <a:gd name="connsiteX232" fmla="*/ 9366 w 10000"/>
                <a:gd name="connsiteY232" fmla="*/ 2725 h 10000"/>
                <a:gd name="connsiteX233" fmla="*/ 9461 w 10000"/>
                <a:gd name="connsiteY233" fmla="*/ 2972 h 10000"/>
                <a:gd name="connsiteX234" fmla="*/ 9470 w 10000"/>
                <a:gd name="connsiteY234" fmla="*/ 3230 h 10000"/>
                <a:gd name="connsiteX235" fmla="*/ 9288 w 10000"/>
                <a:gd name="connsiteY235" fmla="*/ 3065 h 10000"/>
                <a:gd name="connsiteX236" fmla="*/ 9262 w 10000"/>
                <a:gd name="connsiteY236" fmla="*/ 3230 h 10000"/>
                <a:gd name="connsiteX237" fmla="*/ 9363 w 10000"/>
                <a:gd name="connsiteY237" fmla="*/ 3230 h 10000"/>
                <a:gd name="connsiteX238" fmla="*/ 9451 w 10000"/>
                <a:gd name="connsiteY238" fmla="*/ 3354 h 10000"/>
                <a:gd name="connsiteX239" fmla="*/ 9659 w 10000"/>
                <a:gd name="connsiteY239" fmla="*/ 3685 h 10000"/>
                <a:gd name="connsiteX240" fmla="*/ 9735 w 10000"/>
                <a:gd name="connsiteY240" fmla="*/ 3839 h 10000"/>
                <a:gd name="connsiteX241" fmla="*/ 9552 w 10000"/>
                <a:gd name="connsiteY241" fmla="*/ 3757 h 10000"/>
                <a:gd name="connsiteX242" fmla="*/ 9451 w 10000"/>
                <a:gd name="connsiteY242" fmla="*/ 4025 h 10000"/>
                <a:gd name="connsiteX243" fmla="*/ 9385 w 10000"/>
                <a:gd name="connsiteY243" fmla="*/ 4283 h 10000"/>
                <a:gd name="connsiteX244" fmla="*/ 9376 w 10000"/>
                <a:gd name="connsiteY244" fmla="*/ 4499 h 10000"/>
                <a:gd name="connsiteX245" fmla="*/ 9335 w 10000"/>
                <a:gd name="connsiteY245" fmla="*/ 4303 h 10000"/>
                <a:gd name="connsiteX246" fmla="*/ 9149 w 10000"/>
                <a:gd name="connsiteY246" fmla="*/ 4314 h 10000"/>
                <a:gd name="connsiteX247" fmla="*/ 9155 w 10000"/>
                <a:gd name="connsiteY247" fmla="*/ 4531 h 10000"/>
                <a:gd name="connsiteX248" fmla="*/ 9061 w 10000"/>
                <a:gd name="connsiteY248" fmla="*/ 4365 h 10000"/>
                <a:gd name="connsiteX249" fmla="*/ 9054 w 10000"/>
                <a:gd name="connsiteY249" fmla="*/ 4521 h 10000"/>
                <a:gd name="connsiteX250" fmla="*/ 8998 w 10000"/>
                <a:gd name="connsiteY250" fmla="*/ 4458 h 10000"/>
                <a:gd name="connsiteX251" fmla="*/ 8966 w 10000"/>
                <a:gd name="connsiteY251" fmla="*/ 4562 h 10000"/>
                <a:gd name="connsiteX252" fmla="*/ 9007 w 10000"/>
                <a:gd name="connsiteY252" fmla="*/ 4686 h 10000"/>
                <a:gd name="connsiteX253" fmla="*/ 9004 w 10000"/>
                <a:gd name="connsiteY253" fmla="*/ 4995 h 10000"/>
                <a:gd name="connsiteX254" fmla="*/ 9073 w 10000"/>
                <a:gd name="connsiteY254" fmla="*/ 5211 h 10000"/>
                <a:gd name="connsiteX255" fmla="*/ 9130 w 10000"/>
                <a:gd name="connsiteY255" fmla="*/ 5150 h 10000"/>
                <a:gd name="connsiteX256" fmla="*/ 9158 w 10000"/>
                <a:gd name="connsiteY256" fmla="*/ 5211 h 10000"/>
                <a:gd name="connsiteX257" fmla="*/ 9231 w 10000"/>
                <a:gd name="connsiteY257" fmla="*/ 5428 h 10000"/>
                <a:gd name="connsiteX258" fmla="*/ 9215 w 10000"/>
                <a:gd name="connsiteY258" fmla="*/ 5604 h 10000"/>
                <a:gd name="connsiteX259" fmla="*/ 9221 w 10000"/>
                <a:gd name="connsiteY259" fmla="*/ 5769 h 10000"/>
                <a:gd name="connsiteX260" fmla="*/ 9269 w 10000"/>
                <a:gd name="connsiteY260" fmla="*/ 5883 h 10000"/>
                <a:gd name="connsiteX261" fmla="*/ 9344 w 10000"/>
                <a:gd name="connsiteY261" fmla="*/ 6068 h 10000"/>
                <a:gd name="connsiteX262" fmla="*/ 9269 w 10000"/>
                <a:gd name="connsiteY262" fmla="*/ 6068 h 10000"/>
                <a:gd name="connsiteX263" fmla="*/ 9253 w 10000"/>
                <a:gd name="connsiteY263" fmla="*/ 6223 h 10000"/>
                <a:gd name="connsiteX264" fmla="*/ 9319 w 10000"/>
                <a:gd name="connsiteY264" fmla="*/ 6408 h 10000"/>
                <a:gd name="connsiteX265" fmla="*/ 9250 w 10000"/>
                <a:gd name="connsiteY265" fmla="*/ 6502 h 10000"/>
                <a:gd name="connsiteX266" fmla="*/ 9297 w 10000"/>
                <a:gd name="connsiteY266" fmla="*/ 6729 h 10000"/>
                <a:gd name="connsiteX267" fmla="*/ 9281 w 10000"/>
                <a:gd name="connsiteY267" fmla="*/ 7069 h 10000"/>
                <a:gd name="connsiteX268" fmla="*/ 9061 w 10000"/>
                <a:gd name="connsiteY268" fmla="*/ 6408 h 10000"/>
                <a:gd name="connsiteX269" fmla="*/ 8824 w 10000"/>
                <a:gd name="connsiteY269" fmla="*/ 5759 h 10000"/>
                <a:gd name="connsiteX270" fmla="*/ 8771 w 10000"/>
                <a:gd name="connsiteY270" fmla="*/ 5459 h 10000"/>
                <a:gd name="connsiteX271" fmla="*/ 8768 w 10000"/>
                <a:gd name="connsiteY271" fmla="*/ 5211 h 10000"/>
                <a:gd name="connsiteX272" fmla="*/ 8692 w 10000"/>
                <a:gd name="connsiteY272" fmla="*/ 5047 h 10000"/>
                <a:gd name="connsiteX273" fmla="*/ 8771 w 10000"/>
                <a:gd name="connsiteY273" fmla="*/ 5088 h 10000"/>
                <a:gd name="connsiteX274" fmla="*/ 8809 w 10000"/>
                <a:gd name="connsiteY274" fmla="*/ 5108 h 10000"/>
                <a:gd name="connsiteX275" fmla="*/ 8809 w 10000"/>
                <a:gd name="connsiteY275" fmla="*/ 4840 h 10000"/>
                <a:gd name="connsiteX276" fmla="*/ 8827 w 10000"/>
                <a:gd name="connsiteY276" fmla="*/ 4437 h 10000"/>
                <a:gd name="connsiteX277" fmla="*/ 8853 w 10000"/>
                <a:gd name="connsiteY277" fmla="*/ 4252 h 10000"/>
                <a:gd name="connsiteX278" fmla="*/ 8909 w 10000"/>
                <a:gd name="connsiteY278" fmla="*/ 4221 h 10000"/>
                <a:gd name="connsiteX279" fmla="*/ 8786 w 10000"/>
                <a:gd name="connsiteY279" fmla="*/ 3901 h 10000"/>
                <a:gd name="connsiteX280" fmla="*/ 8853 w 10000"/>
                <a:gd name="connsiteY280" fmla="*/ 3839 h 10000"/>
                <a:gd name="connsiteX281" fmla="*/ 8739 w 10000"/>
                <a:gd name="connsiteY281" fmla="*/ 3788 h 10000"/>
                <a:gd name="connsiteX282" fmla="*/ 8755 w 10000"/>
                <a:gd name="connsiteY282" fmla="*/ 3984 h 10000"/>
                <a:gd name="connsiteX283" fmla="*/ 8692 w 10000"/>
                <a:gd name="connsiteY283" fmla="*/ 4303 h 10000"/>
                <a:gd name="connsiteX284" fmla="*/ 8604 w 10000"/>
                <a:gd name="connsiteY284" fmla="*/ 4210 h 10000"/>
                <a:gd name="connsiteX285" fmla="*/ 8550 w 10000"/>
                <a:gd name="connsiteY285" fmla="*/ 4056 h 10000"/>
                <a:gd name="connsiteX286" fmla="*/ 8481 w 10000"/>
                <a:gd name="connsiteY286" fmla="*/ 4138 h 10000"/>
                <a:gd name="connsiteX287" fmla="*/ 8389 w 10000"/>
                <a:gd name="connsiteY287" fmla="*/ 4107 h 10000"/>
                <a:gd name="connsiteX288" fmla="*/ 8352 w 10000"/>
                <a:gd name="connsiteY288" fmla="*/ 4406 h 10000"/>
                <a:gd name="connsiteX289" fmla="*/ 8481 w 10000"/>
                <a:gd name="connsiteY289" fmla="*/ 4655 h 10000"/>
                <a:gd name="connsiteX290" fmla="*/ 8405 w 10000"/>
                <a:gd name="connsiteY290" fmla="*/ 4830 h 10000"/>
                <a:gd name="connsiteX291" fmla="*/ 8225 w 10000"/>
                <a:gd name="connsiteY291" fmla="*/ 4799 h 10000"/>
                <a:gd name="connsiteX292" fmla="*/ 8209 w 10000"/>
                <a:gd name="connsiteY292" fmla="*/ 4655 h 10000"/>
                <a:gd name="connsiteX293" fmla="*/ 8102 w 10000"/>
                <a:gd name="connsiteY293" fmla="*/ 4634 h 10000"/>
                <a:gd name="connsiteX294" fmla="*/ 7641 w 10000"/>
                <a:gd name="connsiteY294" fmla="*/ 4779 h 10000"/>
                <a:gd name="connsiteX295" fmla="*/ 7610 w 10000"/>
                <a:gd name="connsiteY295" fmla="*/ 5005 h 10000"/>
                <a:gd name="connsiteX296" fmla="*/ 7550 w 10000"/>
                <a:gd name="connsiteY296" fmla="*/ 5666 h 10000"/>
                <a:gd name="connsiteX297" fmla="*/ 7496 w 10000"/>
                <a:gd name="connsiteY297" fmla="*/ 5965 h 10000"/>
                <a:gd name="connsiteX298" fmla="*/ 7701 w 10000"/>
                <a:gd name="connsiteY298" fmla="*/ 6161 h 10000"/>
                <a:gd name="connsiteX299" fmla="*/ 7745 w 10000"/>
                <a:gd name="connsiteY299" fmla="*/ 6243 h 10000"/>
                <a:gd name="connsiteX300" fmla="*/ 7771 w 10000"/>
                <a:gd name="connsiteY300" fmla="*/ 6285 h 10000"/>
                <a:gd name="connsiteX301" fmla="*/ 7793 w 10000"/>
                <a:gd name="connsiteY301" fmla="*/ 6068 h 10000"/>
                <a:gd name="connsiteX302" fmla="*/ 7912 w 10000"/>
                <a:gd name="connsiteY302" fmla="*/ 6089 h 10000"/>
                <a:gd name="connsiteX303" fmla="*/ 8004 w 10000"/>
                <a:gd name="connsiteY303" fmla="*/ 6367 h 10000"/>
                <a:gd name="connsiteX304" fmla="*/ 8064 w 10000"/>
                <a:gd name="connsiteY304" fmla="*/ 6616 h 10000"/>
                <a:gd name="connsiteX305" fmla="*/ 8111 w 10000"/>
                <a:gd name="connsiteY305" fmla="*/ 6781 h 10000"/>
                <a:gd name="connsiteX306" fmla="*/ 8048 w 10000"/>
                <a:gd name="connsiteY306" fmla="*/ 6491 h 10000"/>
                <a:gd name="connsiteX307" fmla="*/ 8124 w 10000"/>
                <a:gd name="connsiteY307" fmla="*/ 6336 h 10000"/>
                <a:gd name="connsiteX308" fmla="*/ 8177 w 10000"/>
                <a:gd name="connsiteY308" fmla="*/ 6512 h 10000"/>
                <a:gd name="connsiteX309" fmla="*/ 8300 w 10000"/>
                <a:gd name="connsiteY309" fmla="*/ 6987 h 10000"/>
                <a:gd name="connsiteX310" fmla="*/ 8361 w 10000"/>
                <a:gd name="connsiteY310" fmla="*/ 7152 h 10000"/>
                <a:gd name="connsiteX311" fmla="*/ 8490 w 10000"/>
                <a:gd name="connsiteY311" fmla="*/ 7482 h 10000"/>
                <a:gd name="connsiteX312" fmla="*/ 8604 w 10000"/>
                <a:gd name="connsiteY312" fmla="*/ 7854 h 10000"/>
                <a:gd name="connsiteX313" fmla="*/ 8474 w 10000"/>
                <a:gd name="connsiteY313" fmla="*/ 7647 h 10000"/>
                <a:gd name="connsiteX314" fmla="*/ 8443 w 10000"/>
                <a:gd name="connsiteY314" fmla="*/ 7678 h 10000"/>
                <a:gd name="connsiteX315" fmla="*/ 8512 w 10000"/>
                <a:gd name="connsiteY315" fmla="*/ 8050 h 10000"/>
                <a:gd name="connsiteX316" fmla="*/ 8588 w 10000"/>
                <a:gd name="connsiteY316" fmla="*/ 8266 h 10000"/>
                <a:gd name="connsiteX317" fmla="*/ 8642 w 10000"/>
                <a:gd name="connsiteY317" fmla="*/ 8472 h 10000"/>
                <a:gd name="connsiteX318" fmla="*/ 8566 w 10000"/>
                <a:gd name="connsiteY318" fmla="*/ 8421 h 10000"/>
                <a:gd name="connsiteX319" fmla="*/ 8556 w 10000"/>
                <a:gd name="connsiteY319" fmla="*/ 8669 h 10000"/>
                <a:gd name="connsiteX320" fmla="*/ 8497 w 10000"/>
                <a:gd name="connsiteY320" fmla="*/ 8493 h 10000"/>
                <a:gd name="connsiteX321" fmla="*/ 8481 w 10000"/>
                <a:gd name="connsiteY321" fmla="*/ 8421 h 10000"/>
                <a:gd name="connsiteX322" fmla="*/ 8361 w 10000"/>
                <a:gd name="connsiteY322" fmla="*/ 7751 h 10000"/>
                <a:gd name="connsiteX323" fmla="*/ 8322 w 10000"/>
                <a:gd name="connsiteY323" fmla="*/ 7524 h 10000"/>
                <a:gd name="connsiteX324" fmla="*/ 8291 w 10000"/>
                <a:gd name="connsiteY324" fmla="*/ 7378 h 10000"/>
                <a:gd name="connsiteX325" fmla="*/ 8275 w 10000"/>
                <a:gd name="connsiteY325" fmla="*/ 7306 h 10000"/>
                <a:gd name="connsiteX326" fmla="*/ 8139 w 10000"/>
                <a:gd name="connsiteY326" fmla="*/ 6863 h 10000"/>
                <a:gd name="connsiteX327" fmla="*/ 8199 w 10000"/>
                <a:gd name="connsiteY327" fmla="*/ 7451 h 10000"/>
                <a:gd name="connsiteX328" fmla="*/ 8247 w 10000"/>
                <a:gd name="connsiteY328" fmla="*/ 7998 h 10000"/>
                <a:gd name="connsiteX329" fmla="*/ 8177 w 10000"/>
                <a:gd name="connsiteY329" fmla="*/ 9133 h 10000"/>
                <a:gd name="connsiteX330" fmla="*/ 8124 w 10000"/>
                <a:gd name="connsiteY330" fmla="*/ 9484 h 10000"/>
                <a:gd name="connsiteX331" fmla="*/ 7972 w 10000"/>
                <a:gd name="connsiteY331" fmla="*/ 9432 h 10000"/>
                <a:gd name="connsiteX332" fmla="*/ 7897 w 10000"/>
                <a:gd name="connsiteY332" fmla="*/ 9660 h 10000"/>
                <a:gd name="connsiteX333" fmla="*/ 7868 w 10000"/>
                <a:gd name="connsiteY333" fmla="*/ 9588 h 10000"/>
                <a:gd name="connsiteX334" fmla="*/ 7884 w 10000"/>
                <a:gd name="connsiteY334" fmla="*/ 9536 h 10000"/>
                <a:gd name="connsiteX335" fmla="*/ 7897 w 10000"/>
                <a:gd name="connsiteY335" fmla="*/ 9380 h 10000"/>
                <a:gd name="connsiteX336" fmla="*/ 7884 w 10000"/>
                <a:gd name="connsiteY336" fmla="*/ 9236 h 10000"/>
                <a:gd name="connsiteX337" fmla="*/ 7793 w 10000"/>
                <a:gd name="connsiteY337" fmla="*/ 8865 h 10000"/>
                <a:gd name="connsiteX338" fmla="*/ 7831 w 10000"/>
                <a:gd name="connsiteY338" fmla="*/ 8741 h 10000"/>
                <a:gd name="connsiteX339" fmla="*/ 7928 w 10000"/>
                <a:gd name="connsiteY339" fmla="*/ 8844 h 10000"/>
                <a:gd name="connsiteX340" fmla="*/ 7912 w 10000"/>
                <a:gd name="connsiteY340" fmla="*/ 8318 h 10000"/>
                <a:gd name="connsiteX341" fmla="*/ 7906 w 10000"/>
                <a:gd name="connsiteY341" fmla="*/ 8019 h 10000"/>
                <a:gd name="connsiteX342" fmla="*/ 7846 w 10000"/>
                <a:gd name="connsiteY342" fmla="*/ 7802 h 10000"/>
                <a:gd name="connsiteX343" fmla="*/ 7723 w 10000"/>
                <a:gd name="connsiteY343" fmla="*/ 8050 h 10000"/>
                <a:gd name="connsiteX344" fmla="*/ 7619 w 10000"/>
                <a:gd name="connsiteY344" fmla="*/ 8019 h 10000"/>
                <a:gd name="connsiteX345" fmla="*/ 7528 w 10000"/>
                <a:gd name="connsiteY345" fmla="*/ 7699 h 10000"/>
                <a:gd name="connsiteX346" fmla="*/ 7355 w 10000"/>
                <a:gd name="connsiteY346" fmla="*/ 7482 h 10000"/>
                <a:gd name="connsiteX347" fmla="*/ 7279 w 10000"/>
                <a:gd name="connsiteY347" fmla="*/ 7482 h 10000"/>
                <a:gd name="connsiteX348" fmla="*/ 7080 w 10000"/>
                <a:gd name="connsiteY348" fmla="*/ 6781 h 10000"/>
                <a:gd name="connsiteX349" fmla="*/ 6901 w 10000"/>
                <a:gd name="connsiteY349" fmla="*/ 6460 h 10000"/>
                <a:gd name="connsiteX350" fmla="*/ 6724 w 10000"/>
                <a:gd name="connsiteY350" fmla="*/ 6336 h 10000"/>
                <a:gd name="connsiteX351" fmla="*/ 6583 w 10000"/>
                <a:gd name="connsiteY351" fmla="*/ 6408 h 10000"/>
                <a:gd name="connsiteX352" fmla="*/ 6567 w 10000"/>
                <a:gd name="connsiteY352" fmla="*/ 6585 h 10000"/>
                <a:gd name="connsiteX353" fmla="*/ 6664 w 10000"/>
                <a:gd name="connsiteY353" fmla="*/ 6760 h 10000"/>
                <a:gd name="connsiteX354" fmla="*/ 6636 w 10000"/>
                <a:gd name="connsiteY354" fmla="*/ 6935 h 10000"/>
                <a:gd name="connsiteX355" fmla="*/ 6636 w 10000"/>
                <a:gd name="connsiteY355" fmla="*/ 7399 h 10000"/>
                <a:gd name="connsiteX356" fmla="*/ 6560 w 10000"/>
                <a:gd name="connsiteY356" fmla="*/ 7482 h 10000"/>
                <a:gd name="connsiteX357" fmla="*/ 6485 w 10000"/>
                <a:gd name="connsiteY357" fmla="*/ 7378 h 10000"/>
                <a:gd name="connsiteX358" fmla="*/ 6400 w 10000"/>
                <a:gd name="connsiteY358" fmla="*/ 7399 h 10000"/>
                <a:gd name="connsiteX359" fmla="*/ 6334 w 10000"/>
                <a:gd name="connsiteY359" fmla="*/ 7275 h 10000"/>
                <a:gd name="connsiteX360" fmla="*/ 6258 w 10000"/>
                <a:gd name="connsiteY360" fmla="*/ 7358 h 10000"/>
                <a:gd name="connsiteX361" fmla="*/ 6220 w 10000"/>
                <a:gd name="connsiteY361" fmla="*/ 7524 h 10000"/>
                <a:gd name="connsiteX362" fmla="*/ 6081 w 10000"/>
                <a:gd name="connsiteY362" fmla="*/ 7606 h 10000"/>
                <a:gd name="connsiteX363" fmla="*/ 5892 w 10000"/>
                <a:gd name="connsiteY363" fmla="*/ 7575 h 10000"/>
                <a:gd name="connsiteX364" fmla="*/ 5855 w 10000"/>
                <a:gd name="connsiteY364" fmla="*/ 7327 h 10000"/>
                <a:gd name="connsiteX365" fmla="*/ 5643 w 10000"/>
                <a:gd name="connsiteY365" fmla="*/ 7255 h 10000"/>
                <a:gd name="connsiteX366" fmla="*/ 5539 w 10000"/>
                <a:gd name="connsiteY366" fmla="*/ 7358 h 10000"/>
                <a:gd name="connsiteX367" fmla="*/ 5416 w 10000"/>
                <a:gd name="connsiteY367" fmla="*/ 7203 h 10000"/>
                <a:gd name="connsiteX368" fmla="*/ 5372 w 10000"/>
                <a:gd name="connsiteY368"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4334 w 10000"/>
                <a:gd name="connsiteY4" fmla="*/ 7430 h 10000"/>
                <a:gd name="connsiteX5" fmla="*/ 1610 w 10000"/>
                <a:gd name="connsiteY5" fmla="*/ 7183 h 10000"/>
                <a:gd name="connsiteX6" fmla="*/ 1655 w 10000"/>
                <a:gd name="connsiteY6" fmla="*/ 7430 h 10000"/>
                <a:gd name="connsiteX7" fmla="*/ 1604 w 10000"/>
                <a:gd name="connsiteY7" fmla="*/ 7430 h 10000"/>
                <a:gd name="connsiteX8" fmla="*/ 1551 w 10000"/>
                <a:gd name="connsiteY8" fmla="*/ 7255 h 10000"/>
                <a:gd name="connsiteX9" fmla="*/ 1513 w 10000"/>
                <a:gd name="connsiteY9" fmla="*/ 7430 h 10000"/>
                <a:gd name="connsiteX10" fmla="*/ 1519 w 10000"/>
                <a:gd name="connsiteY10" fmla="*/ 7854 h 10000"/>
                <a:gd name="connsiteX11" fmla="*/ 1604 w 10000"/>
                <a:gd name="connsiteY11" fmla="*/ 8070 h 10000"/>
                <a:gd name="connsiteX12" fmla="*/ 1648 w 10000"/>
                <a:gd name="connsiteY12" fmla="*/ 8019 h 10000"/>
                <a:gd name="connsiteX13" fmla="*/ 1741 w 10000"/>
                <a:gd name="connsiteY13" fmla="*/ 8493 h 10000"/>
                <a:gd name="connsiteX14" fmla="*/ 1610 w 10000"/>
                <a:gd name="connsiteY14" fmla="*/ 8669 h 10000"/>
                <a:gd name="connsiteX15" fmla="*/ 1595 w 10000"/>
                <a:gd name="connsiteY15" fmla="*/ 9009 h 10000"/>
                <a:gd name="connsiteX16" fmla="*/ 1664 w 10000"/>
                <a:gd name="connsiteY16" fmla="*/ 9236 h 10000"/>
                <a:gd name="connsiteX17" fmla="*/ 1664 w 10000"/>
                <a:gd name="connsiteY17" fmla="*/ 9484 h 10000"/>
                <a:gd name="connsiteX18" fmla="*/ 1769 w 10000"/>
                <a:gd name="connsiteY18" fmla="*/ 9835 h 10000"/>
                <a:gd name="connsiteX19" fmla="*/ 1703 w 10000"/>
                <a:gd name="connsiteY19" fmla="*/ 10000 h 10000"/>
                <a:gd name="connsiteX20" fmla="*/ 1604 w 10000"/>
                <a:gd name="connsiteY20" fmla="*/ 9753 h 10000"/>
                <a:gd name="connsiteX21" fmla="*/ 1465 w 10000"/>
                <a:gd name="connsiteY21" fmla="*/ 9505 h 10000"/>
                <a:gd name="connsiteX22" fmla="*/ 1406 w 10000"/>
                <a:gd name="connsiteY22" fmla="*/ 9588 h 10000"/>
                <a:gd name="connsiteX23" fmla="*/ 1308 w 10000"/>
                <a:gd name="connsiteY23" fmla="*/ 9380 h 10000"/>
                <a:gd name="connsiteX24" fmla="*/ 1097 w 10000"/>
                <a:gd name="connsiteY24" fmla="*/ 9339 h 10000"/>
                <a:gd name="connsiteX25" fmla="*/ 848 w 10000"/>
                <a:gd name="connsiteY25" fmla="*/ 8813 h 10000"/>
                <a:gd name="connsiteX26" fmla="*/ 914 w 10000"/>
                <a:gd name="connsiteY26" fmla="*/ 8721 h 10000"/>
                <a:gd name="connsiteX27" fmla="*/ 961 w 10000"/>
                <a:gd name="connsiteY27" fmla="*/ 8493 h 10000"/>
                <a:gd name="connsiteX28" fmla="*/ 908 w 10000"/>
                <a:gd name="connsiteY28" fmla="*/ 8390 h 10000"/>
                <a:gd name="connsiteX29" fmla="*/ 1021 w 10000"/>
                <a:gd name="connsiteY29" fmla="*/ 8245 h 10000"/>
                <a:gd name="connsiteX30" fmla="*/ 945 w 10000"/>
                <a:gd name="connsiteY30" fmla="*/ 8194 h 10000"/>
                <a:gd name="connsiteX31" fmla="*/ 958 w 10000"/>
                <a:gd name="connsiteY31" fmla="*/ 8091 h 10000"/>
                <a:gd name="connsiteX32" fmla="*/ 1005 w 10000"/>
                <a:gd name="connsiteY32" fmla="*/ 8111 h 10000"/>
                <a:gd name="connsiteX33" fmla="*/ 1059 w 10000"/>
                <a:gd name="connsiteY33" fmla="*/ 8019 h 10000"/>
                <a:gd name="connsiteX34" fmla="*/ 1034 w 10000"/>
                <a:gd name="connsiteY34" fmla="*/ 7864 h 10000"/>
                <a:gd name="connsiteX35" fmla="*/ 1043 w 10000"/>
                <a:gd name="connsiteY35" fmla="*/ 7503 h 10000"/>
                <a:gd name="connsiteX36" fmla="*/ 930 w 10000"/>
                <a:gd name="connsiteY36" fmla="*/ 7440 h 10000"/>
                <a:gd name="connsiteX37" fmla="*/ 832 w 10000"/>
                <a:gd name="connsiteY37" fmla="*/ 7286 h 10000"/>
                <a:gd name="connsiteX38" fmla="*/ 700 w 10000"/>
                <a:gd name="connsiteY38" fmla="*/ 7275 h 10000"/>
                <a:gd name="connsiteX39" fmla="*/ 684 w 10000"/>
                <a:gd name="connsiteY39" fmla="*/ 7090 h 10000"/>
                <a:gd name="connsiteX40" fmla="*/ 596 w 10000"/>
                <a:gd name="connsiteY40" fmla="*/ 6945 h 10000"/>
                <a:gd name="connsiteX41" fmla="*/ 615 w 10000"/>
                <a:gd name="connsiteY41" fmla="*/ 6822 h 10000"/>
                <a:gd name="connsiteX42" fmla="*/ 561 w 10000"/>
                <a:gd name="connsiteY42" fmla="*/ 6698 h 10000"/>
                <a:gd name="connsiteX43" fmla="*/ 457 w 10000"/>
                <a:gd name="connsiteY43" fmla="*/ 6698 h 10000"/>
                <a:gd name="connsiteX44" fmla="*/ 425 w 10000"/>
                <a:gd name="connsiteY44" fmla="*/ 6791 h 10000"/>
                <a:gd name="connsiteX45" fmla="*/ 400 w 10000"/>
                <a:gd name="connsiteY45" fmla="*/ 6750 h 10000"/>
                <a:gd name="connsiteX46" fmla="*/ 378 w 10000"/>
                <a:gd name="connsiteY46" fmla="*/ 6439 h 10000"/>
                <a:gd name="connsiteX47" fmla="*/ 419 w 10000"/>
                <a:gd name="connsiteY47" fmla="*/ 6470 h 10000"/>
                <a:gd name="connsiteX48" fmla="*/ 466 w 10000"/>
                <a:gd name="connsiteY48" fmla="*/ 6347 h 10000"/>
                <a:gd name="connsiteX49" fmla="*/ 400 w 10000"/>
                <a:gd name="connsiteY49" fmla="*/ 6233 h 10000"/>
                <a:gd name="connsiteX50" fmla="*/ 315 w 10000"/>
                <a:gd name="connsiteY50" fmla="*/ 6017 h 10000"/>
                <a:gd name="connsiteX51" fmla="*/ 334 w 10000"/>
                <a:gd name="connsiteY51" fmla="*/ 5821 h 10000"/>
                <a:gd name="connsiteX52" fmla="*/ 274 w 10000"/>
                <a:gd name="connsiteY52" fmla="*/ 5697 h 10000"/>
                <a:gd name="connsiteX53" fmla="*/ 227 w 10000"/>
                <a:gd name="connsiteY53" fmla="*/ 5728 h 10000"/>
                <a:gd name="connsiteX54" fmla="*/ 202 w 10000"/>
                <a:gd name="connsiteY54" fmla="*/ 5604 h 10000"/>
                <a:gd name="connsiteX55" fmla="*/ 164 w 10000"/>
                <a:gd name="connsiteY55" fmla="*/ 5645 h 10000"/>
                <a:gd name="connsiteX56" fmla="*/ 117 w 10000"/>
                <a:gd name="connsiteY56" fmla="*/ 5604 h 10000"/>
                <a:gd name="connsiteX57" fmla="*/ 69 w 10000"/>
                <a:gd name="connsiteY57" fmla="*/ 5181 h 10000"/>
                <a:gd name="connsiteX58" fmla="*/ 85 w 10000"/>
                <a:gd name="connsiteY58" fmla="*/ 5057 h 10000"/>
                <a:gd name="connsiteX59" fmla="*/ 41 w 10000"/>
                <a:gd name="connsiteY59" fmla="*/ 4892 h 10000"/>
                <a:gd name="connsiteX60" fmla="*/ 66 w 10000"/>
                <a:gd name="connsiteY60" fmla="*/ 4655 h 10000"/>
                <a:gd name="connsiteX61" fmla="*/ 211 w 10000"/>
                <a:gd name="connsiteY61" fmla="*/ 4510 h 10000"/>
                <a:gd name="connsiteX62" fmla="*/ 129 w 10000"/>
                <a:gd name="connsiteY62" fmla="*/ 4406 h 10000"/>
                <a:gd name="connsiteX63" fmla="*/ 82 w 10000"/>
                <a:gd name="connsiteY63" fmla="*/ 4283 h 10000"/>
                <a:gd name="connsiteX64" fmla="*/ 205 w 10000"/>
                <a:gd name="connsiteY64" fmla="*/ 3912 h 10000"/>
                <a:gd name="connsiteX65" fmla="*/ 249 w 10000"/>
                <a:gd name="connsiteY65" fmla="*/ 3664 h 10000"/>
                <a:gd name="connsiteX66" fmla="*/ 151 w 10000"/>
                <a:gd name="connsiteY66" fmla="*/ 3488 h 10000"/>
                <a:gd name="connsiteX67" fmla="*/ 189 w 10000"/>
                <a:gd name="connsiteY67" fmla="*/ 3344 h 10000"/>
                <a:gd name="connsiteX68" fmla="*/ 113 w 10000"/>
                <a:gd name="connsiteY68" fmla="*/ 3148 h 10000"/>
                <a:gd name="connsiteX69" fmla="*/ 113 w 10000"/>
                <a:gd name="connsiteY69" fmla="*/ 2972 h 10000"/>
                <a:gd name="connsiteX70" fmla="*/ 60 w 10000"/>
                <a:gd name="connsiteY70" fmla="*/ 2622 h 10000"/>
                <a:gd name="connsiteX71" fmla="*/ 98 w 10000"/>
                <a:gd name="connsiteY71" fmla="*/ 2404 h 10000"/>
                <a:gd name="connsiteX72" fmla="*/ 38 w 10000"/>
                <a:gd name="connsiteY72" fmla="*/ 2301 h 10000"/>
                <a:gd name="connsiteX73" fmla="*/ 0 w 10000"/>
                <a:gd name="connsiteY73" fmla="*/ 2178 h 10000"/>
                <a:gd name="connsiteX74" fmla="*/ 54 w 10000"/>
                <a:gd name="connsiteY74" fmla="*/ 1951 h 10000"/>
                <a:gd name="connsiteX75" fmla="*/ 120 w 10000"/>
                <a:gd name="connsiteY75" fmla="*/ 1910 h 10000"/>
                <a:gd name="connsiteX76" fmla="*/ 195 w 10000"/>
                <a:gd name="connsiteY76" fmla="*/ 1858 h 10000"/>
                <a:gd name="connsiteX77" fmla="*/ 309 w 10000"/>
                <a:gd name="connsiteY77" fmla="*/ 1951 h 10000"/>
                <a:gd name="connsiteX78" fmla="*/ 482 w 10000"/>
                <a:gd name="connsiteY78" fmla="*/ 2054 h 10000"/>
                <a:gd name="connsiteX79" fmla="*/ 633 w 10000"/>
                <a:gd name="connsiteY79" fmla="*/ 2229 h 10000"/>
                <a:gd name="connsiteX80" fmla="*/ 756 w 10000"/>
                <a:gd name="connsiteY80" fmla="*/ 2373 h 10000"/>
                <a:gd name="connsiteX81" fmla="*/ 725 w 10000"/>
                <a:gd name="connsiteY81" fmla="*/ 2777 h 10000"/>
                <a:gd name="connsiteX82" fmla="*/ 362 w 10000"/>
                <a:gd name="connsiteY82" fmla="*/ 2673 h 10000"/>
                <a:gd name="connsiteX83" fmla="*/ 243 w 10000"/>
                <a:gd name="connsiteY83" fmla="*/ 2550 h 10000"/>
                <a:gd name="connsiteX84" fmla="*/ 287 w 10000"/>
                <a:gd name="connsiteY84" fmla="*/ 2622 h 10000"/>
                <a:gd name="connsiteX85" fmla="*/ 331 w 10000"/>
                <a:gd name="connsiteY85" fmla="*/ 2797 h 10000"/>
                <a:gd name="connsiteX86" fmla="*/ 400 w 10000"/>
                <a:gd name="connsiteY86" fmla="*/ 2921 h 10000"/>
                <a:gd name="connsiteX87" fmla="*/ 416 w 10000"/>
                <a:gd name="connsiteY87" fmla="*/ 3189 h 10000"/>
                <a:gd name="connsiteX88" fmla="*/ 507 w 10000"/>
                <a:gd name="connsiteY88" fmla="*/ 3313 h 10000"/>
                <a:gd name="connsiteX89" fmla="*/ 583 w 10000"/>
                <a:gd name="connsiteY89" fmla="*/ 3436 h 10000"/>
                <a:gd name="connsiteX90" fmla="*/ 605 w 10000"/>
                <a:gd name="connsiteY90" fmla="*/ 3467 h 10000"/>
                <a:gd name="connsiteX91" fmla="*/ 649 w 10000"/>
                <a:gd name="connsiteY91" fmla="*/ 3436 h 10000"/>
                <a:gd name="connsiteX92" fmla="*/ 633 w 10000"/>
                <a:gd name="connsiteY92" fmla="*/ 3364 h 10000"/>
                <a:gd name="connsiteX93" fmla="*/ 545 w 10000"/>
                <a:gd name="connsiteY93" fmla="*/ 3189 h 10000"/>
                <a:gd name="connsiteX94" fmla="*/ 801 w 10000"/>
                <a:gd name="connsiteY94" fmla="*/ 3344 h 10000"/>
                <a:gd name="connsiteX95" fmla="*/ 810 w 10000"/>
                <a:gd name="connsiteY95" fmla="*/ 3271 h 10000"/>
                <a:gd name="connsiteX96" fmla="*/ 785 w 10000"/>
                <a:gd name="connsiteY96" fmla="*/ 3220 h 10000"/>
                <a:gd name="connsiteX97" fmla="*/ 741 w 10000"/>
                <a:gd name="connsiteY97" fmla="*/ 2993 h 10000"/>
                <a:gd name="connsiteX98" fmla="*/ 870 w 10000"/>
                <a:gd name="connsiteY98" fmla="*/ 2777 h 10000"/>
                <a:gd name="connsiteX99" fmla="*/ 968 w 10000"/>
                <a:gd name="connsiteY99" fmla="*/ 2921 h 10000"/>
                <a:gd name="connsiteX100" fmla="*/ 999 w 10000"/>
                <a:gd name="connsiteY100" fmla="*/ 2725 h 10000"/>
                <a:gd name="connsiteX101" fmla="*/ 952 w 10000"/>
                <a:gd name="connsiteY101" fmla="*/ 2653 h 10000"/>
                <a:gd name="connsiteX102" fmla="*/ 936 w 10000"/>
                <a:gd name="connsiteY102" fmla="*/ 2281 h 10000"/>
                <a:gd name="connsiteX103" fmla="*/ 914 w 10000"/>
                <a:gd name="connsiteY103" fmla="*/ 2229 h 10000"/>
                <a:gd name="connsiteX104" fmla="*/ 1037 w 10000"/>
                <a:gd name="connsiteY104" fmla="*/ 2250 h 10000"/>
                <a:gd name="connsiteX105" fmla="*/ 1087 w 10000"/>
                <a:gd name="connsiteY105" fmla="*/ 2404 h 10000"/>
                <a:gd name="connsiteX106" fmla="*/ 1021 w 10000"/>
                <a:gd name="connsiteY106" fmla="*/ 2529 h 10000"/>
                <a:gd name="connsiteX107" fmla="*/ 1135 w 10000"/>
                <a:gd name="connsiteY107" fmla="*/ 2694 h 10000"/>
                <a:gd name="connsiteX108" fmla="*/ 1226 w 10000"/>
                <a:gd name="connsiteY108" fmla="*/ 2529 h 10000"/>
                <a:gd name="connsiteX109" fmla="*/ 1339 w 10000"/>
                <a:gd name="connsiteY109" fmla="*/ 2301 h 10000"/>
                <a:gd name="connsiteX110" fmla="*/ 1459 w 10000"/>
                <a:gd name="connsiteY110" fmla="*/ 2157 h 10000"/>
                <a:gd name="connsiteX111" fmla="*/ 1497 w 10000"/>
                <a:gd name="connsiteY111" fmla="*/ 2250 h 10000"/>
                <a:gd name="connsiteX112" fmla="*/ 1807 w 10000"/>
                <a:gd name="connsiteY112" fmla="*/ 2054 h 10000"/>
                <a:gd name="connsiteX113" fmla="*/ 1870 w 10000"/>
                <a:gd name="connsiteY113" fmla="*/ 2250 h 10000"/>
                <a:gd name="connsiteX114" fmla="*/ 1860 w 10000"/>
                <a:gd name="connsiteY114" fmla="*/ 2002 h 10000"/>
                <a:gd name="connsiteX115" fmla="*/ 1778 w 10000"/>
                <a:gd name="connsiteY115" fmla="*/ 1786 h 10000"/>
                <a:gd name="connsiteX116" fmla="*/ 1763 w 10000"/>
                <a:gd name="connsiteY116" fmla="*/ 1703 h 10000"/>
                <a:gd name="connsiteX117" fmla="*/ 1823 w 10000"/>
                <a:gd name="connsiteY117" fmla="*/ 1786 h 10000"/>
                <a:gd name="connsiteX118" fmla="*/ 2034 w 10000"/>
                <a:gd name="connsiteY118" fmla="*/ 1951 h 10000"/>
                <a:gd name="connsiteX119" fmla="*/ 2270 w 10000"/>
                <a:gd name="connsiteY119" fmla="*/ 2126 h 10000"/>
                <a:gd name="connsiteX120" fmla="*/ 2384 w 10000"/>
                <a:gd name="connsiteY120" fmla="*/ 2250 h 10000"/>
                <a:gd name="connsiteX121" fmla="*/ 2421 w 10000"/>
                <a:gd name="connsiteY121" fmla="*/ 2074 h 10000"/>
                <a:gd name="connsiteX122" fmla="*/ 2368 w 10000"/>
                <a:gd name="connsiteY122" fmla="*/ 2033 h 10000"/>
                <a:gd name="connsiteX123" fmla="*/ 2299 w 10000"/>
                <a:gd name="connsiteY123" fmla="*/ 1930 h 10000"/>
                <a:gd name="connsiteX124" fmla="*/ 2254 w 10000"/>
                <a:gd name="connsiteY124" fmla="*/ 1734 h 10000"/>
                <a:gd name="connsiteX125" fmla="*/ 2185 w 10000"/>
                <a:gd name="connsiteY125" fmla="*/ 1486 h 10000"/>
                <a:gd name="connsiteX126" fmla="*/ 2210 w 10000"/>
                <a:gd name="connsiteY126" fmla="*/ 1434 h 10000"/>
                <a:gd name="connsiteX127" fmla="*/ 2232 w 10000"/>
                <a:gd name="connsiteY127" fmla="*/ 1455 h 10000"/>
                <a:gd name="connsiteX128" fmla="*/ 2292 w 10000"/>
                <a:gd name="connsiteY128" fmla="*/ 1115 h 10000"/>
                <a:gd name="connsiteX129" fmla="*/ 2443 w 10000"/>
                <a:gd name="connsiteY129" fmla="*/ 1135 h 10000"/>
                <a:gd name="connsiteX130" fmla="*/ 2488 w 10000"/>
                <a:gd name="connsiteY130" fmla="*/ 1311 h 10000"/>
                <a:gd name="connsiteX131" fmla="*/ 2519 w 10000"/>
                <a:gd name="connsiteY131" fmla="*/ 1538 h 10000"/>
                <a:gd name="connsiteX132" fmla="*/ 2573 w 10000"/>
                <a:gd name="connsiteY132" fmla="*/ 1734 h 10000"/>
                <a:gd name="connsiteX133" fmla="*/ 2670 w 10000"/>
                <a:gd name="connsiteY133" fmla="*/ 2157 h 10000"/>
                <a:gd name="connsiteX134" fmla="*/ 2481 w 10000"/>
                <a:gd name="connsiteY134" fmla="*/ 2673 h 10000"/>
                <a:gd name="connsiteX135" fmla="*/ 2557 w 10000"/>
                <a:gd name="connsiteY135" fmla="*/ 2746 h 10000"/>
                <a:gd name="connsiteX136" fmla="*/ 2655 w 10000"/>
                <a:gd name="connsiteY136" fmla="*/ 2818 h 10000"/>
                <a:gd name="connsiteX137" fmla="*/ 2784 w 10000"/>
                <a:gd name="connsiteY137" fmla="*/ 2622 h 10000"/>
                <a:gd name="connsiteX138" fmla="*/ 2790 w 10000"/>
                <a:gd name="connsiteY138" fmla="*/ 2404 h 10000"/>
                <a:gd name="connsiteX139" fmla="*/ 2746 w 10000"/>
                <a:gd name="connsiteY139" fmla="*/ 2301 h 10000"/>
                <a:gd name="connsiteX140" fmla="*/ 2919 w 10000"/>
                <a:gd name="connsiteY140" fmla="*/ 2250 h 10000"/>
                <a:gd name="connsiteX141" fmla="*/ 2989 w 10000"/>
                <a:gd name="connsiteY141" fmla="*/ 2497 h 10000"/>
                <a:gd name="connsiteX142" fmla="*/ 2989 w 10000"/>
                <a:gd name="connsiteY142" fmla="*/ 2425 h 10000"/>
                <a:gd name="connsiteX143" fmla="*/ 2973 w 10000"/>
                <a:gd name="connsiteY143" fmla="*/ 2353 h 10000"/>
                <a:gd name="connsiteX144" fmla="*/ 2967 w 10000"/>
                <a:gd name="connsiteY144" fmla="*/ 2178 h 10000"/>
                <a:gd name="connsiteX145" fmla="*/ 2800 w 10000"/>
                <a:gd name="connsiteY145" fmla="*/ 1930 h 10000"/>
                <a:gd name="connsiteX146" fmla="*/ 2670 w 10000"/>
                <a:gd name="connsiteY146" fmla="*/ 2002 h 10000"/>
                <a:gd name="connsiteX147" fmla="*/ 2617 w 10000"/>
                <a:gd name="connsiteY147" fmla="*/ 1683 h 10000"/>
                <a:gd name="connsiteX148" fmla="*/ 2563 w 10000"/>
                <a:gd name="connsiteY148" fmla="*/ 1507 h 10000"/>
                <a:gd name="connsiteX149" fmla="*/ 2617 w 10000"/>
                <a:gd name="connsiteY149" fmla="*/ 1331 h 10000"/>
                <a:gd name="connsiteX150" fmla="*/ 2611 w 10000"/>
                <a:gd name="connsiteY150" fmla="*/ 1166 h 10000"/>
                <a:gd name="connsiteX151" fmla="*/ 2588 w 10000"/>
                <a:gd name="connsiteY151" fmla="*/ 1115 h 10000"/>
                <a:gd name="connsiteX152" fmla="*/ 2626 w 10000"/>
                <a:gd name="connsiteY152" fmla="*/ 1115 h 10000"/>
                <a:gd name="connsiteX153" fmla="*/ 2670 w 10000"/>
                <a:gd name="connsiteY153" fmla="*/ 1455 h 10000"/>
                <a:gd name="connsiteX154" fmla="*/ 2891 w 10000"/>
                <a:gd name="connsiteY154" fmla="*/ 1662 h 10000"/>
                <a:gd name="connsiteX155" fmla="*/ 2724 w 10000"/>
                <a:gd name="connsiteY155" fmla="*/ 1383 h 10000"/>
                <a:gd name="connsiteX156" fmla="*/ 3049 w 10000"/>
                <a:gd name="connsiteY156" fmla="*/ 1383 h 10000"/>
                <a:gd name="connsiteX157" fmla="*/ 3102 w 10000"/>
                <a:gd name="connsiteY157" fmla="*/ 1362 h 10000"/>
                <a:gd name="connsiteX158" fmla="*/ 2897 w 10000"/>
                <a:gd name="connsiteY158" fmla="*/ 1115 h 10000"/>
                <a:gd name="connsiteX159" fmla="*/ 2951 w 10000"/>
                <a:gd name="connsiteY159" fmla="*/ 888 h 10000"/>
                <a:gd name="connsiteX160" fmla="*/ 3178 w 10000"/>
                <a:gd name="connsiteY160" fmla="*/ 888 h 10000"/>
                <a:gd name="connsiteX161" fmla="*/ 3156 w 10000"/>
                <a:gd name="connsiteY161" fmla="*/ 713 h 10000"/>
                <a:gd name="connsiteX162" fmla="*/ 3231 w 10000"/>
                <a:gd name="connsiteY162" fmla="*/ 589 h 10000"/>
                <a:gd name="connsiteX163" fmla="*/ 3276 w 10000"/>
                <a:gd name="connsiteY163" fmla="*/ 548 h 10000"/>
                <a:gd name="connsiteX164" fmla="*/ 3443 w 10000"/>
                <a:gd name="connsiteY164" fmla="*/ 423 h 10000"/>
                <a:gd name="connsiteX165" fmla="*/ 3487 w 10000"/>
                <a:gd name="connsiteY165" fmla="*/ 371 h 10000"/>
                <a:gd name="connsiteX166" fmla="*/ 3480 w 10000"/>
                <a:gd name="connsiteY166" fmla="*/ 444 h 10000"/>
                <a:gd name="connsiteX167" fmla="*/ 3660 w 10000"/>
                <a:gd name="connsiteY167" fmla="*/ 371 h 10000"/>
                <a:gd name="connsiteX168" fmla="*/ 3805 w 10000"/>
                <a:gd name="connsiteY168" fmla="*/ 248 h 10000"/>
                <a:gd name="connsiteX169" fmla="*/ 3827 w 10000"/>
                <a:gd name="connsiteY169" fmla="*/ 0 h 10000"/>
                <a:gd name="connsiteX170" fmla="*/ 3988 w 10000"/>
                <a:gd name="connsiteY170" fmla="*/ 21 h 10000"/>
                <a:gd name="connsiteX171" fmla="*/ 3978 w 10000"/>
                <a:gd name="connsiteY171" fmla="*/ 93 h 10000"/>
                <a:gd name="connsiteX172" fmla="*/ 3988 w 10000"/>
                <a:gd name="connsiteY172" fmla="*/ 176 h 10000"/>
                <a:gd name="connsiteX173" fmla="*/ 4085 w 10000"/>
                <a:gd name="connsiteY173" fmla="*/ 248 h 10000"/>
                <a:gd name="connsiteX174" fmla="*/ 4379 w 10000"/>
                <a:gd name="connsiteY174" fmla="*/ 268 h 10000"/>
                <a:gd name="connsiteX175" fmla="*/ 4539 w 10000"/>
                <a:gd name="connsiteY175" fmla="*/ 392 h 10000"/>
                <a:gd name="connsiteX176" fmla="*/ 4486 w 10000"/>
                <a:gd name="connsiteY176" fmla="*/ 795 h 10000"/>
                <a:gd name="connsiteX177" fmla="*/ 4426 w 10000"/>
                <a:gd name="connsiteY177" fmla="*/ 919 h 10000"/>
                <a:gd name="connsiteX178" fmla="*/ 4356 w 10000"/>
                <a:gd name="connsiteY178" fmla="*/ 1043 h 10000"/>
                <a:gd name="connsiteX179" fmla="*/ 4372 w 10000"/>
                <a:gd name="connsiteY179" fmla="*/ 1115 h 10000"/>
                <a:gd name="connsiteX180" fmla="*/ 4583 w 10000"/>
                <a:gd name="connsiteY180" fmla="*/ 919 h 10000"/>
                <a:gd name="connsiteX181" fmla="*/ 5060 w 10000"/>
                <a:gd name="connsiteY181" fmla="*/ 991 h 10000"/>
                <a:gd name="connsiteX182" fmla="*/ 5108 w 10000"/>
                <a:gd name="connsiteY182" fmla="*/ 1063 h 10000"/>
                <a:gd name="connsiteX183" fmla="*/ 5212 w 10000"/>
                <a:gd name="connsiteY183" fmla="*/ 1187 h 10000"/>
                <a:gd name="connsiteX184" fmla="*/ 5357 w 10000"/>
                <a:gd name="connsiteY184" fmla="*/ 919 h 10000"/>
                <a:gd name="connsiteX185" fmla="*/ 5577 w 10000"/>
                <a:gd name="connsiteY185" fmla="*/ 1063 h 10000"/>
                <a:gd name="connsiteX186" fmla="*/ 5643 w 10000"/>
                <a:gd name="connsiteY186" fmla="*/ 1115 h 10000"/>
                <a:gd name="connsiteX187" fmla="*/ 5697 w 10000"/>
                <a:gd name="connsiteY187" fmla="*/ 1166 h 10000"/>
                <a:gd name="connsiteX188" fmla="*/ 5908 w 10000"/>
                <a:gd name="connsiteY188" fmla="*/ 1631 h 10000"/>
                <a:gd name="connsiteX189" fmla="*/ 5984 w 10000"/>
                <a:gd name="connsiteY189" fmla="*/ 1611 h 10000"/>
                <a:gd name="connsiteX190" fmla="*/ 5977 w 10000"/>
                <a:gd name="connsiteY190" fmla="*/ 1507 h 10000"/>
                <a:gd name="connsiteX191" fmla="*/ 5984 w 10000"/>
                <a:gd name="connsiteY191" fmla="*/ 1383 h 10000"/>
                <a:gd name="connsiteX192" fmla="*/ 6091 w 10000"/>
                <a:gd name="connsiteY192" fmla="*/ 1486 h 10000"/>
                <a:gd name="connsiteX193" fmla="*/ 6264 w 10000"/>
                <a:gd name="connsiteY193" fmla="*/ 1507 h 10000"/>
                <a:gd name="connsiteX194" fmla="*/ 6409 w 10000"/>
                <a:gd name="connsiteY194" fmla="*/ 1455 h 10000"/>
                <a:gd name="connsiteX195" fmla="*/ 6340 w 10000"/>
                <a:gd name="connsiteY195" fmla="*/ 1362 h 10000"/>
                <a:gd name="connsiteX196" fmla="*/ 6431 w 10000"/>
                <a:gd name="connsiteY196" fmla="*/ 1084 h 10000"/>
                <a:gd name="connsiteX197" fmla="*/ 6687 w 10000"/>
                <a:gd name="connsiteY197" fmla="*/ 1207 h 10000"/>
                <a:gd name="connsiteX198" fmla="*/ 6945 w 10000"/>
                <a:gd name="connsiteY198" fmla="*/ 1331 h 10000"/>
                <a:gd name="connsiteX199" fmla="*/ 6967 w 10000"/>
                <a:gd name="connsiteY199" fmla="*/ 1362 h 10000"/>
                <a:gd name="connsiteX200" fmla="*/ 7194 w 10000"/>
                <a:gd name="connsiteY200" fmla="*/ 1611 h 10000"/>
                <a:gd name="connsiteX201" fmla="*/ 7367 w 10000"/>
                <a:gd name="connsiteY201" fmla="*/ 1507 h 10000"/>
                <a:gd name="connsiteX202" fmla="*/ 7582 w 10000"/>
                <a:gd name="connsiteY202" fmla="*/ 1538 h 10000"/>
                <a:gd name="connsiteX203" fmla="*/ 7657 w 10000"/>
                <a:gd name="connsiteY203" fmla="*/ 1611 h 10000"/>
                <a:gd name="connsiteX204" fmla="*/ 7928 w 10000"/>
                <a:gd name="connsiteY204" fmla="*/ 1930 h 10000"/>
                <a:gd name="connsiteX205" fmla="*/ 8231 w 10000"/>
                <a:gd name="connsiteY205" fmla="*/ 1879 h 10000"/>
                <a:gd name="connsiteX206" fmla="*/ 8339 w 10000"/>
                <a:gd name="connsiteY206" fmla="*/ 2033 h 10000"/>
                <a:gd name="connsiteX207" fmla="*/ 8490 w 10000"/>
                <a:gd name="connsiteY207" fmla="*/ 2157 h 10000"/>
                <a:gd name="connsiteX208" fmla="*/ 8519 w 10000"/>
                <a:gd name="connsiteY208" fmla="*/ 2105 h 10000"/>
                <a:gd name="connsiteX209" fmla="*/ 8497 w 10000"/>
                <a:gd name="connsiteY209" fmla="*/ 2074 h 10000"/>
                <a:gd name="connsiteX210" fmla="*/ 8383 w 10000"/>
                <a:gd name="connsiteY210" fmla="*/ 1930 h 10000"/>
                <a:gd name="connsiteX211" fmla="*/ 8465 w 10000"/>
                <a:gd name="connsiteY211" fmla="*/ 1755 h 10000"/>
                <a:gd name="connsiteX212" fmla="*/ 8664 w 10000"/>
                <a:gd name="connsiteY212" fmla="*/ 1910 h 10000"/>
                <a:gd name="connsiteX213" fmla="*/ 8950 w 10000"/>
                <a:gd name="connsiteY213" fmla="*/ 1982 h 10000"/>
                <a:gd name="connsiteX214" fmla="*/ 9206 w 10000"/>
                <a:gd name="connsiteY214" fmla="*/ 2260 h 10000"/>
                <a:gd name="connsiteX215" fmla="*/ 9344 w 10000"/>
                <a:gd name="connsiteY215" fmla="*/ 2332 h 10000"/>
                <a:gd name="connsiteX216" fmla="*/ 9451 w 10000"/>
                <a:gd name="connsiteY216" fmla="*/ 2446 h 10000"/>
                <a:gd name="connsiteX217" fmla="*/ 9574 w 10000"/>
                <a:gd name="connsiteY217" fmla="*/ 2632 h 10000"/>
                <a:gd name="connsiteX218" fmla="*/ 9631 w 10000"/>
                <a:gd name="connsiteY218" fmla="*/ 2756 h 10000"/>
                <a:gd name="connsiteX219" fmla="*/ 9726 w 10000"/>
                <a:gd name="connsiteY219" fmla="*/ 2787 h 10000"/>
                <a:gd name="connsiteX220" fmla="*/ 9590 w 10000"/>
                <a:gd name="connsiteY220" fmla="*/ 2570 h 10000"/>
                <a:gd name="connsiteX221" fmla="*/ 9915 w 10000"/>
                <a:gd name="connsiteY221" fmla="*/ 2756 h 10000"/>
                <a:gd name="connsiteX222" fmla="*/ 10000 w 10000"/>
                <a:gd name="connsiteY222" fmla="*/ 3014 h 10000"/>
                <a:gd name="connsiteX223" fmla="*/ 9934 w 10000"/>
                <a:gd name="connsiteY223" fmla="*/ 2941 h 10000"/>
                <a:gd name="connsiteX224" fmla="*/ 9874 w 10000"/>
                <a:gd name="connsiteY224" fmla="*/ 2952 h 10000"/>
                <a:gd name="connsiteX225" fmla="*/ 10000 w 10000"/>
                <a:gd name="connsiteY225" fmla="*/ 3292 h 10000"/>
                <a:gd name="connsiteX226" fmla="*/ 9845 w 10000"/>
                <a:gd name="connsiteY226" fmla="*/ 3220 h 10000"/>
                <a:gd name="connsiteX227" fmla="*/ 9745 w 10000"/>
                <a:gd name="connsiteY227" fmla="*/ 3075 h 10000"/>
                <a:gd name="connsiteX228" fmla="*/ 9641 w 10000"/>
                <a:gd name="connsiteY228" fmla="*/ 2972 h 10000"/>
                <a:gd name="connsiteX229" fmla="*/ 9555 w 10000"/>
                <a:gd name="connsiteY229" fmla="*/ 3003 h 10000"/>
                <a:gd name="connsiteX230" fmla="*/ 9470 w 10000"/>
                <a:gd name="connsiteY230" fmla="*/ 2787 h 10000"/>
                <a:gd name="connsiteX231" fmla="*/ 9366 w 10000"/>
                <a:gd name="connsiteY231" fmla="*/ 2725 h 10000"/>
                <a:gd name="connsiteX232" fmla="*/ 9461 w 10000"/>
                <a:gd name="connsiteY232" fmla="*/ 2972 h 10000"/>
                <a:gd name="connsiteX233" fmla="*/ 9470 w 10000"/>
                <a:gd name="connsiteY233" fmla="*/ 3230 h 10000"/>
                <a:gd name="connsiteX234" fmla="*/ 9288 w 10000"/>
                <a:gd name="connsiteY234" fmla="*/ 3065 h 10000"/>
                <a:gd name="connsiteX235" fmla="*/ 9262 w 10000"/>
                <a:gd name="connsiteY235" fmla="*/ 3230 h 10000"/>
                <a:gd name="connsiteX236" fmla="*/ 9363 w 10000"/>
                <a:gd name="connsiteY236" fmla="*/ 3230 h 10000"/>
                <a:gd name="connsiteX237" fmla="*/ 9451 w 10000"/>
                <a:gd name="connsiteY237" fmla="*/ 3354 h 10000"/>
                <a:gd name="connsiteX238" fmla="*/ 9659 w 10000"/>
                <a:gd name="connsiteY238" fmla="*/ 3685 h 10000"/>
                <a:gd name="connsiteX239" fmla="*/ 9735 w 10000"/>
                <a:gd name="connsiteY239" fmla="*/ 3839 h 10000"/>
                <a:gd name="connsiteX240" fmla="*/ 9552 w 10000"/>
                <a:gd name="connsiteY240" fmla="*/ 3757 h 10000"/>
                <a:gd name="connsiteX241" fmla="*/ 9451 w 10000"/>
                <a:gd name="connsiteY241" fmla="*/ 4025 h 10000"/>
                <a:gd name="connsiteX242" fmla="*/ 9385 w 10000"/>
                <a:gd name="connsiteY242" fmla="*/ 4283 h 10000"/>
                <a:gd name="connsiteX243" fmla="*/ 9376 w 10000"/>
                <a:gd name="connsiteY243" fmla="*/ 4499 h 10000"/>
                <a:gd name="connsiteX244" fmla="*/ 9335 w 10000"/>
                <a:gd name="connsiteY244" fmla="*/ 4303 h 10000"/>
                <a:gd name="connsiteX245" fmla="*/ 9149 w 10000"/>
                <a:gd name="connsiteY245" fmla="*/ 4314 h 10000"/>
                <a:gd name="connsiteX246" fmla="*/ 9155 w 10000"/>
                <a:gd name="connsiteY246" fmla="*/ 4531 h 10000"/>
                <a:gd name="connsiteX247" fmla="*/ 9061 w 10000"/>
                <a:gd name="connsiteY247" fmla="*/ 4365 h 10000"/>
                <a:gd name="connsiteX248" fmla="*/ 9054 w 10000"/>
                <a:gd name="connsiteY248" fmla="*/ 4521 h 10000"/>
                <a:gd name="connsiteX249" fmla="*/ 8998 w 10000"/>
                <a:gd name="connsiteY249" fmla="*/ 4458 h 10000"/>
                <a:gd name="connsiteX250" fmla="*/ 8966 w 10000"/>
                <a:gd name="connsiteY250" fmla="*/ 4562 h 10000"/>
                <a:gd name="connsiteX251" fmla="*/ 9007 w 10000"/>
                <a:gd name="connsiteY251" fmla="*/ 4686 h 10000"/>
                <a:gd name="connsiteX252" fmla="*/ 9004 w 10000"/>
                <a:gd name="connsiteY252" fmla="*/ 4995 h 10000"/>
                <a:gd name="connsiteX253" fmla="*/ 9073 w 10000"/>
                <a:gd name="connsiteY253" fmla="*/ 5211 h 10000"/>
                <a:gd name="connsiteX254" fmla="*/ 9130 w 10000"/>
                <a:gd name="connsiteY254" fmla="*/ 5150 h 10000"/>
                <a:gd name="connsiteX255" fmla="*/ 9158 w 10000"/>
                <a:gd name="connsiteY255" fmla="*/ 5211 h 10000"/>
                <a:gd name="connsiteX256" fmla="*/ 9231 w 10000"/>
                <a:gd name="connsiteY256" fmla="*/ 5428 h 10000"/>
                <a:gd name="connsiteX257" fmla="*/ 9215 w 10000"/>
                <a:gd name="connsiteY257" fmla="*/ 5604 h 10000"/>
                <a:gd name="connsiteX258" fmla="*/ 9221 w 10000"/>
                <a:gd name="connsiteY258" fmla="*/ 5769 h 10000"/>
                <a:gd name="connsiteX259" fmla="*/ 9269 w 10000"/>
                <a:gd name="connsiteY259" fmla="*/ 5883 h 10000"/>
                <a:gd name="connsiteX260" fmla="*/ 9344 w 10000"/>
                <a:gd name="connsiteY260" fmla="*/ 6068 h 10000"/>
                <a:gd name="connsiteX261" fmla="*/ 9269 w 10000"/>
                <a:gd name="connsiteY261" fmla="*/ 6068 h 10000"/>
                <a:gd name="connsiteX262" fmla="*/ 9253 w 10000"/>
                <a:gd name="connsiteY262" fmla="*/ 6223 h 10000"/>
                <a:gd name="connsiteX263" fmla="*/ 9319 w 10000"/>
                <a:gd name="connsiteY263" fmla="*/ 6408 h 10000"/>
                <a:gd name="connsiteX264" fmla="*/ 9250 w 10000"/>
                <a:gd name="connsiteY264" fmla="*/ 6502 h 10000"/>
                <a:gd name="connsiteX265" fmla="*/ 9297 w 10000"/>
                <a:gd name="connsiteY265" fmla="*/ 6729 h 10000"/>
                <a:gd name="connsiteX266" fmla="*/ 9281 w 10000"/>
                <a:gd name="connsiteY266" fmla="*/ 7069 h 10000"/>
                <a:gd name="connsiteX267" fmla="*/ 9061 w 10000"/>
                <a:gd name="connsiteY267" fmla="*/ 6408 h 10000"/>
                <a:gd name="connsiteX268" fmla="*/ 8824 w 10000"/>
                <a:gd name="connsiteY268" fmla="*/ 5759 h 10000"/>
                <a:gd name="connsiteX269" fmla="*/ 8771 w 10000"/>
                <a:gd name="connsiteY269" fmla="*/ 5459 h 10000"/>
                <a:gd name="connsiteX270" fmla="*/ 8768 w 10000"/>
                <a:gd name="connsiteY270" fmla="*/ 5211 h 10000"/>
                <a:gd name="connsiteX271" fmla="*/ 8692 w 10000"/>
                <a:gd name="connsiteY271" fmla="*/ 5047 h 10000"/>
                <a:gd name="connsiteX272" fmla="*/ 8771 w 10000"/>
                <a:gd name="connsiteY272" fmla="*/ 5088 h 10000"/>
                <a:gd name="connsiteX273" fmla="*/ 8809 w 10000"/>
                <a:gd name="connsiteY273" fmla="*/ 5108 h 10000"/>
                <a:gd name="connsiteX274" fmla="*/ 8809 w 10000"/>
                <a:gd name="connsiteY274" fmla="*/ 4840 h 10000"/>
                <a:gd name="connsiteX275" fmla="*/ 8827 w 10000"/>
                <a:gd name="connsiteY275" fmla="*/ 4437 h 10000"/>
                <a:gd name="connsiteX276" fmla="*/ 8853 w 10000"/>
                <a:gd name="connsiteY276" fmla="*/ 4252 h 10000"/>
                <a:gd name="connsiteX277" fmla="*/ 8909 w 10000"/>
                <a:gd name="connsiteY277" fmla="*/ 4221 h 10000"/>
                <a:gd name="connsiteX278" fmla="*/ 8786 w 10000"/>
                <a:gd name="connsiteY278" fmla="*/ 3901 h 10000"/>
                <a:gd name="connsiteX279" fmla="*/ 8853 w 10000"/>
                <a:gd name="connsiteY279" fmla="*/ 3839 h 10000"/>
                <a:gd name="connsiteX280" fmla="*/ 8739 w 10000"/>
                <a:gd name="connsiteY280" fmla="*/ 3788 h 10000"/>
                <a:gd name="connsiteX281" fmla="*/ 8755 w 10000"/>
                <a:gd name="connsiteY281" fmla="*/ 3984 h 10000"/>
                <a:gd name="connsiteX282" fmla="*/ 8692 w 10000"/>
                <a:gd name="connsiteY282" fmla="*/ 4303 h 10000"/>
                <a:gd name="connsiteX283" fmla="*/ 8604 w 10000"/>
                <a:gd name="connsiteY283" fmla="*/ 4210 h 10000"/>
                <a:gd name="connsiteX284" fmla="*/ 8550 w 10000"/>
                <a:gd name="connsiteY284" fmla="*/ 4056 h 10000"/>
                <a:gd name="connsiteX285" fmla="*/ 8481 w 10000"/>
                <a:gd name="connsiteY285" fmla="*/ 4138 h 10000"/>
                <a:gd name="connsiteX286" fmla="*/ 8389 w 10000"/>
                <a:gd name="connsiteY286" fmla="*/ 4107 h 10000"/>
                <a:gd name="connsiteX287" fmla="*/ 8352 w 10000"/>
                <a:gd name="connsiteY287" fmla="*/ 4406 h 10000"/>
                <a:gd name="connsiteX288" fmla="*/ 8481 w 10000"/>
                <a:gd name="connsiteY288" fmla="*/ 4655 h 10000"/>
                <a:gd name="connsiteX289" fmla="*/ 8405 w 10000"/>
                <a:gd name="connsiteY289" fmla="*/ 4830 h 10000"/>
                <a:gd name="connsiteX290" fmla="*/ 8225 w 10000"/>
                <a:gd name="connsiteY290" fmla="*/ 4799 h 10000"/>
                <a:gd name="connsiteX291" fmla="*/ 8209 w 10000"/>
                <a:gd name="connsiteY291" fmla="*/ 4655 h 10000"/>
                <a:gd name="connsiteX292" fmla="*/ 8102 w 10000"/>
                <a:gd name="connsiteY292" fmla="*/ 4634 h 10000"/>
                <a:gd name="connsiteX293" fmla="*/ 7641 w 10000"/>
                <a:gd name="connsiteY293" fmla="*/ 4779 h 10000"/>
                <a:gd name="connsiteX294" fmla="*/ 7610 w 10000"/>
                <a:gd name="connsiteY294" fmla="*/ 5005 h 10000"/>
                <a:gd name="connsiteX295" fmla="*/ 7550 w 10000"/>
                <a:gd name="connsiteY295" fmla="*/ 5666 h 10000"/>
                <a:gd name="connsiteX296" fmla="*/ 7496 w 10000"/>
                <a:gd name="connsiteY296" fmla="*/ 5965 h 10000"/>
                <a:gd name="connsiteX297" fmla="*/ 7701 w 10000"/>
                <a:gd name="connsiteY297" fmla="*/ 6161 h 10000"/>
                <a:gd name="connsiteX298" fmla="*/ 7745 w 10000"/>
                <a:gd name="connsiteY298" fmla="*/ 6243 h 10000"/>
                <a:gd name="connsiteX299" fmla="*/ 7771 w 10000"/>
                <a:gd name="connsiteY299" fmla="*/ 6285 h 10000"/>
                <a:gd name="connsiteX300" fmla="*/ 7793 w 10000"/>
                <a:gd name="connsiteY300" fmla="*/ 6068 h 10000"/>
                <a:gd name="connsiteX301" fmla="*/ 7912 w 10000"/>
                <a:gd name="connsiteY301" fmla="*/ 6089 h 10000"/>
                <a:gd name="connsiteX302" fmla="*/ 8004 w 10000"/>
                <a:gd name="connsiteY302" fmla="*/ 6367 h 10000"/>
                <a:gd name="connsiteX303" fmla="*/ 8064 w 10000"/>
                <a:gd name="connsiteY303" fmla="*/ 6616 h 10000"/>
                <a:gd name="connsiteX304" fmla="*/ 8111 w 10000"/>
                <a:gd name="connsiteY304" fmla="*/ 6781 h 10000"/>
                <a:gd name="connsiteX305" fmla="*/ 8048 w 10000"/>
                <a:gd name="connsiteY305" fmla="*/ 6491 h 10000"/>
                <a:gd name="connsiteX306" fmla="*/ 8124 w 10000"/>
                <a:gd name="connsiteY306" fmla="*/ 6336 h 10000"/>
                <a:gd name="connsiteX307" fmla="*/ 8177 w 10000"/>
                <a:gd name="connsiteY307" fmla="*/ 6512 h 10000"/>
                <a:gd name="connsiteX308" fmla="*/ 8300 w 10000"/>
                <a:gd name="connsiteY308" fmla="*/ 6987 h 10000"/>
                <a:gd name="connsiteX309" fmla="*/ 8361 w 10000"/>
                <a:gd name="connsiteY309" fmla="*/ 7152 h 10000"/>
                <a:gd name="connsiteX310" fmla="*/ 8490 w 10000"/>
                <a:gd name="connsiteY310" fmla="*/ 7482 h 10000"/>
                <a:gd name="connsiteX311" fmla="*/ 8604 w 10000"/>
                <a:gd name="connsiteY311" fmla="*/ 7854 h 10000"/>
                <a:gd name="connsiteX312" fmla="*/ 8474 w 10000"/>
                <a:gd name="connsiteY312" fmla="*/ 7647 h 10000"/>
                <a:gd name="connsiteX313" fmla="*/ 8443 w 10000"/>
                <a:gd name="connsiteY313" fmla="*/ 7678 h 10000"/>
                <a:gd name="connsiteX314" fmla="*/ 8512 w 10000"/>
                <a:gd name="connsiteY314" fmla="*/ 8050 h 10000"/>
                <a:gd name="connsiteX315" fmla="*/ 8588 w 10000"/>
                <a:gd name="connsiteY315" fmla="*/ 8266 h 10000"/>
                <a:gd name="connsiteX316" fmla="*/ 8642 w 10000"/>
                <a:gd name="connsiteY316" fmla="*/ 8472 h 10000"/>
                <a:gd name="connsiteX317" fmla="*/ 8566 w 10000"/>
                <a:gd name="connsiteY317" fmla="*/ 8421 h 10000"/>
                <a:gd name="connsiteX318" fmla="*/ 8556 w 10000"/>
                <a:gd name="connsiteY318" fmla="*/ 8669 h 10000"/>
                <a:gd name="connsiteX319" fmla="*/ 8497 w 10000"/>
                <a:gd name="connsiteY319" fmla="*/ 8493 h 10000"/>
                <a:gd name="connsiteX320" fmla="*/ 8481 w 10000"/>
                <a:gd name="connsiteY320" fmla="*/ 8421 h 10000"/>
                <a:gd name="connsiteX321" fmla="*/ 8361 w 10000"/>
                <a:gd name="connsiteY321" fmla="*/ 7751 h 10000"/>
                <a:gd name="connsiteX322" fmla="*/ 8322 w 10000"/>
                <a:gd name="connsiteY322" fmla="*/ 7524 h 10000"/>
                <a:gd name="connsiteX323" fmla="*/ 8291 w 10000"/>
                <a:gd name="connsiteY323" fmla="*/ 7378 h 10000"/>
                <a:gd name="connsiteX324" fmla="*/ 8275 w 10000"/>
                <a:gd name="connsiteY324" fmla="*/ 7306 h 10000"/>
                <a:gd name="connsiteX325" fmla="*/ 8139 w 10000"/>
                <a:gd name="connsiteY325" fmla="*/ 6863 h 10000"/>
                <a:gd name="connsiteX326" fmla="*/ 8199 w 10000"/>
                <a:gd name="connsiteY326" fmla="*/ 7451 h 10000"/>
                <a:gd name="connsiteX327" fmla="*/ 8247 w 10000"/>
                <a:gd name="connsiteY327" fmla="*/ 7998 h 10000"/>
                <a:gd name="connsiteX328" fmla="*/ 8177 w 10000"/>
                <a:gd name="connsiteY328" fmla="*/ 9133 h 10000"/>
                <a:gd name="connsiteX329" fmla="*/ 8124 w 10000"/>
                <a:gd name="connsiteY329" fmla="*/ 9484 h 10000"/>
                <a:gd name="connsiteX330" fmla="*/ 7972 w 10000"/>
                <a:gd name="connsiteY330" fmla="*/ 9432 h 10000"/>
                <a:gd name="connsiteX331" fmla="*/ 7897 w 10000"/>
                <a:gd name="connsiteY331" fmla="*/ 9660 h 10000"/>
                <a:gd name="connsiteX332" fmla="*/ 7868 w 10000"/>
                <a:gd name="connsiteY332" fmla="*/ 9588 h 10000"/>
                <a:gd name="connsiteX333" fmla="*/ 7884 w 10000"/>
                <a:gd name="connsiteY333" fmla="*/ 9536 h 10000"/>
                <a:gd name="connsiteX334" fmla="*/ 7897 w 10000"/>
                <a:gd name="connsiteY334" fmla="*/ 9380 h 10000"/>
                <a:gd name="connsiteX335" fmla="*/ 7884 w 10000"/>
                <a:gd name="connsiteY335" fmla="*/ 9236 h 10000"/>
                <a:gd name="connsiteX336" fmla="*/ 7793 w 10000"/>
                <a:gd name="connsiteY336" fmla="*/ 8865 h 10000"/>
                <a:gd name="connsiteX337" fmla="*/ 7831 w 10000"/>
                <a:gd name="connsiteY337" fmla="*/ 8741 h 10000"/>
                <a:gd name="connsiteX338" fmla="*/ 7928 w 10000"/>
                <a:gd name="connsiteY338" fmla="*/ 8844 h 10000"/>
                <a:gd name="connsiteX339" fmla="*/ 7912 w 10000"/>
                <a:gd name="connsiteY339" fmla="*/ 8318 h 10000"/>
                <a:gd name="connsiteX340" fmla="*/ 7906 w 10000"/>
                <a:gd name="connsiteY340" fmla="*/ 8019 h 10000"/>
                <a:gd name="connsiteX341" fmla="*/ 7846 w 10000"/>
                <a:gd name="connsiteY341" fmla="*/ 7802 h 10000"/>
                <a:gd name="connsiteX342" fmla="*/ 7723 w 10000"/>
                <a:gd name="connsiteY342" fmla="*/ 8050 h 10000"/>
                <a:gd name="connsiteX343" fmla="*/ 7619 w 10000"/>
                <a:gd name="connsiteY343" fmla="*/ 8019 h 10000"/>
                <a:gd name="connsiteX344" fmla="*/ 7528 w 10000"/>
                <a:gd name="connsiteY344" fmla="*/ 7699 h 10000"/>
                <a:gd name="connsiteX345" fmla="*/ 7355 w 10000"/>
                <a:gd name="connsiteY345" fmla="*/ 7482 h 10000"/>
                <a:gd name="connsiteX346" fmla="*/ 7279 w 10000"/>
                <a:gd name="connsiteY346" fmla="*/ 7482 h 10000"/>
                <a:gd name="connsiteX347" fmla="*/ 7080 w 10000"/>
                <a:gd name="connsiteY347" fmla="*/ 6781 h 10000"/>
                <a:gd name="connsiteX348" fmla="*/ 6901 w 10000"/>
                <a:gd name="connsiteY348" fmla="*/ 6460 h 10000"/>
                <a:gd name="connsiteX349" fmla="*/ 6724 w 10000"/>
                <a:gd name="connsiteY349" fmla="*/ 6336 h 10000"/>
                <a:gd name="connsiteX350" fmla="*/ 6583 w 10000"/>
                <a:gd name="connsiteY350" fmla="*/ 6408 h 10000"/>
                <a:gd name="connsiteX351" fmla="*/ 6567 w 10000"/>
                <a:gd name="connsiteY351" fmla="*/ 6585 h 10000"/>
                <a:gd name="connsiteX352" fmla="*/ 6664 w 10000"/>
                <a:gd name="connsiteY352" fmla="*/ 6760 h 10000"/>
                <a:gd name="connsiteX353" fmla="*/ 6636 w 10000"/>
                <a:gd name="connsiteY353" fmla="*/ 6935 h 10000"/>
                <a:gd name="connsiteX354" fmla="*/ 6636 w 10000"/>
                <a:gd name="connsiteY354" fmla="*/ 7399 h 10000"/>
                <a:gd name="connsiteX355" fmla="*/ 6560 w 10000"/>
                <a:gd name="connsiteY355" fmla="*/ 7482 h 10000"/>
                <a:gd name="connsiteX356" fmla="*/ 6485 w 10000"/>
                <a:gd name="connsiteY356" fmla="*/ 7378 h 10000"/>
                <a:gd name="connsiteX357" fmla="*/ 6400 w 10000"/>
                <a:gd name="connsiteY357" fmla="*/ 7399 h 10000"/>
                <a:gd name="connsiteX358" fmla="*/ 6334 w 10000"/>
                <a:gd name="connsiteY358" fmla="*/ 7275 h 10000"/>
                <a:gd name="connsiteX359" fmla="*/ 6258 w 10000"/>
                <a:gd name="connsiteY359" fmla="*/ 7358 h 10000"/>
                <a:gd name="connsiteX360" fmla="*/ 6220 w 10000"/>
                <a:gd name="connsiteY360" fmla="*/ 7524 h 10000"/>
                <a:gd name="connsiteX361" fmla="*/ 6081 w 10000"/>
                <a:gd name="connsiteY361" fmla="*/ 7606 h 10000"/>
                <a:gd name="connsiteX362" fmla="*/ 5892 w 10000"/>
                <a:gd name="connsiteY362" fmla="*/ 7575 h 10000"/>
                <a:gd name="connsiteX363" fmla="*/ 5855 w 10000"/>
                <a:gd name="connsiteY363" fmla="*/ 7327 h 10000"/>
                <a:gd name="connsiteX364" fmla="*/ 5643 w 10000"/>
                <a:gd name="connsiteY364" fmla="*/ 7255 h 10000"/>
                <a:gd name="connsiteX365" fmla="*/ 5539 w 10000"/>
                <a:gd name="connsiteY365" fmla="*/ 7358 h 10000"/>
                <a:gd name="connsiteX366" fmla="*/ 5416 w 10000"/>
                <a:gd name="connsiteY366" fmla="*/ 7203 h 10000"/>
                <a:gd name="connsiteX367" fmla="*/ 5372 w 10000"/>
                <a:gd name="connsiteY367" fmla="*/ 6904 h 10000"/>
                <a:gd name="connsiteX0" fmla="*/ 4864 w 10000"/>
                <a:gd name="connsiteY0" fmla="*/ 7183 h 10000"/>
                <a:gd name="connsiteX1" fmla="*/ 4713 w 10000"/>
                <a:gd name="connsiteY1" fmla="*/ 7152 h 10000"/>
                <a:gd name="connsiteX2" fmla="*/ 4464 w 10000"/>
                <a:gd name="connsiteY2" fmla="*/ 7647 h 10000"/>
                <a:gd name="connsiteX3" fmla="*/ 4410 w 10000"/>
                <a:gd name="connsiteY3" fmla="*/ 7606 h 10000"/>
                <a:gd name="connsiteX4" fmla="*/ 1610 w 10000"/>
                <a:gd name="connsiteY4" fmla="*/ 7183 h 10000"/>
                <a:gd name="connsiteX5" fmla="*/ 1655 w 10000"/>
                <a:gd name="connsiteY5" fmla="*/ 7430 h 10000"/>
                <a:gd name="connsiteX6" fmla="*/ 1604 w 10000"/>
                <a:gd name="connsiteY6" fmla="*/ 7430 h 10000"/>
                <a:gd name="connsiteX7" fmla="*/ 1551 w 10000"/>
                <a:gd name="connsiteY7" fmla="*/ 7255 h 10000"/>
                <a:gd name="connsiteX8" fmla="*/ 1513 w 10000"/>
                <a:gd name="connsiteY8" fmla="*/ 7430 h 10000"/>
                <a:gd name="connsiteX9" fmla="*/ 1519 w 10000"/>
                <a:gd name="connsiteY9" fmla="*/ 7854 h 10000"/>
                <a:gd name="connsiteX10" fmla="*/ 1604 w 10000"/>
                <a:gd name="connsiteY10" fmla="*/ 8070 h 10000"/>
                <a:gd name="connsiteX11" fmla="*/ 1648 w 10000"/>
                <a:gd name="connsiteY11" fmla="*/ 8019 h 10000"/>
                <a:gd name="connsiteX12" fmla="*/ 1741 w 10000"/>
                <a:gd name="connsiteY12" fmla="*/ 8493 h 10000"/>
                <a:gd name="connsiteX13" fmla="*/ 1610 w 10000"/>
                <a:gd name="connsiteY13" fmla="*/ 8669 h 10000"/>
                <a:gd name="connsiteX14" fmla="*/ 1595 w 10000"/>
                <a:gd name="connsiteY14" fmla="*/ 9009 h 10000"/>
                <a:gd name="connsiteX15" fmla="*/ 1664 w 10000"/>
                <a:gd name="connsiteY15" fmla="*/ 9236 h 10000"/>
                <a:gd name="connsiteX16" fmla="*/ 1664 w 10000"/>
                <a:gd name="connsiteY16" fmla="*/ 9484 h 10000"/>
                <a:gd name="connsiteX17" fmla="*/ 1769 w 10000"/>
                <a:gd name="connsiteY17" fmla="*/ 9835 h 10000"/>
                <a:gd name="connsiteX18" fmla="*/ 1703 w 10000"/>
                <a:gd name="connsiteY18" fmla="*/ 10000 h 10000"/>
                <a:gd name="connsiteX19" fmla="*/ 1604 w 10000"/>
                <a:gd name="connsiteY19" fmla="*/ 9753 h 10000"/>
                <a:gd name="connsiteX20" fmla="*/ 1465 w 10000"/>
                <a:gd name="connsiteY20" fmla="*/ 9505 h 10000"/>
                <a:gd name="connsiteX21" fmla="*/ 1406 w 10000"/>
                <a:gd name="connsiteY21" fmla="*/ 9588 h 10000"/>
                <a:gd name="connsiteX22" fmla="*/ 1308 w 10000"/>
                <a:gd name="connsiteY22" fmla="*/ 9380 h 10000"/>
                <a:gd name="connsiteX23" fmla="*/ 1097 w 10000"/>
                <a:gd name="connsiteY23" fmla="*/ 9339 h 10000"/>
                <a:gd name="connsiteX24" fmla="*/ 848 w 10000"/>
                <a:gd name="connsiteY24" fmla="*/ 8813 h 10000"/>
                <a:gd name="connsiteX25" fmla="*/ 914 w 10000"/>
                <a:gd name="connsiteY25" fmla="*/ 8721 h 10000"/>
                <a:gd name="connsiteX26" fmla="*/ 961 w 10000"/>
                <a:gd name="connsiteY26" fmla="*/ 8493 h 10000"/>
                <a:gd name="connsiteX27" fmla="*/ 908 w 10000"/>
                <a:gd name="connsiteY27" fmla="*/ 8390 h 10000"/>
                <a:gd name="connsiteX28" fmla="*/ 1021 w 10000"/>
                <a:gd name="connsiteY28" fmla="*/ 8245 h 10000"/>
                <a:gd name="connsiteX29" fmla="*/ 945 w 10000"/>
                <a:gd name="connsiteY29" fmla="*/ 8194 h 10000"/>
                <a:gd name="connsiteX30" fmla="*/ 958 w 10000"/>
                <a:gd name="connsiteY30" fmla="*/ 8091 h 10000"/>
                <a:gd name="connsiteX31" fmla="*/ 1005 w 10000"/>
                <a:gd name="connsiteY31" fmla="*/ 8111 h 10000"/>
                <a:gd name="connsiteX32" fmla="*/ 1059 w 10000"/>
                <a:gd name="connsiteY32" fmla="*/ 8019 h 10000"/>
                <a:gd name="connsiteX33" fmla="*/ 1034 w 10000"/>
                <a:gd name="connsiteY33" fmla="*/ 7864 h 10000"/>
                <a:gd name="connsiteX34" fmla="*/ 1043 w 10000"/>
                <a:gd name="connsiteY34" fmla="*/ 7503 h 10000"/>
                <a:gd name="connsiteX35" fmla="*/ 930 w 10000"/>
                <a:gd name="connsiteY35" fmla="*/ 7440 h 10000"/>
                <a:gd name="connsiteX36" fmla="*/ 832 w 10000"/>
                <a:gd name="connsiteY36" fmla="*/ 7286 h 10000"/>
                <a:gd name="connsiteX37" fmla="*/ 700 w 10000"/>
                <a:gd name="connsiteY37" fmla="*/ 7275 h 10000"/>
                <a:gd name="connsiteX38" fmla="*/ 684 w 10000"/>
                <a:gd name="connsiteY38" fmla="*/ 7090 h 10000"/>
                <a:gd name="connsiteX39" fmla="*/ 596 w 10000"/>
                <a:gd name="connsiteY39" fmla="*/ 6945 h 10000"/>
                <a:gd name="connsiteX40" fmla="*/ 615 w 10000"/>
                <a:gd name="connsiteY40" fmla="*/ 6822 h 10000"/>
                <a:gd name="connsiteX41" fmla="*/ 561 w 10000"/>
                <a:gd name="connsiteY41" fmla="*/ 6698 h 10000"/>
                <a:gd name="connsiteX42" fmla="*/ 457 w 10000"/>
                <a:gd name="connsiteY42" fmla="*/ 6698 h 10000"/>
                <a:gd name="connsiteX43" fmla="*/ 425 w 10000"/>
                <a:gd name="connsiteY43" fmla="*/ 6791 h 10000"/>
                <a:gd name="connsiteX44" fmla="*/ 400 w 10000"/>
                <a:gd name="connsiteY44" fmla="*/ 6750 h 10000"/>
                <a:gd name="connsiteX45" fmla="*/ 378 w 10000"/>
                <a:gd name="connsiteY45" fmla="*/ 6439 h 10000"/>
                <a:gd name="connsiteX46" fmla="*/ 419 w 10000"/>
                <a:gd name="connsiteY46" fmla="*/ 6470 h 10000"/>
                <a:gd name="connsiteX47" fmla="*/ 466 w 10000"/>
                <a:gd name="connsiteY47" fmla="*/ 6347 h 10000"/>
                <a:gd name="connsiteX48" fmla="*/ 400 w 10000"/>
                <a:gd name="connsiteY48" fmla="*/ 6233 h 10000"/>
                <a:gd name="connsiteX49" fmla="*/ 315 w 10000"/>
                <a:gd name="connsiteY49" fmla="*/ 6017 h 10000"/>
                <a:gd name="connsiteX50" fmla="*/ 334 w 10000"/>
                <a:gd name="connsiteY50" fmla="*/ 5821 h 10000"/>
                <a:gd name="connsiteX51" fmla="*/ 274 w 10000"/>
                <a:gd name="connsiteY51" fmla="*/ 5697 h 10000"/>
                <a:gd name="connsiteX52" fmla="*/ 227 w 10000"/>
                <a:gd name="connsiteY52" fmla="*/ 5728 h 10000"/>
                <a:gd name="connsiteX53" fmla="*/ 202 w 10000"/>
                <a:gd name="connsiteY53" fmla="*/ 5604 h 10000"/>
                <a:gd name="connsiteX54" fmla="*/ 164 w 10000"/>
                <a:gd name="connsiteY54" fmla="*/ 5645 h 10000"/>
                <a:gd name="connsiteX55" fmla="*/ 117 w 10000"/>
                <a:gd name="connsiteY55" fmla="*/ 5604 h 10000"/>
                <a:gd name="connsiteX56" fmla="*/ 69 w 10000"/>
                <a:gd name="connsiteY56" fmla="*/ 5181 h 10000"/>
                <a:gd name="connsiteX57" fmla="*/ 85 w 10000"/>
                <a:gd name="connsiteY57" fmla="*/ 5057 h 10000"/>
                <a:gd name="connsiteX58" fmla="*/ 41 w 10000"/>
                <a:gd name="connsiteY58" fmla="*/ 4892 h 10000"/>
                <a:gd name="connsiteX59" fmla="*/ 66 w 10000"/>
                <a:gd name="connsiteY59" fmla="*/ 4655 h 10000"/>
                <a:gd name="connsiteX60" fmla="*/ 211 w 10000"/>
                <a:gd name="connsiteY60" fmla="*/ 4510 h 10000"/>
                <a:gd name="connsiteX61" fmla="*/ 129 w 10000"/>
                <a:gd name="connsiteY61" fmla="*/ 4406 h 10000"/>
                <a:gd name="connsiteX62" fmla="*/ 82 w 10000"/>
                <a:gd name="connsiteY62" fmla="*/ 4283 h 10000"/>
                <a:gd name="connsiteX63" fmla="*/ 205 w 10000"/>
                <a:gd name="connsiteY63" fmla="*/ 3912 h 10000"/>
                <a:gd name="connsiteX64" fmla="*/ 249 w 10000"/>
                <a:gd name="connsiteY64" fmla="*/ 3664 h 10000"/>
                <a:gd name="connsiteX65" fmla="*/ 151 w 10000"/>
                <a:gd name="connsiteY65" fmla="*/ 3488 h 10000"/>
                <a:gd name="connsiteX66" fmla="*/ 189 w 10000"/>
                <a:gd name="connsiteY66" fmla="*/ 3344 h 10000"/>
                <a:gd name="connsiteX67" fmla="*/ 113 w 10000"/>
                <a:gd name="connsiteY67" fmla="*/ 3148 h 10000"/>
                <a:gd name="connsiteX68" fmla="*/ 113 w 10000"/>
                <a:gd name="connsiteY68" fmla="*/ 2972 h 10000"/>
                <a:gd name="connsiteX69" fmla="*/ 60 w 10000"/>
                <a:gd name="connsiteY69" fmla="*/ 2622 h 10000"/>
                <a:gd name="connsiteX70" fmla="*/ 98 w 10000"/>
                <a:gd name="connsiteY70" fmla="*/ 2404 h 10000"/>
                <a:gd name="connsiteX71" fmla="*/ 38 w 10000"/>
                <a:gd name="connsiteY71" fmla="*/ 2301 h 10000"/>
                <a:gd name="connsiteX72" fmla="*/ 0 w 10000"/>
                <a:gd name="connsiteY72" fmla="*/ 2178 h 10000"/>
                <a:gd name="connsiteX73" fmla="*/ 54 w 10000"/>
                <a:gd name="connsiteY73" fmla="*/ 1951 h 10000"/>
                <a:gd name="connsiteX74" fmla="*/ 120 w 10000"/>
                <a:gd name="connsiteY74" fmla="*/ 1910 h 10000"/>
                <a:gd name="connsiteX75" fmla="*/ 195 w 10000"/>
                <a:gd name="connsiteY75" fmla="*/ 1858 h 10000"/>
                <a:gd name="connsiteX76" fmla="*/ 309 w 10000"/>
                <a:gd name="connsiteY76" fmla="*/ 1951 h 10000"/>
                <a:gd name="connsiteX77" fmla="*/ 482 w 10000"/>
                <a:gd name="connsiteY77" fmla="*/ 2054 h 10000"/>
                <a:gd name="connsiteX78" fmla="*/ 633 w 10000"/>
                <a:gd name="connsiteY78" fmla="*/ 2229 h 10000"/>
                <a:gd name="connsiteX79" fmla="*/ 756 w 10000"/>
                <a:gd name="connsiteY79" fmla="*/ 2373 h 10000"/>
                <a:gd name="connsiteX80" fmla="*/ 725 w 10000"/>
                <a:gd name="connsiteY80" fmla="*/ 2777 h 10000"/>
                <a:gd name="connsiteX81" fmla="*/ 362 w 10000"/>
                <a:gd name="connsiteY81" fmla="*/ 2673 h 10000"/>
                <a:gd name="connsiteX82" fmla="*/ 243 w 10000"/>
                <a:gd name="connsiteY82" fmla="*/ 2550 h 10000"/>
                <a:gd name="connsiteX83" fmla="*/ 287 w 10000"/>
                <a:gd name="connsiteY83" fmla="*/ 2622 h 10000"/>
                <a:gd name="connsiteX84" fmla="*/ 331 w 10000"/>
                <a:gd name="connsiteY84" fmla="*/ 2797 h 10000"/>
                <a:gd name="connsiteX85" fmla="*/ 400 w 10000"/>
                <a:gd name="connsiteY85" fmla="*/ 2921 h 10000"/>
                <a:gd name="connsiteX86" fmla="*/ 416 w 10000"/>
                <a:gd name="connsiteY86" fmla="*/ 3189 h 10000"/>
                <a:gd name="connsiteX87" fmla="*/ 507 w 10000"/>
                <a:gd name="connsiteY87" fmla="*/ 3313 h 10000"/>
                <a:gd name="connsiteX88" fmla="*/ 583 w 10000"/>
                <a:gd name="connsiteY88" fmla="*/ 3436 h 10000"/>
                <a:gd name="connsiteX89" fmla="*/ 605 w 10000"/>
                <a:gd name="connsiteY89" fmla="*/ 3467 h 10000"/>
                <a:gd name="connsiteX90" fmla="*/ 649 w 10000"/>
                <a:gd name="connsiteY90" fmla="*/ 3436 h 10000"/>
                <a:gd name="connsiteX91" fmla="*/ 633 w 10000"/>
                <a:gd name="connsiteY91" fmla="*/ 3364 h 10000"/>
                <a:gd name="connsiteX92" fmla="*/ 545 w 10000"/>
                <a:gd name="connsiteY92" fmla="*/ 3189 h 10000"/>
                <a:gd name="connsiteX93" fmla="*/ 801 w 10000"/>
                <a:gd name="connsiteY93" fmla="*/ 3344 h 10000"/>
                <a:gd name="connsiteX94" fmla="*/ 810 w 10000"/>
                <a:gd name="connsiteY94" fmla="*/ 3271 h 10000"/>
                <a:gd name="connsiteX95" fmla="*/ 785 w 10000"/>
                <a:gd name="connsiteY95" fmla="*/ 3220 h 10000"/>
                <a:gd name="connsiteX96" fmla="*/ 741 w 10000"/>
                <a:gd name="connsiteY96" fmla="*/ 2993 h 10000"/>
                <a:gd name="connsiteX97" fmla="*/ 870 w 10000"/>
                <a:gd name="connsiteY97" fmla="*/ 2777 h 10000"/>
                <a:gd name="connsiteX98" fmla="*/ 968 w 10000"/>
                <a:gd name="connsiteY98" fmla="*/ 2921 h 10000"/>
                <a:gd name="connsiteX99" fmla="*/ 999 w 10000"/>
                <a:gd name="connsiteY99" fmla="*/ 2725 h 10000"/>
                <a:gd name="connsiteX100" fmla="*/ 952 w 10000"/>
                <a:gd name="connsiteY100" fmla="*/ 2653 h 10000"/>
                <a:gd name="connsiteX101" fmla="*/ 936 w 10000"/>
                <a:gd name="connsiteY101" fmla="*/ 2281 h 10000"/>
                <a:gd name="connsiteX102" fmla="*/ 914 w 10000"/>
                <a:gd name="connsiteY102" fmla="*/ 2229 h 10000"/>
                <a:gd name="connsiteX103" fmla="*/ 1037 w 10000"/>
                <a:gd name="connsiteY103" fmla="*/ 2250 h 10000"/>
                <a:gd name="connsiteX104" fmla="*/ 1087 w 10000"/>
                <a:gd name="connsiteY104" fmla="*/ 2404 h 10000"/>
                <a:gd name="connsiteX105" fmla="*/ 1021 w 10000"/>
                <a:gd name="connsiteY105" fmla="*/ 2529 h 10000"/>
                <a:gd name="connsiteX106" fmla="*/ 1135 w 10000"/>
                <a:gd name="connsiteY106" fmla="*/ 2694 h 10000"/>
                <a:gd name="connsiteX107" fmla="*/ 1226 w 10000"/>
                <a:gd name="connsiteY107" fmla="*/ 2529 h 10000"/>
                <a:gd name="connsiteX108" fmla="*/ 1339 w 10000"/>
                <a:gd name="connsiteY108" fmla="*/ 2301 h 10000"/>
                <a:gd name="connsiteX109" fmla="*/ 1459 w 10000"/>
                <a:gd name="connsiteY109" fmla="*/ 2157 h 10000"/>
                <a:gd name="connsiteX110" fmla="*/ 1497 w 10000"/>
                <a:gd name="connsiteY110" fmla="*/ 2250 h 10000"/>
                <a:gd name="connsiteX111" fmla="*/ 1807 w 10000"/>
                <a:gd name="connsiteY111" fmla="*/ 2054 h 10000"/>
                <a:gd name="connsiteX112" fmla="*/ 1870 w 10000"/>
                <a:gd name="connsiteY112" fmla="*/ 2250 h 10000"/>
                <a:gd name="connsiteX113" fmla="*/ 1860 w 10000"/>
                <a:gd name="connsiteY113" fmla="*/ 2002 h 10000"/>
                <a:gd name="connsiteX114" fmla="*/ 1778 w 10000"/>
                <a:gd name="connsiteY114" fmla="*/ 1786 h 10000"/>
                <a:gd name="connsiteX115" fmla="*/ 1763 w 10000"/>
                <a:gd name="connsiteY115" fmla="*/ 1703 h 10000"/>
                <a:gd name="connsiteX116" fmla="*/ 1823 w 10000"/>
                <a:gd name="connsiteY116" fmla="*/ 1786 h 10000"/>
                <a:gd name="connsiteX117" fmla="*/ 2034 w 10000"/>
                <a:gd name="connsiteY117" fmla="*/ 1951 h 10000"/>
                <a:gd name="connsiteX118" fmla="*/ 2270 w 10000"/>
                <a:gd name="connsiteY118" fmla="*/ 2126 h 10000"/>
                <a:gd name="connsiteX119" fmla="*/ 2384 w 10000"/>
                <a:gd name="connsiteY119" fmla="*/ 2250 h 10000"/>
                <a:gd name="connsiteX120" fmla="*/ 2421 w 10000"/>
                <a:gd name="connsiteY120" fmla="*/ 2074 h 10000"/>
                <a:gd name="connsiteX121" fmla="*/ 2368 w 10000"/>
                <a:gd name="connsiteY121" fmla="*/ 2033 h 10000"/>
                <a:gd name="connsiteX122" fmla="*/ 2299 w 10000"/>
                <a:gd name="connsiteY122" fmla="*/ 1930 h 10000"/>
                <a:gd name="connsiteX123" fmla="*/ 2254 w 10000"/>
                <a:gd name="connsiteY123" fmla="*/ 1734 h 10000"/>
                <a:gd name="connsiteX124" fmla="*/ 2185 w 10000"/>
                <a:gd name="connsiteY124" fmla="*/ 1486 h 10000"/>
                <a:gd name="connsiteX125" fmla="*/ 2210 w 10000"/>
                <a:gd name="connsiteY125" fmla="*/ 1434 h 10000"/>
                <a:gd name="connsiteX126" fmla="*/ 2232 w 10000"/>
                <a:gd name="connsiteY126" fmla="*/ 1455 h 10000"/>
                <a:gd name="connsiteX127" fmla="*/ 2292 w 10000"/>
                <a:gd name="connsiteY127" fmla="*/ 1115 h 10000"/>
                <a:gd name="connsiteX128" fmla="*/ 2443 w 10000"/>
                <a:gd name="connsiteY128" fmla="*/ 1135 h 10000"/>
                <a:gd name="connsiteX129" fmla="*/ 2488 w 10000"/>
                <a:gd name="connsiteY129" fmla="*/ 1311 h 10000"/>
                <a:gd name="connsiteX130" fmla="*/ 2519 w 10000"/>
                <a:gd name="connsiteY130" fmla="*/ 1538 h 10000"/>
                <a:gd name="connsiteX131" fmla="*/ 2573 w 10000"/>
                <a:gd name="connsiteY131" fmla="*/ 1734 h 10000"/>
                <a:gd name="connsiteX132" fmla="*/ 2670 w 10000"/>
                <a:gd name="connsiteY132" fmla="*/ 2157 h 10000"/>
                <a:gd name="connsiteX133" fmla="*/ 2481 w 10000"/>
                <a:gd name="connsiteY133" fmla="*/ 2673 h 10000"/>
                <a:gd name="connsiteX134" fmla="*/ 2557 w 10000"/>
                <a:gd name="connsiteY134" fmla="*/ 2746 h 10000"/>
                <a:gd name="connsiteX135" fmla="*/ 2655 w 10000"/>
                <a:gd name="connsiteY135" fmla="*/ 2818 h 10000"/>
                <a:gd name="connsiteX136" fmla="*/ 2784 w 10000"/>
                <a:gd name="connsiteY136" fmla="*/ 2622 h 10000"/>
                <a:gd name="connsiteX137" fmla="*/ 2790 w 10000"/>
                <a:gd name="connsiteY137" fmla="*/ 2404 h 10000"/>
                <a:gd name="connsiteX138" fmla="*/ 2746 w 10000"/>
                <a:gd name="connsiteY138" fmla="*/ 2301 h 10000"/>
                <a:gd name="connsiteX139" fmla="*/ 2919 w 10000"/>
                <a:gd name="connsiteY139" fmla="*/ 2250 h 10000"/>
                <a:gd name="connsiteX140" fmla="*/ 2989 w 10000"/>
                <a:gd name="connsiteY140" fmla="*/ 2497 h 10000"/>
                <a:gd name="connsiteX141" fmla="*/ 2989 w 10000"/>
                <a:gd name="connsiteY141" fmla="*/ 2425 h 10000"/>
                <a:gd name="connsiteX142" fmla="*/ 2973 w 10000"/>
                <a:gd name="connsiteY142" fmla="*/ 2353 h 10000"/>
                <a:gd name="connsiteX143" fmla="*/ 2967 w 10000"/>
                <a:gd name="connsiteY143" fmla="*/ 2178 h 10000"/>
                <a:gd name="connsiteX144" fmla="*/ 2800 w 10000"/>
                <a:gd name="connsiteY144" fmla="*/ 1930 h 10000"/>
                <a:gd name="connsiteX145" fmla="*/ 2670 w 10000"/>
                <a:gd name="connsiteY145" fmla="*/ 2002 h 10000"/>
                <a:gd name="connsiteX146" fmla="*/ 2617 w 10000"/>
                <a:gd name="connsiteY146" fmla="*/ 1683 h 10000"/>
                <a:gd name="connsiteX147" fmla="*/ 2563 w 10000"/>
                <a:gd name="connsiteY147" fmla="*/ 1507 h 10000"/>
                <a:gd name="connsiteX148" fmla="*/ 2617 w 10000"/>
                <a:gd name="connsiteY148" fmla="*/ 1331 h 10000"/>
                <a:gd name="connsiteX149" fmla="*/ 2611 w 10000"/>
                <a:gd name="connsiteY149" fmla="*/ 1166 h 10000"/>
                <a:gd name="connsiteX150" fmla="*/ 2588 w 10000"/>
                <a:gd name="connsiteY150" fmla="*/ 1115 h 10000"/>
                <a:gd name="connsiteX151" fmla="*/ 2626 w 10000"/>
                <a:gd name="connsiteY151" fmla="*/ 1115 h 10000"/>
                <a:gd name="connsiteX152" fmla="*/ 2670 w 10000"/>
                <a:gd name="connsiteY152" fmla="*/ 1455 h 10000"/>
                <a:gd name="connsiteX153" fmla="*/ 2891 w 10000"/>
                <a:gd name="connsiteY153" fmla="*/ 1662 h 10000"/>
                <a:gd name="connsiteX154" fmla="*/ 2724 w 10000"/>
                <a:gd name="connsiteY154" fmla="*/ 1383 h 10000"/>
                <a:gd name="connsiteX155" fmla="*/ 3049 w 10000"/>
                <a:gd name="connsiteY155" fmla="*/ 1383 h 10000"/>
                <a:gd name="connsiteX156" fmla="*/ 3102 w 10000"/>
                <a:gd name="connsiteY156" fmla="*/ 1362 h 10000"/>
                <a:gd name="connsiteX157" fmla="*/ 2897 w 10000"/>
                <a:gd name="connsiteY157" fmla="*/ 1115 h 10000"/>
                <a:gd name="connsiteX158" fmla="*/ 2951 w 10000"/>
                <a:gd name="connsiteY158" fmla="*/ 888 h 10000"/>
                <a:gd name="connsiteX159" fmla="*/ 3178 w 10000"/>
                <a:gd name="connsiteY159" fmla="*/ 888 h 10000"/>
                <a:gd name="connsiteX160" fmla="*/ 3156 w 10000"/>
                <a:gd name="connsiteY160" fmla="*/ 713 h 10000"/>
                <a:gd name="connsiteX161" fmla="*/ 3231 w 10000"/>
                <a:gd name="connsiteY161" fmla="*/ 589 h 10000"/>
                <a:gd name="connsiteX162" fmla="*/ 3276 w 10000"/>
                <a:gd name="connsiteY162" fmla="*/ 548 h 10000"/>
                <a:gd name="connsiteX163" fmla="*/ 3443 w 10000"/>
                <a:gd name="connsiteY163" fmla="*/ 423 h 10000"/>
                <a:gd name="connsiteX164" fmla="*/ 3487 w 10000"/>
                <a:gd name="connsiteY164" fmla="*/ 371 h 10000"/>
                <a:gd name="connsiteX165" fmla="*/ 3480 w 10000"/>
                <a:gd name="connsiteY165" fmla="*/ 444 h 10000"/>
                <a:gd name="connsiteX166" fmla="*/ 3660 w 10000"/>
                <a:gd name="connsiteY166" fmla="*/ 371 h 10000"/>
                <a:gd name="connsiteX167" fmla="*/ 3805 w 10000"/>
                <a:gd name="connsiteY167" fmla="*/ 248 h 10000"/>
                <a:gd name="connsiteX168" fmla="*/ 3827 w 10000"/>
                <a:gd name="connsiteY168" fmla="*/ 0 h 10000"/>
                <a:gd name="connsiteX169" fmla="*/ 3988 w 10000"/>
                <a:gd name="connsiteY169" fmla="*/ 21 h 10000"/>
                <a:gd name="connsiteX170" fmla="*/ 3978 w 10000"/>
                <a:gd name="connsiteY170" fmla="*/ 93 h 10000"/>
                <a:gd name="connsiteX171" fmla="*/ 3988 w 10000"/>
                <a:gd name="connsiteY171" fmla="*/ 176 h 10000"/>
                <a:gd name="connsiteX172" fmla="*/ 4085 w 10000"/>
                <a:gd name="connsiteY172" fmla="*/ 248 h 10000"/>
                <a:gd name="connsiteX173" fmla="*/ 4379 w 10000"/>
                <a:gd name="connsiteY173" fmla="*/ 268 h 10000"/>
                <a:gd name="connsiteX174" fmla="*/ 4539 w 10000"/>
                <a:gd name="connsiteY174" fmla="*/ 392 h 10000"/>
                <a:gd name="connsiteX175" fmla="*/ 4486 w 10000"/>
                <a:gd name="connsiteY175" fmla="*/ 795 h 10000"/>
                <a:gd name="connsiteX176" fmla="*/ 4426 w 10000"/>
                <a:gd name="connsiteY176" fmla="*/ 919 h 10000"/>
                <a:gd name="connsiteX177" fmla="*/ 4356 w 10000"/>
                <a:gd name="connsiteY177" fmla="*/ 1043 h 10000"/>
                <a:gd name="connsiteX178" fmla="*/ 4372 w 10000"/>
                <a:gd name="connsiteY178" fmla="*/ 1115 h 10000"/>
                <a:gd name="connsiteX179" fmla="*/ 4583 w 10000"/>
                <a:gd name="connsiteY179" fmla="*/ 919 h 10000"/>
                <a:gd name="connsiteX180" fmla="*/ 5060 w 10000"/>
                <a:gd name="connsiteY180" fmla="*/ 991 h 10000"/>
                <a:gd name="connsiteX181" fmla="*/ 5108 w 10000"/>
                <a:gd name="connsiteY181" fmla="*/ 1063 h 10000"/>
                <a:gd name="connsiteX182" fmla="*/ 5212 w 10000"/>
                <a:gd name="connsiteY182" fmla="*/ 1187 h 10000"/>
                <a:gd name="connsiteX183" fmla="*/ 5357 w 10000"/>
                <a:gd name="connsiteY183" fmla="*/ 919 h 10000"/>
                <a:gd name="connsiteX184" fmla="*/ 5577 w 10000"/>
                <a:gd name="connsiteY184" fmla="*/ 1063 h 10000"/>
                <a:gd name="connsiteX185" fmla="*/ 5643 w 10000"/>
                <a:gd name="connsiteY185" fmla="*/ 1115 h 10000"/>
                <a:gd name="connsiteX186" fmla="*/ 5697 w 10000"/>
                <a:gd name="connsiteY186" fmla="*/ 1166 h 10000"/>
                <a:gd name="connsiteX187" fmla="*/ 5908 w 10000"/>
                <a:gd name="connsiteY187" fmla="*/ 1631 h 10000"/>
                <a:gd name="connsiteX188" fmla="*/ 5984 w 10000"/>
                <a:gd name="connsiteY188" fmla="*/ 1611 h 10000"/>
                <a:gd name="connsiteX189" fmla="*/ 5977 w 10000"/>
                <a:gd name="connsiteY189" fmla="*/ 1507 h 10000"/>
                <a:gd name="connsiteX190" fmla="*/ 5984 w 10000"/>
                <a:gd name="connsiteY190" fmla="*/ 1383 h 10000"/>
                <a:gd name="connsiteX191" fmla="*/ 6091 w 10000"/>
                <a:gd name="connsiteY191" fmla="*/ 1486 h 10000"/>
                <a:gd name="connsiteX192" fmla="*/ 6264 w 10000"/>
                <a:gd name="connsiteY192" fmla="*/ 1507 h 10000"/>
                <a:gd name="connsiteX193" fmla="*/ 6409 w 10000"/>
                <a:gd name="connsiteY193" fmla="*/ 1455 h 10000"/>
                <a:gd name="connsiteX194" fmla="*/ 6340 w 10000"/>
                <a:gd name="connsiteY194" fmla="*/ 1362 h 10000"/>
                <a:gd name="connsiteX195" fmla="*/ 6431 w 10000"/>
                <a:gd name="connsiteY195" fmla="*/ 1084 h 10000"/>
                <a:gd name="connsiteX196" fmla="*/ 6687 w 10000"/>
                <a:gd name="connsiteY196" fmla="*/ 1207 h 10000"/>
                <a:gd name="connsiteX197" fmla="*/ 6945 w 10000"/>
                <a:gd name="connsiteY197" fmla="*/ 1331 h 10000"/>
                <a:gd name="connsiteX198" fmla="*/ 6967 w 10000"/>
                <a:gd name="connsiteY198" fmla="*/ 1362 h 10000"/>
                <a:gd name="connsiteX199" fmla="*/ 7194 w 10000"/>
                <a:gd name="connsiteY199" fmla="*/ 1611 h 10000"/>
                <a:gd name="connsiteX200" fmla="*/ 7367 w 10000"/>
                <a:gd name="connsiteY200" fmla="*/ 1507 h 10000"/>
                <a:gd name="connsiteX201" fmla="*/ 7582 w 10000"/>
                <a:gd name="connsiteY201" fmla="*/ 1538 h 10000"/>
                <a:gd name="connsiteX202" fmla="*/ 7657 w 10000"/>
                <a:gd name="connsiteY202" fmla="*/ 1611 h 10000"/>
                <a:gd name="connsiteX203" fmla="*/ 7928 w 10000"/>
                <a:gd name="connsiteY203" fmla="*/ 1930 h 10000"/>
                <a:gd name="connsiteX204" fmla="*/ 8231 w 10000"/>
                <a:gd name="connsiteY204" fmla="*/ 1879 h 10000"/>
                <a:gd name="connsiteX205" fmla="*/ 8339 w 10000"/>
                <a:gd name="connsiteY205" fmla="*/ 2033 h 10000"/>
                <a:gd name="connsiteX206" fmla="*/ 8490 w 10000"/>
                <a:gd name="connsiteY206" fmla="*/ 2157 h 10000"/>
                <a:gd name="connsiteX207" fmla="*/ 8519 w 10000"/>
                <a:gd name="connsiteY207" fmla="*/ 2105 h 10000"/>
                <a:gd name="connsiteX208" fmla="*/ 8497 w 10000"/>
                <a:gd name="connsiteY208" fmla="*/ 2074 h 10000"/>
                <a:gd name="connsiteX209" fmla="*/ 8383 w 10000"/>
                <a:gd name="connsiteY209" fmla="*/ 1930 h 10000"/>
                <a:gd name="connsiteX210" fmla="*/ 8465 w 10000"/>
                <a:gd name="connsiteY210" fmla="*/ 1755 h 10000"/>
                <a:gd name="connsiteX211" fmla="*/ 8664 w 10000"/>
                <a:gd name="connsiteY211" fmla="*/ 1910 h 10000"/>
                <a:gd name="connsiteX212" fmla="*/ 8950 w 10000"/>
                <a:gd name="connsiteY212" fmla="*/ 1982 h 10000"/>
                <a:gd name="connsiteX213" fmla="*/ 9206 w 10000"/>
                <a:gd name="connsiteY213" fmla="*/ 2260 h 10000"/>
                <a:gd name="connsiteX214" fmla="*/ 9344 w 10000"/>
                <a:gd name="connsiteY214" fmla="*/ 2332 h 10000"/>
                <a:gd name="connsiteX215" fmla="*/ 9451 w 10000"/>
                <a:gd name="connsiteY215" fmla="*/ 2446 h 10000"/>
                <a:gd name="connsiteX216" fmla="*/ 9574 w 10000"/>
                <a:gd name="connsiteY216" fmla="*/ 2632 h 10000"/>
                <a:gd name="connsiteX217" fmla="*/ 9631 w 10000"/>
                <a:gd name="connsiteY217" fmla="*/ 2756 h 10000"/>
                <a:gd name="connsiteX218" fmla="*/ 9726 w 10000"/>
                <a:gd name="connsiteY218" fmla="*/ 2787 h 10000"/>
                <a:gd name="connsiteX219" fmla="*/ 9590 w 10000"/>
                <a:gd name="connsiteY219" fmla="*/ 2570 h 10000"/>
                <a:gd name="connsiteX220" fmla="*/ 9915 w 10000"/>
                <a:gd name="connsiteY220" fmla="*/ 2756 h 10000"/>
                <a:gd name="connsiteX221" fmla="*/ 10000 w 10000"/>
                <a:gd name="connsiteY221" fmla="*/ 3014 h 10000"/>
                <a:gd name="connsiteX222" fmla="*/ 9934 w 10000"/>
                <a:gd name="connsiteY222" fmla="*/ 2941 h 10000"/>
                <a:gd name="connsiteX223" fmla="*/ 9874 w 10000"/>
                <a:gd name="connsiteY223" fmla="*/ 2952 h 10000"/>
                <a:gd name="connsiteX224" fmla="*/ 10000 w 10000"/>
                <a:gd name="connsiteY224" fmla="*/ 3292 h 10000"/>
                <a:gd name="connsiteX225" fmla="*/ 9845 w 10000"/>
                <a:gd name="connsiteY225" fmla="*/ 3220 h 10000"/>
                <a:gd name="connsiteX226" fmla="*/ 9745 w 10000"/>
                <a:gd name="connsiteY226" fmla="*/ 3075 h 10000"/>
                <a:gd name="connsiteX227" fmla="*/ 9641 w 10000"/>
                <a:gd name="connsiteY227" fmla="*/ 2972 h 10000"/>
                <a:gd name="connsiteX228" fmla="*/ 9555 w 10000"/>
                <a:gd name="connsiteY228" fmla="*/ 3003 h 10000"/>
                <a:gd name="connsiteX229" fmla="*/ 9470 w 10000"/>
                <a:gd name="connsiteY229" fmla="*/ 2787 h 10000"/>
                <a:gd name="connsiteX230" fmla="*/ 9366 w 10000"/>
                <a:gd name="connsiteY230" fmla="*/ 2725 h 10000"/>
                <a:gd name="connsiteX231" fmla="*/ 9461 w 10000"/>
                <a:gd name="connsiteY231" fmla="*/ 2972 h 10000"/>
                <a:gd name="connsiteX232" fmla="*/ 9470 w 10000"/>
                <a:gd name="connsiteY232" fmla="*/ 3230 h 10000"/>
                <a:gd name="connsiteX233" fmla="*/ 9288 w 10000"/>
                <a:gd name="connsiteY233" fmla="*/ 3065 h 10000"/>
                <a:gd name="connsiteX234" fmla="*/ 9262 w 10000"/>
                <a:gd name="connsiteY234" fmla="*/ 3230 h 10000"/>
                <a:gd name="connsiteX235" fmla="*/ 9363 w 10000"/>
                <a:gd name="connsiteY235" fmla="*/ 3230 h 10000"/>
                <a:gd name="connsiteX236" fmla="*/ 9451 w 10000"/>
                <a:gd name="connsiteY236" fmla="*/ 3354 h 10000"/>
                <a:gd name="connsiteX237" fmla="*/ 9659 w 10000"/>
                <a:gd name="connsiteY237" fmla="*/ 3685 h 10000"/>
                <a:gd name="connsiteX238" fmla="*/ 9735 w 10000"/>
                <a:gd name="connsiteY238" fmla="*/ 3839 h 10000"/>
                <a:gd name="connsiteX239" fmla="*/ 9552 w 10000"/>
                <a:gd name="connsiteY239" fmla="*/ 3757 h 10000"/>
                <a:gd name="connsiteX240" fmla="*/ 9451 w 10000"/>
                <a:gd name="connsiteY240" fmla="*/ 4025 h 10000"/>
                <a:gd name="connsiteX241" fmla="*/ 9385 w 10000"/>
                <a:gd name="connsiteY241" fmla="*/ 4283 h 10000"/>
                <a:gd name="connsiteX242" fmla="*/ 9376 w 10000"/>
                <a:gd name="connsiteY242" fmla="*/ 4499 h 10000"/>
                <a:gd name="connsiteX243" fmla="*/ 9335 w 10000"/>
                <a:gd name="connsiteY243" fmla="*/ 4303 h 10000"/>
                <a:gd name="connsiteX244" fmla="*/ 9149 w 10000"/>
                <a:gd name="connsiteY244" fmla="*/ 4314 h 10000"/>
                <a:gd name="connsiteX245" fmla="*/ 9155 w 10000"/>
                <a:gd name="connsiteY245" fmla="*/ 4531 h 10000"/>
                <a:gd name="connsiteX246" fmla="*/ 9061 w 10000"/>
                <a:gd name="connsiteY246" fmla="*/ 4365 h 10000"/>
                <a:gd name="connsiteX247" fmla="*/ 9054 w 10000"/>
                <a:gd name="connsiteY247" fmla="*/ 4521 h 10000"/>
                <a:gd name="connsiteX248" fmla="*/ 8998 w 10000"/>
                <a:gd name="connsiteY248" fmla="*/ 4458 h 10000"/>
                <a:gd name="connsiteX249" fmla="*/ 8966 w 10000"/>
                <a:gd name="connsiteY249" fmla="*/ 4562 h 10000"/>
                <a:gd name="connsiteX250" fmla="*/ 9007 w 10000"/>
                <a:gd name="connsiteY250" fmla="*/ 4686 h 10000"/>
                <a:gd name="connsiteX251" fmla="*/ 9004 w 10000"/>
                <a:gd name="connsiteY251" fmla="*/ 4995 h 10000"/>
                <a:gd name="connsiteX252" fmla="*/ 9073 w 10000"/>
                <a:gd name="connsiteY252" fmla="*/ 5211 h 10000"/>
                <a:gd name="connsiteX253" fmla="*/ 9130 w 10000"/>
                <a:gd name="connsiteY253" fmla="*/ 5150 h 10000"/>
                <a:gd name="connsiteX254" fmla="*/ 9158 w 10000"/>
                <a:gd name="connsiteY254" fmla="*/ 5211 h 10000"/>
                <a:gd name="connsiteX255" fmla="*/ 9231 w 10000"/>
                <a:gd name="connsiteY255" fmla="*/ 5428 h 10000"/>
                <a:gd name="connsiteX256" fmla="*/ 9215 w 10000"/>
                <a:gd name="connsiteY256" fmla="*/ 5604 h 10000"/>
                <a:gd name="connsiteX257" fmla="*/ 9221 w 10000"/>
                <a:gd name="connsiteY257" fmla="*/ 5769 h 10000"/>
                <a:gd name="connsiteX258" fmla="*/ 9269 w 10000"/>
                <a:gd name="connsiteY258" fmla="*/ 5883 h 10000"/>
                <a:gd name="connsiteX259" fmla="*/ 9344 w 10000"/>
                <a:gd name="connsiteY259" fmla="*/ 6068 h 10000"/>
                <a:gd name="connsiteX260" fmla="*/ 9269 w 10000"/>
                <a:gd name="connsiteY260" fmla="*/ 6068 h 10000"/>
                <a:gd name="connsiteX261" fmla="*/ 9253 w 10000"/>
                <a:gd name="connsiteY261" fmla="*/ 6223 h 10000"/>
                <a:gd name="connsiteX262" fmla="*/ 9319 w 10000"/>
                <a:gd name="connsiteY262" fmla="*/ 6408 h 10000"/>
                <a:gd name="connsiteX263" fmla="*/ 9250 w 10000"/>
                <a:gd name="connsiteY263" fmla="*/ 6502 h 10000"/>
                <a:gd name="connsiteX264" fmla="*/ 9297 w 10000"/>
                <a:gd name="connsiteY264" fmla="*/ 6729 h 10000"/>
                <a:gd name="connsiteX265" fmla="*/ 9281 w 10000"/>
                <a:gd name="connsiteY265" fmla="*/ 7069 h 10000"/>
                <a:gd name="connsiteX266" fmla="*/ 9061 w 10000"/>
                <a:gd name="connsiteY266" fmla="*/ 6408 h 10000"/>
                <a:gd name="connsiteX267" fmla="*/ 8824 w 10000"/>
                <a:gd name="connsiteY267" fmla="*/ 5759 h 10000"/>
                <a:gd name="connsiteX268" fmla="*/ 8771 w 10000"/>
                <a:gd name="connsiteY268" fmla="*/ 5459 h 10000"/>
                <a:gd name="connsiteX269" fmla="*/ 8768 w 10000"/>
                <a:gd name="connsiteY269" fmla="*/ 5211 h 10000"/>
                <a:gd name="connsiteX270" fmla="*/ 8692 w 10000"/>
                <a:gd name="connsiteY270" fmla="*/ 5047 h 10000"/>
                <a:gd name="connsiteX271" fmla="*/ 8771 w 10000"/>
                <a:gd name="connsiteY271" fmla="*/ 5088 h 10000"/>
                <a:gd name="connsiteX272" fmla="*/ 8809 w 10000"/>
                <a:gd name="connsiteY272" fmla="*/ 5108 h 10000"/>
                <a:gd name="connsiteX273" fmla="*/ 8809 w 10000"/>
                <a:gd name="connsiteY273" fmla="*/ 4840 h 10000"/>
                <a:gd name="connsiteX274" fmla="*/ 8827 w 10000"/>
                <a:gd name="connsiteY274" fmla="*/ 4437 h 10000"/>
                <a:gd name="connsiteX275" fmla="*/ 8853 w 10000"/>
                <a:gd name="connsiteY275" fmla="*/ 4252 h 10000"/>
                <a:gd name="connsiteX276" fmla="*/ 8909 w 10000"/>
                <a:gd name="connsiteY276" fmla="*/ 4221 h 10000"/>
                <a:gd name="connsiteX277" fmla="*/ 8786 w 10000"/>
                <a:gd name="connsiteY277" fmla="*/ 3901 h 10000"/>
                <a:gd name="connsiteX278" fmla="*/ 8853 w 10000"/>
                <a:gd name="connsiteY278" fmla="*/ 3839 h 10000"/>
                <a:gd name="connsiteX279" fmla="*/ 8739 w 10000"/>
                <a:gd name="connsiteY279" fmla="*/ 3788 h 10000"/>
                <a:gd name="connsiteX280" fmla="*/ 8755 w 10000"/>
                <a:gd name="connsiteY280" fmla="*/ 3984 h 10000"/>
                <a:gd name="connsiteX281" fmla="*/ 8692 w 10000"/>
                <a:gd name="connsiteY281" fmla="*/ 4303 h 10000"/>
                <a:gd name="connsiteX282" fmla="*/ 8604 w 10000"/>
                <a:gd name="connsiteY282" fmla="*/ 4210 h 10000"/>
                <a:gd name="connsiteX283" fmla="*/ 8550 w 10000"/>
                <a:gd name="connsiteY283" fmla="*/ 4056 h 10000"/>
                <a:gd name="connsiteX284" fmla="*/ 8481 w 10000"/>
                <a:gd name="connsiteY284" fmla="*/ 4138 h 10000"/>
                <a:gd name="connsiteX285" fmla="*/ 8389 w 10000"/>
                <a:gd name="connsiteY285" fmla="*/ 4107 h 10000"/>
                <a:gd name="connsiteX286" fmla="*/ 8352 w 10000"/>
                <a:gd name="connsiteY286" fmla="*/ 4406 h 10000"/>
                <a:gd name="connsiteX287" fmla="*/ 8481 w 10000"/>
                <a:gd name="connsiteY287" fmla="*/ 4655 h 10000"/>
                <a:gd name="connsiteX288" fmla="*/ 8405 w 10000"/>
                <a:gd name="connsiteY288" fmla="*/ 4830 h 10000"/>
                <a:gd name="connsiteX289" fmla="*/ 8225 w 10000"/>
                <a:gd name="connsiteY289" fmla="*/ 4799 h 10000"/>
                <a:gd name="connsiteX290" fmla="*/ 8209 w 10000"/>
                <a:gd name="connsiteY290" fmla="*/ 4655 h 10000"/>
                <a:gd name="connsiteX291" fmla="*/ 8102 w 10000"/>
                <a:gd name="connsiteY291" fmla="*/ 4634 h 10000"/>
                <a:gd name="connsiteX292" fmla="*/ 7641 w 10000"/>
                <a:gd name="connsiteY292" fmla="*/ 4779 h 10000"/>
                <a:gd name="connsiteX293" fmla="*/ 7610 w 10000"/>
                <a:gd name="connsiteY293" fmla="*/ 5005 h 10000"/>
                <a:gd name="connsiteX294" fmla="*/ 7550 w 10000"/>
                <a:gd name="connsiteY294" fmla="*/ 5666 h 10000"/>
                <a:gd name="connsiteX295" fmla="*/ 7496 w 10000"/>
                <a:gd name="connsiteY295" fmla="*/ 5965 h 10000"/>
                <a:gd name="connsiteX296" fmla="*/ 7701 w 10000"/>
                <a:gd name="connsiteY296" fmla="*/ 6161 h 10000"/>
                <a:gd name="connsiteX297" fmla="*/ 7745 w 10000"/>
                <a:gd name="connsiteY297" fmla="*/ 6243 h 10000"/>
                <a:gd name="connsiteX298" fmla="*/ 7771 w 10000"/>
                <a:gd name="connsiteY298" fmla="*/ 6285 h 10000"/>
                <a:gd name="connsiteX299" fmla="*/ 7793 w 10000"/>
                <a:gd name="connsiteY299" fmla="*/ 6068 h 10000"/>
                <a:gd name="connsiteX300" fmla="*/ 7912 w 10000"/>
                <a:gd name="connsiteY300" fmla="*/ 6089 h 10000"/>
                <a:gd name="connsiteX301" fmla="*/ 8004 w 10000"/>
                <a:gd name="connsiteY301" fmla="*/ 6367 h 10000"/>
                <a:gd name="connsiteX302" fmla="*/ 8064 w 10000"/>
                <a:gd name="connsiteY302" fmla="*/ 6616 h 10000"/>
                <a:gd name="connsiteX303" fmla="*/ 8111 w 10000"/>
                <a:gd name="connsiteY303" fmla="*/ 6781 h 10000"/>
                <a:gd name="connsiteX304" fmla="*/ 8048 w 10000"/>
                <a:gd name="connsiteY304" fmla="*/ 6491 h 10000"/>
                <a:gd name="connsiteX305" fmla="*/ 8124 w 10000"/>
                <a:gd name="connsiteY305" fmla="*/ 6336 h 10000"/>
                <a:gd name="connsiteX306" fmla="*/ 8177 w 10000"/>
                <a:gd name="connsiteY306" fmla="*/ 6512 h 10000"/>
                <a:gd name="connsiteX307" fmla="*/ 8300 w 10000"/>
                <a:gd name="connsiteY307" fmla="*/ 6987 h 10000"/>
                <a:gd name="connsiteX308" fmla="*/ 8361 w 10000"/>
                <a:gd name="connsiteY308" fmla="*/ 7152 h 10000"/>
                <a:gd name="connsiteX309" fmla="*/ 8490 w 10000"/>
                <a:gd name="connsiteY309" fmla="*/ 7482 h 10000"/>
                <a:gd name="connsiteX310" fmla="*/ 8604 w 10000"/>
                <a:gd name="connsiteY310" fmla="*/ 7854 h 10000"/>
                <a:gd name="connsiteX311" fmla="*/ 8474 w 10000"/>
                <a:gd name="connsiteY311" fmla="*/ 7647 h 10000"/>
                <a:gd name="connsiteX312" fmla="*/ 8443 w 10000"/>
                <a:gd name="connsiteY312" fmla="*/ 7678 h 10000"/>
                <a:gd name="connsiteX313" fmla="*/ 8512 w 10000"/>
                <a:gd name="connsiteY313" fmla="*/ 8050 h 10000"/>
                <a:gd name="connsiteX314" fmla="*/ 8588 w 10000"/>
                <a:gd name="connsiteY314" fmla="*/ 8266 h 10000"/>
                <a:gd name="connsiteX315" fmla="*/ 8642 w 10000"/>
                <a:gd name="connsiteY315" fmla="*/ 8472 h 10000"/>
                <a:gd name="connsiteX316" fmla="*/ 8566 w 10000"/>
                <a:gd name="connsiteY316" fmla="*/ 8421 h 10000"/>
                <a:gd name="connsiteX317" fmla="*/ 8556 w 10000"/>
                <a:gd name="connsiteY317" fmla="*/ 8669 h 10000"/>
                <a:gd name="connsiteX318" fmla="*/ 8497 w 10000"/>
                <a:gd name="connsiteY318" fmla="*/ 8493 h 10000"/>
                <a:gd name="connsiteX319" fmla="*/ 8481 w 10000"/>
                <a:gd name="connsiteY319" fmla="*/ 8421 h 10000"/>
                <a:gd name="connsiteX320" fmla="*/ 8361 w 10000"/>
                <a:gd name="connsiteY320" fmla="*/ 7751 h 10000"/>
                <a:gd name="connsiteX321" fmla="*/ 8322 w 10000"/>
                <a:gd name="connsiteY321" fmla="*/ 7524 h 10000"/>
                <a:gd name="connsiteX322" fmla="*/ 8291 w 10000"/>
                <a:gd name="connsiteY322" fmla="*/ 7378 h 10000"/>
                <a:gd name="connsiteX323" fmla="*/ 8275 w 10000"/>
                <a:gd name="connsiteY323" fmla="*/ 7306 h 10000"/>
                <a:gd name="connsiteX324" fmla="*/ 8139 w 10000"/>
                <a:gd name="connsiteY324" fmla="*/ 6863 h 10000"/>
                <a:gd name="connsiteX325" fmla="*/ 8199 w 10000"/>
                <a:gd name="connsiteY325" fmla="*/ 7451 h 10000"/>
                <a:gd name="connsiteX326" fmla="*/ 8247 w 10000"/>
                <a:gd name="connsiteY326" fmla="*/ 7998 h 10000"/>
                <a:gd name="connsiteX327" fmla="*/ 8177 w 10000"/>
                <a:gd name="connsiteY327" fmla="*/ 9133 h 10000"/>
                <a:gd name="connsiteX328" fmla="*/ 8124 w 10000"/>
                <a:gd name="connsiteY328" fmla="*/ 9484 h 10000"/>
                <a:gd name="connsiteX329" fmla="*/ 7972 w 10000"/>
                <a:gd name="connsiteY329" fmla="*/ 9432 h 10000"/>
                <a:gd name="connsiteX330" fmla="*/ 7897 w 10000"/>
                <a:gd name="connsiteY330" fmla="*/ 9660 h 10000"/>
                <a:gd name="connsiteX331" fmla="*/ 7868 w 10000"/>
                <a:gd name="connsiteY331" fmla="*/ 9588 h 10000"/>
                <a:gd name="connsiteX332" fmla="*/ 7884 w 10000"/>
                <a:gd name="connsiteY332" fmla="*/ 9536 h 10000"/>
                <a:gd name="connsiteX333" fmla="*/ 7897 w 10000"/>
                <a:gd name="connsiteY333" fmla="*/ 9380 h 10000"/>
                <a:gd name="connsiteX334" fmla="*/ 7884 w 10000"/>
                <a:gd name="connsiteY334" fmla="*/ 9236 h 10000"/>
                <a:gd name="connsiteX335" fmla="*/ 7793 w 10000"/>
                <a:gd name="connsiteY335" fmla="*/ 8865 h 10000"/>
                <a:gd name="connsiteX336" fmla="*/ 7831 w 10000"/>
                <a:gd name="connsiteY336" fmla="*/ 8741 h 10000"/>
                <a:gd name="connsiteX337" fmla="*/ 7928 w 10000"/>
                <a:gd name="connsiteY337" fmla="*/ 8844 h 10000"/>
                <a:gd name="connsiteX338" fmla="*/ 7912 w 10000"/>
                <a:gd name="connsiteY338" fmla="*/ 8318 h 10000"/>
                <a:gd name="connsiteX339" fmla="*/ 7906 w 10000"/>
                <a:gd name="connsiteY339" fmla="*/ 8019 h 10000"/>
                <a:gd name="connsiteX340" fmla="*/ 7846 w 10000"/>
                <a:gd name="connsiteY340" fmla="*/ 7802 h 10000"/>
                <a:gd name="connsiteX341" fmla="*/ 7723 w 10000"/>
                <a:gd name="connsiteY341" fmla="*/ 8050 h 10000"/>
                <a:gd name="connsiteX342" fmla="*/ 7619 w 10000"/>
                <a:gd name="connsiteY342" fmla="*/ 8019 h 10000"/>
                <a:gd name="connsiteX343" fmla="*/ 7528 w 10000"/>
                <a:gd name="connsiteY343" fmla="*/ 7699 h 10000"/>
                <a:gd name="connsiteX344" fmla="*/ 7355 w 10000"/>
                <a:gd name="connsiteY344" fmla="*/ 7482 h 10000"/>
                <a:gd name="connsiteX345" fmla="*/ 7279 w 10000"/>
                <a:gd name="connsiteY345" fmla="*/ 7482 h 10000"/>
                <a:gd name="connsiteX346" fmla="*/ 7080 w 10000"/>
                <a:gd name="connsiteY346" fmla="*/ 6781 h 10000"/>
                <a:gd name="connsiteX347" fmla="*/ 6901 w 10000"/>
                <a:gd name="connsiteY347" fmla="*/ 6460 h 10000"/>
                <a:gd name="connsiteX348" fmla="*/ 6724 w 10000"/>
                <a:gd name="connsiteY348" fmla="*/ 6336 h 10000"/>
                <a:gd name="connsiteX349" fmla="*/ 6583 w 10000"/>
                <a:gd name="connsiteY349" fmla="*/ 6408 h 10000"/>
                <a:gd name="connsiteX350" fmla="*/ 6567 w 10000"/>
                <a:gd name="connsiteY350" fmla="*/ 6585 h 10000"/>
                <a:gd name="connsiteX351" fmla="*/ 6664 w 10000"/>
                <a:gd name="connsiteY351" fmla="*/ 6760 h 10000"/>
                <a:gd name="connsiteX352" fmla="*/ 6636 w 10000"/>
                <a:gd name="connsiteY352" fmla="*/ 6935 h 10000"/>
                <a:gd name="connsiteX353" fmla="*/ 6636 w 10000"/>
                <a:gd name="connsiteY353" fmla="*/ 7399 h 10000"/>
                <a:gd name="connsiteX354" fmla="*/ 6560 w 10000"/>
                <a:gd name="connsiteY354" fmla="*/ 7482 h 10000"/>
                <a:gd name="connsiteX355" fmla="*/ 6485 w 10000"/>
                <a:gd name="connsiteY355" fmla="*/ 7378 h 10000"/>
                <a:gd name="connsiteX356" fmla="*/ 6400 w 10000"/>
                <a:gd name="connsiteY356" fmla="*/ 7399 h 10000"/>
                <a:gd name="connsiteX357" fmla="*/ 6334 w 10000"/>
                <a:gd name="connsiteY357" fmla="*/ 7275 h 10000"/>
                <a:gd name="connsiteX358" fmla="*/ 6258 w 10000"/>
                <a:gd name="connsiteY358" fmla="*/ 7358 h 10000"/>
                <a:gd name="connsiteX359" fmla="*/ 6220 w 10000"/>
                <a:gd name="connsiteY359" fmla="*/ 7524 h 10000"/>
                <a:gd name="connsiteX360" fmla="*/ 6081 w 10000"/>
                <a:gd name="connsiteY360" fmla="*/ 7606 h 10000"/>
                <a:gd name="connsiteX361" fmla="*/ 5892 w 10000"/>
                <a:gd name="connsiteY361" fmla="*/ 7575 h 10000"/>
                <a:gd name="connsiteX362" fmla="*/ 5855 w 10000"/>
                <a:gd name="connsiteY362" fmla="*/ 7327 h 10000"/>
                <a:gd name="connsiteX363" fmla="*/ 5643 w 10000"/>
                <a:gd name="connsiteY363" fmla="*/ 7255 h 10000"/>
                <a:gd name="connsiteX364" fmla="*/ 5539 w 10000"/>
                <a:gd name="connsiteY364" fmla="*/ 7358 h 10000"/>
                <a:gd name="connsiteX365" fmla="*/ 5416 w 10000"/>
                <a:gd name="connsiteY365" fmla="*/ 7203 h 10000"/>
                <a:gd name="connsiteX366" fmla="*/ 5372 w 10000"/>
                <a:gd name="connsiteY366" fmla="*/ 6904 h 10000"/>
                <a:gd name="connsiteX0" fmla="*/ 4864 w 10000"/>
                <a:gd name="connsiteY0" fmla="*/ 7183 h 10000"/>
                <a:gd name="connsiteX1" fmla="*/ 4713 w 10000"/>
                <a:gd name="connsiteY1" fmla="*/ 7152 h 10000"/>
                <a:gd name="connsiteX2" fmla="*/ 4464 w 10000"/>
                <a:gd name="connsiteY2" fmla="*/ 7647 h 10000"/>
                <a:gd name="connsiteX3" fmla="*/ 1610 w 10000"/>
                <a:gd name="connsiteY3" fmla="*/ 7183 h 10000"/>
                <a:gd name="connsiteX4" fmla="*/ 1655 w 10000"/>
                <a:gd name="connsiteY4" fmla="*/ 7430 h 10000"/>
                <a:gd name="connsiteX5" fmla="*/ 1604 w 10000"/>
                <a:gd name="connsiteY5" fmla="*/ 7430 h 10000"/>
                <a:gd name="connsiteX6" fmla="*/ 1551 w 10000"/>
                <a:gd name="connsiteY6" fmla="*/ 7255 h 10000"/>
                <a:gd name="connsiteX7" fmla="*/ 1513 w 10000"/>
                <a:gd name="connsiteY7" fmla="*/ 7430 h 10000"/>
                <a:gd name="connsiteX8" fmla="*/ 1519 w 10000"/>
                <a:gd name="connsiteY8" fmla="*/ 7854 h 10000"/>
                <a:gd name="connsiteX9" fmla="*/ 1604 w 10000"/>
                <a:gd name="connsiteY9" fmla="*/ 8070 h 10000"/>
                <a:gd name="connsiteX10" fmla="*/ 1648 w 10000"/>
                <a:gd name="connsiteY10" fmla="*/ 8019 h 10000"/>
                <a:gd name="connsiteX11" fmla="*/ 1741 w 10000"/>
                <a:gd name="connsiteY11" fmla="*/ 8493 h 10000"/>
                <a:gd name="connsiteX12" fmla="*/ 1610 w 10000"/>
                <a:gd name="connsiteY12" fmla="*/ 8669 h 10000"/>
                <a:gd name="connsiteX13" fmla="*/ 1595 w 10000"/>
                <a:gd name="connsiteY13" fmla="*/ 9009 h 10000"/>
                <a:gd name="connsiteX14" fmla="*/ 1664 w 10000"/>
                <a:gd name="connsiteY14" fmla="*/ 9236 h 10000"/>
                <a:gd name="connsiteX15" fmla="*/ 1664 w 10000"/>
                <a:gd name="connsiteY15" fmla="*/ 9484 h 10000"/>
                <a:gd name="connsiteX16" fmla="*/ 1769 w 10000"/>
                <a:gd name="connsiteY16" fmla="*/ 9835 h 10000"/>
                <a:gd name="connsiteX17" fmla="*/ 1703 w 10000"/>
                <a:gd name="connsiteY17" fmla="*/ 10000 h 10000"/>
                <a:gd name="connsiteX18" fmla="*/ 1604 w 10000"/>
                <a:gd name="connsiteY18" fmla="*/ 9753 h 10000"/>
                <a:gd name="connsiteX19" fmla="*/ 1465 w 10000"/>
                <a:gd name="connsiteY19" fmla="*/ 9505 h 10000"/>
                <a:gd name="connsiteX20" fmla="*/ 1406 w 10000"/>
                <a:gd name="connsiteY20" fmla="*/ 9588 h 10000"/>
                <a:gd name="connsiteX21" fmla="*/ 1308 w 10000"/>
                <a:gd name="connsiteY21" fmla="*/ 9380 h 10000"/>
                <a:gd name="connsiteX22" fmla="*/ 1097 w 10000"/>
                <a:gd name="connsiteY22" fmla="*/ 9339 h 10000"/>
                <a:gd name="connsiteX23" fmla="*/ 848 w 10000"/>
                <a:gd name="connsiteY23" fmla="*/ 8813 h 10000"/>
                <a:gd name="connsiteX24" fmla="*/ 914 w 10000"/>
                <a:gd name="connsiteY24" fmla="*/ 8721 h 10000"/>
                <a:gd name="connsiteX25" fmla="*/ 961 w 10000"/>
                <a:gd name="connsiteY25" fmla="*/ 8493 h 10000"/>
                <a:gd name="connsiteX26" fmla="*/ 908 w 10000"/>
                <a:gd name="connsiteY26" fmla="*/ 8390 h 10000"/>
                <a:gd name="connsiteX27" fmla="*/ 1021 w 10000"/>
                <a:gd name="connsiteY27" fmla="*/ 8245 h 10000"/>
                <a:gd name="connsiteX28" fmla="*/ 945 w 10000"/>
                <a:gd name="connsiteY28" fmla="*/ 8194 h 10000"/>
                <a:gd name="connsiteX29" fmla="*/ 958 w 10000"/>
                <a:gd name="connsiteY29" fmla="*/ 8091 h 10000"/>
                <a:gd name="connsiteX30" fmla="*/ 1005 w 10000"/>
                <a:gd name="connsiteY30" fmla="*/ 8111 h 10000"/>
                <a:gd name="connsiteX31" fmla="*/ 1059 w 10000"/>
                <a:gd name="connsiteY31" fmla="*/ 8019 h 10000"/>
                <a:gd name="connsiteX32" fmla="*/ 1034 w 10000"/>
                <a:gd name="connsiteY32" fmla="*/ 7864 h 10000"/>
                <a:gd name="connsiteX33" fmla="*/ 1043 w 10000"/>
                <a:gd name="connsiteY33" fmla="*/ 7503 h 10000"/>
                <a:gd name="connsiteX34" fmla="*/ 930 w 10000"/>
                <a:gd name="connsiteY34" fmla="*/ 7440 h 10000"/>
                <a:gd name="connsiteX35" fmla="*/ 832 w 10000"/>
                <a:gd name="connsiteY35" fmla="*/ 7286 h 10000"/>
                <a:gd name="connsiteX36" fmla="*/ 700 w 10000"/>
                <a:gd name="connsiteY36" fmla="*/ 7275 h 10000"/>
                <a:gd name="connsiteX37" fmla="*/ 684 w 10000"/>
                <a:gd name="connsiteY37" fmla="*/ 7090 h 10000"/>
                <a:gd name="connsiteX38" fmla="*/ 596 w 10000"/>
                <a:gd name="connsiteY38" fmla="*/ 6945 h 10000"/>
                <a:gd name="connsiteX39" fmla="*/ 615 w 10000"/>
                <a:gd name="connsiteY39" fmla="*/ 6822 h 10000"/>
                <a:gd name="connsiteX40" fmla="*/ 561 w 10000"/>
                <a:gd name="connsiteY40" fmla="*/ 6698 h 10000"/>
                <a:gd name="connsiteX41" fmla="*/ 457 w 10000"/>
                <a:gd name="connsiteY41" fmla="*/ 6698 h 10000"/>
                <a:gd name="connsiteX42" fmla="*/ 425 w 10000"/>
                <a:gd name="connsiteY42" fmla="*/ 6791 h 10000"/>
                <a:gd name="connsiteX43" fmla="*/ 400 w 10000"/>
                <a:gd name="connsiteY43" fmla="*/ 6750 h 10000"/>
                <a:gd name="connsiteX44" fmla="*/ 378 w 10000"/>
                <a:gd name="connsiteY44" fmla="*/ 6439 h 10000"/>
                <a:gd name="connsiteX45" fmla="*/ 419 w 10000"/>
                <a:gd name="connsiteY45" fmla="*/ 6470 h 10000"/>
                <a:gd name="connsiteX46" fmla="*/ 466 w 10000"/>
                <a:gd name="connsiteY46" fmla="*/ 6347 h 10000"/>
                <a:gd name="connsiteX47" fmla="*/ 400 w 10000"/>
                <a:gd name="connsiteY47" fmla="*/ 6233 h 10000"/>
                <a:gd name="connsiteX48" fmla="*/ 315 w 10000"/>
                <a:gd name="connsiteY48" fmla="*/ 6017 h 10000"/>
                <a:gd name="connsiteX49" fmla="*/ 334 w 10000"/>
                <a:gd name="connsiteY49" fmla="*/ 5821 h 10000"/>
                <a:gd name="connsiteX50" fmla="*/ 274 w 10000"/>
                <a:gd name="connsiteY50" fmla="*/ 5697 h 10000"/>
                <a:gd name="connsiteX51" fmla="*/ 227 w 10000"/>
                <a:gd name="connsiteY51" fmla="*/ 5728 h 10000"/>
                <a:gd name="connsiteX52" fmla="*/ 202 w 10000"/>
                <a:gd name="connsiteY52" fmla="*/ 5604 h 10000"/>
                <a:gd name="connsiteX53" fmla="*/ 164 w 10000"/>
                <a:gd name="connsiteY53" fmla="*/ 5645 h 10000"/>
                <a:gd name="connsiteX54" fmla="*/ 117 w 10000"/>
                <a:gd name="connsiteY54" fmla="*/ 5604 h 10000"/>
                <a:gd name="connsiteX55" fmla="*/ 69 w 10000"/>
                <a:gd name="connsiteY55" fmla="*/ 5181 h 10000"/>
                <a:gd name="connsiteX56" fmla="*/ 85 w 10000"/>
                <a:gd name="connsiteY56" fmla="*/ 5057 h 10000"/>
                <a:gd name="connsiteX57" fmla="*/ 41 w 10000"/>
                <a:gd name="connsiteY57" fmla="*/ 4892 h 10000"/>
                <a:gd name="connsiteX58" fmla="*/ 66 w 10000"/>
                <a:gd name="connsiteY58" fmla="*/ 4655 h 10000"/>
                <a:gd name="connsiteX59" fmla="*/ 211 w 10000"/>
                <a:gd name="connsiteY59" fmla="*/ 4510 h 10000"/>
                <a:gd name="connsiteX60" fmla="*/ 129 w 10000"/>
                <a:gd name="connsiteY60" fmla="*/ 4406 h 10000"/>
                <a:gd name="connsiteX61" fmla="*/ 82 w 10000"/>
                <a:gd name="connsiteY61" fmla="*/ 4283 h 10000"/>
                <a:gd name="connsiteX62" fmla="*/ 205 w 10000"/>
                <a:gd name="connsiteY62" fmla="*/ 3912 h 10000"/>
                <a:gd name="connsiteX63" fmla="*/ 249 w 10000"/>
                <a:gd name="connsiteY63" fmla="*/ 3664 h 10000"/>
                <a:gd name="connsiteX64" fmla="*/ 151 w 10000"/>
                <a:gd name="connsiteY64" fmla="*/ 3488 h 10000"/>
                <a:gd name="connsiteX65" fmla="*/ 189 w 10000"/>
                <a:gd name="connsiteY65" fmla="*/ 3344 h 10000"/>
                <a:gd name="connsiteX66" fmla="*/ 113 w 10000"/>
                <a:gd name="connsiteY66" fmla="*/ 3148 h 10000"/>
                <a:gd name="connsiteX67" fmla="*/ 113 w 10000"/>
                <a:gd name="connsiteY67" fmla="*/ 2972 h 10000"/>
                <a:gd name="connsiteX68" fmla="*/ 60 w 10000"/>
                <a:gd name="connsiteY68" fmla="*/ 2622 h 10000"/>
                <a:gd name="connsiteX69" fmla="*/ 98 w 10000"/>
                <a:gd name="connsiteY69" fmla="*/ 2404 h 10000"/>
                <a:gd name="connsiteX70" fmla="*/ 38 w 10000"/>
                <a:gd name="connsiteY70" fmla="*/ 2301 h 10000"/>
                <a:gd name="connsiteX71" fmla="*/ 0 w 10000"/>
                <a:gd name="connsiteY71" fmla="*/ 2178 h 10000"/>
                <a:gd name="connsiteX72" fmla="*/ 54 w 10000"/>
                <a:gd name="connsiteY72" fmla="*/ 1951 h 10000"/>
                <a:gd name="connsiteX73" fmla="*/ 120 w 10000"/>
                <a:gd name="connsiteY73" fmla="*/ 1910 h 10000"/>
                <a:gd name="connsiteX74" fmla="*/ 195 w 10000"/>
                <a:gd name="connsiteY74" fmla="*/ 1858 h 10000"/>
                <a:gd name="connsiteX75" fmla="*/ 309 w 10000"/>
                <a:gd name="connsiteY75" fmla="*/ 1951 h 10000"/>
                <a:gd name="connsiteX76" fmla="*/ 482 w 10000"/>
                <a:gd name="connsiteY76" fmla="*/ 2054 h 10000"/>
                <a:gd name="connsiteX77" fmla="*/ 633 w 10000"/>
                <a:gd name="connsiteY77" fmla="*/ 2229 h 10000"/>
                <a:gd name="connsiteX78" fmla="*/ 756 w 10000"/>
                <a:gd name="connsiteY78" fmla="*/ 2373 h 10000"/>
                <a:gd name="connsiteX79" fmla="*/ 725 w 10000"/>
                <a:gd name="connsiteY79" fmla="*/ 2777 h 10000"/>
                <a:gd name="connsiteX80" fmla="*/ 362 w 10000"/>
                <a:gd name="connsiteY80" fmla="*/ 2673 h 10000"/>
                <a:gd name="connsiteX81" fmla="*/ 243 w 10000"/>
                <a:gd name="connsiteY81" fmla="*/ 2550 h 10000"/>
                <a:gd name="connsiteX82" fmla="*/ 287 w 10000"/>
                <a:gd name="connsiteY82" fmla="*/ 2622 h 10000"/>
                <a:gd name="connsiteX83" fmla="*/ 331 w 10000"/>
                <a:gd name="connsiteY83" fmla="*/ 2797 h 10000"/>
                <a:gd name="connsiteX84" fmla="*/ 400 w 10000"/>
                <a:gd name="connsiteY84" fmla="*/ 2921 h 10000"/>
                <a:gd name="connsiteX85" fmla="*/ 416 w 10000"/>
                <a:gd name="connsiteY85" fmla="*/ 3189 h 10000"/>
                <a:gd name="connsiteX86" fmla="*/ 507 w 10000"/>
                <a:gd name="connsiteY86" fmla="*/ 3313 h 10000"/>
                <a:gd name="connsiteX87" fmla="*/ 583 w 10000"/>
                <a:gd name="connsiteY87" fmla="*/ 3436 h 10000"/>
                <a:gd name="connsiteX88" fmla="*/ 605 w 10000"/>
                <a:gd name="connsiteY88" fmla="*/ 3467 h 10000"/>
                <a:gd name="connsiteX89" fmla="*/ 649 w 10000"/>
                <a:gd name="connsiteY89" fmla="*/ 3436 h 10000"/>
                <a:gd name="connsiteX90" fmla="*/ 633 w 10000"/>
                <a:gd name="connsiteY90" fmla="*/ 3364 h 10000"/>
                <a:gd name="connsiteX91" fmla="*/ 545 w 10000"/>
                <a:gd name="connsiteY91" fmla="*/ 3189 h 10000"/>
                <a:gd name="connsiteX92" fmla="*/ 801 w 10000"/>
                <a:gd name="connsiteY92" fmla="*/ 3344 h 10000"/>
                <a:gd name="connsiteX93" fmla="*/ 810 w 10000"/>
                <a:gd name="connsiteY93" fmla="*/ 3271 h 10000"/>
                <a:gd name="connsiteX94" fmla="*/ 785 w 10000"/>
                <a:gd name="connsiteY94" fmla="*/ 3220 h 10000"/>
                <a:gd name="connsiteX95" fmla="*/ 741 w 10000"/>
                <a:gd name="connsiteY95" fmla="*/ 2993 h 10000"/>
                <a:gd name="connsiteX96" fmla="*/ 870 w 10000"/>
                <a:gd name="connsiteY96" fmla="*/ 2777 h 10000"/>
                <a:gd name="connsiteX97" fmla="*/ 968 w 10000"/>
                <a:gd name="connsiteY97" fmla="*/ 2921 h 10000"/>
                <a:gd name="connsiteX98" fmla="*/ 999 w 10000"/>
                <a:gd name="connsiteY98" fmla="*/ 2725 h 10000"/>
                <a:gd name="connsiteX99" fmla="*/ 952 w 10000"/>
                <a:gd name="connsiteY99" fmla="*/ 2653 h 10000"/>
                <a:gd name="connsiteX100" fmla="*/ 936 w 10000"/>
                <a:gd name="connsiteY100" fmla="*/ 2281 h 10000"/>
                <a:gd name="connsiteX101" fmla="*/ 914 w 10000"/>
                <a:gd name="connsiteY101" fmla="*/ 2229 h 10000"/>
                <a:gd name="connsiteX102" fmla="*/ 1037 w 10000"/>
                <a:gd name="connsiteY102" fmla="*/ 2250 h 10000"/>
                <a:gd name="connsiteX103" fmla="*/ 1087 w 10000"/>
                <a:gd name="connsiteY103" fmla="*/ 2404 h 10000"/>
                <a:gd name="connsiteX104" fmla="*/ 1021 w 10000"/>
                <a:gd name="connsiteY104" fmla="*/ 2529 h 10000"/>
                <a:gd name="connsiteX105" fmla="*/ 1135 w 10000"/>
                <a:gd name="connsiteY105" fmla="*/ 2694 h 10000"/>
                <a:gd name="connsiteX106" fmla="*/ 1226 w 10000"/>
                <a:gd name="connsiteY106" fmla="*/ 2529 h 10000"/>
                <a:gd name="connsiteX107" fmla="*/ 1339 w 10000"/>
                <a:gd name="connsiteY107" fmla="*/ 2301 h 10000"/>
                <a:gd name="connsiteX108" fmla="*/ 1459 w 10000"/>
                <a:gd name="connsiteY108" fmla="*/ 2157 h 10000"/>
                <a:gd name="connsiteX109" fmla="*/ 1497 w 10000"/>
                <a:gd name="connsiteY109" fmla="*/ 2250 h 10000"/>
                <a:gd name="connsiteX110" fmla="*/ 1807 w 10000"/>
                <a:gd name="connsiteY110" fmla="*/ 2054 h 10000"/>
                <a:gd name="connsiteX111" fmla="*/ 1870 w 10000"/>
                <a:gd name="connsiteY111" fmla="*/ 2250 h 10000"/>
                <a:gd name="connsiteX112" fmla="*/ 1860 w 10000"/>
                <a:gd name="connsiteY112" fmla="*/ 2002 h 10000"/>
                <a:gd name="connsiteX113" fmla="*/ 1778 w 10000"/>
                <a:gd name="connsiteY113" fmla="*/ 1786 h 10000"/>
                <a:gd name="connsiteX114" fmla="*/ 1763 w 10000"/>
                <a:gd name="connsiteY114" fmla="*/ 1703 h 10000"/>
                <a:gd name="connsiteX115" fmla="*/ 1823 w 10000"/>
                <a:gd name="connsiteY115" fmla="*/ 1786 h 10000"/>
                <a:gd name="connsiteX116" fmla="*/ 2034 w 10000"/>
                <a:gd name="connsiteY116" fmla="*/ 1951 h 10000"/>
                <a:gd name="connsiteX117" fmla="*/ 2270 w 10000"/>
                <a:gd name="connsiteY117" fmla="*/ 2126 h 10000"/>
                <a:gd name="connsiteX118" fmla="*/ 2384 w 10000"/>
                <a:gd name="connsiteY118" fmla="*/ 2250 h 10000"/>
                <a:gd name="connsiteX119" fmla="*/ 2421 w 10000"/>
                <a:gd name="connsiteY119" fmla="*/ 2074 h 10000"/>
                <a:gd name="connsiteX120" fmla="*/ 2368 w 10000"/>
                <a:gd name="connsiteY120" fmla="*/ 2033 h 10000"/>
                <a:gd name="connsiteX121" fmla="*/ 2299 w 10000"/>
                <a:gd name="connsiteY121" fmla="*/ 1930 h 10000"/>
                <a:gd name="connsiteX122" fmla="*/ 2254 w 10000"/>
                <a:gd name="connsiteY122" fmla="*/ 1734 h 10000"/>
                <a:gd name="connsiteX123" fmla="*/ 2185 w 10000"/>
                <a:gd name="connsiteY123" fmla="*/ 1486 h 10000"/>
                <a:gd name="connsiteX124" fmla="*/ 2210 w 10000"/>
                <a:gd name="connsiteY124" fmla="*/ 1434 h 10000"/>
                <a:gd name="connsiteX125" fmla="*/ 2232 w 10000"/>
                <a:gd name="connsiteY125" fmla="*/ 1455 h 10000"/>
                <a:gd name="connsiteX126" fmla="*/ 2292 w 10000"/>
                <a:gd name="connsiteY126" fmla="*/ 1115 h 10000"/>
                <a:gd name="connsiteX127" fmla="*/ 2443 w 10000"/>
                <a:gd name="connsiteY127" fmla="*/ 1135 h 10000"/>
                <a:gd name="connsiteX128" fmla="*/ 2488 w 10000"/>
                <a:gd name="connsiteY128" fmla="*/ 1311 h 10000"/>
                <a:gd name="connsiteX129" fmla="*/ 2519 w 10000"/>
                <a:gd name="connsiteY129" fmla="*/ 1538 h 10000"/>
                <a:gd name="connsiteX130" fmla="*/ 2573 w 10000"/>
                <a:gd name="connsiteY130" fmla="*/ 1734 h 10000"/>
                <a:gd name="connsiteX131" fmla="*/ 2670 w 10000"/>
                <a:gd name="connsiteY131" fmla="*/ 2157 h 10000"/>
                <a:gd name="connsiteX132" fmla="*/ 2481 w 10000"/>
                <a:gd name="connsiteY132" fmla="*/ 2673 h 10000"/>
                <a:gd name="connsiteX133" fmla="*/ 2557 w 10000"/>
                <a:gd name="connsiteY133" fmla="*/ 2746 h 10000"/>
                <a:gd name="connsiteX134" fmla="*/ 2655 w 10000"/>
                <a:gd name="connsiteY134" fmla="*/ 2818 h 10000"/>
                <a:gd name="connsiteX135" fmla="*/ 2784 w 10000"/>
                <a:gd name="connsiteY135" fmla="*/ 2622 h 10000"/>
                <a:gd name="connsiteX136" fmla="*/ 2790 w 10000"/>
                <a:gd name="connsiteY136" fmla="*/ 2404 h 10000"/>
                <a:gd name="connsiteX137" fmla="*/ 2746 w 10000"/>
                <a:gd name="connsiteY137" fmla="*/ 2301 h 10000"/>
                <a:gd name="connsiteX138" fmla="*/ 2919 w 10000"/>
                <a:gd name="connsiteY138" fmla="*/ 2250 h 10000"/>
                <a:gd name="connsiteX139" fmla="*/ 2989 w 10000"/>
                <a:gd name="connsiteY139" fmla="*/ 2497 h 10000"/>
                <a:gd name="connsiteX140" fmla="*/ 2989 w 10000"/>
                <a:gd name="connsiteY140" fmla="*/ 2425 h 10000"/>
                <a:gd name="connsiteX141" fmla="*/ 2973 w 10000"/>
                <a:gd name="connsiteY141" fmla="*/ 2353 h 10000"/>
                <a:gd name="connsiteX142" fmla="*/ 2967 w 10000"/>
                <a:gd name="connsiteY142" fmla="*/ 2178 h 10000"/>
                <a:gd name="connsiteX143" fmla="*/ 2800 w 10000"/>
                <a:gd name="connsiteY143" fmla="*/ 1930 h 10000"/>
                <a:gd name="connsiteX144" fmla="*/ 2670 w 10000"/>
                <a:gd name="connsiteY144" fmla="*/ 2002 h 10000"/>
                <a:gd name="connsiteX145" fmla="*/ 2617 w 10000"/>
                <a:gd name="connsiteY145" fmla="*/ 1683 h 10000"/>
                <a:gd name="connsiteX146" fmla="*/ 2563 w 10000"/>
                <a:gd name="connsiteY146" fmla="*/ 1507 h 10000"/>
                <a:gd name="connsiteX147" fmla="*/ 2617 w 10000"/>
                <a:gd name="connsiteY147" fmla="*/ 1331 h 10000"/>
                <a:gd name="connsiteX148" fmla="*/ 2611 w 10000"/>
                <a:gd name="connsiteY148" fmla="*/ 1166 h 10000"/>
                <a:gd name="connsiteX149" fmla="*/ 2588 w 10000"/>
                <a:gd name="connsiteY149" fmla="*/ 1115 h 10000"/>
                <a:gd name="connsiteX150" fmla="*/ 2626 w 10000"/>
                <a:gd name="connsiteY150" fmla="*/ 1115 h 10000"/>
                <a:gd name="connsiteX151" fmla="*/ 2670 w 10000"/>
                <a:gd name="connsiteY151" fmla="*/ 1455 h 10000"/>
                <a:gd name="connsiteX152" fmla="*/ 2891 w 10000"/>
                <a:gd name="connsiteY152" fmla="*/ 1662 h 10000"/>
                <a:gd name="connsiteX153" fmla="*/ 2724 w 10000"/>
                <a:gd name="connsiteY153" fmla="*/ 1383 h 10000"/>
                <a:gd name="connsiteX154" fmla="*/ 3049 w 10000"/>
                <a:gd name="connsiteY154" fmla="*/ 1383 h 10000"/>
                <a:gd name="connsiteX155" fmla="*/ 3102 w 10000"/>
                <a:gd name="connsiteY155" fmla="*/ 1362 h 10000"/>
                <a:gd name="connsiteX156" fmla="*/ 2897 w 10000"/>
                <a:gd name="connsiteY156" fmla="*/ 1115 h 10000"/>
                <a:gd name="connsiteX157" fmla="*/ 2951 w 10000"/>
                <a:gd name="connsiteY157" fmla="*/ 888 h 10000"/>
                <a:gd name="connsiteX158" fmla="*/ 3178 w 10000"/>
                <a:gd name="connsiteY158" fmla="*/ 888 h 10000"/>
                <a:gd name="connsiteX159" fmla="*/ 3156 w 10000"/>
                <a:gd name="connsiteY159" fmla="*/ 713 h 10000"/>
                <a:gd name="connsiteX160" fmla="*/ 3231 w 10000"/>
                <a:gd name="connsiteY160" fmla="*/ 589 h 10000"/>
                <a:gd name="connsiteX161" fmla="*/ 3276 w 10000"/>
                <a:gd name="connsiteY161" fmla="*/ 548 h 10000"/>
                <a:gd name="connsiteX162" fmla="*/ 3443 w 10000"/>
                <a:gd name="connsiteY162" fmla="*/ 423 h 10000"/>
                <a:gd name="connsiteX163" fmla="*/ 3487 w 10000"/>
                <a:gd name="connsiteY163" fmla="*/ 371 h 10000"/>
                <a:gd name="connsiteX164" fmla="*/ 3480 w 10000"/>
                <a:gd name="connsiteY164" fmla="*/ 444 h 10000"/>
                <a:gd name="connsiteX165" fmla="*/ 3660 w 10000"/>
                <a:gd name="connsiteY165" fmla="*/ 371 h 10000"/>
                <a:gd name="connsiteX166" fmla="*/ 3805 w 10000"/>
                <a:gd name="connsiteY166" fmla="*/ 248 h 10000"/>
                <a:gd name="connsiteX167" fmla="*/ 3827 w 10000"/>
                <a:gd name="connsiteY167" fmla="*/ 0 h 10000"/>
                <a:gd name="connsiteX168" fmla="*/ 3988 w 10000"/>
                <a:gd name="connsiteY168" fmla="*/ 21 h 10000"/>
                <a:gd name="connsiteX169" fmla="*/ 3978 w 10000"/>
                <a:gd name="connsiteY169" fmla="*/ 93 h 10000"/>
                <a:gd name="connsiteX170" fmla="*/ 3988 w 10000"/>
                <a:gd name="connsiteY170" fmla="*/ 176 h 10000"/>
                <a:gd name="connsiteX171" fmla="*/ 4085 w 10000"/>
                <a:gd name="connsiteY171" fmla="*/ 248 h 10000"/>
                <a:gd name="connsiteX172" fmla="*/ 4379 w 10000"/>
                <a:gd name="connsiteY172" fmla="*/ 268 h 10000"/>
                <a:gd name="connsiteX173" fmla="*/ 4539 w 10000"/>
                <a:gd name="connsiteY173" fmla="*/ 392 h 10000"/>
                <a:gd name="connsiteX174" fmla="*/ 4486 w 10000"/>
                <a:gd name="connsiteY174" fmla="*/ 795 h 10000"/>
                <a:gd name="connsiteX175" fmla="*/ 4426 w 10000"/>
                <a:gd name="connsiteY175" fmla="*/ 919 h 10000"/>
                <a:gd name="connsiteX176" fmla="*/ 4356 w 10000"/>
                <a:gd name="connsiteY176" fmla="*/ 1043 h 10000"/>
                <a:gd name="connsiteX177" fmla="*/ 4372 w 10000"/>
                <a:gd name="connsiteY177" fmla="*/ 1115 h 10000"/>
                <a:gd name="connsiteX178" fmla="*/ 4583 w 10000"/>
                <a:gd name="connsiteY178" fmla="*/ 919 h 10000"/>
                <a:gd name="connsiteX179" fmla="*/ 5060 w 10000"/>
                <a:gd name="connsiteY179" fmla="*/ 991 h 10000"/>
                <a:gd name="connsiteX180" fmla="*/ 5108 w 10000"/>
                <a:gd name="connsiteY180" fmla="*/ 1063 h 10000"/>
                <a:gd name="connsiteX181" fmla="*/ 5212 w 10000"/>
                <a:gd name="connsiteY181" fmla="*/ 1187 h 10000"/>
                <a:gd name="connsiteX182" fmla="*/ 5357 w 10000"/>
                <a:gd name="connsiteY182" fmla="*/ 919 h 10000"/>
                <a:gd name="connsiteX183" fmla="*/ 5577 w 10000"/>
                <a:gd name="connsiteY183" fmla="*/ 1063 h 10000"/>
                <a:gd name="connsiteX184" fmla="*/ 5643 w 10000"/>
                <a:gd name="connsiteY184" fmla="*/ 1115 h 10000"/>
                <a:gd name="connsiteX185" fmla="*/ 5697 w 10000"/>
                <a:gd name="connsiteY185" fmla="*/ 1166 h 10000"/>
                <a:gd name="connsiteX186" fmla="*/ 5908 w 10000"/>
                <a:gd name="connsiteY186" fmla="*/ 1631 h 10000"/>
                <a:gd name="connsiteX187" fmla="*/ 5984 w 10000"/>
                <a:gd name="connsiteY187" fmla="*/ 1611 h 10000"/>
                <a:gd name="connsiteX188" fmla="*/ 5977 w 10000"/>
                <a:gd name="connsiteY188" fmla="*/ 1507 h 10000"/>
                <a:gd name="connsiteX189" fmla="*/ 5984 w 10000"/>
                <a:gd name="connsiteY189" fmla="*/ 1383 h 10000"/>
                <a:gd name="connsiteX190" fmla="*/ 6091 w 10000"/>
                <a:gd name="connsiteY190" fmla="*/ 1486 h 10000"/>
                <a:gd name="connsiteX191" fmla="*/ 6264 w 10000"/>
                <a:gd name="connsiteY191" fmla="*/ 1507 h 10000"/>
                <a:gd name="connsiteX192" fmla="*/ 6409 w 10000"/>
                <a:gd name="connsiteY192" fmla="*/ 1455 h 10000"/>
                <a:gd name="connsiteX193" fmla="*/ 6340 w 10000"/>
                <a:gd name="connsiteY193" fmla="*/ 1362 h 10000"/>
                <a:gd name="connsiteX194" fmla="*/ 6431 w 10000"/>
                <a:gd name="connsiteY194" fmla="*/ 1084 h 10000"/>
                <a:gd name="connsiteX195" fmla="*/ 6687 w 10000"/>
                <a:gd name="connsiteY195" fmla="*/ 1207 h 10000"/>
                <a:gd name="connsiteX196" fmla="*/ 6945 w 10000"/>
                <a:gd name="connsiteY196" fmla="*/ 1331 h 10000"/>
                <a:gd name="connsiteX197" fmla="*/ 6967 w 10000"/>
                <a:gd name="connsiteY197" fmla="*/ 1362 h 10000"/>
                <a:gd name="connsiteX198" fmla="*/ 7194 w 10000"/>
                <a:gd name="connsiteY198" fmla="*/ 1611 h 10000"/>
                <a:gd name="connsiteX199" fmla="*/ 7367 w 10000"/>
                <a:gd name="connsiteY199" fmla="*/ 1507 h 10000"/>
                <a:gd name="connsiteX200" fmla="*/ 7582 w 10000"/>
                <a:gd name="connsiteY200" fmla="*/ 1538 h 10000"/>
                <a:gd name="connsiteX201" fmla="*/ 7657 w 10000"/>
                <a:gd name="connsiteY201" fmla="*/ 1611 h 10000"/>
                <a:gd name="connsiteX202" fmla="*/ 7928 w 10000"/>
                <a:gd name="connsiteY202" fmla="*/ 1930 h 10000"/>
                <a:gd name="connsiteX203" fmla="*/ 8231 w 10000"/>
                <a:gd name="connsiteY203" fmla="*/ 1879 h 10000"/>
                <a:gd name="connsiteX204" fmla="*/ 8339 w 10000"/>
                <a:gd name="connsiteY204" fmla="*/ 2033 h 10000"/>
                <a:gd name="connsiteX205" fmla="*/ 8490 w 10000"/>
                <a:gd name="connsiteY205" fmla="*/ 2157 h 10000"/>
                <a:gd name="connsiteX206" fmla="*/ 8519 w 10000"/>
                <a:gd name="connsiteY206" fmla="*/ 2105 h 10000"/>
                <a:gd name="connsiteX207" fmla="*/ 8497 w 10000"/>
                <a:gd name="connsiteY207" fmla="*/ 2074 h 10000"/>
                <a:gd name="connsiteX208" fmla="*/ 8383 w 10000"/>
                <a:gd name="connsiteY208" fmla="*/ 1930 h 10000"/>
                <a:gd name="connsiteX209" fmla="*/ 8465 w 10000"/>
                <a:gd name="connsiteY209" fmla="*/ 1755 h 10000"/>
                <a:gd name="connsiteX210" fmla="*/ 8664 w 10000"/>
                <a:gd name="connsiteY210" fmla="*/ 1910 h 10000"/>
                <a:gd name="connsiteX211" fmla="*/ 8950 w 10000"/>
                <a:gd name="connsiteY211" fmla="*/ 1982 h 10000"/>
                <a:gd name="connsiteX212" fmla="*/ 9206 w 10000"/>
                <a:gd name="connsiteY212" fmla="*/ 2260 h 10000"/>
                <a:gd name="connsiteX213" fmla="*/ 9344 w 10000"/>
                <a:gd name="connsiteY213" fmla="*/ 2332 h 10000"/>
                <a:gd name="connsiteX214" fmla="*/ 9451 w 10000"/>
                <a:gd name="connsiteY214" fmla="*/ 2446 h 10000"/>
                <a:gd name="connsiteX215" fmla="*/ 9574 w 10000"/>
                <a:gd name="connsiteY215" fmla="*/ 2632 h 10000"/>
                <a:gd name="connsiteX216" fmla="*/ 9631 w 10000"/>
                <a:gd name="connsiteY216" fmla="*/ 2756 h 10000"/>
                <a:gd name="connsiteX217" fmla="*/ 9726 w 10000"/>
                <a:gd name="connsiteY217" fmla="*/ 2787 h 10000"/>
                <a:gd name="connsiteX218" fmla="*/ 9590 w 10000"/>
                <a:gd name="connsiteY218" fmla="*/ 2570 h 10000"/>
                <a:gd name="connsiteX219" fmla="*/ 9915 w 10000"/>
                <a:gd name="connsiteY219" fmla="*/ 2756 h 10000"/>
                <a:gd name="connsiteX220" fmla="*/ 10000 w 10000"/>
                <a:gd name="connsiteY220" fmla="*/ 3014 h 10000"/>
                <a:gd name="connsiteX221" fmla="*/ 9934 w 10000"/>
                <a:gd name="connsiteY221" fmla="*/ 2941 h 10000"/>
                <a:gd name="connsiteX222" fmla="*/ 9874 w 10000"/>
                <a:gd name="connsiteY222" fmla="*/ 2952 h 10000"/>
                <a:gd name="connsiteX223" fmla="*/ 10000 w 10000"/>
                <a:gd name="connsiteY223" fmla="*/ 3292 h 10000"/>
                <a:gd name="connsiteX224" fmla="*/ 9845 w 10000"/>
                <a:gd name="connsiteY224" fmla="*/ 3220 h 10000"/>
                <a:gd name="connsiteX225" fmla="*/ 9745 w 10000"/>
                <a:gd name="connsiteY225" fmla="*/ 3075 h 10000"/>
                <a:gd name="connsiteX226" fmla="*/ 9641 w 10000"/>
                <a:gd name="connsiteY226" fmla="*/ 2972 h 10000"/>
                <a:gd name="connsiteX227" fmla="*/ 9555 w 10000"/>
                <a:gd name="connsiteY227" fmla="*/ 3003 h 10000"/>
                <a:gd name="connsiteX228" fmla="*/ 9470 w 10000"/>
                <a:gd name="connsiteY228" fmla="*/ 2787 h 10000"/>
                <a:gd name="connsiteX229" fmla="*/ 9366 w 10000"/>
                <a:gd name="connsiteY229" fmla="*/ 2725 h 10000"/>
                <a:gd name="connsiteX230" fmla="*/ 9461 w 10000"/>
                <a:gd name="connsiteY230" fmla="*/ 2972 h 10000"/>
                <a:gd name="connsiteX231" fmla="*/ 9470 w 10000"/>
                <a:gd name="connsiteY231" fmla="*/ 3230 h 10000"/>
                <a:gd name="connsiteX232" fmla="*/ 9288 w 10000"/>
                <a:gd name="connsiteY232" fmla="*/ 3065 h 10000"/>
                <a:gd name="connsiteX233" fmla="*/ 9262 w 10000"/>
                <a:gd name="connsiteY233" fmla="*/ 3230 h 10000"/>
                <a:gd name="connsiteX234" fmla="*/ 9363 w 10000"/>
                <a:gd name="connsiteY234" fmla="*/ 3230 h 10000"/>
                <a:gd name="connsiteX235" fmla="*/ 9451 w 10000"/>
                <a:gd name="connsiteY235" fmla="*/ 3354 h 10000"/>
                <a:gd name="connsiteX236" fmla="*/ 9659 w 10000"/>
                <a:gd name="connsiteY236" fmla="*/ 3685 h 10000"/>
                <a:gd name="connsiteX237" fmla="*/ 9735 w 10000"/>
                <a:gd name="connsiteY237" fmla="*/ 3839 h 10000"/>
                <a:gd name="connsiteX238" fmla="*/ 9552 w 10000"/>
                <a:gd name="connsiteY238" fmla="*/ 3757 h 10000"/>
                <a:gd name="connsiteX239" fmla="*/ 9451 w 10000"/>
                <a:gd name="connsiteY239" fmla="*/ 4025 h 10000"/>
                <a:gd name="connsiteX240" fmla="*/ 9385 w 10000"/>
                <a:gd name="connsiteY240" fmla="*/ 4283 h 10000"/>
                <a:gd name="connsiteX241" fmla="*/ 9376 w 10000"/>
                <a:gd name="connsiteY241" fmla="*/ 4499 h 10000"/>
                <a:gd name="connsiteX242" fmla="*/ 9335 w 10000"/>
                <a:gd name="connsiteY242" fmla="*/ 4303 h 10000"/>
                <a:gd name="connsiteX243" fmla="*/ 9149 w 10000"/>
                <a:gd name="connsiteY243" fmla="*/ 4314 h 10000"/>
                <a:gd name="connsiteX244" fmla="*/ 9155 w 10000"/>
                <a:gd name="connsiteY244" fmla="*/ 4531 h 10000"/>
                <a:gd name="connsiteX245" fmla="*/ 9061 w 10000"/>
                <a:gd name="connsiteY245" fmla="*/ 4365 h 10000"/>
                <a:gd name="connsiteX246" fmla="*/ 9054 w 10000"/>
                <a:gd name="connsiteY246" fmla="*/ 4521 h 10000"/>
                <a:gd name="connsiteX247" fmla="*/ 8998 w 10000"/>
                <a:gd name="connsiteY247" fmla="*/ 4458 h 10000"/>
                <a:gd name="connsiteX248" fmla="*/ 8966 w 10000"/>
                <a:gd name="connsiteY248" fmla="*/ 4562 h 10000"/>
                <a:gd name="connsiteX249" fmla="*/ 9007 w 10000"/>
                <a:gd name="connsiteY249" fmla="*/ 4686 h 10000"/>
                <a:gd name="connsiteX250" fmla="*/ 9004 w 10000"/>
                <a:gd name="connsiteY250" fmla="*/ 4995 h 10000"/>
                <a:gd name="connsiteX251" fmla="*/ 9073 w 10000"/>
                <a:gd name="connsiteY251" fmla="*/ 5211 h 10000"/>
                <a:gd name="connsiteX252" fmla="*/ 9130 w 10000"/>
                <a:gd name="connsiteY252" fmla="*/ 5150 h 10000"/>
                <a:gd name="connsiteX253" fmla="*/ 9158 w 10000"/>
                <a:gd name="connsiteY253" fmla="*/ 5211 h 10000"/>
                <a:gd name="connsiteX254" fmla="*/ 9231 w 10000"/>
                <a:gd name="connsiteY254" fmla="*/ 5428 h 10000"/>
                <a:gd name="connsiteX255" fmla="*/ 9215 w 10000"/>
                <a:gd name="connsiteY255" fmla="*/ 5604 h 10000"/>
                <a:gd name="connsiteX256" fmla="*/ 9221 w 10000"/>
                <a:gd name="connsiteY256" fmla="*/ 5769 h 10000"/>
                <a:gd name="connsiteX257" fmla="*/ 9269 w 10000"/>
                <a:gd name="connsiteY257" fmla="*/ 5883 h 10000"/>
                <a:gd name="connsiteX258" fmla="*/ 9344 w 10000"/>
                <a:gd name="connsiteY258" fmla="*/ 6068 h 10000"/>
                <a:gd name="connsiteX259" fmla="*/ 9269 w 10000"/>
                <a:gd name="connsiteY259" fmla="*/ 6068 h 10000"/>
                <a:gd name="connsiteX260" fmla="*/ 9253 w 10000"/>
                <a:gd name="connsiteY260" fmla="*/ 6223 h 10000"/>
                <a:gd name="connsiteX261" fmla="*/ 9319 w 10000"/>
                <a:gd name="connsiteY261" fmla="*/ 6408 h 10000"/>
                <a:gd name="connsiteX262" fmla="*/ 9250 w 10000"/>
                <a:gd name="connsiteY262" fmla="*/ 6502 h 10000"/>
                <a:gd name="connsiteX263" fmla="*/ 9297 w 10000"/>
                <a:gd name="connsiteY263" fmla="*/ 6729 h 10000"/>
                <a:gd name="connsiteX264" fmla="*/ 9281 w 10000"/>
                <a:gd name="connsiteY264" fmla="*/ 7069 h 10000"/>
                <a:gd name="connsiteX265" fmla="*/ 9061 w 10000"/>
                <a:gd name="connsiteY265" fmla="*/ 6408 h 10000"/>
                <a:gd name="connsiteX266" fmla="*/ 8824 w 10000"/>
                <a:gd name="connsiteY266" fmla="*/ 5759 h 10000"/>
                <a:gd name="connsiteX267" fmla="*/ 8771 w 10000"/>
                <a:gd name="connsiteY267" fmla="*/ 5459 h 10000"/>
                <a:gd name="connsiteX268" fmla="*/ 8768 w 10000"/>
                <a:gd name="connsiteY268" fmla="*/ 5211 h 10000"/>
                <a:gd name="connsiteX269" fmla="*/ 8692 w 10000"/>
                <a:gd name="connsiteY269" fmla="*/ 5047 h 10000"/>
                <a:gd name="connsiteX270" fmla="*/ 8771 w 10000"/>
                <a:gd name="connsiteY270" fmla="*/ 5088 h 10000"/>
                <a:gd name="connsiteX271" fmla="*/ 8809 w 10000"/>
                <a:gd name="connsiteY271" fmla="*/ 5108 h 10000"/>
                <a:gd name="connsiteX272" fmla="*/ 8809 w 10000"/>
                <a:gd name="connsiteY272" fmla="*/ 4840 h 10000"/>
                <a:gd name="connsiteX273" fmla="*/ 8827 w 10000"/>
                <a:gd name="connsiteY273" fmla="*/ 4437 h 10000"/>
                <a:gd name="connsiteX274" fmla="*/ 8853 w 10000"/>
                <a:gd name="connsiteY274" fmla="*/ 4252 h 10000"/>
                <a:gd name="connsiteX275" fmla="*/ 8909 w 10000"/>
                <a:gd name="connsiteY275" fmla="*/ 4221 h 10000"/>
                <a:gd name="connsiteX276" fmla="*/ 8786 w 10000"/>
                <a:gd name="connsiteY276" fmla="*/ 3901 h 10000"/>
                <a:gd name="connsiteX277" fmla="*/ 8853 w 10000"/>
                <a:gd name="connsiteY277" fmla="*/ 3839 h 10000"/>
                <a:gd name="connsiteX278" fmla="*/ 8739 w 10000"/>
                <a:gd name="connsiteY278" fmla="*/ 3788 h 10000"/>
                <a:gd name="connsiteX279" fmla="*/ 8755 w 10000"/>
                <a:gd name="connsiteY279" fmla="*/ 3984 h 10000"/>
                <a:gd name="connsiteX280" fmla="*/ 8692 w 10000"/>
                <a:gd name="connsiteY280" fmla="*/ 4303 h 10000"/>
                <a:gd name="connsiteX281" fmla="*/ 8604 w 10000"/>
                <a:gd name="connsiteY281" fmla="*/ 4210 h 10000"/>
                <a:gd name="connsiteX282" fmla="*/ 8550 w 10000"/>
                <a:gd name="connsiteY282" fmla="*/ 4056 h 10000"/>
                <a:gd name="connsiteX283" fmla="*/ 8481 w 10000"/>
                <a:gd name="connsiteY283" fmla="*/ 4138 h 10000"/>
                <a:gd name="connsiteX284" fmla="*/ 8389 w 10000"/>
                <a:gd name="connsiteY284" fmla="*/ 4107 h 10000"/>
                <a:gd name="connsiteX285" fmla="*/ 8352 w 10000"/>
                <a:gd name="connsiteY285" fmla="*/ 4406 h 10000"/>
                <a:gd name="connsiteX286" fmla="*/ 8481 w 10000"/>
                <a:gd name="connsiteY286" fmla="*/ 4655 h 10000"/>
                <a:gd name="connsiteX287" fmla="*/ 8405 w 10000"/>
                <a:gd name="connsiteY287" fmla="*/ 4830 h 10000"/>
                <a:gd name="connsiteX288" fmla="*/ 8225 w 10000"/>
                <a:gd name="connsiteY288" fmla="*/ 4799 h 10000"/>
                <a:gd name="connsiteX289" fmla="*/ 8209 w 10000"/>
                <a:gd name="connsiteY289" fmla="*/ 4655 h 10000"/>
                <a:gd name="connsiteX290" fmla="*/ 8102 w 10000"/>
                <a:gd name="connsiteY290" fmla="*/ 4634 h 10000"/>
                <a:gd name="connsiteX291" fmla="*/ 7641 w 10000"/>
                <a:gd name="connsiteY291" fmla="*/ 4779 h 10000"/>
                <a:gd name="connsiteX292" fmla="*/ 7610 w 10000"/>
                <a:gd name="connsiteY292" fmla="*/ 5005 h 10000"/>
                <a:gd name="connsiteX293" fmla="*/ 7550 w 10000"/>
                <a:gd name="connsiteY293" fmla="*/ 5666 h 10000"/>
                <a:gd name="connsiteX294" fmla="*/ 7496 w 10000"/>
                <a:gd name="connsiteY294" fmla="*/ 5965 h 10000"/>
                <a:gd name="connsiteX295" fmla="*/ 7701 w 10000"/>
                <a:gd name="connsiteY295" fmla="*/ 6161 h 10000"/>
                <a:gd name="connsiteX296" fmla="*/ 7745 w 10000"/>
                <a:gd name="connsiteY296" fmla="*/ 6243 h 10000"/>
                <a:gd name="connsiteX297" fmla="*/ 7771 w 10000"/>
                <a:gd name="connsiteY297" fmla="*/ 6285 h 10000"/>
                <a:gd name="connsiteX298" fmla="*/ 7793 w 10000"/>
                <a:gd name="connsiteY298" fmla="*/ 6068 h 10000"/>
                <a:gd name="connsiteX299" fmla="*/ 7912 w 10000"/>
                <a:gd name="connsiteY299" fmla="*/ 6089 h 10000"/>
                <a:gd name="connsiteX300" fmla="*/ 8004 w 10000"/>
                <a:gd name="connsiteY300" fmla="*/ 6367 h 10000"/>
                <a:gd name="connsiteX301" fmla="*/ 8064 w 10000"/>
                <a:gd name="connsiteY301" fmla="*/ 6616 h 10000"/>
                <a:gd name="connsiteX302" fmla="*/ 8111 w 10000"/>
                <a:gd name="connsiteY302" fmla="*/ 6781 h 10000"/>
                <a:gd name="connsiteX303" fmla="*/ 8048 w 10000"/>
                <a:gd name="connsiteY303" fmla="*/ 6491 h 10000"/>
                <a:gd name="connsiteX304" fmla="*/ 8124 w 10000"/>
                <a:gd name="connsiteY304" fmla="*/ 6336 h 10000"/>
                <a:gd name="connsiteX305" fmla="*/ 8177 w 10000"/>
                <a:gd name="connsiteY305" fmla="*/ 6512 h 10000"/>
                <a:gd name="connsiteX306" fmla="*/ 8300 w 10000"/>
                <a:gd name="connsiteY306" fmla="*/ 6987 h 10000"/>
                <a:gd name="connsiteX307" fmla="*/ 8361 w 10000"/>
                <a:gd name="connsiteY307" fmla="*/ 7152 h 10000"/>
                <a:gd name="connsiteX308" fmla="*/ 8490 w 10000"/>
                <a:gd name="connsiteY308" fmla="*/ 7482 h 10000"/>
                <a:gd name="connsiteX309" fmla="*/ 8604 w 10000"/>
                <a:gd name="connsiteY309" fmla="*/ 7854 h 10000"/>
                <a:gd name="connsiteX310" fmla="*/ 8474 w 10000"/>
                <a:gd name="connsiteY310" fmla="*/ 7647 h 10000"/>
                <a:gd name="connsiteX311" fmla="*/ 8443 w 10000"/>
                <a:gd name="connsiteY311" fmla="*/ 7678 h 10000"/>
                <a:gd name="connsiteX312" fmla="*/ 8512 w 10000"/>
                <a:gd name="connsiteY312" fmla="*/ 8050 h 10000"/>
                <a:gd name="connsiteX313" fmla="*/ 8588 w 10000"/>
                <a:gd name="connsiteY313" fmla="*/ 8266 h 10000"/>
                <a:gd name="connsiteX314" fmla="*/ 8642 w 10000"/>
                <a:gd name="connsiteY314" fmla="*/ 8472 h 10000"/>
                <a:gd name="connsiteX315" fmla="*/ 8566 w 10000"/>
                <a:gd name="connsiteY315" fmla="*/ 8421 h 10000"/>
                <a:gd name="connsiteX316" fmla="*/ 8556 w 10000"/>
                <a:gd name="connsiteY316" fmla="*/ 8669 h 10000"/>
                <a:gd name="connsiteX317" fmla="*/ 8497 w 10000"/>
                <a:gd name="connsiteY317" fmla="*/ 8493 h 10000"/>
                <a:gd name="connsiteX318" fmla="*/ 8481 w 10000"/>
                <a:gd name="connsiteY318" fmla="*/ 8421 h 10000"/>
                <a:gd name="connsiteX319" fmla="*/ 8361 w 10000"/>
                <a:gd name="connsiteY319" fmla="*/ 7751 h 10000"/>
                <a:gd name="connsiteX320" fmla="*/ 8322 w 10000"/>
                <a:gd name="connsiteY320" fmla="*/ 7524 h 10000"/>
                <a:gd name="connsiteX321" fmla="*/ 8291 w 10000"/>
                <a:gd name="connsiteY321" fmla="*/ 7378 h 10000"/>
                <a:gd name="connsiteX322" fmla="*/ 8275 w 10000"/>
                <a:gd name="connsiteY322" fmla="*/ 7306 h 10000"/>
                <a:gd name="connsiteX323" fmla="*/ 8139 w 10000"/>
                <a:gd name="connsiteY323" fmla="*/ 6863 h 10000"/>
                <a:gd name="connsiteX324" fmla="*/ 8199 w 10000"/>
                <a:gd name="connsiteY324" fmla="*/ 7451 h 10000"/>
                <a:gd name="connsiteX325" fmla="*/ 8247 w 10000"/>
                <a:gd name="connsiteY325" fmla="*/ 7998 h 10000"/>
                <a:gd name="connsiteX326" fmla="*/ 8177 w 10000"/>
                <a:gd name="connsiteY326" fmla="*/ 9133 h 10000"/>
                <a:gd name="connsiteX327" fmla="*/ 8124 w 10000"/>
                <a:gd name="connsiteY327" fmla="*/ 9484 h 10000"/>
                <a:gd name="connsiteX328" fmla="*/ 7972 w 10000"/>
                <a:gd name="connsiteY328" fmla="*/ 9432 h 10000"/>
                <a:gd name="connsiteX329" fmla="*/ 7897 w 10000"/>
                <a:gd name="connsiteY329" fmla="*/ 9660 h 10000"/>
                <a:gd name="connsiteX330" fmla="*/ 7868 w 10000"/>
                <a:gd name="connsiteY330" fmla="*/ 9588 h 10000"/>
                <a:gd name="connsiteX331" fmla="*/ 7884 w 10000"/>
                <a:gd name="connsiteY331" fmla="*/ 9536 h 10000"/>
                <a:gd name="connsiteX332" fmla="*/ 7897 w 10000"/>
                <a:gd name="connsiteY332" fmla="*/ 9380 h 10000"/>
                <a:gd name="connsiteX333" fmla="*/ 7884 w 10000"/>
                <a:gd name="connsiteY333" fmla="*/ 9236 h 10000"/>
                <a:gd name="connsiteX334" fmla="*/ 7793 w 10000"/>
                <a:gd name="connsiteY334" fmla="*/ 8865 h 10000"/>
                <a:gd name="connsiteX335" fmla="*/ 7831 w 10000"/>
                <a:gd name="connsiteY335" fmla="*/ 8741 h 10000"/>
                <a:gd name="connsiteX336" fmla="*/ 7928 w 10000"/>
                <a:gd name="connsiteY336" fmla="*/ 8844 h 10000"/>
                <a:gd name="connsiteX337" fmla="*/ 7912 w 10000"/>
                <a:gd name="connsiteY337" fmla="*/ 8318 h 10000"/>
                <a:gd name="connsiteX338" fmla="*/ 7906 w 10000"/>
                <a:gd name="connsiteY338" fmla="*/ 8019 h 10000"/>
                <a:gd name="connsiteX339" fmla="*/ 7846 w 10000"/>
                <a:gd name="connsiteY339" fmla="*/ 7802 h 10000"/>
                <a:gd name="connsiteX340" fmla="*/ 7723 w 10000"/>
                <a:gd name="connsiteY340" fmla="*/ 8050 h 10000"/>
                <a:gd name="connsiteX341" fmla="*/ 7619 w 10000"/>
                <a:gd name="connsiteY341" fmla="*/ 8019 h 10000"/>
                <a:gd name="connsiteX342" fmla="*/ 7528 w 10000"/>
                <a:gd name="connsiteY342" fmla="*/ 7699 h 10000"/>
                <a:gd name="connsiteX343" fmla="*/ 7355 w 10000"/>
                <a:gd name="connsiteY343" fmla="*/ 7482 h 10000"/>
                <a:gd name="connsiteX344" fmla="*/ 7279 w 10000"/>
                <a:gd name="connsiteY344" fmla="*/ 7482 h 10000"/>
                <a:gd name="connsiteX345" fmla="*/ 7080 w 10000"/>
                <a:gd name="connsiteY345" fmla="*/ 6781 h 10000"/>
                <a:gd name="connsiteX346" fmla="*/ 6901 w 10000"/>
                <a:gd name="connsiteY346" fmla="*/ 6460 h 10000"/>
                <a:gd name="connsiteX347" fmla="*/ 6724 w 10000"/>
                <a:gd name="connsiteY347" fmla="*/ 6336 h 10000"/>
                <a:gd name="connsiteX348" fmla="*/ 6583 w 10000"/>
                <a:gd name="connsiteY348" fmla="*/ 6408 h 10000"/>
                <a:gd name="connsiteX349" fmla="*/ 6567 w 10000"/>
                <a:gd name="connsiteY349" fmla="*/ 6585 h 10000"/>
                <a:gd name="connsiteX350" fmla="*/ 6664 w 10000"/>
                <a:gd name="connsiteY350" fmla="*/ 6760 h 10000"/>
                <a:gd name="connsiteX351" fmla="*/ 6636 w 10000"/>
                <a:gd name="connsiteY351" fmla="*/ 6935 h 10000"/>
                <a:gd name="connsiteX352" fmla="*/ 6636 w 10000"/>
                <a:gd name="connsiteY352" fmla="*/ 7399 h 10000"/>
                <a:gd name="connsiteX353" fmla="*/ 6560 w 10000"/>
                <a:gd name="connsiteY353" fmla="*/ 7482 h 10000"/>
                <a:gd name="connsiteX354" fmla="*/ 6485 w 10000"/>
                <a:gd name="connsiteY354" fmla="*/ 7378 h 10000"/>
                <a:gd name="connsiteX355" fmla="*/ 6400 w 10000"/>
                <a:gd name="connsiteY355" fmla="*/ 7399 h 10000"/>
                <a:gd name="connsiteX356" fmla="*/ 6334 w 10000"/>
                <a:gd name="connsiteY356" fmla="*/ 7275 h 10000"/>
                <a:gd name="connsiteX357" fmla="*/ 6258 w 10000"/>
                <a:gd name="connsiteY357" fmla="*/ 7358 h 10000"/>
                <a:gd name="connsiteX358" fmla="*/ 6220 w 10000"/>
                <a:gd name="connsiteY358" fmla="*/ 7524 h 10000"/>
                <a:gd name="connsiteX359" fmla="*/ 6081 w 10000"/>
                <a:gd name="connsiteY359" fmla="*/ 7606 h 10000"/>
                <a:gd name="connsiteX360" fmla="*/ 5892 w 10000"/>
                <a:gd name="connsiteY360" fmla="*/ 7575 h 10000"/>
                <a:gd name="connsiteX361" fmla="*/ 5855 w 10000"/>
                <a:gd name="connsiteY361" fmla="*/ 7327 h 10000"/>
                <a:gd name="connsiteX362" fmla="*/ 5643 w 10000"/>
                <a:gd name="connsiteY362" fmla="*/ 7255 h 10000"/>
                <a:gd name="connsiteX363" fmla="*/ 5539 w 10000"/>
                <a:gd name="connsiteY363" fmla="*/ 7358 h 10000"/>
                <a:gd name="connsiteX364" fmla="*/ 5416 w 10000"/>
                <a:gd name="connsiteY364" fmla="*/ 7203 h 10000"/>
                <a:gd name="connsiteX365" fmla="*/ 5372 w 10000"/>
                <a:gd name="connsiteY365" fmla="*/ 6904 h 10000"/>
                <a:gd name="connsiteX0" fmla="*/ 4864 w 10000"/>
                <a:gd name="connsiteY0" fmla="*/ 7183 h 10000"/>
                <a:gd name="connsiteX1" fmla="*/ 4713 w 10000"/>
                <a:gd name="connsiteY1" fmla="*/ 7152 h 10000"/>
                <a:gd name="connsiteX2" fmla="*/ 1610 w 10000"/>
                <a:gd name="connsiteY2" fmla="*/ 7183 h 10000"/>
                <a:gd name="connsiteX3" fmla="*/ 1655 w 10000"/>
                <a:gd name="connsiteY3" fmla="*/ 7430 h 10000"/>
                <a:gd name="connsiteX4" fmla="*/ 1604 w 10000"/>
                <a:gd name="connsiteY4" fmla="*/ 7430 h 10000"/>
                <a:gd name="connsiteX5" fmla="*/ 1551 w 10000"/>
                <a:gd name="connsiteY5" fmla="*/ 7255 h 10000"/>
                <a:gd name="connsiteX6" fmla="*/ 1513 w 10000"/>
                <a:gd name="connsiteY6" fmla="*/ 7430 h 10000"/>
                <a:gd name="connsiteX7" fmla="*/ 1519 w 10000"/>
                <a:gd name="connsiteY7" fmla="*/ 7854 h 10000"/>
                <a:gd name="connsiteX8" fmla="*/ 1604 w 10000"/>
                <a:gd name="connsiteY8" fmla="*/ 8070 h 10000"/>
                <a:gd name="connsiteX9" fmla="*/ 1648 w 10000"/>
                <a:gd name="connsiteY9" fmla="*/ 8019 h 10000"/>
                <a:gd name="connsiteX10" fmla="*/ 1741 w 10000"/>
                <a:gd name="connsiteY10" fmla="*/ 8493 h 10000"/>
                <a:gd name="connsiteX11" fmla="*/ 1610 w 10000"/>
                <a:gd name="connsiteY11" fmla="*/ 8669 h 10000"/>
                <a:gd name="connsiteX12" fmla="*/ 1595 w 10000"/>
                <a:gd name="connsiteY12" fmla="*/ 9009 h 10000"/>
                <a:gd name="connsiteX13" fmla="*/ 1664 w 10000"/>
                <a:gd name="connsiteY13" fmla="*/ 9236 h 10000"/>
                <a:gd name="connsiteX14" fmla="*/ 1664 w 10000"/>
                <a:gd name="connsiteY14" fmla="*/ 9484 h 10000"/>
                <a:gd name="connsiteX15" fmla="*/ 1769 w 10000"/>
                <a:gd name="connsiteY15" fmla="*/ 9835 h 10000"/>
                <a:gd name="connsiteX16" fmla="*/ 1703 w 10000"/>
                <a:gd name="connsiteY16" fmla="*/ 10000 h 10000"/>
                <a:gd name="connsiteX17" fmla="*/ 1604 w 10000"/>
                <a:gd name="connsiteY17" fmla="*/ 9753 h 10000"/>
                <a:gd name="connsiteX18" fmla="*/ 1465 w 10000"/>
                <a:gd name="connsiteY18" fmla="*/ 9505 h 10000"/>
                <a:gd name="connsiteX19" fmla="*/ 1406 w 10000"/>
                <a:gd name="connsiteY19" fmla="*/ 9588 h 10000"/>
                <a:gd name="connsiteX20" fmla="*/ 1308 w 10000"/>
                <a:gd name="connsiteY20" fmla="*/ 9380 h 10000"/>
                <a:gd name="connsiteX21" fmla="*/ 1097 w 10000"/>
                <a:gd name="connsiteY21" fmla="*/ 9339 h 10000"/>
                <a:gd name="connsiteX22" fmla="*/ 848 w 10000"/>
                <a:gd name="connsiteY22" fmla="*/ 8813 h 10000"/>
                <a:gd name="connsiteX23" fmla="*/ 914 w 10000"/>
                <a:gd name="connsiteY23" fmla="*/ 8721 h 10000"/>
                <a:gd name="connsiteX24" fmla="*/ 961 w 10000"/>
                <a:gd name="connsiteY24" fmla="*/ 8493 h 10000"/>
                <a:gd name="connsiteX25" fmla="*/ 908 w 10000"/>
                <a:gd name="connsiteY25" fmla="*/ 8390 h 10000"/>
                <a:gd name="connsiteX26" fmla="*/ 1021 w 10000"/>
                <a:gd name="connsiteY26" fmla="*/ 8245 h 10000"/>
                <a:gd name="connsiteX27" fmla="*/ 945 w 10000"/>
                <a:gd name="connsiteY27" fmla="*/ 8194 h 10000"/>
                <a:gd name="connsiteX28" fmla="*/ 958 w 10000"/>
                <a:gd name="connsiteY28" fmla="*/ 8091 h 10000"/>
                <a:gd name="connsiteX29" fmla="*/ 1005 w 10000"/>
                <a:gd name="connsiteY29" fmla="*/ 8111 h 10000"/>
                <a:gd name="connsiteX30" fmla="*/ 1059 w 10000"/>
                <a:gd name="connsiteY30" fmla="*/ 8019 h 10000"/>
                <a:gd name="connsiteX31" fmla="*/ 1034 w 10000"/>
                <a:gd name="connsiteY31" fmla="*/ 7864 h 10000"/>
                <a:gd name="connsiteX32" fmla="*/ 1043 w 10000"/>
                <a:gd name="connsiteY32" fmla="*/ 7503 h 10000"/>
                <a:gd name="connsiteX33" fmla="*/ 930 w 10000"/>
                <a:gd name="connsiteY33" fmla="*/ 7440 h 10000"/>
                <a:gd name="connsiteX34" fmla="*/ 832 w 10000"/>
                <a:gd name="connsiteY34" fmla="*/ 7286 h 10000"/>
                <a:gd name="connsiteX35" fmla="*/ 700 w 10000"/>
                <a:gd name="connsiteY35" fmla="*/ 7275 h 10000"/>
                <a:gd name="connsiteX36" fmla="*/ 684 w 10000"/>
                <a:gd name="connsiteY36" fmla="*/ 7090 h 10000"/>
                <a:gd name="connsiteX37" fmla="*/ 596 w 10000"/>
                <a:gd name="connsiteY37" fmla="*/ 6945 h 10000"/>
                <a:gd name="connsiteX38" fmla="*/ 615 w 10000"/>
                <a:gd name="connsiteY38" fmla="*/ 6822 h 10000"/>
                <a:gd name="connsiteX39" fmla="*/ 561 w 10000"/>
                <a:gd name="connsiteY39" fmla="*/ 6698 h 10000"/>
                <a:gd name="connsiteX40" fmla="*/ 457 w 10000"/>
                <a:gd name="connsiteY40" fmla="*/ 6698 h 10000"/>
                <a:gd name="connsiteX41" fmla="*/ 425 w 10000"/>
                <a:gd name="connsiteY41" fmla="*/ 6791 h 10000"/>
                <a:gd name="connsiteX42" fmla="*/ 400 w 10000"/>
                <a:gd name="connsiteY42" fmla="*/ 6750 h 10000"/>
                <a:gd name="connsiteX43" fmla="*/ 378 w 10000"/>
                <a:gd name="connsiteY43" fmla="*/ 6439 h 10000"/>
                <a:gd name="connsiteX44" fmla="*/ 419 w 10000"/>
                <a:gd name="connsiteY44" fmla="*/ 6470 h 10000"/>
                <a:gd name="connsiteX45" fmla="*/ 466 w 10000"/>
                <a:gd name="connsiteY45" fmla="*/ 6347 h 10000"/>
                <a:gd name="connsiteX46" fmla="*/ 400 w 10000"/>
                <a:gd name="connsiteY46" fmla="*/ 6233 h 10000"/>
                <a:gd name="connsiteX47" fmla="*/ 315 w 10000"/>
                <a:gd name="connsiteY47" fmla="*/ 6017 h 10000"/>
                <a:gd name="connsiteX48" fmla="*/ 334 w 10000"/>
                <a:gd name="connsiteY48" fmla="*/ 5821 h 10000"/>
                <a:gd name="connsiteX49" fmla="*/ 274 w 10000"/>
                <a:gd name="connsiteY49" fmla="*/ 5697 h 10000"/>
                <a:gd name="connsiteX50" fmla="*/ 227 w 10000"/>
                <a:gd name="connsiteY50" fmla="*/ 5728 h 10000"/>
                <a:gd name="connsiteX51" fmla="*/ 202 w 10000"/>
                <a:gd name="connsiteY51" fmla="*/ 5604 h 10000"/>
                <a:gd name="connsiteX52" fmla="*/ 164 w 10000"/>
                <a:gd name="connsiteY52" fmla="*/ 5645 h 10000"/>
                <a:gd name="connsiteX53" fmla="*/ 117 w 10000"/>
                <a:gd name="connsiteY53" fmla="*/ 5604 h 10000"/>
                <a:gd name="connsiteX54" fmla="*/ 69 w 10000"/>
                <a:gd name="connsiteY54" fmla="*/ 5181 h 10000"/>
                <a:gd name="connsiteX55" fmla="*/ 85 w 10000"/>
                <a:gd name="connsiteY55" fmla="*/ 5057 h 10000"/>
                <a:gd name="connsiteX56" fmla="*/ 41 w 10000"/>
                <a:gd name="connsiteY56" fmla="*/ 4892 h 10000"/>
                <a:gd name="connsiteX57" fmla="*/ 66 w 10000"/>
                <a:gd name="connsiteY57" fmla="*/ 4655 h 10000"/>
                <a:gd name="connsiteX58" fmla="*/ 211 w 10000"/>
                <a:gd name="connsiteY58" fmla="*/ 4510 h 10000"/>
                <a:gd name="connsiteX59" fmla="*/ 129 w 10000"/>
                <a:gd name="connsiteY59" fmla="*/ 4406 h 10000"/>
                <a:gd name="connsiteX60" fmla="*/ 82 w 10000"/>
                <a:gd name="connsiteY60" fmla="*/ 4283 h 10000"/>
                <a:gd name="connsiteX61" fmla="*/ 205 w 10000"/>
                <a:gd name="connsiteY61" fmla="*/ 3912 h 10000"/>
                <a:gd name="connsiteX62" fmla="*/ 249 w 10000"/>
                <a:gd name="connsiteY62" fmla="*/ 3664 h 10000"/>
                <a:gd name="connsiteX63" fmla="*/ 151 w 10000"/>
                <a:gd name="connsiteY63" fmla="*/ 3488 h 10000"/>
                <a:gd name="connsiteX64" fmla="*/ 189 w 10000"/>
                <a:gd name="connsiteY64" fmla="*/ 3344 h 10000"/>
                <a:gd name="connsiteX65" fmla="*/ 113 w 10000"/>
                <a:gd name="connsiteY65" fmla="*/ 3148 h 10000"/>
                <a:gd name="connsiteX66" fmla="*/ 113 w 10000"/>
                <a:gd name="connsiteY66" fmla="*/ 2972 h 10000"/>
                <a:gd name="connsiteX67" fmla="*/ 60 w 10000"/>
                <a:gd name="connsiteY67" fmla="*/ 2622 h 10000"/>
                <a:gd name="connsiteX68" fmla="*/ 98 w 10000"/>
                <a:gd name="connsiteY68" fmla="*/ 2404 h 10000"/>
                <a:gd name="connsiteX69" fmla="*/ 38 w 10000"/>
                <a:gd name="connsiteY69" fmla="*/ 2301 h 10000"/>
                <a:gd name="connsiteX70" fmla="*/ 0 w 10000"/>
                <a:gd name="connsiteY70" fmla="*/ 2178 h 10000"/>
                <a:gd name="connsiteX71" fmla="*/ 54 w 10000"/>
                <a:gd name="connsiteY71" fmla="*/ 1951 h 10000"/>
                <a:gd name="connsiteX72" fmla="*/ 120 w 10000"/>
                <a:gd name="connsiteY72" fmla="*/ 1910 h 10000"/>
                <a:gd name="connsiteX73" fmla="*/ 195 w 10000"/>
                <a:gd name="connsiteY73" fmla="*/ 1858 h 10000"/>
                <a:gd name="connsiteX74" fmla="*/ 309 w 10000"/>
                <a:gd name="connsiteY74" fmla="*/ 1951 h 10000"/>
                <a:gd name="connsiteX75" fmla="*/ 482 w 10000"/>
                <a:gd name="connsiteY75" fmla="*/ 2054 h 10000"/>
                <a:gd name="connsiteX76" fmla="*/ 633 w 10000"/>
                <a:gd name="connsiteY76" fmla="*/ 2229 h 10000"/>
                <a:gd name="connsiteX77" fmla="*/ 756 w 10000"/>
                <a:gd name="connsiteY77" fmla="*/ 2373 h 10000"/>
                <a:gd name="connsiteX78" fmla="*/ 725 w 10000"/>
                <a:gd name="connsiteY78" fmla="*/ 2777 h 10000"/>
                <a:gd name="connsiteX79" fmla="*/ 362 w 10000"/>
                <a:gd name="connsiteY79" fmla="*/ 2673 h 10000"/>
                <a:gd name="connsiteX80" fmla="*/ 243 w 10000"/>
                <a:gd name="connsiteY80" fmla="*/ 2550 h 10000"/>
                <a:gd name="connsiteX81" fmla="*/ 287 w 10000"/>
                <a:gd name="connsiteY81" fmla="*/ 2622 h 10000"/>
                <a:gd name="connsiteX82" fmla="*/ 331 w 10000"/>
                <a:gd name="connsiteY82" fmla="*/ 2797 h 10000"/>
                <a:gd name="connsiteX83" fmla="*/ 400 w 10000"/>
                <a:gd name="connsiteY83" fmla="*/ 2921 h 10000"/>
                <a:gd name="connsiteX84" fmla="*/ 416 w 10000"/>
                <a:gd name="connsiteY84" fmla="*/ 3189 h 10000"/>
                <a:gd name="connsiteX85" fmla="*/ 507 w 10000"/>
                <a:gd name="connsiteY85" fmla="*/ 3313 h 10000"/>
                <a:gd name="connsiteX86" fmla="*/ 583 w 10000"/>
                <a:gd name="connsiteY86" fmla="*/ 3436 h 10000"/>
                <a:gd name="connsiteX87" fmla="*/ 605 w 10000"/>
                <a:gd name="connsiteY87" fmla="*/ 3467 h 10000"/>
                <a:gd name="connsiteX88" fmla="*/ 649 w 10000"/>
                <a:gd name="connsiteY88" fmla="*/ 3436 h 10000"/>
                <a:gd name="connsiteX89" fmla="*/ 633 w 10000"/>
                <a:gd name="connsiteY89" fmla="*/ 3364 h 10000"/>
                <a:gd name="connsiteX90" fmla="*/ 545 w 10000"/>
                <a:gd name="connsiteY90" fmla="*/ 3189 h 10000"/>
                <a:gd name="connsiteX91" fmla="*/ 801 w 10000"/>
                <a:gd name="connsiteY91" fmla="*/ 3344 h 10000"/>
                <a:gd name="connsiteX92" fmla="*/ 810 w 10000"/>
                <a:gd name="connsiteY92" fmla="*/ 3271 h 10000"/>
                <a:gd name="connsiteX93" fmla="*/ 785 w 10000"/>
                <a:gd name="connsiteY93" fmla="*/ 3220 h 10000"/>
                <a:gd name="connsiteX94" fmla="*/ 741 w 10000"/>
                <a:gd name="connsiteY94" fmla="*/ 2993 h 10000"/>
                <a:gd name="connsiteX95" fmla="*/ 870 w 10000"/>
                <a:gd name="connsiteY95" fmla="*/ 2777 h 10000"/>
                <a:gd name="connsiteX96" fmla="*/ 968 w 10000"/>
                <a:gd name="connsiteY96" fmla="*/ 2921 h 10000"/>
                <a:gd name="connsiteX97" fmla="*/ 999 w 10000"/>
                <a:gd name="connsiteY97" fmla="*/ 2725 h 10000"/>
                <a:gd name="connsiteX98" fmla="*/ 952 w 10000"/>
                <a:gd name="connsiteY98" fmla="*/ 2653 h 10000"/>
                <a:gd name="connsiteX99" fmla="*/ 936 w 10000"/>
                <a:gd name="connsiteY99" fmla="*/ 2281 h 10000"/>
                <a:gd name="connsiteX100" fmla="*/ 914 w 10000"/>
                <a:gd name="connsiteY100" fmla="*/ 2229 h 10000"/>
                <a:gd name="connsiteX101" fmla="*/ 1037 w 10000"/>
                <a:gd name="connsiteY101" fmla="*/ 2250 h 10000"/>
                <a:gd name="connsiteX102" fmla="*/ 1087 w 10000"/>
                <a:gd name="connsiteY102" fmla="*/ 2404 h 10000"/>
                <a:gd name="connsiteX103" fmla="*/ 1021 w 10000"/>
                <a:gd name="connsiteY103" fmla="*/ 2529 h 10000"/>
                <a:gd name="connsiteX104" fmla="*/ 1135 w 10000"/>
                <a:gd name="connsiteY104" fmla="*/ 2694 h 10000"/>
                <a:gd name="connsiteX105" fmla="*/ 1226 w 10000"/>
                <a:gd name="connsiteY105" fmla="*/ 2529 h 10000"/>
                <a:gd name="connsiteX106" fmla="*/ 1339 w 10000"/>
                <a:gd name="connsiteY106" fmla="*/ 2301 h 10000"/>
                <a:gd name="connsiteX107" fmla="*/ 1459 w 10000"/>
                <a:gd name="connsiteY107" fmla="*/ 2157 h 10000"/>
                <a:gd name="connsiteX108" fmla="*/ 1497 w 10000"/>
                <a:gd name="connsiteY108" fmla="*/ 2250 h 10000"/>
                <a:gd name="connsiteX109" fmla="*/ 1807 w 10000"/>
                <a:gd name="connsiteY109" fmla="*/ 2054 h 10000"/>
                <a:gd name="connsiteX110" fmla="*/ 1870 w 10000"/>
                <a:gd name="connsiteY110" fmla="*/ 2250 h 10000"/>
                <a:gd name="connsiteX111" fmla="*/ 1860 w 10000"/>
                <a:gd name="connsiteY111" fmla="*/ 2002 h 10000"/>
                <a:gd name="connsiteX112" fmla="*/ 1778 w 10000"/>
                <a:gd name="connsiteY112" fmla="*/ 1786 h 10000"/>
                <a:gd name="connsiteX113" fmla="*/ 1763 w 10000"/>
                <a:gd name="connsiteY113" fmla="*/ 1703 h 10000"/>
                <a:gd name="connsiteX114" fmla="*/ 1823 w 10000"/>
                <a:gd name="connsiteY114" fmla="*/ 1786 h 10000"/>
                <a:gd name="connsiteX115" fmla="*/ 2034 w 10000"/>
                <a:gd name="connsiteY115" fmla="*/ 1951 h 10000"/>
                <a:gd name="connsiteX116" fmla="*/ 2270 w 10000"/>
                <a:gd name="connsiteY116" fmla="*/ 2126 h 10000"/>
                <a:gd name="connsiteX117" fmla="*/ 2384 w 10000"/>
                <a:gd name="connsiteY117" fmla="*/ 2250 h 10000"/>
                <a:gd name="connsiteX118" fmla="*/ 2421 w 10000"/>
                <a:gd name="connsiteY118" fmla="*/ 2074 h 10000"/>
                <a:gd name="connsiteX119" fmla="*/ 2368 w 10000"/>
                <a:gd name="connsiteY119" fmla="*/ 2033 h 10000"/>
                <a:gd name="connsiteX120" fmla="*/ 2299 w 10000"/>
                <a:gd name="connsiteY120" fmla="*/ 1930 h 10000"/>
                <a:gd name="connsiteX121" fmla="*/ 2254 w 10000"/>
                <a:gd name="connsiteY121" fmla="*/ 1734 h 10000"/>
                <a:gd name="connsiteX122" fmla="*/ 2185 w 10000"/>
                <a:gd name="connsiteY122" fmla="*/ 1486 h 10000"/>
                <a:gd name="connsiteX123" fmla="*/ 2210 w 10000"/>
                <a:gd name="connsiteY123" fmla="*/ 1434 h 10000"/>
                <a:gd name="connsiteX124" fmla="*/ 2232 w 10000"/>
                <a:gd name="connsiteY124" fmla="*/ 1455 h 10000"/>
                <a:gd name="connsiteX125" fmla="*/ 2292 w 10000"/>
                <a:gd name="connsiteY125" fmla="*/ 1115 h 10000"/>
                <a:gd name="connsiteX126" fmla="*/ 2443 w 10000"/>
                <a:gd name="connsiteY126" fmla="*/ 1135 h 10000"/>
                <a:gd name="connsiteX127" fmla="*/ 2488 w 10000"/>
                <a:gd name="connsiteY127" fmla="*/ 1311 h 10000"/>
                <a:gd name="connsiteX128" fmla="*/ 2519 w 10000"/>
                <a:gd name="connsiteY128" fmla="*/ 1538 h 10000"/>
                <a:gd name="connsiteX129" fmla="*/ 2573 w 10000"/>
                <a:gd name="connsiteY129" fmla="*/ 1734 h 10000"/>
                <a:gd name="connsiteX130" fmla="*/ 2670 w 10000"/>
                <a:gd name="connsiteY130" fmla="*/ 2157 h 10000"/>
                <a:gd name="connsiteX131" fmla="*/ 2481 w 10000"/>
                <a:gd name="connsiteY131" fmla="*/ 2673 h 10000"/>
                <a:gd name="connsiteX132" fmla="*/ 2557 w 10000"/>
                <a:gd name="connsiteY132" fmla="*/ 2746 h 10000"/>
                <a:gd name="connsiteX133" fmla="*/ 2655 w 10000"/>
                <a:gd name="connsiteY133" fmla="*/ 2818 h 10000"/>
                <a:gd name="connsiteX134" fmla="*/ 2784 w 10000"/>
                <a:gd name="connsiteY134" fmla="*/ 2622 h 10000"/>
                <a:gd name="connsiteX135" fmla="*/ 2790 w 10000"/>
                <a:gd name="connsiteY135" fmla="*/ 2404 h 10000"/>
                <a:gd name="connsiteX136" fmla="*/ 2746 w 10000"/>
                <a:gd name="connsiteY136" fmla="*/ 2301 h 10000"/>
                <a:gd name="connsiteX137" fmla="*/ 2919 w 10000"/>
                <a:gd name="connsiteY137" fmla="*/ 2250 h 10000"/>
                <a:gd name="connsiteX138" fmla="*/ 2989 w 10000"/>
                <a:gd name="connsiteY138" fmla="*/ 2497 h 10000"/>
                <a:gd name="connsiteX139" fmla="*/ 2989 w 10000"/>
                <a:gd name="connsiteY139" fmla="*/ 2425 h 10000"/>
                <a:gd name="connsiteX140" fmla="*/ 2973 w 10000"/>
                <a:gd name="connsiteY140" fmla="*/ 2353 h 10000"/>
                <a:gd name="connsiteX141" fmla="*/ 2967 w 10000"/>
                <a:gd name="connsiteY141" fmla="*/ 2178 h 10000"/>
                <a:gd name="connsiteX142" fmla="*/ 2800 w 10000"/>
                <a:gd name="connsiteY142" fmla="*/ 1930 h 10000"/>
                <a:gd name="connsiteX143" fmla="*/ 2670 w 10000"/>
                <a:gd name="connsiteY143" fmla="*/ 2002 h 10000"/>
                <a:gd name="connsiteX144" fmla="*/ 2617 w 10000"/>
                <a:gd name="connsiteY144" fmla="*/ 1683 h 10000"/>
                <a:gd name="connsiteX145" fmla="*/ 2563 w 10000"/>
                <a:gd name="connsiteY145" fmla="*/ 1507 h 10000"/>
                <a:gd name="connsiteX146" fmla="*/ 2617 w 10000"/>
                <a:gd name="connsiteY146" fmla="*/ 1331 h 10000"/>
                <a:gd name="connsiteX147" fmla="*/ 2611 w 10000"/>
                <a:gd name="connsiteY147" fmla="*/ 1166 h 10000"/>
                <a:gd name="connsiteX148" fmla="*/ 2588 w 10000"/>
                <a:gd name="connsiteY148" fmla="*/ 1115 h 10000"/>
                <a:gd name="connsiteX149" fmla="*/ 2626 w 10000"/>
                <a:gd name="connsiteY149" fmla="*/ 1115 h 10000"/>
                <a:gd name="connsiteX150" fmla="*/ 2670 w 10000"/>
                <a:gd name="connsiteY150" fmla="*/ 1455 h 10000"/>
                <a:gd name="connsiteX151" fmla="*/ 2891 w 10000"/>
                <a:gd name="connsiteY151" fmla="*/ 1662 h 10000"/>
                <a:gd name="connsiteX152" fmla="*/ 2724 w 10000"/>
                <a:gd name="connsiteY152" fmla="*/ 1383 h 10000"/>
                <a:gd name="connsiteX153" fmla="*/ 3049 w 10000"/>
                <a:gd name="connsiteY153" fmla="*/ 1383 h 10000"/>
                <a:gd name="connsiteX154" fmla="*/ 3102 w 10000"/>
                <a:gd name="connsiteY154" fmla="*/ 1362 h 10000"/>
                <a:gd name="connsiteX155" fmla="*/ 2897 w 10000"/>
                <a:gd name="connsiteY155" fmla="*/ 1115 h 10000"/>
                <a:gd name="connsiteX156" fmla="*/ 2951 w 10000"/>
                <a:gd name="connsiteY156" fmla="*/ 888 h 10000"/>
                <a:gd name="connsiteX157" fmla="*/ 3178 w 10000"/>
                <a:gd name="connsiteY157" fmla="*/ 888 h 10000"/>
                <a:gd name="connsiteX158" fmla="*/ 3156 w 10000"/>
                <a:gd name="connsiteY158" fmla="*/ 713 h 10000"/>
                <a:gd name="connsiteX159" fmla="*/ 3231 w 10000"/>
                <a:gd name="connsiteY159" fmla="*/ 589 h 10000"/>
                <a:gd name="connsiteX160" fmla="*/ 3276 w 10000"/>
                <a:gd name="connsiteY160" fmla="*/ 548 h 10000"/>
                <a:gd name="connsiteX161" fmla="*/ 3443 w 10000"/>
                <a:gd name="connsiteY161" fmla="*/ 423 h 10000"/>
                <a:gd name="connsiteX162" fmla="*/ 3487 w 10000"/>
                <a:gd name="connsiteY162" fmla="*/ 371 h 10000"/>
                <a:gd name="connsiteX163" fmla="*/ 3480 w 10000"/>
                <a:gd name="connsiteY163" fmla="*/ 444 h 10000"/>
                <a:gd name="connsiteX164" fmla="*/ 3660 w 10000"/>
                <a:gd name="connsiteY164" fmla="*/ 371 h 10000"/>
                <a:gd name="connsiteX165" fmla="*/ 3805 w 10000"/>
                <a:gd name="connsiteY165" fmla="*/ 248 h 10000"/>
                <a:gd name="connsiteX166" fmla="*/ 3827 w 10000"/>
                <a:gd name="connsiteY166" fmla="*/ 0 h 10000"/>
                <a:gd name="connsiteX167" fmla="*/ 3988 w 10000"/>
                <a:gd name="connsiteY167" fmla="*/ 21 h 10000"/>
                <a:gd name="connsiteX168" fmla="*/ 3978 w 10000"/>
                <a:gd name="connsiteY168" fmla="*/ 93 h 10000"/>
                <a:gd name="connsiteX169" fmla="*/ 3988 w 10000"/>
                <a:gd name="connsiteY169" fmla="*/ 176 h 10000"/>
                <a:gd name="connsiteX170" fmla="*/ 4085 w 10000"/>
                <a:gd name="connsiteY170" fmla="*/ 248 h 10000"/>
                <a:gd name="connsiteX171" fmla="*/ 4379 w 10000"/>
                <a:gd name="connsiteY171" fmla="*/ 268 h 10000"/>
                <a:gd name="connsiteX172" fmla="*/ 4539 w 10000"/>
                <a:gd name="connsiteY172" fmla="*/ 392 h 10000"/>
                <a:gd name="connsiteX173" fmla="*/ 4486 w 10000"/>
                <a:gd name="connsiteY173" fmla="*/ 795 h 10000"/>
                <a:gd name="connsiteX174" fmla="*/ 4426 w 10000"/>
                <a:gd name="connsiteY174" fmla="*/ 919 h 10000"/>
                <a:gd name="connsiteX175" fmla="*/ 4356 w 10000"/>
                <a:gd name="connsiteY175" fmla="*/ 1043 h 10000"/>
                <a:gd name="connsiteX176" fmla="*/ 4372 w 10000"/>
                <a:gd name="connsiteY176" fmla="*/ 1115 h 10000"/>
                <a:gd name="connsiteX177" fmla="*/ 4583 w 10000"/>
                <a:gd name="connsiteY177" fmla="*/ 919 h 10000"/>
                <a:gd name="connsiteX178" fmla="*/ 5060 w 10000"/>
                <a:gd name="connsiteY178" fmla="*/ 991 h 10000"/>
                <a:gd name="connsiteX179" fmla="*/ 5108 w 10000"/>
                <a:gd name="connsiteY179" fmla="*/ 1063 h 10000"/>
                <a:gd name="connsiteX180" fmla="*/ 5212 w 10000"/>
                <a:gd name="connsiteY180" fmla="*/ 1187 h 10000"/>
                <a:gd name="connsiteX181" fmla="*/ 5357 w 10000"/>
                <a:gd name="connsiteY181" fmla="*/ 919 h 10000"/>
                <a:gd name="connsiteX182" fmla="*/ 5577 w 10000"/>
                <a:gd name="connsiteY182" fmla="*/ 1063 h 10000"/>
                <a:gd name="connsiteX183" fmla="*/ 5643 w 10000"/>
                <a:gd name="connsiteY183" fmla="*/ 1115 h 10000"/>
                <a:gd name="connsiteX184" fmla="*/ 5697 w 10000"/>
                <a:gd name="connsiteY184" fmla="*/ 1166 h 10000"/>
                <a:gd name="connsiteX185" fmla="*/ 5908 w 10000"/>
                <a:gd name="connsiteY185" fmla="*/ 1631 h 10000"/>
                <a:gd name="connsiteX186" fmla="*/ 5984 w 10000"/>
                <a:gd name="connsiteY186" fmla="*/ 1611 h 10000"/>
                <a:gd name="connsiteX187" fmla="*/ 5977 w 10000"/>
                <a:gd name="connsiteY187" fmla="*/ 1507 h 10000"/>
                <a:gd name="connsiteX188" fmla="*/ 5984 w 10000"/>
                <a:gd name="connsiteY188" fmla="*/ 1383 h 10000"/>
                <a:gd name="connsiteX189" fmla="*/ 6091 w 10000"/>
                <a:gd name="connsiteY189" fmla="*/ 1486 h 10000"/>
                <a:gd name="connsiteX190" fmla="*/ 6264 w 10000"/>
                <a:gd name="connsiteY190" fmla="*/ 1507 h 10000"/>
                <a:gd name="connsiteX191" fmla="*/ 6409 w 10000"/>
                <a:gd name="connsiteY191" fmla="*/ 1455 h 10000"/>
                <a:gd name="connsiteX192" fmla="*/ 6340 w 10000"/>
                <a:gd name="connsiteY192" fmla="*/ 1362 h 10000"/>
                <a:gd name="connsiteX193" fmla="*/ 6431 w 10000"/>
                <a:gd name="connsiteY193" fmla="*/ 1084 h 10000"/>
                <a:gd name="connsiteX194" fmla="*/ 6687 w 10000"/>
                <a:gd name="connsiteY194" fmla="*/ 1207 h 10000"/>
                <a:gd name="connsiteX195" fmla="*/ 6945 w 10000"/>
                <a:gd name="connsiteY195" fmla="*/ 1331 h 10000"/>
                <a:gd name="connsiteX196" fmla="*/ 6967 w 10000"/>
                <a:gd name="connsiteY196" fmla="*/ 1362 h 10000"/>
                <a:gd name="connsiteX197" fmla="*/ 7194 w 10000"/>
                <a:gd name="connsiteY197" fmla="*/ 1611 h 10000"/>
                <a:gd name="connsiteX198" fmla="*/ 7367 w 10000"/>
                <a:gd name="connsiteY198" fmla="*/ 1507 h 10000"/>
                <a:gd name="connsiteX199" fmla="*/ 7582 w 10000"/>
                <a:gd name="connsiteY199" fmla="*/ 1538 h 10000"/>
                <a:gd name="connsiteX200" fmla="*/ 7657 w 10000"/>
                <a:gd name="connsiteY200" fmla="*/ 1611 h 10000"/>
                <a:gd name="connsiteX201" fmla="*/ 7928 w 10000"/>
                <a:gd name="connsiteY201" fmla="*/ 1930 h 10000"/>
                <a:gd name="connsiteX202" fmla="*/ 8231 w 10000"/>
                <a:gd name="connsiteY202" fmla="*/ 1879 h 10000"/>
                <a:gd name="connsiteX203" fmla="*/ 8339 w 10000"/>
                <a:gd name="connsiteY203" fmla="*/ 2033 h 10000"/>
                <a:gd name="connsiteX204" fmla="*/ 8490 w 10000"/>
                <a:gd name="connsiteY204" fmla="*/ 2157 h 10000"/>
                <a:gd name="connsiteX205" fmla="*/ 8519 w 10000"/>
                <a:gd name="connsiteY205" fmla="*/ 2105 h 10000"/>
                <a:gd name="connsiteX206" fmla="*/ 8497 w 10000"/>
                <a:gd name="connsiteY206" fmla="*/ 2074 h 10000"/>
                <a:gd name="connsiteX207" fmla="*/ 8383 w 10000"/>
                <a:gd name="connsiteY207" fmla="*/ 1930 h 10000"/>
                <a:gd name="connsiteX208" fmla="*/ 8465 w 10000"/>
                <a:gd name="connsiteY208" fmla="*/ 1755 h 10000"/>
                <a:gd name="connsiteX209" fmla="*/ 8664 w 10000"/>
                <a:gd name="connsiteY209" fmla="*/ 1910 h 10000"/>
                <a:gd name="connsiteX210" fmla="*/ 8950 w 10000"/>
                <a:gd name="connsiteY210" fmla="*/ 1982 h 10000"/>
                <a:gd name="connsiteX211" fmla="*/ 9206 w 10000"/>
                <a:gd name="connsiteY211" fmla="*/ 2260 h 10000"/>
                <a:gd name="connsiteX212" fmla="*/ 9344 w 10000"/>
                <a:gd name="connsiteY212" fmla="*/ 2332 h 10000"/>
                <a:gd name="connsiteX213" fmla="*/ 9451 w 10000"/>
                <a:gd name="connsiteY213" fmla="*/ 2446 h 10000"/>
                <a:gd name="connsiteX214" fmla="*/ 9574 w 10000"/>
                <a:gd name="connsiteY214" fmla="*/ 2632 h 10000"/>
                <a:gd name="connsiteX215" fmla="*/ 9631 w 10000"/>
                <a:gd name="connsiteY215" fmla="*/ 2756 h 10000"/>
                <a:gd name="connsiteX216" fmla="*/ 9726 w 10000"/>
                <a:gd name="connsiteY216" fmla="*/ 2787 h 10000"/>
                <a:gd name="connsiteX217" fmla="*/ 9590 w 10000"/>
                <a:gd name="connsiteY217" fmla="*/ 2570 h 10000"/>
                <a:gd name="connsiteX218" fmla="*/ 9915 w 10000"/>
                <a:gd name="connsiteY218" fmla="*/ 2756 h 10000"/>
                <a:gd name="connsiteX219" fmla="*/ 10000 w 10000"/>
                <a:gd name="connsiteY219" fmla="*/ 3014 h 10000"/>
                <a:gd name="connsiteX220" fmla="*/ 9934 w 10000"/>
                <a:gd name="connsiteY220" fmla="*/ 2941 h 10000"/>
                <a:gd name="connsiteX221" fmla="*/ 9874 w 10000"/>
                <a:gd name="connsiteY221" fmla="*/ 2952 h 10000"/>
                <a:gd name="connsiteX222" fmla="*/ 10000 w 10000"/>
                <a:gd name="connsiteY222" fmla="*/ 3292 h 10000"/>
                <a:gd name="connsiteX223" fmla="*/ 9845 w 10000"/>
                <a:gd name="connsiteY223" fmla="*/ 3220 h 10000"/>
                <a:gd name="connsiteX224" fmla="*/ 9745 w 10000"/>
                <a:gd name="connsiteY224" fmla="*/ 3075 h 10000"/>
                <a:gd name="connsiteX225" fmla="*/ 9641 w 10000"/>
                <a:gd name="connsiteY225" fmla="*/ 2972 h 10000"/>
                <a:gd name="connsiteX226" fmla="*/ 9555 w 10000"/>
                <a:gd name="connsiteY226" fmla="*/ 3003 h 10000"/>
                <a:gd name="connsiteX227" fmla="*/ 9470 w 10000"/>
                <a:gd name="connsiteY227" fmla="*/ 2787 h 10000"/>
                <a:gd name="connsiteX228" fmla="*/ 9366 w 10000"/>
                <a:gd name="connsiteY228" fmla="*/ 2725 h 10000"/>
                <a:gd name="connsiteX229" fmla="*/ 9461 w 10000"/>
                <a:gd name="connsiteY229" fmla="*/ 2972 h 10000"/>
                <a:gd name="connsiteX230" fmla="*/ 9470 w 10000"/>
                <a:gd name="connsiteY230" fmla="*/ 3230 h 10000"/>
                <a:gd name="connsiteX231" fmla="*/ 9288 w 10000"/>
                <a:gd name="connsiteY231" fmla="*/ 3065 h 10000"/>
                <a:gd name="connsiteX232" fmla="*/ 9262 w 10000"/>
                <a:gd name="connsiteY232" fmla="*/ 3230 h 10000"/>
                <a:gd name="connsiteX233" fmla="*/ 9363 w 10000"/>
                <a:gd name="connsiteY233" fmla="*/ 3230 h 10000"/>
                <a:gd name="connsiteX234" fmla="*/ 9451 w 10000"/>
                <a:gd name="connsiteY234" fmla="*/ 3354 h 10000"/>
                <a:gd name="connsiteX235" fmla="*/ 9659 w 10000"/>
                <a:gd name="connsiteY235" fmla="*/ 3685 h 10000"/>
                <a:gd name="connsiteX236" fmla="*/ 9735 w 10000"/>
                <a:gd name="connsiteY236" fmla="*/ 3839 h 10000"/>
                <a:gd name="connsiteX237" fmla="*/ 9552 w 10000"/>
                <a:gd name="connsiteY237" fmla="*/ 3757 h 10000"/>
                <a:gd name="connsiteX238" fmla="*/ 9451 w 10000"/>
                <a:gd name="connsiteY238" fmla="*/ 4025 h 10000"/>
                <a:gd name="connsiteX239" fmla="*/ 9385 w 10000"/>
                <a:gd name="connsiteY239" fmla="*/ 4283 h 10000"/>
                <a:gd name="connsiteX240" fmla="*/ 9376 w 10000"/>
                <a:gd name="connsiteY240" fmla="*/ 4499 h 10000"/>
                <a:gd name="connsiteX241" fmla="*/ 9335 w 10000"/>
                <a:gd name="connsiteY241" fmla="*/ 4303 h 10000"/>
                <a:gd name="connsiteX242" fmla="*/ 9149 w 10000"/>
                <a:gd name="connsiteY242" fmla="*/ 4314 h 10000"/>
                <a:gd name="connsiteX243" fmla="*/ 9155 w 10000"/>
                <a:gd name="connsiteY243" fmla="*/ 4531 h 10000"/>
                <a:gd name="connsiteX244" fmla="*/ 9061 w 10000"/>
                <a:gd name="connsiteY244" fmla="*/ 4365 h 10000"/>
                <a:gd name="connsiteX245" fmla="*/ 9054 w 10000"/>
                <a:gd name="connsiteY245" fmla="*/ 4521 h 10000"/>
                <a:gd name="connsiteX246" fmla="*/ 8998 w 10000"/>
                <a:gd name="connsiteY246" fmla="*/ 4458 h 10000"/>
                <a:gd name="connsiteX247" fmla="*/ 8966 w 10000"/>
                <a:gd name="connsiteY247" fmla="*/ 4562 h 10000"/>
                <a:gd name="connsiteX248" fmla="*/ 9007 w 10000"/>
                <a:gd name="connsiteY248" fmla="*/ 4686 h 10000"/>
                <a:gd name="connsiteX249" fmla="*/ 9004 w 10000"/>
                <a:gd name="connsiteY249" fmla="*/ 4995 h 10000"/>
                <a:gd name="connsiteX250" fmla="*/ 9073 w 10000"/>
                <a:gd name="connsiteY250" fmla="*/ 5211 h 10000"/>
                <a:gd name="connsiteX251" fmla="*/ 9130 w 10000"/>
                <a:gd name="connsiteY251" fmla="*/ 5150 h 10000"/>
                <a:gd name="connsiteX252" fmla="*/ 9158 w 10000"/>
                <a:gd name="connsiteY252" fmla="*/ 5211 h 10000"/>
                <a:gd name="connsiteX253" fmla="*/ 9231 w 10000"/>
                <a:gd name="connsiteY253" fmla="*/ 5428 h 10000"/>
                <a:gd name="connsiteX254" fmla="*/ 9215 w 10000"/>
                <a:gd name="connsiteY254" fmla="*/ 5604 h 10000"/>
                <a:gd name="connsiteX255" fmla="*/ 9221 w 10000"/>
                <a:gd name="connsiteY255" fmla="*/ 5769 h 10000"/>
                <a:gd name="connsiteX256" fmla="*/ 9269 w 10000"/>
                <a:gd name="connsiteY256" fmla="*/ 5883 h 10000"/>
                <a:gd name="connsiteX257" fmla="*/ 9344 w 10000"/>
                <a:gd name="connsiteY257" fmla="*/ 6068 h 10000"/>
                <a:gd name="connsiteX258" fmla="*/ 9269 w 10000"/>
                <a:gd name="connsiteY258" fmla="*/ 6068 h 10000"/>
                <a:gd name="connsiteX259" fmla="*/ 9253 w 10000"/>
                <a:gd name="connsiteY259" fmla="*/ 6223 h 10000"/>
                <a:gd name="connsiteX260" fmla="*/ 9319 w 10000"/>
                <a:gd name="connsiteY260" fmla="*/ 6408 h 10000"/>
                <a:gd name="connsiteX261" fmla="*/ 9250 w 10000"/>
                <a:gd name="connsiteY261" fmla="*/ 6502 h 10000"/>
                <a:gd name="connsiteX262" fmla="*/ 9297 w 10000"/>
                <a:gd name="connsiteY262" fmla="*/ 6729 h 10000"/>
                <a:gd name="connsiteX263" fmla="*/ 9281 w 10000"/>
                <a:gd name="connsiteY263" fmla="*/ 7069 h 10000"/>
                <a:gd name="connsiteX264" fmla="*/ 9061 w 10000"/>
                <a:gd name="connsiteY264" fmla="*/ 6408 h 10000"/>
                <a:gd name="connsiteX265" fmla="*/ 8824 w 10000"/>
                <a:gd name="connsiteY265" fmla="*/ 5759 h 10000"/>
                <a:gd name="connsiteX266" fmla="*/ 8771 w 10000"/>
                <a:gd name="connsiteY266" fmla="*/ 5459 h 10000"/>
                <a:gd name="connsiteX267" fmla="*/ 8768 w 10000"/>
                <a:gd name="connsiteY267" fmla="*/ 5211 h 10000"/>
                <a:gd name="connsiteX268" fmla="*/ 8692 w 10000"/>
                <a:gd name="connsiteY268" fmla="*/ 5047 h 10000"/>
                <a:gd name="connsiteX269" fmla="*/ 8771 w 10000"/>
                <a:gd name="connsiteY269" fmla="*/ 5088 h 10000"/>
                <a:gd name="connsiteX270" fmla="*/ 8809 w 10000"/>
                <a:gd name="connsiteY270" fmla="*/ 5108 h 10000"/>
                <a:gd name="connsiteX271" fmla="*/ 8809 w 10000"/>
                <a:gd name="connsiteY271" fmla="*/ 4840 h 10000"/>
                <a:gd name="connsiteX272" fmla="*/ 8827 w 10000"/>
                <a:gd name="connsiteY272" fmla="*/ 4437 h 10000"/>
                <a:gd name="connsiteX273" fmla="*/ 8853 w 10000"/>
                <a:gd name="connsiteY273" fmla="*/ 4252 h 10000"/>
                <a:gd name="connsiteX274" fmla="*/ 8909 w 10000"/>
                <a:gd name="connsiteY274" fmla="*/ 4221 h 10000"/>
                <a:gd name="connsiteX275" fmla="*/ 8786 w 10000"/>
                <a:gd name="connsiteY275" fmla="*/ 3901 h 10000"/>
                <a:gd name="connsiteX276" fmla="*/ 8853 w 10000"/>
                <a:gd name="connsiteY276" fmla="*/ 3839 h 10000"/>
                <a:gd name="connsiteX277" fmla="*/ 8739 w 10000"/>
                <a:gd name="connsiteY277" fmla="*/ 3788 h 10000"/>
                <a:gd name="connsiteX278" fmla="*/ 8755 w 10000"/>
                <a:gd name="connsiteY278" fmla="*/ 3984 h 10000"/>
                <a:gd name="connsiteX279" fmla="*/ 8692 w 10000"/>
                <a:gd name="connsiteY279" fmla="*/ 4303 h 10000"/>
                <a:gd name="connsiteX280" fmla="*/ 8604 w 10000"/>
                <a:gd name="connsiteY280" fmla="*/ 4210 h 10000"/>
                <a:gd name="connsiteX281" fmla="*/ 8550 w 10000"/>
                <a:gd name="connsiteY281" fmla="*/ 4056 h 10000"/>
                <a:gd name="connsiteX282" fmla="*/ 8481 w 10000"/>
                <a:gd name="connsiteY282" fmla="*/ 4138 h 10000"/>
                <a:gd name="connsiteX283" fmla="*/ 8389 w 10000"/>
                <a:gd name="connsiteY283" fmla="*/ 4107 h 10000"/>
                <a:gd name="connsiteX284" fmla="*/ 8352 w 10000"/>
                <a:gd name="connsiteY284" fmla="*/ 4406 h 10000"/>
                <a:gd name="connsiteX285" fmla="*/ 8481 w 10000"/>
                <a:gd name="connsiteY285" fmla="*/ 4655 h 10000"/>
                <a:gd name="connsiteX286" fmla="*/ 8405 w 10000"/>
                <a:gd name="connsiteY286" fmla="*/ 4830 h 10000"/>
                <a:gd name="connsiteX287" fmla="*/ 8225 w 10000"/>
                <a:gd name="connsiteY287" fmla="*/ 4799 h 10000"/>
                <a:gd name="connsiteX288" fmla="*/ 8209 w 10000"/>
                <a:gd name="connsiteY288" fmla="*/ 4655 h 10000"/>
                <a:gd name="connsiteX289" fmla="*/ 8102 w 10000"/>
                <a:gd name="connsiteY289" fmla="*/ 4634 h 10000"/>
                <a:gd name="connsiteX290" fmla="*/ 7641 w 10000"/>
                <a:gd name="connsiteY290" fmla="*/ 4779 h 10000"/>
                <a:gd name="connsiteX291" fmla="*/ 7610 w 10000"/>
                <a:gd name="connsiteY291" fmla="*/ 5005 h 10000"/>
                <a:gd name="connsiteX292" fmla="*/ 7550 w 10000"/>
                <a:gd name="connsiteY292" fmla="*/ 5666 h 10000"/>
                <a:gd name="connsiteX293" fmla="*/ 7496 w 10000"/>
                <a:gd name="connsiteY293" fmla="*/ 5965 h 10000"/>
                <a:gd name="connsiteX294" fmla="*/ 7701 w 10000"/>
                <a:gd name="connsiteY294" fmla="*/ 6161 h 10000"/>
                <a:gd name="connsiteX295" fmla="*/ 7745 w 10000"/>
                <a:gd name="connsiteY295" fmla="*/ 6243 h 10000"/>
                <a:gd name="connsiteX296" fmla="*/ 7771 w 10000"/>
                <a:gd name="connsiteY296" fmla="*/ 6285 h 10000"/>
                <a:gd name="connsiteX297" fmla="*/ 7793 w 10000"/>
                <a:gd name="connsiteY297" fmla="*/ 6068 h 10000"/>
                <a:gd name="connsiteX298" fmla="*/ 7912 w 10000"/>
                <a:gd name="connsiteY298" fmla="*/ 6089 h 10000"/>
                <a:gd name="connsiteX299" fmla="*/ 8004 w 10000"/>
                <a:gd name="connsiteY299" fmla="*/ 6367 h 10000"/>
                <a:gd name="connsiteX300" fmla="*/ 8064 w 10000"/>
                <a:gd name="connsiteY300" fmla="*/ 6616 h 10000"/>
                <a:gd name="connsiteX301" fmla="*/ 8111 w 10000"/>
                <a:gd name="connsiteY301" fmla="*/ 6781 h 10000"/>
                <a:gd name="connsiteX302" fmla="*/ 8048 w 10000"/>
                <a:gd name="connsiteY302" fmla="*/ 6491 h 10000"/>
                <a:gd name="connsiteX303" fmla="*/ 8124 w 10000"/>
                <a:gd name="connsiteY303" fmla="*/ 6336 h 10000"/>
                <a:gd name="connsiteX304" fmla="*/ 8177 w 10000"/>
                <a:gd name="connsiteY304" fmla="*/ 6512 h 10000"/>
                <a:gd name="connsiteX305" fmla="*/ 8300 w 10000"/>
                <a:gd name="connsiteY305" fmla="*/ 6987 h 10000"/>
                <a:gd name="connsiteX306" fmla="*/ 8361 w 10000"/>
                <a:gd name="connsiteY306" fmla="*/ 7152 h 10000"/>
                <a:gd name="connsiteX307" fmla="*/ 8490 w 10000"/>
                <a:gd name="connsiteY307" fmla="*/ 7482 h 10000"/>
                <a:gd name="connsiteX308" fmla="*/ 8604 w 10000"/>
                <a:gd name="connsiteY308" fmla="*/ 7854 h 10000"/>
                <a:gd name="connsiteX309" fmla="*/ 8474 w 10000"/>
                <a:gd name="connsiteY309" fmla="*/ 7647 h 10000"/>
                <a:gd name="connsiteX310" fmla="*/ 8443 w 10000"/>
                <a:gd name="connsiteY310" fmla="*/ 7678 h 10000"/>
                <a:gd name="connsiteX311" fmla="*/ 8512 w 10000"/>
                <a:gd name="connsiteY311" fmla="*/ 8050 h 10000"/>
                <a:gd name="connsiteX312" fmla="*/ 8588 w 10000"/>
                <a:gd name="connsiteY312" fmla="*/ 8266 h 10000"/>
                <a:gd name="connsiteX313" fmla="*/ 8642 w 10000"/>
                <a:gd name="connsiteY313" fmla="*/ 8472 h 10000"/>
                <a:gd name="connsiteX314" fmla="*/ 8566 w 10000"/>
                <a:gd name="connsiteY314" fmla="*/ 8421 h 10000"/>
                <a:gd name="connsiteX315" fmla="*/ 8556 w 10000"/>
                <a:gd name="connsiteY315" fmla="*/ 8669 h 10000"/>
                <a:gd name="connsiteX316" fmla="*/ 8497 w 10000"/>
                <a:gd name="connsiteY316" fmla="*/ 8493 h 10000"/>
                <a:gd name="connsiteX317" fmla="*/ 8481 w 10000"/>
                <a:gd name="connsiteY317" fmla="*/ 8421 h 10000"/>
                <a:gd name="connsiteX318" fmla="*/ 8361 w 10000"/>
                <a:gd name="connsiteY318" fmla="*/ 7751 h 10000"/>
                <a:gd name="connsiteX319" fmla="*/ 8322 w 10000"/>
                <a:gd name="connsiteY319" fmla="*/ 7524 h 10000"/>
                <a:gd name="connsiteX320" fmla="*/ 8291 w 10000"/>
                <a:gd name="connsiteY320" fmla="*/ 7378 h 10000"/>
                <a:gd name="connsiteX321" fmla="*/ 8275 w 10000"/>
                <a:gd name="connsiteY321" fmla="*/ 7306 h 10000"/>
                <a:gd name="connsiteX322" fmla="*/ 8139 w 10000"/>
                <a:gd name="connsiteY322" fmla="*/ 6863 h 10000"/>
                <a:gd name="connsiteX323" fmla="*/ 8199 w 10000"/>
                <a:gd name="connsiteY323" fmla="*/ 7451 h 10000"/>
                <a:gd name="connsiteX324" fmla="*/ 8247 w 10000"/>
                <a:gd name="connsiteY324" fmla="*/ 7998 h 10000"/>
                <a:gd name="connsiteX325" fmla="*/ 8177 w 10000"/>
                <a:gd name="connsiteY325" fmla="*/ 9133 h 10000"/>
                <a:gd name="connsiteX326" fmla="*/ 8124 w 10000"/>
                <a:gd name="connsiteY326" fmla="*/ 9484 h 10000"/>
                <a:gd name="connsiteX327" fmla="*/ 7972 w 10000"/>
                <a:gd name="connsiteY327" fmla="*/ 9432 h 10000"/>
                <a:gd name="connsiteX328" fmla="*/ 7897 w 10000"/>
                <a:gd name="connsiteY328" fmla="*/ 9660 h 10000"/>
                <a:gd name="connsiteX329" fmla="*/ 7868 w 10000"/>
                <a:gd name="connsiteY329" fmla="*/ 9588 h 10000"/>
                <a:gd name="connsiteX330" fmla="*/ 7884 w 10000"/>
                <a:gd name="connsiteY330" fmla="*/ 9536 h 10000"/>
                <a:gd name="connsiteX331" fmla="*/ 7897 w 10000"/>
                <a:gd name="connsiteY331" fmla="*/ 9380 h 10000"/>
                <a:gd name="connsiteX332" fmla="*/ 7884 w 10000"/>
                <a:gd name="connsiteY332" fmla="*/ 9236 h 10000"/>
                <a:gd name="connsiteX333" fmla="*/ 7793 w 10000"/>
                <a:gd name="connsiteY333" fmla="*/ 8865 h 10000"/>
                <a:gd name="connsiteX334" fmla="*/ 7831 w 10000"/>
                <a:gd name="connsiteY334" fmla="*/ 8741 h 10000"/>
                <a:gd name="connsiteX335" fmla="*/ 7928 w 10000"/>
                <a:gd name="connsiteY335" fmla="*/ 8844 h 10000"/>
                <a:gd name="connsiteX336" fmla="*/ 7912 w 10000"/>
                <a:gd name="connsiteY336" fmla="*/ 8318 h 10000"/>
                <a:gd name="connsiteX337" fmla="*/ 7906 w 10000"/>
                <a:gd name="connsiteY337" fmla="*/ 8019 h 10000"/>
                <a:gd name="connsiteX338" fmla="*/ 7846 w 10000"/>
                <a:gd name="connsiteY338" fmla="*/ 7802 h 10000"/>
                <a:gd name="connsiteX339" fmla="*/ 7723 w 10000"/>
                <a:gd name="connsiteY339" fmla="*/ 8050 h 10000"/>
                <a:gd name="connsiteX340" fmla="*/ 7619 w 10000"/>
                <a:gd name="connsiteY340" fmla="*/ 8019 h 10000"/>
                <a:gd name="connsiteX341" fmla="*/ 7528 w 10000"/>
                <a:gd name="connsiteY341" fmla="*/ 7699 h 10000"/>
                <a:gd name="connsiteX342" fmla="*/ 7355 w 10000"/>
                <a:gd name="connsiteY342" fmla="*/ 7482 h 10000"/>
                <a:gd name="connsiteX343" fmla="*/ 7279 w 10000"/>
                <a:gd name="connsiteY343" fmla="*/ 7482 h 10000"/>
                <a:gd name="connsiteX344" fmla="*/ 7080 w 10000"/>
                <a:gd name="connsiteY344" fmla="*/ 6781 h 10000"/>
                <a:gd name="connsiteX345" fmla="*/ 6901 w 10000"/>
                <a:gd name="connsiteY345" fmla="*/ 6460 h 10000"/>
                <a:gd name="connsiteX346" fmla="*/ 6724 w 10000"/>
                <a:gd name="connsiteY346" fmla="*/ 6336 h 10000"/>
                <a:gd name="connsiteX347" fmla="*/ 6583 w 10000"/>
                <a:gd name="connsiteY347" fmla="*/ 6408 h 10000"/>
                <a:gd name="connsiteX348" fmla="*/ 6567 w 10000"/>
                <a:gd name="connsiteY348" fmla="*/ 6585 h 10000"/>
                <a:gd name="connsiteX349" fmla="*/ 6664 w 10000"/>
                <a:gd name="connsiteY349" fmla="*/ 6760 h 10000"/>
                <a:gd name="connsiteX350" fmla="*/ 6636 w 10000"/>
                <a:gd name="connsiteY350" fmla="*/ 6935 h 10000"/>
                <a:gd name="connsiteX351" fmla="*/ 6636 w 10000"/>
                <a:gd name="connsiteY351" fmla="*/ 7399 h 10000"/>
                <a:gd name="connsiteX352" fmla="*/ 6560 w 10000"/>
                <a:gd name="connsiteY352" fmla="*/ 7482 h 10000"/>
                <a:gd name="connsiteX353" fmla="*/ 6485 w 10000"/>
                <a:gd name="connsiteY353" fmla="*/ 7378 h 10000"/>
                <a:gd name="connsiteX354" fmla="*/ 6400 w 10000"/>
                <a:gd name="connsiteY354" fmla="*/ 7399 h 10000"/>
                <a:gd name="connsiteX355" fmla="*/ 6334 w 10000"/>
                <a:gd name="connsiteY355" fmla="*/ 7275 h 10000"/>
                <a:gd name="connsiteX356" fmla="*/ 6258 w 10000"/>
                <a:gd name="connsiteY356" fmla="*/ 7358 h 10000"/>
                <a:gd name="connsiteX357" fmla="*/ 6220 w 10000"/>
                <a:gd name="connsiteY357" fmla="*/ 7524 h 10000"/>
                <a:gd name="connsiteX358" fmla="*/ 6081 w 10000"/>
                <a:gd name="connsiteY358" fmla="*/ 7606 h 10000"/>
                <a:gd name="connsiteX359" fmla="*/ 5892 w 10000"/>
                <a:gd name="connsiteY359" fmla="*/ 7575 h 10000"/>
                <a:gd name="connsiteX360" fmla="*/ 5855 w 10000"/>
                <a:gd name="connsiteY360" fmla="*/ 7327 h 10000"/>
                <a:gd name="connsiteX361" fmla="*/ 5643 w 10000"/>
                <a:gd name="connsiteY361" fmla="*/ 7255 h 10000"/>
                <a:gd name="connsiteX362" fmla="*/ 5539 w 10000"/>
                <a:gd name="connsiteY362" fmla="*/ 7358 h 10000"/>
                <a:gd name="connsiteX363" fmla="*/ 5416 w 10000"/>
                <a:gd name="connsiteY363" fmla="*/ 7203 h 10000"/>
                <a:gd name="connsiteX364" fmla="*/ 5372 w 10000"/>
                <a:gd name="connsiteY364" fmla="*/ 6904 h 10000"/>
                <a:gd name="connsiteX0" fmla="*/ 4864 w 10000"/>
                <a:gd name="connsiteY0" fmla="*/ 7183 h 10000"/>
                <a:gd name="connsiteX1" fmla="*/ 1610 w 10000"/>
                <a:gd name="connsiteY1" fmla="*/ 7183 h 10000"/>
                <a:gd name="connsiteX2" fmla="*/ 1655 w 10000"/>
                <a:gd name="connsiteY2" fmla="*/ 7430 h 10000"/>
                <a:gd name="connsiteX3" fmla="*/ 1604 w 10000"/>
                <a:gd name="connsiteY3" fmla="*/ 7430 h 10000"/>
                <a:gd name="connsiteX4" fmla="*/ 1551 w 10000"/>
                <a:gd name="connsiteY4" fmla="*/ 7255 h 10000"/>
                <a:gd name="connsiteX5" fmla="*/ 1513 w 10000"/>
                <a:gd name="connsiteY5" fmla="*/ 7430 h 10000"/>
                <a:gd name="connsiteX6" fmla="*/ 1519 w 10000"/>
                <a:gd name="connsiteY6" fmla="*/ 7854 h 10000"/>
                <a:gd name="connsiteX7" fmla="*/ 1604 w 10000"/>
                <a:gd name="connsiteY7" fmla="*/ 8070 h 10000"/>
                <a:gd name="connsiteX8" fmla="*/ 1648 w 10000"/>
                <a:gd name="connsiteY8" fmla="*/ 8019 h 10000"/>
                <a:gd name="connsiteX9" fmla="*/ 1741 w 10000"/>
                <a:gd name="connsiteY9" fmla="*/ 8493 h 10000"/>
                <a:gd name="connsiteX10" fmla="*/ 1610 w 10000"/>
                <a:gd name="connsiteY10" fmla="*/ 8669 h 10000"/>
                <a:gd name="connsiteX11" fmla="*/ 1595 w 10000"/>
                <a:gd name="connsiteY11" fmla="*/ 9009 h 10000"/>
                <a:gd name="connsiteX12" fmla="*/ 1664 w 10000"/>
                <a:gd name="connsiteY12" fmla="*/ 9236 h 10000"/>
                <a:gd name="connsiteX13" fmla="*/ 1664 w 10000"/>
                <a:gd name="connsiteY13" fmla="*/ 9484 h 10000"/>
                <a:gd name="connsiteX14" fmla="*/ 1769 w 10000"/>
                <a:gd name="connsiteY14" fmla="*/ 9835 h 10000"/>
                <a:gd name="connsiteX15" fmla="*/ 1703 w 10000"/>
                <a:gd name="connsiteY15" fmla="*/ 10000 h 10000"/>
                <a:gd name="connsiteX16" fmla="*/ 1604 w 10000"/>
                <a:gd name="connsiteY16" fmla="*/ 9753 h 10000"/>
                <a:gd name="connsiteX17" fmla="*/ 1465 w 10000"/>
                <a:gd name="connsiteY17" fmla="*/ 9505 h 10000"/>
                <a:gd name="connsiteX18" fmla="*/ 1406 w 10000"/>
                <a:gd name="connsiteY18" fmla="*/ 9588 h 10000"/>
                <a:gd name="connsiteX19" fmla="*/ 1308 w 10000"/>
                <a:gd name="connsiteY19" fmla="*/ 9380 h 10000"/>
                <a:gd name="connsiteX20" fmla="*/ 1097 w 10000"/>
                <a:gd name="connsiteY20" fmla="*/ 9339 h 10000"/>
                <a:gd name="connsiteX21" fmla="*/ 848 w 10000"/>
                <a:gd name="connsiteY21" fmla="*/ 8813 h 10000"/>
                <a:gd name="connsiteX22" fmla="*/ 914 w 10000"/>
                <a:gd name="connsiteY22" fmla="*/ 8721 h 10000"/>
                <a:gd name="connsiteX23" fmla="*/ 961 w 10000"/>
                <a:gd name="connsiteY23" fmla="*/ 8493 h 10000"/>
                <a:gd name="connsiteX24" fmla="*/ 908 w 10000"/>
                <a:gd name="connsiteY24" fmla="*/ 8390 h 10000"/>
                <a:gd name="connsiteX25" fmla="*/ 1021 w 10000"/>
                <a:gd name="connsiteY25" fmla="*/ 8245 h 10000"/>
                <a:gd name="connsiteX26" fmla="*/ 945 w 10000"/>
                <a:gd name="connsiteY26" fmla="*/ 8194 h 10000"/>
                <a:gd name="connsiteX27" fmla="*/ 958 w 10000"/>
                <a:gd name="connsiteY27" fmla="*/ 8091 h 10000"/>
                <a:gd name="connsiteX28" fmla="*/ 1005 w 10000"/>
                <a:gd name="connsiteY28" fmla="*/ 8111 h 10000"/>
                <a:gd name="connsiteX29" fmla="*/ 1059 w 10000"/>
                <a:gd name="connsiteY29" fmla="*/ 8019 h 10000"/>
                <a:gd name="connsiteX30" fmla="*/ 1034 w 10000"/>
                <a:gd name="connsiteY30" fmla="*/ 7864 h 10000"/>
                <a:gd name="connsiteX31" fmla="*/ 1043 w 10000"/>
                <a:gd name="connsiteY31" fmla="*/ 7503 h 10000"/>
                <a:gd name="connsiteX32" fmla="*/ 930 w 10000"/>
                <a:gd name="connsiteY32" fmla="*/ 7440 h 10000"/>
                <a:gd name="connsiteX33" fmla="*/ 832 w 10000"/>
                <a:gd name="connsiteY33" fmla="*/ 7286 h 10000"/>
                <a:gd name="connsiteX34" fmla="*/ 700 w 10000"/>
                <a:gd name="connsiteY34" fmla="*/ 7275 h 10000"/>
                <a:gd name="connsiteX35" fmla="*/ 684 w 10000"/>
                <a:gd name="connsiteY35" fmla="*/ 7090 h 10000"/>
                <a:gd name="connsiteX36" fmla="*/ 596 w 10000"/>
                <a:gd name="connsiteY36" fmla="*/ 6945 h 10000"/>
                <a:gd name="connsiteX37" fmla="*/ 615 w 10000"/>
                <a:gd name="connsiteY37" fmla="*/ 6822 h 10000"/>
                <a:gd name="connsiteX38" fmla="*/ 561 w 10000"/>
                <a:gd name="connsiteY38" fmla="*/ 6698 h 10000"/>
                <a:gd name="connsiteX39" fmla="*/ 457 w 10000"/>
                <a:gd name="connsiteY39" fmla="*/ 6698 h 10000"/>
                <a:gd name="connsiteX40" fmla="*/ 425 w 10000"/>
                <a:gd name="connsiteY40" fmla="*/ 6791 h 10000"/>
                <a:gd name="connsiteX41" fmla="*/ 400 w 10000"/>
                <a:gd name="connsiteY41" fmla="*/ 6750 h 10000"/>
                <a:gd name="connsiteX42" fmla="*/ 378 w 10000"/>
                <a:gd name="connsiteY42" fmla="*/ 6439 h 10000"/>
                <a:gd name="connsiteX43" fmla="*/ 419 w 10000"/>
                <a:gd name="connsiteY43" fmla="*/ 6470 h 10000"/>
                <a:gd name="connsiteX44" fmla="*/ 466 w 10000"/>
                <a:gd name="connsiteY44" fmla="*/ 6347 h 10000"/>
                <a:gd name="connsiteX45" fmla="*/ 400 w 10000"/>
                <a:gd name="connsiteY45" fmla="*/ 6233 h 10000"/>
                <a:gd name="connsiteX46" fmla="*/ 315 w 10000"/>
                <a:gd name="connsiteY46" fmla="*/ 6017 h 10000"/>
                <a:gd name="connsiteX47" fmla="*/ 334 w 10000"/>
                <a:gd name="connsiteY47" fmla="*/ 5821 h 10000"/>
                <a:gd name="connsiteX48" fmla="*/ 274 w 10000"/>
                <a:gd name="connsiteY48" fmla="*/ 5697 h 10000"/>
                <a:gd name="connsiteX49" fmla="*/ 227 w 10000"/>
                <a:gd name="connsiteY49" fmla="*/ 5728 h 10000"/>
                <a:gd name="connsiteX50" fmla="*/ 202 w 10000"/>
                <a:gd name="connsiteY50" fmla="*/ 5604 h 10000"/>
                <a:gd name="connsiteX51" fmla="*/ 164 w 10000"/>
                <a:gd name="connsiteY51" fmla="*/ 5645 h 10000"/>
                <a:gd name="connsiteX52" fmla="*/ 117 w 10000"/>
                <a:gd name="connsiteY52" fmla="*/ 5604 h 10000"/>
                <a:gd name="connsiteX53" fmla="*/ 69 w 10000"/>
                <a:gd name="connsiteY53" fmla="*/ 5181 h 10000"/>
                <a:gd name="connsiteX54" fmla="*/ 85 w 10000"/>
                <a:gd name="connsiteY54" fmla="*/ 5057 h 10000"/>
                <a:gd name="connsiteX55" fmla="*/ 41 w 10000"/>
                <a:gd name="connsiteY55" fmla="*/ 4892 h 10000"/>
                <a:gd name="connsiteX56" fmla="*/ 66 w 10000"/>
                <a:gd name="connsiteY56" fmla="*/ 4655 h 10000"/>
                <a:gd name="connsiteX57" fmla="*/ 211 w 10000"/>
                <a:gd name="connsiteY57" fmla="*/ 4510 h 10000"/>
                <a:gd name="connsiteX58" fmla="*/ 129 w 10000"/>
                <a:gd name="connsiteY58" fmla="*/ 4406 h 10000"/>
                <a:gd name="connsiteX59" fmla="*/ 82 w 10000"/>
                <a:gd name="connsiteY59" fmla="*/ 4283 h 10000"/>
                <a:gd name="connsiteX60" fmla="*/ 205 w 10000"/>
                <a:gd name="connsiteY60" fmla="*/ 3912 h 10000"/>
                <a:gd name="connsiteX61" fmla="*/ 249 w 10000"/>
                <a:gd name="connsiteY61" fmla="*/ 3664 h 10000"/>
                <a:gd name="connsiteX62" fmla="*/ 151 w 10000"/>
                <a:gd name="connsiteY62" fmla="*/ 3488 h 10000"/>
                <a:gd name="connsiteX63" fmla="*/ 189 w 10000"/>
                <a:gd name="connsiteY63" fmla="*/ 3344 h 10000"/>
                <a:gd name="connsiteX64" fmla="*/ 113 w 10000"/>
                <a:gd name="connsiteY64" fmla="*/ 3148 h 10000"/>
                <a:gd name="connsiteX65" fmla="*/ 113 w 10000"/>
                <a:gd name="connsiteY65" fmla="*/ 2972 h 10000"/>
                <a:gd name="connsiteX66" fmla="*/ 60 w 10000"/>
                <a:gd name="connsiteY66" fmla="*/ 2622 h 10000"/>
                <a:gd name="connsiteX67" fmla="*/ 98 w 10000"/>
                <a:gd name="connsiteY67" fmla="*/ 2404 h 10000"/>
                <a:gd name="connsiteX68" fmla="*/ 38 w 10000"/>
                <a:gd name="connsiteY68" fmla="*/ 2301 h 10000"/>
                <a:gd name="connsiteX69" fmla="*/ 0 w 10000"/>
                <a:gd name="connsiteY69" fmla="*/ 2178 h 10000"/>
                <a:gd name="connsiteX70" fmla="*/ 54 w 10000"/>
                <a:gd name="connsiteY70" fmla="*/ 1951 h 10000"/>
                <a:gd name="connsiteX71" fmla="*/ 120 w 10000"/>
                <a:gd name="connsiteY71" fmla="*/ 1910 h 10000"/>
                <a:gd name="connsiteX72" fmla="*/ 195 w 10000"/>
                <a:gd name="connsiteY72" fmla="*/ 1858 h 10000"/>
                <a:gd name="connsiteX73" fmla="*/ 309 w 10000"/>
                <a:gd name="connsiteY73" fmla="*/ 1951 h 10000"/>
                <a:gd name="connsiteX74" fmla="*/ 482 w 10000"/>
                <a:gd name="connsiteY74" fmla="*/ 2054 h 10000"/>
                <a:gd name="connsiteX75" fmla="*/ 633 w 10000"/>
                <a:gd name="connsiteY75" fmla="*/ 2229 h 10000"/>
                <a:gd name="connsiteX76" fmla="*/ 756 w 10000"/>
                <a:gd name="connsiteY76" fmla="*/ 2373 h 10000"/>
                <a:gd name="connsiteX77" fmla="*/ 725 w 10000"/>
                <a:gd name="connsiteY77" fmla="*/ 2777 h 10000"/>
                <a:gd name="connsiteX78" fmla="*/ 362 w 10000"/>
                <a:gd name="connsiteY78" fmla="*/ 2673 h 10000"/>
                <a:gd name="connsiteX79" fmla="*/ 243 w 10000"/>
                <a:gd name="connsiteY79" fmla="*/ 2550 h 10000"/>
                <a:gd name="connsiteX80" fmla="*/ 287 w 10000"/>
                <a:gd name="connsiteY80" fmla="*/ 2622 h 10000"/>
                <a:gd name="connsiteX81" fmla="*/ 331 w 10000"/>
                <a:gd name="connsiteY81" fmla="*/ 2797 h 10000"/>
                <a:gd name="connsiteX82" fmla="*/ 400 w 10000"/>
                <a:gd name="connsiteY82" fmla="*/ 2921 h 10000"/>
                <a:gd name="connsiteX83" fmla="*/ 416 w 10000"/>
                <a:gd name="connsiteY83" fmla="*/ 3189 h 10000"/>
                <a:gd name="connsiteX84" fmla="*/ 507 w 10000"/>
                <a:gd name="connsiteY84" fmla="*/ 3313 h 10000"/>
                <a:gd name="connsiteX85" fmla="*/ 583 w 10000"/>
                <a:gd name="connsiteY85" fmla="*/ 3436 h 10000"/>
                <a:gd name="connsiteX86" fmla="*/ 605 w 10000"/>
                <a:gd name="connsiteY86" fmla="*/ 3467 h 10000"/>
                <a:gd name="connsiteX87" fmla="*/ 649 w 10000"/>
                <a:gd name="connsiteY87" fmla="*/ 3436 h 10000"/>
                <a:gd name="connsiteX88" fmla="*/ 633 w 10000"/>
                <a:gd name="connsiteY88" fmla="*/ 3364 h 10000"/>
                <a:gd name="connsiteX89" fmla="*/ 545 w 10000"/>
                <a:gd name="connsiteY89" fmla="*/ 3189 h 10000"/>
                <a:gd name="connsiteX90" fmla="*/ 801 w 10000"/>
                <a:gd name="connsiteY90" fmla="*/ 3344 h 10000"/>
                <a:gd name="connsiteX91" fmla="*/ 810 w 10000"/>
                <a:gd name="connsiteY91" fmla="*/ 3271 h 10000"/>
                <a:gd name="connsiteX92" fmla="*/ 785 w 10000"/>
                <a:gd name="connsiteY92" fmla="*/ 3220 h 10000"/>
                <a:gd name="connsiteX93" fmla="*/ 741 w 10000"/>
                <a:gd name="connsiteY93" fmla="*/ 2993 h 10000"/>
                <a:gd name="connsiteX94" fmla="*/ 870 w 10000"/>
                <a:gd name="connsiteY94" fmla="*/ 2777 h 10000"/>
                <a:gd name="connsiteX95" fmla="*/ 968 w 10000"/>
                <a:gd name="connsiteY95" fmla="*/ 2921 h 10000"/>
                <a:gd name="connsiteX96" fmla="*/ 999 w 10000"/>
                <a:gd name="connsiteY96" fmla="*/ 2725 h 10000"/>
                <a:gd name="connsiteX97" fmla="*/ 952 w 10000"/>
                <a:gd name="connsiteY97" fmla="*/ 2653 h 10000"/>
                <a:gd name="connsiteX98" fmla="*/ 936 w 10000"/>
                <a:gd name="connsiteY98" fmla="*/ 2281 h 10000"/>
                <a:gd name="connsiteX99" fmla="*/ 914 w 10000"/>
                <a:gd name="connsiteY99" fmla="*/ 2229 h 10000"/>
                <a:gd name="connsiteX100" fmla="*/ 1037 w 10000"/>
                <a:gd name="connsiteY100" fmla="*/ 2250 h 10000"/>
                <a:gd name="connsiteX101" fmla="*/ 1087 w 10000"/>
                <a:gd name="connsiteY101" fmla="*/ 2404 h 10000"/>
                <a:gd name="connsiteX102" fmla="*/ 1021 w 10000"/>
                <a:gd name="connsiteY102" fmla="*/ 2529 h 10000"/>
                <a:gd name="connsiteX103" fmla="*/ 1135 w 10000"/>
                <a:gd name="connsiteY103" fmla="*/ 2694 h 10000"/>
                <a:gd name="connsiteX104" fmla="*/ 1226 w 10000"/>
                <a:gd name="connsiteY104" fmla="*/ 2529 h 10000"/>
                <a:gd name="connsiteX105" fmla="*/ 1339 w 10000"/>
                <a:gd name="connsiteY105" fmla="*/ 2301 h 10000"/>
                <a:gd name="connsiteX106" fmla="*/ 1459 w 10000"/>
                <a:gd name="connsiteY106" fmla="*/ 2157 h 10000"/>
                <a:gd name="connsiteX107" fmla="*/ 1497 w 10000"/>
                <a:gd name="connsiteY107" fmla="*/ 2250 h 10000"/>
                <a:gd name="connsiteX108" fmla="*/ 1807 w 10000"/>
                <a:gd name="connsiteY108" fmla="*/ 2054 h 10000"/>
                <a:gd name="connsiteX109" fmla="*/ 1870 w 10000"/>
                <a:gd name="connsiteY109" fmla="*/ 2250 h 10000"/>
                <a:gd name="connsiteX110" fmla="*/ 1860 w 10000"/>
                <a:gd name="connsiteY110" fmla="*/ 2002 h 10000"/>
                <a:gd name="connsiteX111" fmla="*/ 1778 w 10000"/>
                <a:gd name="connsiteY111" fmla="*/ 1786 h 10000"/>
                <a:gd name="connsiteX112" fmla="*/ 1763 w 10000"/>
                <a:gd name="connsiteY112" fmla="*/ 1703 h 10000"/>
                <a:gd name="connsiteX113" fmla="*/ 1823 w 10000"/>
                <a:gd name="connsiteY113" fmla="*/ 1786 h 10000"/>
                <a:gd name="connsiteX114" fmla="*/ 2034 w 10000"/>
                <a:gd name="connsiteY114" fmla="*/ 1951 h 10000"/>
                <a:gd name="connsiteX115" fmla="*/ 2270 w 10000"/>
                <a:gd name="connsiteY115" fmla="*/ 2126 h 10000"/>
                <a:gd name="connsiteX116" fmla="*/ 2384 w 10000"/>
                <a:gd name="connsiteY116" fmla="*/ 2250 h 10000"/>
                <a:gd name="connsiteX117" fmla="*/ 2421 w 10000"/>
                <a:gd name="connsiteY117" fmla="*/ 2074 h 10000"/>
                <a:gd name="connsiteX118" fmla="*/ 2368 w 10000"/>
                <a:gd name="connsiteY118" fmla="*/ 2033 h 10000"/>
                <a:gd name="connsiteX119" fmla="*/ 2299 w 10000"/>
                <a:gd name="connsiteY119" fmla="*/ 1930 h 10000"/>
                <a:gd name="connsiteX120" fmla="*/ 2254 w 10000"/>
                <a:gd name="connsiteY120" fmla="*/ 1734 h 10000"/>
                <a:gd name="connsiteX121" fmla="*/ 2185 w 10000"/>
                <a:gd name="connsiteY121" fmla="*/ 1486 h 10000"/>
                <a:gd name="connsiteX122" fmla="*/ 2210 w 10000"/>
                <a:gd name="connsiteY122" fmla="*/ 1434 h 10000"/>
                <a:gd name="connsiteX123" fmla="*/ 2232 w 10000"/>
                <a:gd name="connsiteY123" fmla="*/ 1455 h 10000"/>
                <a:gd name="connsiteX124" fmla="*/ 2292 w 10000"/>
                <a:gd name="connsiteY124" fmla="*/ 1115 h 10000"/>
                <a:gd name="connsiteX125" fmla="*/ 2443 w 10000"/>
                <a:gd name="connsiteY125" fmla="*/ 1135 h 10000"/>
                <a:gd name="connsiteX126" fmla="*/ 2488 w 10000"/>
                <a:gd name="connsiteY126" fmla="*/ 1311 h 10000"/>
                <a:gd name="connsiteX127" fmla="*/ 2519 w 10000"/>
                <a:gd name="connsiteY127" fmla="*/ 1538 h 10000"/>
                <a:gd name="connsiteX128" fmla="*/ 2573 w 10000"/>
                <a:gd name="connsiteY128" fmla="*/ 1734 h 10000"/>
                <a:gd name="connsiteX129" fmla="*/ 2670 w 10000"/>
                <a:gd name="connsiteY129" fmla="*/ 2157 h 10000"/>
                <a:gd name="connsiteX130" fmla="*/ 2481 w 10000"/>
                <a:gd name="connsiteY130" fmla="*/ 2673 h 10000"/>
                <a:gd name="connsiteX131" fmla="*/ 2557 w 10000"/>
                <a:gd name="connsiteY131" fmla="*/ 2746 h 10000"/>
                <a:gd name="connsiteX132" fmla="*/ 2655 w 10000"/>
                <a:gd name="connsiteY132" fmla="*/ 2818 h 10000"/>
                <a:gd name="connsiteX133" fmla="*/ 2784 w 10000"/>
                <a:gd name="connsiteY133" fmla="*/ 2622 h 10000"/>
                <a:gd name="connsiteX134" fmla="*/ 2790 w 10000"/>
                <a:gd name="connsiteY134" fmla="*/ 2404 h 10000"/>
                <a:gd name="connsiteX135" fmla="*/ 2746 w 10000"/>
                <a:gd name="connsiteY135" fmla="*/ 2301 h 10000"/>
                <a:gd name="connsiteX136" fmla="*/ 2919 w 10000"/>
                <a:gd name="connsiteY136" fmla="*/ 2250 h 10000"/>
                <a:gd name="connsiteX137" fmla="*/ 2989 w 10000"/>
                <a:gd name="connsiteY137" fmla="*/ 2497 h 10000"/>
                <a:gd name="connsiteX138" fmla="*/ 2989 w 10000"/>
                <a:gd name="connsiteY138" fmla="*/ 2425 h 10000"/>
                <a:gd name="connsiteX139" fmla="*/ 2973 w 10000"/>
                <a:gd name="connsiteY139" fmla="*/ 2353 h 10000"/>
                <a:gd name="connsiteX140" fmla="*/ 2967 w 10000"/>
                <a:gd name="connsiteY140" fmla="*/ 2178 h 10000"/>
                <a:gd name="connsiteX141" fmla="*/ 2800 w 10000"/>
                <a:gd name="connsiteY141" fmla="*/ 1930 h 10000"/>
                <a:gd name="connsiteX142" fmla="*/ 2670 w 10000"/>
                <a:gd name="connsiteY142" fmla="*/ 2002 h 10000"/>
                <a:gd name="connsiteX143" fmla="*/ 2617 w 10000"/>
                <a:gd name="connsiteY143" fmla="*/ 1683 h 10000"/>
                <a:gd name="connsiteX144" fmla="*/ 2563 w 10000"/>
                <a:gd name="connsiteY144" fmla="*/ 1507 h 10000"/>
                <a:gd name="connsiteX145" fmla="*/ 2617 w 10000"/>
                <a:gd name="connsiteY145" fmla="*/ 1331 h 10000"/>
                <a:gd name="connsiteX146" fmla="*/ 2611 w 10000"/>
                <a:gd name="connsiteY146" fmla="*/ 1166 h 10000"/>
                <a:gd name="connsiteX147" fmla="*/ 2588 w 10000"/>
                <a:gd name="connsiteY147" fmla="*/ 1115 h 10000"/>
                <a:gd name="connsiteX148" fmla="*/ 2626 w 10000"/>
                <a:gd name="connsiteY148" fmla="*/ 1115 h 10000"/>
                <a:gd name="connsiteX149" fmla="*/ 2670 w 10000"/>
                <a:gd name="connsiteY149" fmla="*/ 1455 h 10000"/>
                <a:gd name="connsiteX150" fmla="*/ 2891 w 10000"/>
                <a:gd name="connsiteY150" fmla="*/ 1662 h 10000"/>
                <a:gd name="connsiteX151" fmla="*/ 2724 w 10000"/>
                <a:gd name="connsiteY151" fmla="*/ 1383 h 10000"/>
                <a:gd name="connsiteX152" fmla="*/ 3049 w 10000"/>
                <a:gd name="connsiteY152" fmla="*/ 1383 h 10000"/>
                <a:gd name="connsiteX153" fmla="*/ 3102 w 10000"/>
                <a:gd name="connsiteY153" fmla="*/ 1362 h 10000"/>
                <a:gd name="connsiteX154" fmla="*/ 2897 w 10000"/>
                <a:gd name="connsiteY154" fmla="*/ 1115 h 10000"/>
                <a:gd name="connsiteX155" fmla="*/ 2951 w 10000"/>
                <a:gd name="connsiteY155" fmla="*/ 888 h 10000"/>
                <a:gd name="connsiteX156" fmla="*/ 3178 w 10000"/>
                <a:gd name="connsiteY156" fmla="*/ 888 h 10000"/>
                <a:gd name="connsiteX157" fmla="*/ 3156 w 10000"/>
                <a:gd name="connsiteY157" fmla="*/ 713 h 10000"/>
                <a:gd name="connsiteX158" fmla="*/ 3231 w 10000"/>
                <a:gd name="connsiteY158" fmla="*/ 589 h 10000"/>
                <a:gd name="connsiteX159" fmla="*/ 3276 w 10000"/>
                <a:gd name="connsiteY159" fmla="*/ 548 h 10000"/>
                <a:gd name="connsiteX160" fmla="*/ 3443 w 10000"/>
                <a:gd name="connsiteY160" fmla="*/ 423 h 10000"/>
                <a:gd name="connsiteX161" fmla="*/ 3487 w 10000"/>
                <a:gd name="connsiteY161" fmla="*/ 371 h 10000"/>
                <a:gd name="connsiteX162" fmla="*/ 3480 w 10000"/>
                <a:gd name="connsiteY162" fmla="*/ 444 h 10000"/>
                <a:gd name="connsiteX163" fmla="*/ 3660 w 10000"/>
                <a:gd name="connsiteY163" fmla="*/ 371 h 10000"/>
                <a:gd name="connsiteX164" fmla="*/ 3805 w 10000"/>
                <a:gd name="connsiteY164" fmla="*/ 248 h 10000"/>
                <a:gd name="connsiteX165" fmla="*/ 3827 w 10000"/>
                <a:gd name="connsiteY165" fmla="*/ 0 h 10000"/>
                <a:gd name="connsiteX166" fmla="*/ 3988 w 10000"/>
                <a:gd name="connsiteY166" fmla="*/ 21 h 10000"/>
                <a:gd name="connsiteX167" fmla="*/ 3978 w 10000"/>
                <a:gd name="connsiteY167" fmla="*/ 93 h 10000"/>
                <a:gd name="connsiteX168" fmla="*/ 3988 w 10000"/>
                <a:gd name="connsiteY168" fmla="*/ 176 h 10000"/>
                <a:gd name="connsiteX169" fmla="*/ 4085 w 10000"/>
                <a:gd name="connsiteY169" fmla="*/ 248 h 10000"/>
                <a:gd name="connsiteX170" fmla="*/ 4379 w 10000"/>
                <a:gd name="connsiteY170" fmla="*/ 268 h 10000"/>
                <a:gd name="connsiteX171" fmla="*/ 4539 w 10000"/>
                <a:gd name="connsiteY171" fmla="*/ 392 h 10000"/>
                <a:gd name="connsiteX172" fmla="*/ 4486 w 10000"/>
                <a:gd name="connsiteY172" fmla="*/ 795 h 10000"/>
                <a:gd name="connsiteX173" fmla="*/ 4426 w 10000"/>
                <a:gd name="connsiteY173" fmla="*/ 919 h 10000"/>
                <a:gd name="connsiteX174" fmla="*/ 4356 w 10000"/>
                <a:gd name="connsiteY174" fmla="*/ 1043 h 10000"/>
                <a:gd name="connsiteX175" fmla="*/ 4372 w 10000"/>
                <a:gd name="connsiteY175" fmla="*/ 1115 h 10000"/>
                <a:gd name="connsiteX176" fmla="*/ 4583 w 10000"/>
                <a:gd name="connsiteY176" fmla="*/ 919 h 10000"/>
                <a:gd name="connsiteX177" fmla="*/ 5060 w 10000"/>
                <a:gd name="connsiteY177" fmla="*/ 991 h 10000"/>
                <a:gd name="connsiteX178" fmla="*/ 5108 w 10000"/>
                <a:gd name="connsiteY178" fmla="*/ 1063 h 10000"/>
                <a:gd name="connsiteX179" fmla="*/ 5212 w 10000"/>
                <a:gd name="connsiteY179" fmla="*/ 1187 h 10000"/>
                <a:gd name="connsiteX180" fmla="*/ 5357 w 10000"/>
                <a:gd name="connsiteY180" fmla="*/ 919 h 10000"/>
                <a:gd name="connsiteX181" fmla="*/ 5577 w 10000"/>
                <a:gd name="connsiteY181" fmla="*/ 1063 h 10000"/>
                <a:gd name="connsiteX182" fmla="*/ 5643 w 10000"/>
                <a:gd name="connsiteY182" fmla="*/ 1115 h 10000"/>
                <a:gd name="connsiteX183" fmla="*/ 5697 w 10000"/>
                <a:gd name="connsiteY183" fmla="*/ 1166 h 10000"/>
                <a:gd name="connsiteX184" fmla="*/ 5908 w 10000"/>
                <a:gd name="connsiteY184" fmla="*/ 1631 h 10000"/>
                <a:gd name="connsiteX185" fmla="*/ 5984 w 10000"/>
                <a:gd name="connsiteY185" fmla="*/ 1611 h 10000"/>
                <a:gd name="connsiteX186" fmla="*/ 5977 w 10000"/>
                <a:gd name="connsiteY186" fmla="*/ 1507 h 10000"/>
                <a:gd name="connsiteX187" fmla="*/ 5984 w 10000"/>
                <a:gd name="connsiteY187" fmla="*/ 1383 h 10000"/>
                <a:gd name="connsiteX188" fmla="*/ 6091 w 10000"/>
                <a:gd name="connsiteY188" fmla="*/ 1486 h 10000"/>
                <a:gd name="connsiteX189" fmla="*/ 6264 w 10000"/>
                <a:gd name="connsiteY189" fmla="*/ 1507 h 10000"/>
                <a:gd name="connsiteX190" fmla="*/ 6409 w 10000"/>
                <a:gd name="connsiteY190" fmla="*/ 1455 h 10000"/>
                <a:gd name="connsiteX191" fmla="*/ 6340 w 10000"/>
                <a:gd name="connsiteY191" fmla="*/ 1362 h 10000"/>
                <a:gd name="connsiteX192" fmla="*/ 6431 w 10000"/>
                <a:gd name="connsiteY192" fmla="*/ 1084 h 10000"/>
                <a:gd name="connsiteX193" fmla="*/ 6687 w 10000"/>
                <a:gd name="connsiteY193" fmla="*/ 1207 h 10000"/>
                <a:gd name="connsiteX194" fmla="*/ 6945 w 10000"/>
                <a:gd name="connsiteY194" fmla="*/ 1331 h 10000"/>
                <a:gd name="connsiteX195" fmla="*/ 6967 w 10000"/>
                <a:gd name="connsiteY195" fmla="*/ 1362 h 10000"/>
                <a:gd name="connsiteX196" fmla="*/ 7194 w 10000"/>
                <a:gd name="connsiteY196" fmla="*/ 1611 h 10000"/>
                <a:gd name="connsiteX197" fmla="*/ 7367 w 10000"/>
                <a:gd name="connsiteY197" fmla="*/ 1507 h 10000"/>
                <a:gd name="connsiteX198" fmla="*/ 7582 w 10000"/>
                <a:gd name="connsiteY198" fmla="*/ 1538 h 10000"/>
                <a:gd name="connsiteX199" fmla="*/ 7657 w 10000"/>
                <a:gd name="connsiteY199" fmla="*/ 1611 h 10000"/>
                <a:gd name="connsiteX200" fmla="*/ 7928 w 10000"/>
                <a:gd name="connsiteY200" fmla="*/ 1930 h 10000"/>
                <a:gd name="connsiteX201" fmla="*/ 8231 w 10000"/>
                <a:gd name="connsiteY201" fmla="*/ 1879 h 10000"/>
                <a:gd name="connsiteX202" fmla="*/ 8339 w 10000"/>
                <a:gd name="connsiteY202" fmla="*/ 2033 h 10000"/>
                <a:gd name="connsiteX203" fmla="*/ 8490 w 10000"/>
                <a:gd name="connsiteY203" fmla="*/ 2157 h 10000"/>
                <a:gd name="connsiteX204" fmla="*/ 8519 w 10000"/>
                <a:gd name="connsiteY204" fmla="*/ 2105 h 10000"/>
                <a:gd name="connsiteX205" fmla="*/ 8497 w 10000"/>
                <a:gd name="connsiteY205" fmla="*/ 2074 h 10000"/>
                <a:gd name="connsiteX206" fmla="*/ 8383 w 10000"/>
                <a:gd name="connsiteY206" fmla="*/ 1930 h 10000"/>
                <a:gd name="connsiteX207" fmla="*/ 8465 w 10000"/>
                <a:gd name="connsiteY207" fmla="*/ 1755 h 10000"/>
                <a:gd name="connsiteX208" fmla="*/ 8664 w 10000"/>
                <a:gd name="connsiteY208" fmla="*/ 1910 h 10000"/>
                <a:gd name="connsiteX209" fmla="*/ 8950 w 10000"/>
                <a:gd name="connsiteY209" fmla="*/ 1982 h 10000"/>
                <a:gd name="connsiteX210" fmla="*/ 9206 w 10000"/>
                <a:gd name="connsiteY210" fmla="*/ 2260 h 10000"/>
                <a:gd name="connsiteX211" fmla="*/ 9344 w 10000"/>
                <a:gd name="connsiteY211" fmla="*/ 2332 h 10000"/>
                <a:gd name="connsiteX212" fmla="*/ 9451 w 10000"/>
                <a:gd name="connsiteY212" fmla="*/ 2446 h 10000"/>
                <a:gd name="connsiteX213" fmla="*/ 9574 w 10000"/>
                <a:gd name="connsiteY213" fmla="*/ 2632 h 10000"/>
                <a:gd name="connsiteX214" fmla="*/ 9631 w 10000"/>
                <a:gd name="connsiteY214" fmla="*/ 2756 h 10000"/>
                <a:gd name="connsiteX215" fmla="*/ 9726 w 10000"/>
                <a:gd name="connsiteY215" fmla="*/ 2787 h 10000"/>
                <a:gd name="connsiteX216" fmla="*/ 9590 w 10000"/>
                <a:gd name="connsiteY216" fmla="*/ 2570 h 10000"/>
                <a:gd name="connsiteX217" fmla="*/ 9915 w 10000"/>
                <a:gd name="connsiteY217" fmla="*/ 2756 h 10000"/>
                <a:gd name="connsiteX218" fmla="*/ 10000 w 10000"/>
                <a:gd name="connsiteY218" fmla="*/ 3014 h 10000"/>
                <a:gd name="connsiteX219" fmla="*/ 9934 w 10000"/>
                <a:gd name="connsiteY219" fmla="*/ 2941 h 10000"/>
                <a:gd name="connsiteX220" fmla="*/ 9874 w 10000"/>
                <a:gd name="connsiteY220" fmla="*/ 2952 h 10000"/>
                <a:gd name="connsiteX221" fmla="*/ 10000 w 10000"/>
                <a:gd name="connsiteY221" fmla="*/ 3292 h 10000"/>
                <a:gd name="connsiteX222" fmla="*/ 9845 w 10000"/>
                <a:gd name="connsiteY222" fmla="*/ 3220 h 10000"/>
                <a:gd name="connsiteX223" fmla="*/ 9745 w 10000"/>
                <a:gd name="connsiteY223" fmla="*/ 3075 h 10000"/>
                <a:gd name="connsiteX224" fmla="*/ 9641 w 10000"/>
                <a:gd name="connsiteY224" fmla="*/ 2972 h 10000"/>
                <a:gd name="connsiteX225" fmla="*/ 9555 w 10000"/>
                <a:gd name="connsiteY225" fmla="*/ 3003 h 10000"/>
                <a:gd name="connsiteX226" fmla="*/ 9470 w 10000"/>
                <a:gd name="connsiteY226" fmla="*/ 2787 h 10000"/>
                <a:gd name="connsiteX227" fmla="*/ 9366 w 10000"/>
                <a:gd name="connsiteY227" fmla="*/ 2725 h 10000"/>
                <a:gd name="connsiteX228" fmla="*/ 9461 w 10000"/>
                <a:gd name="connsiteY228" fmla="*/ 2972 h 10000"/>
                <a:gd name="connsiteX229" fmla="*/ 9470 w 10000"/>
                <a:gd name="connsiteY229" fmla="*/ 3230 h 10000"/>
                <a:gd name="connsiteX230" fmla="*/ 9288 w 10000"/>
                <a:gd name="connsiteY230" fmla="*/ 3065 h 10000"/>
                <a:gd name="connsiteX231" fmla="*/ 9262 w 10000"/>
                <a:gd name="connsiteY231" fmla="*/ 3230 h 10000"/>
                <a:gd name="connsiteX232" fmla="*/ 9363 w 10000"/>
                <a:gd name="connsiteY232" fmla="*/ 3230 h 10000"/>
                <a:gd name="connsiteX233" fmla="*/ 9451 w 10000"/>
                <a:gd name="connsiteY233" fmla="*/ 3354 h 10000"/>
                <a:gd name="connsiteX234" fmla="*/ 9659 w 10000"/>
                <a:gd name="connsiteY234" fmla="*/ 3685 h 10000"/>
                <a:gd name="connsiteX235" fmla="*/ 9735 w 10000"/>
                <a:gd name="connsiteY235" fmla="*/ 3839 h 10000"/>
                <a:gd name="connsiteX236" fmla="*/ 9552 w 10000"/>
                <a:gd name="connsiteY236" fmla="*/ 3757 h 10000"/>
                <a:gd name="connsiteX237" fmla="*/ 9451 w 10000"/>
                <a:gd name="connsiteY237" fmla="*/ 4025 h 10000"/>
                <a:gd name="connsiteX238" fmla="*/ 9385 w 10000"/>
                <a:gd name="connsiteY238" fmla="*/ 4283 h 10000"/>
                <a:gd name="connsiteX239" fmla="*/ 9376 w 10000"/>
                <a:gd name="connsiteY239" fmla="*/ 4499 h 10000"/>
                <a:gd name="connsiteX240" fmla="*/ 9335 w 10000"/>
                <a:gd name="connsiteY240" fmla="*/ 4303 h 10000"/>
                <a:gd name="connsiteX241" fmla="*/ 9149 w 10000"/>
                <a:gd name="connsiteY241" fmla="*/ 4314 h 10000"/>
                <a:gd name="connsiteX242" fmla="*/ 9155 w 10000"/>
                <a:gd name="connsiteY242" fmla="*/ 4531 h 10000"/>
                <a:gd name="connsiteX243" fmla="*/ 9061 w 10000"/>
                <a:gd name="connsiteY243" fmla="*/ 4365 h 10000"/>
                <a:gd name="connsiteX244" fmla="*/ 9054 w 10000"/>
                <a:gd name="connsiteY244" fmla="*/ 4521 h 10000"/>
                <a:gd name="connsiteX245" fmla="*/ 8998 w 10000"/>
                <a:gd name="connsiteY245" fmla="*/ 4458 h 10000"/>
                <a:gd name="connsiteX246" fmla="*/ 8966 w 10000"/>
                <a:gd name="connsiteY246" fmla="*/ 4562 h 10000"/>
                <a:gd name="connsiteX247" fmla="*/ 9007 w 10000"/>
                <a:gd name="connsiteY247" fmla="*/ 4686 h 10000"/>
                <a:gd name="connsiteX248" fmla="*/ 9004 w 10000"/>
                <a:gd name="connsiteY248" fmla="*/ 4995 h 10000"/>
                <a:gd name="connsiteX249" fmla="*/ 9073 w 10000"/>
                <a:gd name="connsiteY249" fmla="*/ 5211 h 10000"/>
                <a:gd name="connsiteX250" fmla="*/ 9130 w 10000"/>
                <a:gd name="connsiteY250" fmla="*/ 5150 h 10000"/>
                <a:gd name="connsiteX251" fmla="*/ 9158 w 10000"/>
                <a:gd name="connsiteY251" fmla="*/ 5211 h 10000"/>
                <a:gd name="connsiteX252" fmla="*/ 9231 w 10000"/>
                <a:gd name="connsiteY252" fmla="*/ 5428 h 10000"/>
                <a:gd name="connsiteX253" fmla="*/ 9215 w 10000"/>
                <a:gd name="connsiteY253" fmla="*/ 5604 h 10000"/>
                <a:gd name="connsiteX254" fmla="*/ 9221 w 10000"/>
                <a:gd name="connsiteY254" fmla="*/ 5769 h 10000"/>
                <a:gd name="connsiteX255" fmla="*/ 9269 w 10000"/>
                <a:gd name="connsiteY255" fmla="*/ 5883 h 10000"/>
                <a:gd name="connsiteX256" fmla="*/ 9344 w 10000"/>
                <a:gd name="connsiteY256" fmla="*/ 6068 h 10000"/>
                <a:gd name="connsiteX257" fmla="*/ 9269 w 10000"/>
                <a:gd name="connsiteY257" fmla="*/ 6068 h 10000"/>
                <a:gd name="connsiteX258" fmla="*/ 9253 w 10000"/>
                <a:gd name="connsiteY258" fmla="*/ 6223 h 10000"/>
                <a:gd name="connsiteX259" fmla="*/ 9319 w 10000"/>
                <a:gd name="connsiteY259" fmla="*/ 6408 h 10000"/>
                <a:gd name="connsiteX260" fmla="*/ 9250 w 10000"/>
                <a:gd name="connsiteY260" fmla="*/ 6502 h 10000"/>
                <a:gd name="connsiteX261" fmla="*/ 9297 w 10000"/>
                <a:gd name="connsiteY261" fmla="*/ 6729 h 10000"/>
                <a:gd name="connsiteX262" fmla="*/ 9281 w 10000"/>
                <a:gd name="connsiteY262" fmla="*/ 7069 h 10000"/>
                <a:gd name="connsiteX263" fmla="*/ 9061 w 10000"/>
                <a:gd name="connsiteY263" fmla="*/ 6408 h 10000"/>
                <a:gd name="connsiteX264" fmla="*/ 8824 w 10000"/>
                <a:gd name="connsiteY264" fmla="*/ 5759 h 10000"/>
                <a:gd name="connsiteX265" fmla="*/ 8771 w 10000"/>
                <a:gd name="connsiteY265" fmla="*/ 5459 h 10000"/>
                <a:gd name="connsiteX266" fmla="*/ 8768 w 10000"/>
                <a:gd name="connsiteY266" fmla="*/ 5211 h 10000"/>
                <a:gd name="connsiteX267" fmla="*/ 8692 w 10000"/>
                <a:gd name="connsiteY267" fmla="*/ 5047 h 10000"/>
                <a:gd name="connsiteX268" fmla="*/ 8771 w 10000"/>
                <a:gd name="connsiteY268" fmla="*/ 5088 h 10000"/>
                <a:gd name="connsiteX269" fmla="*/ 8809 w 10000"/>
                <a:gd name="connsiteY269" fmla="*/ 5108 h 10000"/>
                <a:gd name="connsiteX270" fmla="*/ 8809 w 10000"/>
                <a:gd name="connsiteY270" fmla="*/ 4840 h 10000"/>
                <a:gd name="connsiteX271" fmla="*/ 8827 w 10000"/>
                <a:gd name="connsiteY271" fmla="*/ 4437 h 10000"/>
                <a:gd name="connsiteX272" fmla="*/ 8853 w 10000"/>
                <a:gd name="connsiteY272" fmla="*/ 4252 h 10000"/>
                <a:gd name="connsiteX273" fmla="*/ 8909 w 10000"/>
                <a:gd name="connsiteY273" fmla="*/ 4221 h 10000"/>
                <a:gd name="connsiteX274" fmla="*/ 8786 w 10000"/>
                <a:gd name="connsiteY274" fmla="*/ 3901 h 10000"/>
                <a:gd name="connsiteX275" fmla="*/ 8853 w 10000"/>
                <a:gd name="connsiteY275" fmla="*/ 3839 h 10000"/>
                <a:gd name="connsiteX276" fmla="*/ 8739 w 10000"/>
                <a:gd name="connsiteY276" fmla="*/ 3788 h 10000"/>
                <a:gd name="connsiteX277" fmla="*/ 8755 w 10000"/>
                <a:gd name="connsiteY277" fmla="*/ 3984 h 10000"/>
                <a:gd name="connsiteX278" fmla="*/ 8692 w 10000"/>
                <a:gd name="connsiteY278" fmla="*/ 4303 h 10000"/>
                <a:gd name="connsiteX279" fmla="*/ 8604 w 10000"/>
                <a:gd name="connsiteY279" fmla="*/ 4210 h 10000"/>
                <a:gd name="connsiteX280" fmla="*/ 8550 w 10000"/>
                <a:gd name="connsiteY280" fmla="*/ 4056 h 10000"/>
                <a:gd name="connsiteX281" fmla="*/ 8481 w 10000"/>
                <a:gd name="connsiteY281" fmla="*/ 4138 h 10000"/>
                <a:gd name="connsiteX282" fmla="*/ 8389 w 10000"/>
                <a:gd name="connsiteY282" fmla="*/ 4107 h 10000"/>
                <a:gd name="connsiteX283" fmla="*/ 8352 w 10000"/>
                <a:gd name="connsiteY283" fmla="*/ 4406 h 10000"/>
                <a:gd name="connsiteX284" fmla="*/ 8481 w 10000"/>
                <a:gd name="connsiteY284" fmla="*/ 4655 h 10000"/>
                <a:gd name="connsiteX285" fmla="*/ 8405 w 10000"/>
                <a:gd name="connsiteY285" fmla="*/ 4830 h 10000"/>
                <a:gd name="connsiteX286" fmla="*/ 8225 w 10000"/>
                <a:gd name="connsiteY286" fmla="*/ 4799 h 10000"/>
                <a:gd name="connsiteX287" fmla="*/ 8209 w 10000"/>
                <a:gd name="connsiteY287" fmla="*/ 4655 h 10000"/>
                <a:gd name="connsiteX288" fmla="*/ 8102 w 10000"/>
                <a:gd name="connsiteY288" fmla="*/ 4634 h 10000"/>
                <a:gd name="connsiteX289" fmla="*/ 7641 w 10000"/>
                <a:gd name="connsiteY289" fmla="*/ 4779 h 10000"/>
                <a:gd name="connsiteX290" fmla="*/ 7610 w 10000"/>
                <a:gd name="connsiteY290" fmla="*/ 5005 h 10000"/>
                <a:gd name="connsiteX291" fmla="*/ 7550 w 10000"/>
                <a:gd name="connsiteY291" fmla="*/ 5666 h 10000"/>
                <a:gd name="connsiteX292" fmla="*/ 7496 w 10000"/>
                <a:gd name="connsiteY292" fmla="*/ 5965 h 10000"/>
                <a:gd name="connsiteX293" fmla="*/ 7701 w 10000"/>
                <a:gd name="connsiteY293" fmla="*/ 6161 h 10000"/>
                <a:gd name="connsiteX294" fmla="*/ 7745 w 10000"/>
                <a:gd name="connsiteY294" fmla="*/ 6243 h 10000"/>
                <a:gd name="connsiteX295" fmla="*/ 7771 w 10000"/>
                <a:gd name="connsiteY295" fmla="*/ 6285 h 10000"/>
                <a:gd name="connsiteX296" fmla="*/ 7793 w 10000"/>
                <a:gd name="connsiteY296" fmla="*/ 6068 h 10000"/>
                <a:gd name="connsiteX297" fmla="*/ 7912 w 10000"/>
                <a:gd name="connsiteY297" fmla="*/ 6089 h 10000"/>
                <a:gd name="connsiteX298" fmla="*/ 8004 w 10000"/>
                <a:gd name="connsiteY298" fmla="*/ 6367 h 10000"/>
                <a:gd name="connsiteX299" fmla="*/ 8064 w 10000"/>
                <a:gd name="connsiteY299" fmla="*/ 6616 h 10000"/>
                <a:gd name="connsiteX300" fmla="*/ 8111 w 10000"/>
                <a:gd name="connsiteY300" fmla="*/ 6781 h 10000"/>
                <a:gd name="connsiteX301" fmla="*/ 8048 w 10000"/>
                <a:gd name="connsiteY301" fmla="*/ 6491 h 10000"/>
                <a:gd name="connsiteX302" fmla="*/ 8124 w 10000"/>
                <a:gd name="connsiteY302" fmla="*/ 6336 h 10000"/>
                <a:gd name="connsiteX303" fmla="*/ 8177 w 10000"/>
                <a:gd name="connsiteY303" fmla="*/ 6512 h 10000"/>
                <a:gd name="connsiteX304" fmla="*/ 8300 w 10000"/>
                <a:gd name="connsiteY304" fmla="*/ 6987 h 10000"/>
                <a:gd name="connsiteX305" fmla="*/ 8361 w 10000"/>
                <a:gd name="connsiteY305" fmla="*/ 7152 h 10000"/>
                <a:gd name="connsiteX306" fmla="*/ 8490 w 10000"/>
                <a:gd name="connsiteY306" fmla="*/ 7482 h 10000"/>
                <a:gd name="connsiteX307" fmla="*/ 8604 w 10000"/>
                <a:gd name="connsiteY307" fmla="*/ 7854 h 10000"/>
                <a:gd name="connsiteX308" fmla="*/ 8474 w 10000"/>
                <a:gd name="connsiteY308" fmla="*/ 7647 h 10000"/>
                <a:gd name="connsiteX309" fmla="*/ 8443 w 10000"/>
                <a:gd name="connsiteY309" fmla="*/ 7678 h 10000"/>
                <a:gd name="connsiteX310" fmla="*/ 8512 w 10000"/>
                <a:gd name="connsiteY310" fmla="*/ 8050 h 10000"/>
                <a:gd name="connsiteX311" fmla="*/ 8588 w 10000"/>
                <a:gd name="connsiteY311" fmla="*/ 8266 h 10000"/>
                <a:gd name="connsiteX312" fmla="*/ 8642 w 10000"/>
                <a:gd name="connsiteY312" fmla="*/ 8472 h 10000"/>
                <a:gd name="connsiteX313" fmla="*/ 8566 w 10000"/>
                <a:gd name="connsiteY313" fmla="*/ 8421 h 10000"/>
                <a:gd name="connsiteX314" fmla="*/ 8556 w 10000"/>
                <a:gd name="connsiteY314" fmla="*/ 8669 h 10000"/>
                <a:gd name="connsiteX315" fmla="*/ 8497 w 10000"/>
                <a:gd name="connsiteY315" fmla="*/ 8493 h 10000"/>
                <a:gd name="connsiteX316" fmla="*/ 8481 w 10000"/>
                <a:gd name="connsiteY316" fmla="*/ 8421 h 10000"/>
                <a:gd name="connsiteX317" fmla="*/ 8361 w 10000"/>
                <a:gd name="connsiteY317" fmla="*/ 7751 h 10000"/>
                <a:gd name="connsiteX318" fmla="*/ 8322 w 10000"/>
                <a:gd name="connsiteY318" fmla="*/ 7524 h 10000"/>
                <a:gd name="connsiteX319" fmla="*/ 8291 w 10000"/>
                <a:gd name="connsiteY319" fmla="*/ 7378 h 10000"/>
                <a:gd name="connsiteX320" fmla="*/ 8275 w 10000"/>
                <a:gd name="connsiteY320" fmla="*/ 7306 h 10000"/>
                <a:gd name="connsiteX321" fmla="*/ 8139 w 10000"/>
                <a:gd name="connsiteY321" fmla="*/ 6863 h 10000"/>
                <a:gd name="connsiteX322" fmla="*/ 8199 w 10000"/>
                <a:gd name="connsiteY322" fmla="*/ 7451 h 10000"/>
                <a:gd name="connsiteX323" fmla="*/ 8247 w 10000"/>
                <a:gd name="connsiteY323" fmla="*/ 7998 h 10000"/>
                <a:gd name="connsiteX324" fmla="*/ 8177 w 10000"/>
                <a:gd name="connsiteY324" fmla="*/ 9133 h 10000"/>
                <a:gd name="connsiteX325" fmla="*/ 8124 w 10000"/>
                <a:gd name="connsiteY325" fmla="*/ 9484 h 10000"/>
                <a:gd name="connsiteX326" fmla="*/ 7972 w 10000"/>
                <a:gd name="connsiteY326" fmla="*/ 9432 h 10000"/>
                <a:gd name="connsiteX327" fmla="*/ 7897 w 10000"/>
                <a:gd name="connsiteY327" fmla="*/ 9660 h 10000"/>
                <a:gd name="connsiteX328" fmla="*/ 7868 w 10000"/>
                <a:gd name="connsiteY328" fmla="*/ 9588 h 10000"/>
                <a:gd name="connsiteX329" fmla="*/ 7884 w 10000"/>
                <a:gd name="connsiteY329" fmla="*/ 9536 h 10000"/>
                <a:gd name="connsiteX330" fmla="*/ 7897 w 10000"/>
                <a:gd name="connsiteY330" fmla="*/ 9380 h 10000"/>
                <a:gd name="connsiteX331" fmla="*/ 7884 w 10000"/>
                <a:gd name="connsiteY331" fmla="*/ 9236 h 10000"/>
                <a:gd name="connsiteX332" fmla="*/ 7793 w 10000"/>
                <a:gd name="connsiteY332" fmla="*/ 8865 h 10000"/>
                <a:gd name="connsiteX333" fmla="*/ 7831 w 10000"/>
                <a:gd name="connsiteY333" fmla="*/ 8741 h 10000"/>
                <a:gd name="connsiteX334" fmla="*/ 7928 w 10000"/>
                <a:gd name="connsiteY334" fmla="*/ 8844 h 10000"/>
                <a:gd name="connsiteX335" fmla="*/ 7912 w 10000"/>
                <a:gd name="connsiteY335" fmla="*/ 8318 h 10000"/>
                <a:gd name="connsiteX336" fmla="*/ 7906 w 10000"/>
                <a:gd name="connsiteY336" fmla="*/ 8019 h 10000"/>
                <a:gd name="connsiteX337" fmla="*/ 7846 w 10000"/>
                <a:gd name="connsiteY337" fmla="*/ 7802 h 10000"/>
                <a:gd name="connsiteX338" fmla="*/ 7723 w 10000"/>
                <a:gd name="connsiteY338" fmla="*/ 8050 h 10000"/>
                <a:gd name="connsiteX339" fmla="*/ 7619 w 10000"/>
                <a:gd name="connsiteY339" fmla="*/ 8019 h 10000"/>
                <a:gd name="connsiteX340" fmla="*/ 7528 w 10000"/>
                <a:gd name="connsiteY340" fmla="*/ 7699 h 10000"/>
                <a:gd name="connsiteX341" fmla="*/ 7355 w 10000"/>
                <a:gd name="connsiteY341" fmla="*/ 7482 h 10000"/>
                <a:gd name="connsiteX342" fmla="*/ 7279 w 10000"/>
                <a:gd name="connsiteY342" fmla="*/ 7482 h 10000"/>
                <a:gd name="connsiteX343" fmla="*/ 7080 w 10000"/>
                <a:gd name="connsiteY343" fmla="*/ 6781 h 10000"/>
                <a:gd name="connsiteX344" fmla="*/ 6901 w 10000"/>
                <a:gd name="connsiteY344" fmla="*/ 6460 h 10000"/>
                <a:gd name="connsiteX345" fmla="*/ 6724 w 10000"/>
                <a:gd name="connsiteY345" fmla="*/ 6336 h 10000"/>
                <a:gd name="connsiteX346" fmla="*/ 6583 w 10000"/>
                <a:gd name="connsiteY346" fmla="*/ 6408 h 10000"/>
                <a:gd name="connsiteX347" fmla="*/ 6567 w 10000"/>
                <a:gd name="connsiteY347" fmla="*/ 6585 h 10000"/>
                <a:gd name="connsiteX348" fmla="*/ 6664 w 10000"/>
                <a:gd name="connsiteY348" fmla="*/ 6760 h 10000"/>
                <a:gd name="connsiteX349" fmla="*/ 6636 w 10000"/>
                <a:gd name="connsiteY349" fmla="*/ 6935 h 10000"/>
                <a:gd name="connsiteX350" fmla="*/ 6636 w 10000"/>
                <a:gd name="connsiteY350" fmla="*/ 7399 h 10000"/>
                <a:gd name="connsiteX351" fmla="*/ 6560 w 10000"/>
                <a:gd name="connsiteY351" fmla="*/ 7482 h 10000"/>
                <a:gd name="connsiteX352" fmla="*/ 6485 w 10000"/>
                <a:gd name="connsiteY352" fmla="*/ 7378 h 10000"/>
                <a:gd name="connsiteX353" fmla="*/ 6400 w 10000"/>
                <a:gd name="connsiteY353" fmla="*/ 7399 h 10000"/>
                <a:gd name="connsiteX354" fmla="*/ 6334 w 10000"/>
                <a:gd name="connsiteY354" fmla="*/ 7275 h 10000"/>
                <a:gd name="connsiteX355" fmla="*/ 6258 w 10000"/>
                <a:gd name="connsiteY355" fmla="*/ 7358 h 10000"/>
                <a:gd name="connsiteX356" fmla="*/ 6220 w 10000"/>
                <a:gd name="connsiteY356" fmla="*/ 7524 h 10000"/>
                <a:gd name="connsiteX357" fmla="*/ 6081 w 10000"/>
                <a:gd name="connsiteY357" fmla="*/ 7606 h 10000"/>
                <a:gd name="connsiteX358" fmla="*/ 5892 w 10000"/>
                <a:gd name="connsiteY358" fmla="*/ 7575 h 10000"/>
                <a:gd name="connsiteX359" fmla="*/ 5855 w 10000"/>
                <a:gd name="connsiteY359" fmla="*/ 7327 h 10000"/>
                <a:gd name="connsiteX360" fmla="*/ 5643 w 10000"/>
                <a:gd name="connsiteY360" fmla="*/ 7255 h 10000"/>
                <a:gd name="connsiteX361" fmla="*/ 5539 w 10000"/>
                <a:gd name="connsiteY361" fmla="*/ 7358 h 10000"/>
                <a:gd name="connsiteX362" fmla="*/ 5416 w 10000"/>
                <a:gd name="connsiteY362" fmla="*/ 7203 h 10000"/>
                <a:gd name="connsiteX363" fmla="*/ 5372 w 10000"/>
                <a:gd name="connsiteY363" fmla="*/ 690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356" fmla="*/ 6081 w 10000"/>
                <a:gd name="connsiteY356" fmla="*/ 7606 h 10000"/>
                <a:gd name="connsiteX357" fmla="*/ 5892 w 10000"/>
                <a:gd name="connsiteY357" fmla="*/ 7575 h 10000"/>
                <a:gd name="connsiteX358" fmla="*/ 5855 w 10000"/>
                <a:gd name="connsiteY358" fmla="*/ 7327 h 10000"/>
                <a:gd name="connsiteX359" fmla="*/ 5643 w 10000"/>
                <a:gd name="connsiteY359" fmla="*/ 7255 h 10000"/>
                <a:gd name="connsiteX360" fmla="*/ 5539 w 10000"/>
                <a:gd name="connsiteY360" fmla="*/ 7358 h 10000"/>
                <a:gd name="connsiteX361" fmla="*/ 5416 w 10000"/>
                <a:gd name="connsiteY361" fmla="*/ 7203 h 10000"/>
                <a:gd name="connsiteX362" fmla="*/ 5372 w 10000"/>
                <a:gd name="connsiteY362" fmla="*/ 690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356" fmla="*/ 6081 w 10000"/>
                <a:gd name="connsiteY356" fmla="*/ 7606 h 10000"/>
                <a:gd name="connsiteX357" fmla="*/ 5892 w 10000"/>
                <a:gd name="connsiteY357" fmla="*/ 7575 h 10000"/>
                <a:gd name="connsiteX358" fmla="*/ 5855 w 10000"/>
                <a:gd name="connsiteY358" fmla="*/ 7327 h 10000"/>
                <a:gd name="connsiteX359" fmla="*/ 5643 w 10000"/>
                <a:gd name="connsiteY359" fmla="*/ 7255 h 10000"/>
                <a:gd name="connsiteX360" fmla="*/ 5539 w 10000"/>
                <a:gd name="connsiteY360" fmla="*/ 7358 h 10000"/>
                <a:gd name="connsiteX361" fmla="*/ 5416 w 10000"/>
                <a:gd name="connsiteY361" fmla="*/ 720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356" fmla="*/ 6081 w 10000"/>
                <a:gd name="connsiteY356" fmla="*/ 7606 h 10000"/>
                <a:gd name="connsiteX357" fmla="*/ 5892 w 10000"/>
                <a:gd name="connsiteY357" fmla="*/ 7575 h 10000"/>
                <a:gd name="connsiteX358" fmla="*/ 5855 w 10000"/>
                <a:gd name="connsiteY358" fmla="*/ 7327 h 10000"/>
                <a:gd name="connsiteX359" fmla="*/ 5643 w 10000"/>
                <a:gd name="connsiteY359" fmla="*/ 7255 h 10000"/>
                <a:gd name="connsiteX360" fmla="*/ 5539 w 10000"/>
                <a:gd name="connsiteY360" fmla="*/ 735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356" fmla="*/ 6081 w 10000"/>
                <a:gd name="connsiteY356" fmla="*/ 7606 h 10000"/>
                <a:gd name="connsiteX357" fmla="*/ 5892 w 10000"/>
                <a:gd name="connsiteY357" fmla="*/ 7575 h 10000"/>
                <a:gd name="connsiteX358" fmla="*/ 5855 w 10000"/>
                <a:gd name="connsiteY358" fmla="*/ 7327 h 10000"/>
                <a:gd name="connsiteX359" fmla="*/ 5643 w 10000"/>
                <a:gd name="connsiteY359" fmla="*/ 725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356" fmla="*/ 6081 w 10000"/>
                <a:gd name="connsiteY356" fmla="*/ 7606 h 10000"/>
                <a:gd name="connsiteX357" fmla="*/ 5892 w 10000"/>
                <a:gd name="connsiteY357" fmla="*/ 7575 h 10000"/>
                <a:gd name="connsiteX358" fmla="*/ 5855 w 10000"/>
                <a:gd name="connsiteY358" fmla="*/ 7327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356" fmla="*/ 6081 w 10000"/>
                <a:gd name="connsiteY356" fmla="*/ 7606 h 10000"/>
                <a:gd name="connsiteX357" fmla="*/ 5892 w 10000"/>
                <a:gd name="connsiteY357" fmla="*/ 757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356" fmla="*/ 6081 w 10000"/>
                <a:gd name="connsiteY356" fmla="*/ 760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355" fmla="*/ 6220 w 10000"/>
                <a:gd name="connsiteY355"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354" fmla="*/ 6258 w 10000"/>
                <a:gd name="connsiteY354" fmla="*/ 735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353" fmla="*/ 6334 w 10000"/>
                <a:gd name="connsiteY353" fmla="*/ 727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352" fmla="*/ 6400 w 10000"/>
                <a:gd name="connsiteY352" fmla="*/ 739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351" fmla="*/ 6485 w 10000"/>
                <a:gd name="connsiteY351" fmla="*/ 737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350" fmla="*/ 6560 w 10000"/>
                <a:gd name="connsiteY350" fmla="*/ 748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349" fmla="*/ 6636 w 10000"/>
                <a:gd name="connsiteY349" fmla="*/ 739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348" fmla="*/ 6636 w 10000"/>
                <a:gd name="connsiteY348" fmla="*/ 693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347" fmla="*/ 6664 w 10000"/>
                <a:gd name="connsiteY347" fmla="*/ 676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346" fmla="*/ 6567 w 10000"/>
                <a:gd name="connsiteY346" fmla="*/ 658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345" fmla="*/ 6583 w 10000"/>
                <a:gd name="connsiteY345" fmla="*/ 640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344" fmla="*/ 6724 w 10000"/>
                <a:gd name="connsiteY344" fmla="*/ 633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343" fmla="*/ 6901 w 10000"/>
                <a:gd name="connsiteY343" fmla="*/ 646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342" fmla="*/ 7080 w 10000"/>
                <a:gd name="connsiteY342" fmla="*/ 678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341" fmla="*/ 7279 w 10000"/>
                <a:gd name="connsiteY341" fmla="*/ 748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340" fmla="*/ 7355 w 10000"/>
                <a:gd name="connsiteY340" fmla="*/ 748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339" fmla="*/ 7528 w 10000"/>
                <a:gd name="connsiteY339" fmla="*/ 769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338" fmla="*/ 7619 w 10000"/>
                <a:gd name="connsiteY338" fmla="*/ 801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337" fmla="*/ 7723 w 10000"/>
                <a:gd name="connsiteY337" fmla="*/ 805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336" fmla="*/ 7846 w 10000"/>
                <a:gd name="connsiteY336" fmla="*/ 780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335" fmla="*/ 7906 w 10000"/>
                <a:gd name="connsiteY335" fmla="*/ 801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334" fmla="*/ 7912 w 10000"/>
                <a:gd name="connsiteY334" fmla="*/ 831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831 w 10000"/>
                <a:gd name="connsiteY332" fmla="*/ 8741 h 10000"/>
                <a:gd name="connsiteX333" fmla="*/ 7928 w 10000"/>
                <a:gd name="connsiteY333" fmla="*/ 884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793 w 10000"/>
                <a:gd name="connsiteY331" fmla="*/ 8865 h 10000"/>
                <a:gd name="connsiteX332" fmla="*/ 7928 w 10000"/>
                <a:gd name="connsiteY332" fmla="*/ 884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331" fmla="*/ 7928 w 10000"/>
                <a:gd name="connsiteY331" fmla="*/ 884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330" fmla="*/ 7884 w 10000"/>
                <a:gd name="connsiteY330" fmla="*/ 923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329" fmla="*/ 7897 w 10000"/>
                <a:gd name="connsiteY329" fmla="*/ 938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328" fmla="*/ 7884 w 10000"/>
                <a:gd name="connsiteY328" fmla="*/ 953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327" fmla="*/ 7868 w 10000"/>
                <a:gd name="connsiteY327" fmla="*/ 958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326" fmla="*/ 7897 w 10000"/>
                <a:gd name="connsiteY326" fmla="*/ 966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325" fmla="*/ 7972 w 10000"/>
                <a:gd name="connsiteY325" fmla="*/ 943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324" fmla="*/ 8124 w 10000"/>
                <a:gd name="connsiteY324" fmla="*/ 948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323" fmla="*/ 8177 w 10000"/>
                <a:gd name="connsiteY323" fmla="*/ 913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322" fmla="*/ 8247 w 10000"/>
                <a:gd name="connsiteY322" fmla="*/ 799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321" fmla="*/ 8199 w 10000"/>
                <a:gd name="connsiteY321" fmla="*/ 745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320" fmla="*/ 8139 w 10000"/>
                <a:gd name="connsiteY320" fmla="*/ 686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177 w 10000"/>
                <a:gd name="connsiteY302" fmla="*/ 6512 h 10000"/>
                <a:gd name="connsiteX303" fmla="*/ 8300 w 10000"/>
                <a:gd name="connsiteY303" fmla="*/ 6987 h 10000"/>
                <a:gd name="connsiteX304" fmla="*/ 8361 w 10000"/>
                <a:gd name="connsiteY304" fmla="*/ 7152 h 10000"/>
                <a:gd name="connsiteX305" fmla="*/ 8490 w 10000"/>
                <a:gd name="connsiteY305" fmla="*/ 7482 h 10000"/>
                <a:gd name="connsiteX306" fmla="*/ 8604 w 10000"/>
                <a:gd name="connsiteY306" fmla="*/ 7854 h 10000"/>
                <a:gd name="connsiteX307" fmla="*/ 8474 w 10000"/>
                <a:gd name="connsiteY307" fmla="*/ 7647 h 10000"/>
                <a:gd name="connsiteX308" fmla="*/ 8443 w 10000"/>
                <a:gd name="connsiteY308" fmla="*/ 7678 h 10000"/>
                <a:gd name="connsiteX309" fmla="*/ 8512 w 10000"/>
                <a:gd name="connsiteY309" fmla="*/ 8050 h 10000"/>
                <a:gd name="connsiteX310" fmla="*/ 8588 w 10000"/>
                <a:gd name="connsiteY310" fmla="*/ 8266 h 10000"/>
                <a:gd name="connsiteX311" fmla="*/ 8642 w 10000"/>
                <a:gd name="connsiteY311" fmla="*/ 8472 h 10000"/>
                <a:gd name="connsiteX312" fmla="*/ 8566 w 10000"/>
                <a:gd name="connsiteY312" fmla="*/ 8421 h 10000"/>
                <a:gd name="connsiteX313" fmla="*/ 8556 w 10000"/>
                <a:gd name="connsiteY313" fmla="*/ 8669 h 10000"/>
                <a:gd name="connsiteX314" fmla="*/ 8497 w 10000"/>
                <a:gd name="connsiteY314" fmla="*/ 8493 h 10000"/>
                <a:gd name="connsiteX315" fmla="*/ 8481 w 10000"/>
                <a:gd name="connsiteY315" fmla="*/ 8421 h 10000"/>
                <a:gd name="connsiteX316" fmla="*/ 8361 w 10000"/>
                <a:gd name="connsiteY316" fmla="*/ 7751 h 10000"/>
                <a:gd name="connsiteX317" fmla="*/ 8322 w 10000"/>
                <a:gd name="connsiteY317" fmla="*/ 7524 h 10000"/>
                <a:gd name="connsiteX318" fmla="*/ 8291 w 10000"/>
                <a:gd name="connsiteY318" fmla="*/ 7378 h 10000"/>
                <a:gd name="connsiteX319" fmla="*/ 8275 w 10000"/>
                <a:gd name="connsiteY319" fmla="*/ 730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642 w 10000"/>
                <a:gd name="connsiteY310" fmla="*/ 8472 h 10000"/>
                <a:gd name="connsiteX311" fmla="*/ 8566 w 10000"/>
                <a:gd name="connsiteY311" fmla="*/ 8421 h 10000"/>
                <a:gd name="connsiteX312" fmla="*/ 8556 w 10000"/>
                <a:gd name="connsiteY312" fmla="*/ 8669 h 10000"/>
                <a:gd name="connsiteX313" fmla="*/ 8497 w 10000"/>
                <a:gd name="connsiteY313" fmla="*/ 8493 h 10000"/>
                <a:gd name="connsiteX314" fmla="*/ 8481 w 10000"/>
                <a:gd name="connsiteY314" fmla="*/ 8421 h 10000"/>
                <a:gd name="connsiteX315" fmla="*/ 8361 w 10000"/>
                <a:gd name="connsiteY315" fmla="*/ 7751 h 10000"/>
                <a:gd name="connsiteX316" fmla="*/ 8322 w 10000"/>
                <a:gd name="connsiteY316" fmla="*/ 7524 h 10000"/>
                <a:gd name="connsiteX317" fmla="*/ 8291 w 10000"/>
                <a:gd name="connsiteY317" fmla="*/ 7378 h 10000"/>
                <a:gd name="connsiteX318" fmla="*/ 8275 w 10000"/>
                <a:gd name="connsiteY318" fmla="*/ 730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642 w 10000"/>
                <a:gd name="connsiteY310" fmla="*/ 8472 h 10000"/>
                <a:gd name="connsiteX311" fmla="*/ 8566 w 10000"/>
                <a:gd name="connsiteY311" fmla="*/ 8421 h 10000"/>
                <a:gd name="connsiteX312" fmla="*/ 8556 w 10000"/>
                <a:gd name="connsiteY312" fmla="*/ 8669 h 10000"/>
                <a:gd name="connsiteX313" fmla="*/ 8497 w 10000"/>
                <a:gd name="connsiteY313" fmla="*/ 8493 h 10000"/>
                <a:gd name="connsiteX314" fmla="*/ 8481 w 10000"/>
                <a:gd name="connsiteY314" fmla="*/ 8421 h 10000"/>
                <a:gd name="connsiteX315" fmla="*/ 8361 w 10000"/>
                <a:gd name="connsiteY315" fmla="*/ 7751 h 10000"/>
                <a:gd name="connsiteX316" fmla="*/ 8322 w 10000"/>
                <a:gd name="connsiteY316" fmla="*/ 7524 h 10000"/>
                <a:gd name="connsiteX317" fmla="*/ 8291 w 10000"/>
                <a:gd name="connsiteY317" fmla="*/ 737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642 w 10000"/>
                <a:gd name="connsiteY310" fmla="*/ 8472 h 10000"/>
                <a:gd name="connsiteX311" fmla="*/ 8566 w 10000"/>
                <a:gd name="connsiteY311" fmla="*/ 8421 h 10000"/>
                <a:gd name="connsiteX312" fmla="*/ 8556 w 10000"/>
                <a:gd name="connsiteY312" fmla="*/ 8669 h 10000"/>
                <a:gd name="connsiteX313" fmla="*/ 8497 w 10000"/>
                <a:gd name="connsiteY313" fmla="*/ 8493 h 10000"/>
                <a:gd name="connsiteX314" fmla="*/ 8481 w 10000"/>
                <a:gd name="connsiteY314" fmla="*/ 8421 h 10000"/>
                <a:gd name="connsiteX315" fmla="*/ 8361 w 10000"/>
                <a:gd name="connsiteY315" fmla="*/ 7751 h 10000"/>
                <a:gd name="connsiteX316" fmla="*/ 8322 w 10000"/>
                <a:gd name="connsiteY316"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642 w 10000"/>
                <a:gd name="connsiteY310" fmla="*/ 8472 h 10000"/>
                <a:gd name="connsiteX311" fmla="*/ 8566 w 10000"/>
                <a:gd name="connsiteY311" fmla="*/ 8421 h 10000"/>
                <a:gd name="connsiteX312" fmla="*/ 8556 w 10000"/>
                <a:gd name="connsiteY312" fmla="*/ 8669 h 10000"/>
                <a:gd name="connsiteX313" fmla="*/ 8497 w 10000"/>
                <a:gd name="connsiteY313" fmla="*/ 8493 h 10000"/>
                <a:gd name="connsiteX314" fmla="*/ 8361 w 10000"/>
                <a:gd name="connsiteY314" fmla="*/ 7751 h 10000"/>
                <a:gd name="connsiteX315" fmla="*/ 8322 w 10000"/>
                <a:gd name="connsiteY315"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642 w 10000"/>
                <a:gd name="connsiteY310" fmla="*/ 8472 h 10000"/>
                <a:gd name="connsiteX311" fmla="*/ 8566 w 10000"/>
                <a:gd name="connsiteY311" fmla="*/ 8421 h 10000"/>
                <a:gd name="connsiteX312" fmla="*/ 8556 w 10000"/>
                <a:gd name="connsiteY312" fmla="*/ 8669 h 10000"/>
                <a:gd name="connsiteX313" fmla="*/ 8361 w 10000"/>
                <a:gd name="connsiteY313" fmla="*/ 7751 h 10000"/>
                <a:gd name="connsiteX314" fmla="*/ 8322 w 10000"/>
                <a:gd name="connsiteY314"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642 w 10000"/>
                <a:gd name="connsiteY310" fmla="*/ 8472 h 10000"/>
                <a:gd name="connsiteX311" fmla="*/ 8566 w 10000"/>
                <a:gd name="connsiteY311" fmla="*/ 8421 h 10000"/>
                <a:gd name="connsiteX312" fmla="*/ 8361 w 10000"/>
                <a:gd name="connsiteY312" fmla="*/ 7751 h 10000"/>
                <a:gd name="connsiteX313" fmla="*/ 8322 w 10000"/>
                <a:gd name="connsiteY313"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642 w 10000"/>
                <a:gd name="connsiteY310" fmla="*/ 8472 h 10000"/>
                <a:gd name="connsiteX311" fmla="*/ 8361 w 10000"/>
                <a:gd name="connsiteY311" fmla="*/ 7751 h 10000"/>
                <a:gd name="connsiteX312" fmla="*/ 8322 w 10000"/>
                <a:gd name="connsiteY312"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588 w 10000"/>
                <a:gd name="connsiteY309" fmla="*/ 8266 h 10000"/>
                <a:gd name="connsiteX310" fmla="*/ 8361 w 10000"/>
                <a:gd name="connsiteY310" fmla="*/ 7751 h 10000"/>
                <a:gd name="connsiteX311" fmla="*/ 8322 w 10000"/>
                <a:gd name="connsiteY311"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512 w 10000"/>
                <a:gd name="connsiteY308" fmla="*/ 8050 h 10000"/>
                <a:gd name="connsiteX309" fmla="*/ 8361 w 10000"/>
                <a:gd name="connsiteY309" fmla="*/ 7751 h 10000"/>
                <a:gd name="connsiteX310" fmla="*/ 8322 w 10000"/>
                <a:gd name="connsiteY310"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604 w 10000"/>
                <a:gd name="connsiteY305" fmla="*/ 7854 h 10000"/>
                <a:gd name="connsiteX306" fmla="*/ 8474 w 10000"/>
                <a:gd name="connsiteY306" fmla="*/ 7647 h 10000"/>
                <a:gd name="connsiteX307" fmla="*/ 8443 w 10000"/>
                <a:gd name="connsiteY307" fmla="*/ 7678 h 10000"/>
                <a:gd name="connsiteX308" fmla="*/ 8361 w 10000"/>
                <a:gd name="connsiteY308" fmla="*/ 7751 h 10000"/>
                <a:gd name="connsiteX309" fmla="*/ 8322 w 10000"/>
                <a:gd name="connsiteY309"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474 w 10000"/>
                <a:gd name="connsiteY305" fmla="*/ 7647 h 10000"/>
                <a:gd name="connsiteX306" fmla="*/ 8443 w 10000"/>
                <a:gd name="connsiteY306" fmla="*/ 7678 h 10000"/>
                <a:gd name="connsiteX307" fmla="*/ 8361 w 10000"/>
                <a:gd name="connsiteY307" fmla="*/ 7751 h 10000"/>
                <a:gd name="connsiteX308" fmla="*/ 8322 w 10000"/>
                <a:gd name="connsiteY308"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474 w 10000"/>
                <a:gd name="connsiteY305" fmla="*/ 7647 h 10000"/>
                <a:gd name="connsiteX306" fmla="*/ 8443 w 10000"/>
                <a:gd name="connsiteY306" fmla="*/ 7678 h 10000"/>
                <a:gd name="connsiteX307" fmla="*/ 8322 w 10000"/>
                <a:gd name="connsiteY307"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474 w 10000"/>
                <a:gd name="connsiteY305" fmla="*/ 7647 h 10000"/>
                <a:gd name="connsiteX306" fmla="*/ 8322 w 10000"/>
                <a:gd name="connsiteY306"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490 w 10000"/>
                <a:gd name="connsiteY304" fmla="*/ 7482 h 10000"/>
                <a:gd name="connsiteX305" fmla="*/ 8322 w 10000"/>
                <a:gd name="connsiteY305"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304" fmla="*/ 8322 w 10000"/>
                <a:gd name="connsiteY304" fmla="*/ 752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303" fmla="*/ 8361 w 10000"/>
                <a:gd name="connsiteY303" fmla="*/ 715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302" fmla="*/ 8300 w 10000"/>
                <a:gd name="connsiteY302" fmla="*/ 6987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111 w 10000"/>
                <a:gd name="connsiteY299" fmla="*/ 6781 h 10000"/>
                <a:gd name="connsiteX300" fmla="*/ 8048 w 10000"/>
                <a:gd name="connsiteY300" fmla="*/ 6491 h 10000"/>
                <a:gd name="connsiteX301" fmla="*/ 8124 w 10000"/>
                <a:gd name="connsiteY301" fmla="*/ 633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048 w 10000"/>
                <a:gd name="connsiteY299" fmla="*/ 6491 h 10000"/>
                <a:gd name="connsiteX300" fmla="*/ 8124 w 10000"/>
                <a:gd name="connsiteY300" fmla="*/ 633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299" fmla="*/ 8048 w 10000"/>
                <a:gd name="connsiteY299" fmla="*/ 649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298" fmla="*/ 8064 w 10000"/>
                <a:gd name="connsiteY298" fmla="*/ 661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297" fmla="*/ 8004 w 10000"/>
                <a:gd name="connsiteY297" fmla="*/ 6367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296" fmla="*/ 7912 w 10000"/>
                <a:gd name="connsiteY296" fmla="*/ 608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295" fmla="*/ 7793 w 10000"/>
                <a:gd name="connsiteY295" fmla="*/ 606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294" fmla="*/ 7771 w 10000"/>
                <a:gd name="connsiteY294" fmla="*/ 628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293" fmla="*/ 7745 w 10000"/>
                <a:gd name="connsiteY293" fmla="*/ 624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292" fmla="*/ 7701 w 10000"/>
                <a:gd name="connsiteY292" fmla="*/ 616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291" fmla="*/ 7496 w 10000"/>
                <a:gd name="connsiteY291" fmla="*/ 596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290" fmla="*/ 7550 w 10000"/>
                <a:gd name="connsiteY290" fmla="*/ 566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289" fmla="*/ 7610 w 10000"/>
                <a:gd name="connsiteY289" fmla="*/ 500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288" fmla="*/ 7641 w 10000"/>
                <a:gd name="connsiteY288" fmla="*/ 477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287" fmla="*/ 8102 w 10000"/>
                <a:gd name="connsiteY287" fmla="*/ 463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286" fmla="*/ 8209 w 10000"/>
                <a:gd name="connsiteY286" fmla="*/ 465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285" fmla="*/ 8225 w 10000"/>
                <a:gd name="connsiteY285" fmla="*/ 479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284" fmla="*/ 8405 w 10000"/>
                <a:gd name="connsiteY284" fmla="*/ 483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283" fmla="*/ 8481 w 10000"/>
                <a:gd name="connsiteY283" fmla="*/ 465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282" fmla="*/ 8352 w 10000"/>
                <a:gd name="connsiteY282" fmla="*/ 440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281" fmla="*/ 8389 w 10000"/>
                <a:gd name="connsiteY281" fmla="*/ 4107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280" fmla="*/ 8481 w 10000"/>
                <a:gd name="connsiteY280" fmla="*/ 413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279" fmla="*/ 8550 w 10000"/>
                <a:gd name="connsiteY279" fmla="*/ 405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278" fmla="*/ 8604 w 10000"/>
                <a:gd name="connsiteY278" fmla="*/ 421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277" fmla="*/ 8692 w 10000"/>
                <a:gd name="connsiteY277" fmla="*/ 430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276" fmla="*/ 8755 w 10000"/>
                <a:gd name="connsiteY276" fmla="*/ 398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275" fmla="*/ 8739 w 10000"/>
                <a:gd name="connsiteY275" fmla="*/ 378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274" fmla="*/ 8853 w 10000"/>
                <a:gd name="connsiteY274" fmla="*/ 383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273" fmla="*/ 8786 w 10000"/>
                <a:gd name="connsiteY273" fmla="*/ 390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272" fmla="*/ 8909 w 10000"/>
                <a:gd name="connsiteY272" fmla="*/ 422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271" fmla="*/ 8853 w 10000"/>
                <a:gd name="connsiteY271" fmla="*/ 425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270" fmla="*/ 8827 w 10000"/>
                <a:gd name="connsiteY270" fmla="*/ 4437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269" fmla="*/ 8809 w 10000"/>
                <a:gd name="connsiteY269" fmla="*/ 484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268" fmla="*/ 8809 w 10000"/>
                <a:gd name="connsiteY268" fmla="*/ 510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692 w 10000"/>
                <a:gd name="connsiteY266" fmla="*/ 5047 h 10000"/>
                <a:gd name="connsiteX267" fmla="*/ 8771 w 10000"/>
                <a:gd name="connsiteY267" fmla="*/ 508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266" fmla="*/ 8771 w 10000"/>
                <a:gd name="connsiteY266" fmla="*/ 508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265" fmla="*/ 8768 w 10000"/>
                <a:gd name="connsiteY265" fmla="*/ 521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264" fmla="*/ 8771 w 10000"/>
                <a:gd name="connsiteY264" fmla="*/ 545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263" fmla="*/ 8824 w 10000"/>
                <a:gd name="connsiteY263" fmla="*/ 575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262" fmla="*/ 9061 w 10000"/>
                <a:gd name="connsiteY262" fmla="*/ 640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261" fmla="*/ 9281 w 10000"/>
                <a:gd name="connsiteY261" fmla="*/ 706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260" fmla="*/ 9297 w 10000"/>
                <a:gd name="connsiteY260" fmla="*/ 672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259" fmla="*/ 9250 w 10000"/>
                <a:gd name="connsiteY259" fmla="*/ 650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258" fmla="*/ 9319 w 10000"/>
                <a:gd name="connsiteY258" fmla="*/ 640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257" fmla="*/ 9253 w 10000"/>
                <a:gd name="connsiteY257" fmla="*/ 622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256" fmla="*/ 9269 w 10000"/>
                <a:gd name="connsiteY256" fmla="*/ 606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255" fmla="*/ 9344 w 10000"/>
                <a:gd name="connsiteY255" fmla="*/ 606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254" fmla="*/ 9269 w 10000"/>
                <a:gd name="connsiteY254" fmla="*/ 588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253" fmla="*/ 9221 w 10000"/>
                <a:gd name="connsiteY253" fmla="*/ 576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252" fmla="*/ 9215 w 10000"/>
                <a:gd name="connsiteY252" fmla="*/ 560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251" fmla="*/ 9231 w 10000"/>
                <a:gd name="connsiteY251" fmla="*/ 542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250" fmla="*/ 9158 w 10000"/>
                <a:gd name="connsiteY250" fmla="*/ 521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010 w 10000"/>
                <a:gd name="connsiteY249" fmla="*/ 5336 h 10000"/>
                <a:gd name="connsiteX250" fmla="*/ 9130 w 10000"/>
                <a:gd name="connsiteY250" fmla="*/ 515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249" fmla="*/ 9130 w 10000"/>
                <a:gd name="connsiteY249" fmla="*/ 515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248" fmla="*/ 9073 w 10000"/>
                <a:gd name="connsiteY248" fmla="*/ 521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247" fmla="*/ 9004 w 10000"/>
                <a:gd name="connsiteY247" fmla="*/ 499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246" fmla="*/ 9007 w 10000"/>
                <a:gd name="connsiteY246" fmla="*/ 4686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245" fmla="*/ 8966 w 10000"/>
                <a:gd name="connsiteY245" fmla="*/ 456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244" fmla="*/ 8998 w 10000"/>
                <a:gd name="connsiteY244" fmla="*/ 4458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243" fmla="*/ 9054 w 10000"/>
                <a:gd name="connsiteY243" fmla="*/ 452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242" fmla="*/ 9061 w 10000"/>
                <a:gd name="connsiteY242" fmla="*/ 436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241" fmla="*/ 9155 w 10000"/>
                <a:gd name="connsiteY241" fmla="*/ 4531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240" fmla="*/ 9149 w 10000"/>
                <a:gd name="connsiteY240" fmla="*/ 431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239" fmla="*/ 9335 w 10000"/>
                <a:gd name="connsiteY239" fmla="*/ 430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238" fmla="*/ 9376 w 10000"/>
                <a:gd name="connsiteY238" fmla="*/ 4499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237" fmla="*/ 9385 w 10000"/>
                <a:gd name="connsiteY237" fmla="*/ 4283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236" fmla="*/ 9451 w 10000"/>
                <a:gd name="connsiteY236" fmla="*/ 402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735 w 10000"/>
                <a:gd name="connsiteY234" fmla="*/ 3839 h 10000"/>
                <a:gd name="connsiteX235" fmla="*/ 9552 w 10000"/>
                <a:gd name="connsiteY235" fmla="*/ 3757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234" fmla="*/ 9552 w 10000"/>
                <a:gd name="connsiteY234" fmla="*/ 3757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233" fmla="*/ 9659 w 10000"/>
                <a:gd name="connsiteY233" fmla="*/ 368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232" fmla="*/ 9451 w 10000"/>
                <a:gd name="connsiteY232" fmla="*/ 3354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231" fmla="*/ 9363 w 10000"/>
                <a:gd name="connsiteY231" fmla="*/ 323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230" fmla="*/ 9262 w 10000"/>
                <a:gd name="connsiteY230" fmla="*/ 323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229" fmla="*/ 9288 w 10000"/>
                <a:gd name="connsiteY229" fmla="*/ 306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228" fmla="*/ 9470 w 10000"/>
                <a:gd name="connsiteY228" fmla="*/ 3230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227" fmla="*/ 9461 w 10000"/>
                <a:gd name="connsiteY227" fmla="*/ 2972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555 w 10000"/>
                <a:gd name="connsiteY224" fmla="*/ 3003 h 10000"/>
                <a:gd name="connsiteX225" fmla="*/ 9470 w 10000"/>
                <a:gd name="connsiteY225" fmla="*/ 2787 h 10000"/>
                <a:gd name="connsiteX226" fmla="*/ 9366 w 10000"/>
                <a:gd name="connsiteY226" fmla="*/ 272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745 w 10000"/>
                <a:gd name="connsiteY222" fmla="*/ 3075 h 10000"/>
                <a:gd name="connsiteX223" fmla="*/ 9641 w 10000"/>
                <a:gd name="connsiteY223" fmla="*/ 2972 h 10000"/>
                <a:gd name="connsiteX224" fmla="*/ 9470 w 10000"/>
                <a:gd name="connsiteY224" fmla="*/ 2787 h 10000"/>
                <a:gd name="connsiteX225" fmla="*/ 9366 w 10000"/>
                <a:gd name="connsiteY225" fmla="*/ 2725 h 10000"/>
                <a:gd name="connsiteX0" fmla="*/ 1610 w 10000"/>
                <a:gd name="connsiteY0" fmla="*/ 7183 h 10000"/>
                <a:gd name="connsiteX1" fmla="*/ 1655 w 10000"/>
                <a:gd name="connsiteY1" fmla="*/ 7430 h 10000"/>
                <a:gd name="connsiteX2" fmla="*/ 1604 w 10000"/>
                <a:gd name="connsiteY2" fmla="*/ 7430 h 10000"/>
                <a:gd name="connsiteX3" fmla="*/ 1551 w 10000"/>
                <a:gd name="connsiteY3" fmla="*/ 7255 h 10000"/>
                <a:gd name="connsiteX4" fmla="*/ 1513 w 10000"/>
                <a:gd name="connsiteY4" fmla="*/ 7430 h 10000"/>
                <a:gd name="connsiteX5" fmla="*/ 1519 w 10000"/>
                <a:gd name="connsiteY5" fmla="*/ 7854 h 10000"/>
                <a:gd name="connsiteX6" fmla="*/ 1604 w 10000"/>
                <a:gd name="connsiteY6" fmla="*/ 8070 h 10000"/>
                <a:gd name="connsiteX7" fmla="*/ 1648 w 10000"/>
                <a:gd name="connsiteY7" fmla="*/ 8019 h 10000"/>
                <a:gd name="connsiteX8" fmla="*/ 1741 w 10000"/>
                <a:gd name="connsiteY8" fmla="*/ 8493 h 10000"/>
                <a:gd name="connsiteX9" fmla="*/ 1610 w 10000"/>
                <a:gd name="connsiteY9" fmla="*/ 8669 h 10000"/>
                <a:gd name="connsiteX10" fmla="*/ 1595 w 10000"/>
                <a:gd name="connsiteY10" fmla="*/ 9009 h 10000"/>
                <a:gd name="connsiteX11" fmla="*/ 1664 w 10000"/>
                <a:gd name="connsiteY11" fmla="*/ 9236 h 10000"/>
                <a:gd name="connsiteX12" fmla="*/ 1664 w 10000"/>
                <a:gd name="connsiteY12" fmla="*/ 9484 h 10000"/>
                <a:gd name="connsiteX13" fmla="*/ 1769 w 10000"/>
                <a:gd name="connsiteY13" fmla="*/ 9835 h 10000"/>
                <a:gd name="connsiteX14" fmla="*/ 1703 w 10000"/>
                <a:gd name="connsiteY14" fmla="*/ 10000 h 10000"/>
                <a:gd name="connsiteX15" fmla="*/ 1604 w 10000"/>
                <a:gd name="connsiteY15" fmla="*/ 9753 h 10000"/>
                <a:gd name="connsiteX16" fmla="*/ 1465 w 10000"/>
                <a:gd name="connsiteY16" fmla="*/ 9505 h 10000"/>
                <a:gd name="connsiteX17" fmla="*/ 1406 w 10000"/>
                <a:gd name="connsiteY17" fmla="*/ 9588 h 10000"/>
                <a:gd name="connsiteX18" fmla="*/ 1308 w 10000"/>
                <a:gd name="connsiteY18" fmla="*/ 9380 h 10000"/>
                <a:gd name="connsiteX19" fmla="*/ 1097 w 10000"/>
                <a:gd name="connsiteY19" fmla="*/ 9339 h 10000"/>
                <a:gd name="connsiteX20" fmla="*/ 848 w 10000"/>
                <a:gd name="connsiteY20" fmla="*/ 8813 h 10000"/>
                <a:gd name="connsiteX21" fmla="*/ 914 w 10000"/>
                <a:gd name="connsiteY21" fmla="*/ 8721 h 10000"/>
                <a:gd name="connsiteX22" fmla="*/ 961 w 10000"/>
                <a:gd name="connsiteY22" fmla="*/ 8493 h 10000"/>
                <a:gd name="connsiteX23" fmla="*/ 908 w 10000"/>
                <a:gd name="connsiteY23" fmla="*/ 8390 h 10000"/>
                <a:gd name="connsiteX24" fmla="*/ 1021 w 10000"/>
                <a:gd name="connsiteY24" fmla="*/ 8245 h 10000"/>
                <a:gd name="connsiteX25" fmla="*/ 945 w 10000"/>
                <a:gd name="connsiteY25" fmla="*/ 8194 h 10000"/>
                <a:gd name="connsiteX26" fmla="*/ 958 w 10000"/>
                <a:gd name="connsiteY26" fmla="*/ 8091 h 10000"/>
                <a:gd name="connsiteX27" fmla="*/ 1005 w 10000"/>
                <a:gd name="connsiteY27" fmla="*/ 8111 h 10000"/>
                <a:gd name="connsiteX28" fmla="*/ 1059 w 10000"/>
                <a:gd name="connsiteY28" fmla="*/ 8019 h 10000"/>
                <a:gd name="connsiteX29" fmla="*/ 1034 w 10000"/>
                <a:gd name="connsiteY29" fmla="*/ 7864 h 10000"/>
                <a:gd name="connsiteX30" fmla="*/ 1043 w 10000"/>
                <a:gd name="connsiteY30" fmla="*/ 7503 h 10000"/>
                <a:gd name="connsiteX31" fmla="*/ 930 w 10000"/>
                <a:gd name="connsiteY31" fmla="*/ 7440 h 10000"/>
                <a:gd name="connsiteX32" fmla="*/ 832 w 10000"/>
                <a:gd name="connsiteY32" fmla="*/ 7286 h 10000"/>
                <a:gd name="connsiteX33" fmla="*/ 700 w 10000"/>
                <a:gd name="connsiteY33" fmla="*/ 7275 h 10000"/>
                <a:gd name="connsiteX34" fmla="*/ 684 w 10000"/>
                <a:gd name="connsiteY34" fmla="*/ 7090 h 10000"/>
                <a:gd name="connsiteX35" fmla="*/ 596 w 10000"/>
                <a:gd name="connsiteY35" fmla="*/ 6945 h 10000"/>
                <a:gd name="connsiteX36" fmla="*/ 615 w 10000"/>
                <a:gd name="connsiteY36" fmla="*/ 6822 h 10000"/>
                <a:gd name="connsiteX37" fmla="*/ 561 w 10000"/>
                <a:gd name="connsiteY37" fmla="*/ 6698 h 10000"/>
                <a:gd name="connsiteX38" fmla="*/ 457 w 10000"/>
                <a:gd name="connsiteY38" fmla="*/ 6698 h 10000"/>
                <a:gd name="connsiteX39" fmla="*/ 425 w 10000"/>
                <a:gd name="connsiteY39" fmla="*/ 6791 h 10000"/>
                <a:gd name="connsiteX40" fmla="*/ 400 w 10000"/>
                <a:gd name="connsiteY40" fmla="*/ 6750 h 10000"/>
                <a:gd name="connsiteX41" fmla="*/ 378 w 10000"/>
                <a:gd name="connsiteY41" fmla="*/ 6439 h 10000"/>
                <a:gd name="connsiteX42" fmla="*/ 419 w 10000"/>
                <a:gd name="connsiteY42" fmla="*/ 6470 h 10000"/>
                <a:gd name="connsiteX43" fmla="*/ 466 w 10000"/>
                <a:gd name="connsiteY43" fmla="*/ 6347 h 10000"/>
                <a:gd name="connsiteX44" fmla="*/ 400 w 10000"/>
                <a:gd name="connsiteY44" fmla="*/ 6233 h 10000"/>
                <a:gd name="connsiteX45" fmla="*/ 315 w 10000"/>
                <a:gd name="connsiteY45" fmla="*/ 6017 h 10000"/>
                <a:gd name="connsiteX46" fmla="*/ 334 w 10000"/>
                <a:gd name="connsiteY46" fmla="*/ 5821 h 10000"/>
                <a:gd name="connsiteX47" fmla="*/ 274 w 10000"/>
                <a:gd name="connsiteY47" fmla="*/ 5697 h 10000"/>
                <a:gd name="connsiteX48" fmla="*/ 227 w 10000"/>
                <a:gd name="connsiteY48" fmla="*/ 5728 h 10000"/>
                <a:gd name="connsiteX49" fmla="*/ 202 w 10000"/>
                <a:gd name="connsiteY49" fmla="*/ 5604 h 10000"/>
                <a:gd name="connsiteX50" fmla="*/ 164 w 10000"/>
                <a:gd name="connsiteY50" fmla="*/ 5645 h 10000"/>
                <a:gd name="connsiteX51" fmla="*/ 117 w 10000"/>
                <a:gd name="connsiteY51" fmla="*/ 5604 h 10000"/>
                <a:gd name="connsiteX52" fmla="*/ 69 w 10000"/>
                <a:gd name="connsiteY52" fmla="*/ 5181 h 10000"/>
                <a:gd name="connsiteX53" fmla="*/ 85 w 10000"/>
                <a:gd name="connsiteY53" fmla="*/ 5057 h 10000"/>
                <a:gd name="connsiteX54" fmla="*/ 41 w 10000"/>
                <a:gd name="connsiteY54" fmla="*/ 4892 h 10000"/>
                <a:gd name="connsiteX55" fmla="*/ 66 w 10000"/>
                <a:gd name="connsiteY55" fmla="*/ 4655 h 10000"/>
                <a:gd name="connsiteX56" fmla="*/ 211 w 10000"/>
                <a:gd name="connsiteY56" fmla="*/ 4510 h 10000"/>
                <a:gd name="connsiteX57" fmla="*/ 129 w 10000"/>
                <a:gd name="connsiteY57" fmla="*/ 4406 h 10000"/>
                <a:gd name="connsiteX58" fmla="*/ 82 w 10000"/>
                <a:gd name="connsiteY58" fmla="*/ 4283 h 10000"/>
                <a:gd name="connsiteX59" fmla="*/ 205 w 10000"/>
                <a:gd name="connsiteY59" fmla="*/ 3912 h 10000"/>
                <a:gd name="connsiteX60" fmla="*/ 249 w 10000"/>
                <a:gd name="connsiteY60" fmla="*/ 3664 h 10000"/>
                <a:gd name="connsiteX61" fmla="*/ 151 w 10000"/>
                <a:gd name="connsiteY61" fmla="*/ 3488 h 10000"/>
                <a:gd name="connsiteX62" fmla="*/ 189 w 10000"/>
                <a:gd name="connsiteY62" fmla="*/ 3344 h 10000"/>
                <a:gd name="connsiteX63" fmla="*/ 113 w 10000"/>
                <a:gd name="connsiteY63" fmla="*/ 3148 h 10000"/>
                <a:gd name="connsiteX64" fmla="*/ 113 w 10000"/>
                <a:gd name="connsiteY64" fmla="*/ 2972 h 10000"/>
                <a:gd name="connsiteX65" fmla="*/ 60 w 10000"/>
                <a:gd name="connsiteY65" fmla="*/ 2622 h 10000"/>
                <a:gd name="connsiteX66" fmla="*/ 98 w 10000"/>
                <a:gd name="connsiteY66" fmla="*/ 2404 h 10000"/>
                <a:gd name="connsiteX67" fmla="*/ 38 w 10000"/>
                <a:gd name="connsiteY67" fmla="*/ 2301 h 10000"/>
                <a:gd name="connsiteX68" fmla="*/ 0 w 10000"/>
                <a:gd name="connsiteY68" fmla="*/ 2178 h 10000"/>
                <a:gd name="connsiteX69" fmla="*/ 54 w 10000"/>
                <a:gd name="connsiteY69" fmla="*/ 1951 h 10000"/>
                <a:gd name="connsiteX70" fmla="*/ 120 w 10000"/>
                <a:gd name="connsiteY70" fmla="*/ 1910 h 10000"/>
                <a:gd name="connsiteX71" fmla="*/ 195 w 10000"/>
                <a:gd name="connsiteY71" fmla="*/ 1858 h 10000"/>
                <a:gd name="connsiteX72" fmla="*/ 309 w 10000"/>
                <a:gd name="connsiteY72" fmla="*/ 1951 h 10000"/>
                <a:gd name="connsiteX73" fmla="*/ 482 w 10000"/>
                <a:gd name="connsiteY73" fmla="*/ 2054 h 10000"/>
                <a:gd name="connsiteX74" fmla="*/ 633 w 10000"/>
                <a:gd name="connsiteY74" fmla="*/ 2229 h 10000"/>
                <a:gd name="connsiteX75" fmla="*/ 756 w 10000"/>
                <a:gd name="connsiteY75" fmla="*/ 2373 h 10000"/>
                <a:gd name="connsiteX76" fmla="*/ 725 w 10000"/>
                <a:gd name="connsiteY76" fmla="*/ 2777 h 10000"/>
                <a:gd name="connsiteX77" fmla="*/ 362 w 10000"/>
                <a:gd name="connsiteY77" fmla="*/ 2673 h 10000"/>
                <a:gd name="connsiteX78" fmla="*/ 243 w 10000"/>
                <a:gd name="connsiteY78" fmla="*/ 2550 h 10000"/>
                <a:gd name="connsiteX79" fmla="*/ 287 w 10000"/>
                <a:gd name="connsiteY79" fmla="*/ 2622 h 10000"/>
                <a:gd name="connsiteX80" fmla="*/ 331 w 10000"/>
                <a:gd name="connsiteY80" fmla="*/ 2797 h 10000"/>
                <a:gd name="connsiteX81" fmla="*/ 400 w 10000"/>
                <a:gd name="connsiteY81" fmla="*/ 2921 h 10000"/>
                <a:gd name="connsiteX82" fmla="*/ 416 w 10000"/>
                <a:gd name="connsiteY82" fmla="*/ 3189 h 10000"/>
                <a:gd name="connsiteX83" fmla="*/ 507 w 10000"/>
                <a:gd name="connsiteY83" fmla="*/ 3313 h 10000"/>
                <a:gd name="connsiteX84" fmla="*/ 583 w 10000"/>
                <a:gd name="connsiteY84" fmla="*/ 3436 h 10000"/>
                <a:gd name="connsiteX85" fmla="*/ 605 w 10000"/>
                <a:gd name="connsiteY85" fmla="*/ 3467 h 10000"/>
                <a:gd name="connsiteX86" fmla="*/ 649 w 10000"/>
                <a:gd name="connsiteY86" fmla="*/ 3436 h 10000"/>
                <a:gd name="connsiteX87" fmla="*/ 633 w 10000"/>
                <a:gd name="connsiteY87" fmla="*/ 3364 h 10000"/>
                <a:gd name="connsiteX88" fmla="*/ 545 w 10000"/>
                <a:gd name="connsiteY88" fmla="*/ 3189 h 10000"/>
                <a:gd name="connsiteX89" fmla="*/ 801 w 10000"/>
                <a:gd name="connsiteY89" fmla="*/ 3344 h 10000"/>
                <a:gd name="connsiteX90" fmla="*/ 810 w 10000"/>
                <a:gd name="connsiteY90" fmla="*/ 3271 h 10000"/>
                <a:gd name="connsiteX91" fmla="*/ 785 w 10000"/>
                <a:gd name="connsiteY91" fmla="*/ 3220 h 10000"/>
                <a:gd name="connsiteX92" fmla="*/ 741 w 10000"/>
                <a:gd name="connsiteY92" fmla="*/ 2993 h 10000"/>
                <a:gd name="connsiteX93" fmla="*/ 870 w 10000"/>
                <a:gd name="connsiteY93" fmla="*/ 2777 h 10000"/>
                <a:gd name="connsiteX94" fmla="*/ 968 w 10000"/>
                <a:gd name="connsiteY94" fmla="*/ 2921 h 10000"/>
                <a:gd name="connsiteX95" fmla="*/ 999 w 10000"/>
                <a:gd name="connsiteY95" fmla="*/ 2725 h 10000"/>
                <a:gd name="connsiteX96" fmla="*/ 952 w 10000"/>
                <a:gd name="connsiteY96" fmla="*/ 2653 h 10000"/>
                <a:gd name="connsiteX97" fmla="*/ 936 w 10000"/>
                <a:gd name="connsiteY97" fmla="*/ 2281 h 10000"/>
                <a:gd name="connsiteX98" fmla="*/ 914 w 10000"/>
                <a:gd name="connsiteY98" fmla="*/ 2229 h 10000"/>
                <a:gd name="connsiteX99" fmla="*/ 1037 w 10000"/>
                <a:gd name="connsiteY99" fmla="*/ 2250 h 10000"/>
                <a:gd name="connsiteX100" fmla="*/ 1087 w 10000"/>
                <a:gd name="connsiteY100" fmla="*/ 2404 h 10000"/>
                <a:gd name="connsiteX101" fmla="*/ 1021 w 10000"/>
                <a:gd name="connsiteY101" fmla="*/ 2529 h 10000"/>
                <a:gd name="connsiteX102" fmla="*/ 1135 w 10000"/>
                <a:gd name="connsiteY102" fmla="*/ 2694 h 10000"/>
                <a:gd name="connsiteX103" fmla="*/ 1226 w 10000"/>
                <a:gd name="connsiteY103" fmla="*/ 2529 h 10000"/>
                <a:gd name="connsiteX104" fmla="*/ 1339 w 10000"/>
                <a:gd name="connsiteY104" fmla="*/ 2301 h 10000"/>
                <a:gd name="connsiteX105" fmla="*/ 1459 w 10000"/>
                <a:gd name="connsiteY105" fmla="*/ 2157 h 10000"/>
                <a:gd name="connsiteX106" fmla="*/ 1497 w 10000"/>
                <a:gd name="connsiteY106" fmla="*/ 2250 h 10000"/>
                <a:gd name="connsiteX107" fmla="*/ 1807 w 10000"/>
                <a:gd name="connsiteY107" fmla="*/ 2054 h 10000"/>
                <a:gd name="connsiteX108" fmla="*/ 1870 w 10000"/>
                <a:gd name="connsiteY108" fmla="*/ 2250 h 10000"/>
                <a:gd name="connsiteX109" fmla="*/ 1860 w 10000"/>
                <a:gd name="connsiteY109" fmla="*/ 2002 h 10000"/>
                <a:gd name="connsiteX110" fmla="*/ 1778 w 10000"/>
                <a:gd name="connsiteY110" fmla="*/ 1786 h 10000"/>
                <a:gd name="connsiteX111" fmla="*/ 1763 w 10000"/>
                <a:gd name="connsiteY111" fmla="*/ 1703 h 10000"/>
                <a:gd name="connsiteX112" fmla="*/ 1823 w 10000"/>
                <a:gd name="connsiteY112" fmla="*/ 1786 h 10000"/>
                <a:gd name="connsiteX113" fmla="*/ 2034 w 10000"/>
                <a:gd name="connsiteY113" fmla="*/ 1951 h 10000"/>
                <a:gd name="connsiteX114" fmla="*/ 2270 w 10000"/>
                <a:gd name="connsiteY114" fmla="*/ 2126 h 10000"/>
                <a:gd name="connsiteX115" fmla="*/ 2384 w 10000"/>
                <a:gd name="connsiteY115" fmla="*/ 2250 h 10000"/>
                <a:gd name="connsiteX116" fmla="*/ 2421 w 10000"/>
                <a:gd name="connsiteY116" fmla="*/ 2074 h 10000"/>
                <a:gd name="connsiteX117" fmla="*/ 2368 w 10000"/>
                <a:gd name="connsiteY117" fmla="*/ 2033 h 10000"/>
                <a:gd name="connsiteX118" fmla="*/ 2299 w 10000"/>
                <a:gd name="connsiteY118" fmla="*/ 1930 h 10000"/>
                <a:gd name="connsiteX119" fmla="*/ 2254 w 10000"/>
                <a:gd name="connsiteY119" fmla="*/ 1734 h 10000"/>
                <a:gd name="connsiteX120" fmla="*/ 2185 w 10000"/>
                <a:gd name="connsiteY120" fmla="*/ 1486 h 10000"/>
                <a:gd name="connsiteX121" fmla="*/ 2210 w 10000"/>
                <a:gd name="connsiteY121" fmla="*/ 1434 h 10000"/>
                <a:gd name="connsiteX122" fmla="*/ 2232 w 10000"/>
                <a:gd name="connsiteY122" fmla="*/ 1455 h 10000"/>
                <a:gd name="connsiteX123" fmla="*/ 2292 w 10000"/>
                <a:gd name="connsiteY123" fmla="*/ 1115 h 10000"/>
                <a:gd name="connsiteX124" fmla="*/ 2443 w 10000"/>
                <a:gd name="connsiteY124" fmla="*/ 1135 h 10000"/>
                <a:gd name="connsiteX125" fmla="*/ 2488 w 10000"/>
                <a:gd name="connsiteY125" fmla="*/ 1311 h 10000"/>
                <a:gd name="connsiteX126" fmla="*/ 2519 w 10000"/>
                <a:gd name="connsiteY126" fmla="*/ 1538 h 10000"/>
                <a:gd name="connsiteX127" fmla="*/ 2573 w 10000"/>
                <a:gd name="connsiteY127" fmla="*/ 1734 h 10000"/>
                <a:gd name="connsiteX128" fmla="*/ 2670 w 10000"/>
                <a:gd name="connsiteY128" fmla="*/ 2157 h 10000"/>
                <a:gd name="connsiteX129" fmla="*/ 2481 w 10000"/>
                <a:gd name="connsiteY129" fmla="*/ 2673 h 10000"/>
                <a:gd name="connsiteX130" fmla="*/ 2557 w 10000"/>
                <a:gd name="connsiteY130" fmla="*/ 2746 h 10000"/>
                <a:gd name="connsiteX131" fmla="*/ 2655 w 10000"/>
                <a:gd name="connsiteY131" fmla="*/ 2818 h 10000"/>
                <a:gd name="connsiteX132" fmla="*/ 2784 w 10000"/>
                <a:gd name="connsiteY132" fmla="*/ 2622 h 10000"/>
                <a:gd name="connsiteX133" fmla="*/ 2790 w 10000"/>
                <a:gd name="connsiteY133" fmla="*/ 2404 h 10000"/>
                <a:gd name="connsiteX134" fmla="*/ 2746 w 10000"/>
                <a:gd name="connsiteY134" fmla="*/ 2301 h 10000"/>
                <a:gd name="connsiteX135" fmla="*/ 2919 w 10000"/>
                <a:gd name="connsiteY135" fmla="*/ 2250 h 10000"/>
                <a:gd name="connsiteX136" fmla="*/ 2989 w 10000"/>
                <a:gd name="connsiteY136" fmla="*/ 2497 h 10000"/>
                <a:gd name="connsiteX137" fmla="*/ 2989 w 10000"/>
                <a:gd name="connsiteY137" fmla="*/ 2425 h 10000"/>
                <a:gd name="connsiteX138" fmla="*/ 2973 w 10000"/>
                <a:gd name="connsiteY138" fmla="*/ 2353 h 10000"/>
                <a:gd name="connsiteX139" fmla="*/ 2967 w 10000"/>
                <a:gd name="connsiteY139" fmla="*/ 2178 h 10000"/>
                <a:gd name="connsiteX140" fmla="*/ 2800 w 10000"/>
                <a:gd name="connsiteY140" fmla="*/ 1930 h 10000"/>
                <a:gd name="connsiteX141" fmla="*/ 2670 w 10000"/>
                <a:gd name="connsiteY141" fmla="*/ 2002 h 10000"/>
                <a:gd name="connsiteX142" fmla="*/ 2617 w 10000"/>
                <a:gd name="connsiteY142" fmla="*/ 1683 h 10000"/>
                <a:gd name="connsiteX143" fmla="*/ 2563 w 10000"/>
                <a:gd name="connsiteY143" fmla="*/ 1507 h 10000"/>
                <a:gd name="connsiteX144" fmla="*/ 2617 w 10000"/>
                <a:gd name="connsiteY144" fmla="*/ 1331 h 10000"/>
                <a:gd name="connsiteX145" fmla="*/ 2611 w 10000"/>
                <a:gd name="connsiteY145" fmla="*/ 1166 h 10000"/>
                <a:gd name="connsiteX146" fmla="*/ 2588 w 10000"/>
                <a:gd name="connsiteY146" fmla="*/ 1115 h 10000"/>
                <a:gd name="connsiteX147" fmla="*/ 2626 w 10000"/>
                <a:gd name="connsiteY147" fmla="*/ 1115 h 10000"/>
                <a:gd name="connsiteX148" fmla="*/ 2670 w 10000"/>
                <a:gd name="connsiteY148" fmla="*/ 1455 h 10000"/>
                <a:gd name="connsiteX149" fmla="*/ 2891 w 10000"/>
                <a:gd name="connsiteY149" fmla="*/ 1662 h 10000"/>
                <a:gd name="connsiteX150" fmla="*/ 2724 w 10000"/>
                <a:gd name="connsiteY150" fmla="*/ 1383 h 10000"/>
                <a:gd name="connsiteX151" fmla="*/ 3049 w 10000"/>
                <a:gd name="connsiteY151" fmla="*/ 1383 h 10000"/>
                <a:gd name="connsiteX152" fmla="*/ 3102 w 10000"/>
                <a:gd name="connsiteY152" fmla="*/ 1362 h 10000"/>
                <a:gd name="connsiteX153" fmla="*/ 2897 w 10000"/>
                <a:gd name="connsiteY153" fmla="*/ 1115 h 10000"/>
                <a:gd name="connsiteX154" fmla="*/ 2951 w 10000"/>
                <a:gd name="connsiteY154" fmla="*/ 888 h 10000"/>
                <a:gd name="connsiteX155" fmla="*/ 3178 w 10000"/>
                <a:gd name="connsiteY155" fmla="*/ 888 h 10000"/>
                <a:gd name="connsiteX156" fmla="*/ 3156 w 10000"/>
                <a:gd name="connsiteY156" fmla="*/ 713 h 10000"/>
                <a:gd name="connsiteX157" fmla="*/ 3231 w 10000"/>
                <a:gd name="connsiteY157" fmla="*/ 589 h 10000"/>
                <a:gd name="connsiteX158" fmla="*/ 3276 w 10000"/>
                <a:gd name="connsiteY158" fmla="*/ 548 h 10000"/>
                <a:gd name="connsiteX159" fmla="*/ 3443 w 10000"/>
                <a:gd name="connsiteY159" fmla="*/ 423 h 10000"/>
                <a:gd name="connsiteX160" fmla="*/ 3487 w 10000"/>
                <a:gd name="connsiteY160" fmla="*/ 371 h 10000"/>
                <a:gd name="connsiteX161" fmla="*/ 3480 w 10000"/>
                <a:gd name="connsiteY161" fmla="*/ 444 h 10000"/>
                <a:gd name="connsiteX162" fmla="*/ 3660 w 10000"/>
                <a:gd name="connsiteY162" fmla="*/ 371 h 10000"/>
                <a:gd name="connsiteX163" fmla="*/ 3805 w 10000"/>
                <a:gd name="connsiteY163" fmla="*/ 248 h 10000"/>
                <a:gd name="connsiteX164" fmla="*/ 3827 w 10000"/>
                <a:gd name="connsiteY164" fmla="*/ 0 h 10000"/>
                <a:gd name="connsiteX165" fmla="*/ 3988 w 10000"/>
                <a:gd name="connsiteY165" fmla="*/ 21 h 10000"/>
                <a:gd name="connsiteX166" fmla="*/ 3978 w 10000"/>
                <a:gd name="connsiteY166" fmla="*/ 93 h 10000"/>
                <a:gd name="connsiteX167" fmla="*/ 3988 w 10000"/>
                <a:gd name="connsiteY167" fmla="*/ 176 h 10000"/>
                <a:gd name="connsiteX168" fmla="*/ 4085 w 10000"/>
                <a:gd name="connsiteY168" fmla="*/ 248 h 10000"/>
                <a:gd name="connsiteX169" fmla="*/ 4379 w 10000"/>
                <a:gd name="connsiteY169" fmla="*/ 268 h 10000"/>
                <a:gd name="connsiteX170" fmla="*/ 4539 w 10000"/>
                <a:gd name="connsiteY170" fmla="*/ 392 h 10000"/>
                <a:gd name="connsiteX171" fmla="*/ 4486 w 10000"/>
                <a:gd name="connsiteY171" fmla="*/ 795 h 10000"/>
                <a:gd name="connsiteX172" fmla="*/ 4426 w 10000"/>
                <a:gd name="connsiteY172" fmla="*/ 919 h 10000"/>
                <a:gd name="connsiteX173" fmla="*/ 4356 w 10000"/>
                <a:gd name="connsiteY173" fmla="*/ 1043 h 10000"/>
                <a:gd name="connsiteX174" fmla="*/ 4372 w 10000"/>
                <a:gd name="connsiteY174" fmla="*/ 1115 h 10000"/>
                <a:gd name="connsiteX175" fmla="*/ 4583 w 10000"/>
                <a:gd name="connsiteY175" fmla="*/ 919 h 10000"/>
                <a:gd name="connsiteX176" fmla="*/ 5060 w 10000"/>
                <a:gd name="connsiteY176" fmla="*/ 991 h 10000"/>
                <a:gd name="connsiteX177" fmla="*/ 5108 w 10000"/>
                <a:gd name="connsiteY177" fmla="*/ 1063 h 10000"/>
                <a:gd name="connsiteX178" fmla="*/ 5212 w 10000"/>
                <a:gd name="connsiteY178" fmla="*/ 1187 h 10000"/>
                <a:gd name="connsiteX179" fmla="*/ 5357 w 10000"/>
                <a:gd name="connsiteY179" fmla="*/ 919 h 10000"/>
                <a:gd name="connsiteX180" fmla="*/ 5577 w 10000"/>
                <a:gd name="connsiteY180" fmla="*/ 1063 h 10000"/>
                <a:gd name="connsiteX181" fmla="*/ 5643 w 10000"/>
                <a:gd name="connsiteY181" fmla="*/ 1115 h 10000"/>
                <a:gd name="connsiteX182" fmla="*/ 5697 w 10000"/>
                <a:gd name="connsiteY182" fmla="*/ 1166 h 10000"/>
                <a:gd name="connsiteX183" fmla="*/ 5908 w 10000"/>
                <a:gd name="connsiteY183" fmla="*/ 1631 h 10000"/>
                <a:gd name="connsiteX184" fmla="*/ 5984 w 10000"/>
                <a:gd name="connsiteY184" fmla="*/ 1611 h 10000"/>
                <a:gd name="connsiteX185" fmla="*/ 5977 w 10000"/>
                <a:gd name="connsiteY185" fmla="*/ 1507 h 10000"/>
                <a:gd name="connsiteX186" fmla="*/ 5984 w 10000"/>
                <a:gd name="connsiteY186" fmla="*/ 1383 h 10000"/>
                <a:gd name="connsiteX187" fmla="*/ 6091 w 10000"/>
                <a:gd name="connsiteY187" fmla="*/ 1486 h 10000"/>
                <a:gd name="connsiteX188" fmla="*/ 6264 w 10000"/>
                <a:gd name="connsiteY188" fmla="*/ 1507 h 10000"/>
                <a:gd name="connsiteX189" fmla="*/ 6409 w 10000"/>
                <a:gd name="connsiteY189" fmla="*/ 1455 h 10000"/>
                <a:gd name="connsiteX190" fmla="*/ 6340 w 10000"/>
                <a:gd name="connsiteY190" fmla="*/ 1362 h 10000"/>
                <a:gd name="connsiteX191" fmla="*/ 6431 w 10000"/>
                <a:gd name="connsiteY191" fmla="*/ 1084 h 10000"/>
                <a:gd name="connsiteX192" fmla="*/ 6687 w 10000"/>
                <a:gd name="connsiteY192" fmla="*/ 1207 h 10000"/>
                <a:gd name="connsiteX193" fmla="*/ 6945 w 10000"/>
                <a:gd name="connsiteY193" fmla="*/ 1331 h 10000"/>
                <a:gd name="connsiteX194" fmla="*/ 6967 w 10000"/>
                <a:gd name="connsiteY194" fmla="*/ 1362 h 10000"/>
                <a:gd name="connsiteX195" fmla="*/ 7194 w 10000"/>
                <a:gd name="connsiteY195" fmla="*/ 1611 h 10000"/>
                <a:gd name="connsiteX196" fmla="*/ 7367 w 10000"/>
                <a:gd name="connsiteY196" fmla="*/ 1507 h 10000"/>
                <a:gd name="connsiteX197" fmla="*/ 7582 w 10000"/>
                <a:gd name="connsiteY197" fmla="*/ 1538 h 10000"/>
                <a:gd name="connsiteX198" fmla="*/ 7657 w 10000"/>
                <a:gd name="connsiteY198" fmla="*/ 1611 h 10000"/>
                <a:gd name="connsiteX199" fmla="*/ 7928 w 10000"/>
                <a:gd name="connsiteY199" fmla="*/ 1930 h 10000"/>
                <a:gd name="connsiteX200" fmla="*/ 8231 w 10000"/>
                <a:gd name="connsiteY200" fmla="*/ 1879 h 10000"/>
                <a:gd name="connsiteX201" fmla="*/ 8339 w 10000"/>
                <a:gd name="connsiteY201" fmla="*/ 2033 h 10000"/>
                <a:gd name="connsiteX202" fmla="*/ 8490 w 10000"/>
                <a:gd name="connsiteY202" fmla="*/ 2157 h 10000"/>
                <a:gd name="connsiteX203" fmla="*/ 8519 w 10000"/>
                <a:gd name="connsiteY203" fmla="*/ 2105 h 10000"/>
                <a:gd name="connsiteX204" fmla="*/ 8497 w 10000"/>
                <a:gd name="connsiteY204" fmla="*/ 2074 h 10000"/>
                <a:gd name="connsiteX205" fmla="*/ 8383 w 10000"/>
                <a:gd name="connsiteY205" fmla="*/ 1930 h 10000"/>
                <a:gd name="connsiteX206" fmla="*/ 8465 w 10000"/>
                <a:gd name="connsiteY206" fmla="*/ 1755 h 10000"/>
                <a:gd name="connsiteX207" fmla="*/ 8664 w 10000"/>
                <a:gd name="connsiteY207" fmla="*/ 1910 h 10000"/>
                <a:gd name="connsiteX208" fmla="*/ 8950 w 10000"/>
                <a:gd name="connsiteY208" fmla="*/ 1982 h 10000"/>
                <a:gd name="connsiteX209" fmla="*/ 9206 w 10000"/>
                <a:gd name="connsiteY209" fmla="*/ 2260 h 10000"/>
                <a:gd name="connsiteX210" fmla="*/ 9344 w 10000"/>
                <a:gd name="connsiteY210" fmla="*/ 2332 h 10000"/>
                <a:gd name="connsiteX211" fmla="*/ 9451 w 10000"/>
                <a:gd name="connsiteY211" fmla="*/ 2446 h 10000"/>
                <a:gd name="connsiteX212" fmla="*/ 9574 w 10000"/>
                <a:gd name="connsiteY212" fmla="*/ 2632 h 10000"/>
                <a:gd name="connsiteX213" fmla="*/ 9631 w 10000"/>
                <a:gd name="connsiteY213" fmla="*/ 2756 h 10000"/>
                <a:gd name="connsiteX214" fmla="*/ 9726 w 10000"/>
                <a:gd name="connsiteY214" fmla="*/ 2787 h 10000"/>
                <a:gd name="connsiteX215" fmla="*/ 9590 w 10000"/>
                <a:gd name="connsiteY215" fmla="*/ 2570 h 10000"/>
                <a:gd name="connsiteX216" fmla="*/ 9915 w 10000"/>
                <a:gd name="connsiteY216" fmla="*/ 2756 h 10000"/>
                <a:gd name="connsiteX217" fmla="*/ 10000 w 10000"/>
                <a:gd name="connsiteY217" fmla="*/ 3014 h 10000"/>
                <a:gd name="connsiteX218" fmla="*/ 9934 w 10000"/>
                <a:gd name="connsiteY218" fmla="*/ 2941 h 10000"/>
                <a:gd name="connsiteX219" fmla="*/ 9874 w 10000"/>
                <a:gd name="connsiteY219" fmla="*/ 2952 h 10000"/>
                <a:gd name="connsiteX220" fmla="*/ 10000 w 10000"/>
                <a:gd name="connsiteY220" fmla="*/ 3292 h 10000"/>
                <a:gd name="connsiteX221" fmla="*/ 9845 w 10000"/>
                <a:gd name="connsiteY221" fmla="*/ 3220 h 10000"/>
                <a:gd name="connsiteX222" fmla="*/ 9641 w 10000"/>
                <a:gd name="connsiteY222" fmla="*/ 2972 h 10000"/>
                <a:gd name="connsiteX223" fmla="*/ 9470 w 10000"/>
                <a:gd name="connsiteY223" fmla="*/ 2787 h 10000"/>
                <a:gd name="connsiteX224" fmla="*/ 9366 w 10000"/>
                <a:gd name="connsiteY224" fmla="*/ 2725 h 10000"/>
                <a:gd name="connsiteX0" fmla="*/ 1610 w 10001"/>
                <a:gd name="connsiteY0" fmla="*/ 7183 h 10000"/>
                <a:gd name="connsiteX1" fmla="*/ 1655 w 10001"/>
                <a:gd name="connsiteY1" fmla="*/ 7430 h 10000"/>
                <a:gd name="connsiteX2" fmla="*/ 1604 w 10001"/>
                <a:gd name="connsiteY2" fmla="*/ 7430 h 10000"/>
                <a:gd name="connsiteX3" fmla="*/ 1551 w 10001"/>
                <a:gd name="connsiteY3" fmla="*/ 7255 h 10000"/>
                <a:gd name="connsiteX4" fmla="*/ 1513 w 10001"/>
                <a:gd name="connsiteY4" fmla="*/ 7430 h 10000"/>
                <a:gd name="connsiteX5" fmla="*/ 1519 w 10001"/>
                <a:gd name="connsiteY5" fmla="*/ 7854 h 10000"/>
                <a:gd name="connsiteX6" fmla="*/ 1604 w 10001"/>
                <a:gd name="connsiteY6" fmla="*/ 8070 h 10000"/>
                <a:gd name="connsiteX7" fmla="*/ 1648 w 10001"/>
                <a:gd name="connsiteY7" fmla="*/ 8019 h 10000"/>
                <a:gd name="connsiteX8" fmla="*/ 1741 w 10001"/>
                <a:gd name="connsiteY8" fmla="*/ 8493 h 10000"/>
                <a:gd name="connsiteX9" fmla="*/ 1610 w 10001"/>
                <a:gd name="connsiteY9" fmla="*/ 8669 h 10000"/>
                <a:gd name="connsiteX10" fmla="*/ 1595 w 10001"/>
                <a:gd name="connsiteY10" fmla="*/ 9009 h 10000"/>
                <a:gd name="connsiteX11" fmla="*/ 1664 w 10001"/>
                <a:gd name="connsiteY11" fmla="*/ 9236 h 10000"/>
                <a:gd name="connsiteX12" fmla="*/ 1664 w 10001"/>
                <a:gd name="connsiteY12" fmla="*/ 9484 h 10000"/>
                <a:gd name="connsiteX13" fmla="*/ 1769 w 10001"/>
                <a:gd name="connsiteY13" fmla="*/ 9835 h 10000"/>
                <a:gd name="connsiteX14" fmla="*/ 1703 w 10001"/>
                <a:gd name="connsiteY14" fmla="*/ 10000 h 10000"/>
                <a:gd name="connsiteX15" fmla="*/ 1604 w 10001"/>
                <a:gd name="connsiteY15" fmla="*/ 9753 h 10000"/>
                <a:gd name="connsiteX16" fmla="*/ 1465 w 10001"/>
                <a:gd name="connsiteY16" fmla="*/ 9505 h 10000"/>
                <a:gd name="connsiteX17" fmla="*/ 1406 w 10001"/>
                <a:gd name="connsiteY17" fmla="*/ 9588 h 10000"/>
                <a:gd name="connsiteX18" fmla="*/ 1308 w 10001"/>
                <a:gd name="connsiteY18" fmla="*/ 9380 h 10000"/>
                <a:gd name="connsiteX19" fmla="*/ 1097 w 10001"/>
                <a:gd name="connsiteY19" fmla="*/ 9339 h 10000"/>
                <a:gd name="connsiteX20" fmla="*/ 848 w 10001"/>
                <a:gd name="connsiteY20" fmla="*/ 8813 h 10000"/>
                <a:gd name="connsiteX21" fmla="*/ 914 w 10001"/>
                <a:gd name="connsiteY21" fmla="*/ 8721 h 10000"/>
                <a:gd name="connsiteX22" fmla="*/ 961 w 10001"/>
                <a:gd name="connsiteY22" fmla="*/ 8493 h 10000"/>
                <a:gd name="connsiteX23" fmla="*/ 908 w 10001"/>
                <a:gd name="connsiteY23" fmla="*/ 8390 h 10000"/>
                <a:gd name="connsiteX24" fmla="*/ 1021 w 10001"/>
                <a:gd name="connsiteY24" fmla="*/ 8245 h 10000"/>
                <a:gd name="connsiteX25" fmla="*/ 945 w 10001"/>
                <a:gd name="connsiteY25" fmla="*/ 8194 h 10000"/>
                <a:gd name="connsiteX26" fmla="*/ 958 w 10001"/>
                <a:gd name="connsiteY26" fmla="*/ 8091 h 10000"/>
                <a:gd name="connsiteX27" fmla="*/ 1005 w 10001"/>
                <a:gd name="connsiteY27" fmla="*/ 8111 h 10000"/>
                <a:gd name="connsiteX28" fmla="*/ 1059 w 10001"/>
                <a:gd name="connsiteY28" fmla="*/ 8019 h 10000"/>
                <a:gd name="connsiteX29" fmla="*/ 1034 w 10001"/>
                <a:gd name="connsiteY29" fmla="*/ 7864 h 10000"/>
                <a:gd name="connsiteX30" fmla="*/ 1043 w 10001"/>
                <a:gd name="connsiteY30" fmla="*/ 7503 h 10000"/>
                <a:gd name="connsiteX31" fmla="*/ 930 w 10001"/>
                <a:gd name="connsiteY31" fmla="*/ 7440 h 10000"/>
                <a:gd name="connsiteX32" fmla="*/ 832 w 10001"/>
                <a:gd name="connsiteY32" fmla="*/ 7286 h 10000"/>
                <a:gd name="connsiteX33" fmla="*/ 700 w 10001"/>
                <a:gd name="connsiteY33" fmla="*/ 7275 h 10000"/>
                <a:gd name="connsiteX34" fmla="*/ 684 w 10001"/>
                <a:gd name="connsiteY34" fmla="*/ 7090 h 10000"/>
                <a:gd name="connsiteX35" fmla="*/ 596 w 10001"/>
                <a:gd name="connsiteY35" fmla="*/ 6945 h 10000"/>
                <a:gd name="connsiteX36" fmla="*/ 615 w 10001"/>
                <a:gd name="connsiteY36" fmla="*/ 6822 h 10000"/>
                <a:gd name="connsiteX37" fmla="*/ 561 w 10001"/>
                <a:gd name="connsiteY37" fmla="*/ 6698 h 10000"/>
                <a:gd name="connsiteX38" fmla="*/ 457 w 10001"/>
                <a:gd name="connsiteY38" fmla="*/ 6698 h 10000"/>
                <a:gd name="connsiteX39" fmla="*/ 425 w 10001"/>
                <a:gd name="connsiteY39" fmla="*/ 6791 h 10000"/>
                <a:gd name="connsiteX40" fmla="*/ 400 w 10001"/>
                <a:gd name="connsiteY40" fmla="*/ 6750 h 10000"/>
                <a:gd name="connsiteX41" fmla="*/ 378 w 10001"/>
                <a:gd name="connsiteY41" fmla="*/ 6439 h 10000"/>
                <a:gd name="connsiteX42" fmla="*/ 419 w 10001"/>
                <a:gd name="connsiteY42" fmla="*/ 6470 h 10000"/>
                <a:gd name="connsiteX43" fmla="*/ 466 w 10001"/>
                <a:gd name="connsiteY43" fmla="*/ 6347 h 10000"/>
                <a:gd name="connsiteX44" fmla="*/ 400 w 10001"/>
                <a:gd name="connsiteY44" fmla="*/ 6233 h 10000"/>
                <a:gd name="connsiteX45" fmla="*/ 315 w 10001"/>
                <a:gd name="connsiteY45" fmla="*/ 6017 h 10000"/>
                <a:gd name="connsiteX46" fmla="*/ 334 w 10001"/>
                <a:gd name="connsiteY46" fmla="*/ 5821 h 10000"/>
                <a:gd name="connsiteX47" fmla="*/ 274 w 10001"/>
                <a:gd name="connsiteY47" fmla="*/ 5697 h 10000"/>
                <a:gd name="connsiteX48" fmla="*/ 227 w 10001"/>
                <a:gd name="connsiteY48" fmla="*/ 5728 h 10000"/>
                <a:gd name="connsiteX49" fmla="*/ 202 w 10001"/>
                <a:gd name="connsiteY49" fmla="*/ 5604 h 10000"/>
                <a:gd name="connsiteX50" fmla="*/ 164 w 10001"/>
                <a:gd name="connsiteY50" fmla="*/ 5645 h 10000"/>
                <a:gd name="connsiteX51" fmla="*/ 117 w 10001"/>
                <a:gd name="connsiteY51" fmla="*/ 5604 h 10000"/>
                <a:gd name="connsiteX52" fmla="*/ 69 w 10001"/>
                <a:gd name="connsiteY52" fmla="*/ 5181 h 10000"/>
                <a:gd name="connsiteX53" fmla="*/ 85 w 10001"/>
                <a:gd name="connsiteY53" fmla="*/ 5057 h 10000"/>
                <a:gd name="connsiteX54" fmla="*/ 41 w 10001"/>
                <a:gd name="connsiteY54" fmla="*/ 4892 h 10000"/>
                <a:gd name="connsiteX55" fmla="*/ 66 w 10001"/>
                <a:gd name="connsiteY55" fmla="*/ 4655 h 10000"/>
                <a:gd name="connsiteX56" fmla="*/ 211 w 10001"/>
                <a:gd name="connsiteY56" fmla="*/ 4510 h 10000"/>
                <a:gd name="connsiteX57" fmla="*/ 129 w 10001"/>
                <a:gd name="connsiteY57" fmla="*/ 4406 h 10000"/>
                <a:gd name="connsiteX58" fmla="*/ 82 w 10001"/>
                <a:gd name="connsiteY58" fmla="*/ 4283 h 10000"/>
                <a:gd name="connsiteX59" fmla="*/ 205 w 10001"/>
                <a:gd name="connsiteY59" fmla="*/ 3912 h 10000"/>
                <a:gd name="connsiteX60" fmla="*/ 249 w 10001"/>
                <a:gd name="connsiteY60" fmla="*/ 3664 h 10000"/>
                <a:gd name="connsiteX61" fmla="*/ 151 w 10001"/>
                <a:gd name="connsiteY61" fmla="*/ 3488 h 10000"/>
                <a:gd name="connsiteX62" fmla="*/ 189 w 10001"/>
                <a:gd name="connsiteY62" fmla="*/ 3344 h 10000"/>
                <a:gd name="connsiteX63" fmla="*/ 113 w 10001"/>
                <a:gd name="connsiteY63" fmla="*/ 3148 h 10000"/>
                <a:gd name="connsiteX64" fmla="*/ 113 w 10001"/>
                <a:gd name="connsiteY64" fmla="*/ 2972 h 10000"/>
                <a:gd name="connsiteX65" fmla="*/ 60 w 10001"/>
                <a:gd name="connsiteY65" fmla="*/ 2622 h 10000"/>
                <a:gd name="connsiteX66" fmla="*/ 98 w 10001"/>
                <a:gd name="connsiteY66" fmla="*/ 2404 h 10000"/>
                <a:gd name="connsiteX67" fmla="*/ 38 w 10001"/>
                <a:gd name="connsiteY67" fmla="*/ 2301 h 10000"/>
                <a:gd name="connsiteX68" fmla="*/ 0 w 10001"/>
                <a:gd name="connsiteY68" fmla="*/ 2178 h 10000"/>
                <a:gd name="connsiteX69" fmla="*/ 54 w 10001"/>
                <a:gd name="connsiteY69" fmla="*/ 1951 h 10000"/>
                <a:gd name="connsiteX70" fmla="*/ 120 w 10001"/>
                <a:gd name="connsiteY70" fmla="*/ 1910 h 10000"/>
                <a:gd name="connsiteX71" fmla="*/ 195 w 10001"/>
                <a:gd name="connsiteY71" fmla="*/ 1858 h 10000"/>
                <a:gd name="connsiteX72" fmla="*/ 309 w 10001"/>
                <a:gd name="connsiteY72" fmla="*/ 1951 h 10000"/>
                <a:gd name="connsiteX73" fmla="*/ 482 w 10001"/>
                <a:gd name="connsiteY73" fmla="*/ 2054 h 10000"/>
                <a:gd name="connsiteX74" fmla="*/ 633 w 10001"/>
                <a:gd name="connsiteY74" fmla="*/ 2229 h 10000"/>
                <a:gd name="connsiteX75" fmla="*/ 756 w 10001"/>
                <a:gd name="connsiteY75" fmla="*/ 2373 h 10000"/>
                <a:gd name="connsiteX76" fmla="*/ 725 w 10001"/>
                <a:gd name="connsiteY76" fmla="*/ 2777 h 10000"/>
                <a:gd name="connsiteX77" fmla="*/ 362 w 10001"/>
                <a:gd name="connsiteY77" fmla="*/ 2673 h 10000"/>
                <a:gd name="connsiteX78" fmla="*/ 243 w 10001"/>
                <a:gd name="connsiteY78" fmla="*/ 2550 h 10000"/>
                <a:gd name="connsiteX79" fmla="*/ 287 w 10001"/>
                <a:gd name="connsiteY79" fmla="*/ 2622 h 10000"/>
                <a:gd name="connsiteX80" fmla="*/ 331 w 10001"/>
                <a:gd name="connsiteY80" fmla="*/ 2797 h 10000"/>
                <a:gd name="connsiteX81" fmla="*/ 400 w 10001"/>
                <a:gd name="connsiteY81" fmla="*/ 2921 h 10000"/>
                <a:gd name="connsiteX82" fmla="*/ 416 w 10001"/>
                <a:gd name="connsiteY82" fmla="*/ 3189 h 10000"/>
                <a:gd name="connsiteX83" fmla="*/ 507 w 10001"/>
                <a:gd name="connsiteY83" fmla="*/ 3313 h 10000"/>
                <a:gd name="connsiteX84" fmla="*/ 583 w 10001"/>
                <a:gd name="connsiteY84" fmla="*/ 3436 h 10000"/>
                <a:gd name="connsiteX85" fmla="*/ 605 w 10001"/>
                <a:gd name="connsiteY85" fmla="*/ 3467 h 10000"/>
                <a:gd name="connsiteX86" fmla="*/ 649 w 10001"/>
                <a:gd name="connsiteY86" fmla="*/ 3436 h 10000"/>
                <a:gd name="connsiteX87" fmla="*/ 633 w 10001"/>
                <a:gd name="connsiteY87" fmla="*/ 3364 h 10000"/>
                <a:gd name="connsiteX88" fmla="*/ 545 w 10001"/>
                <a:gd name="connsiteY88" fmla="*/ 3189 h 10000"/>
                <a:gd name="connsiteX89" fmla="*/ 801 w 10001"/>
                <a:gd name="connsiteY89" fmla="*/ 3344 h 10000"/>
                <a:gd name="connsiteX90" fmla="*/ 810 w 10001"/>
                <a:gd name="connsiteY90" fmla="*/ 3271 h 10000"/>
                <a:gd name="connsiteX91" fmla="*/ 785 w 10001"/>
                <a:gd name="connsiteY91" fmla="*/ 3220 h 10000"/>
                <a:gd name="connsiteX92" fmla="*/ 741 w 10001"/>
                <a:gd name="connsiteY92" fmla="*/ 2993 h 10000"/>
                <a:gd name="connsiteX93" fmla="*/ 870 w 10001"/>
                <a:gd name="connsiteY93" fmla="*/ 2777 h 10000"/>
                <a:gd name="connsiteX94" fmla="*/ 968 w 10001"/>
                <a:gd name="connsiteY94" fmla="*/ 2921 h 10000"/>
                <a:gd name="connsiteX95" fmla="*/ 999 w 10001"/>
                <a:gd name="connsiteY95" fmla="*/ 2725 h 10000"/>
                <a:gd name="connsiteX96" fmla="*/ 952 w 10001"/>
                <a:gd name="connsiteY96" fmla="*/ 2653 h 10000"/>
                <a:gd name="connsiteX97" fmla="*/ 936 w 10001"/>
                <a:gd name="connsiteY97" fmla="*/ 2281 h 10000"/>
                <a:gd name="connsiteX98" fmla="*/ 914 w 10001"/>
                <a:gd name="connsiteY98" fmla="*/ 2229 h 10000"/>
                <a:gd name="connsiteX99" fmla="*/ 1037 w 10001"/>
                <a:gd name="connsiteY99" fmla="*/ 2250 h 10000"/>
                <a:gd name="connsiteX100" fmla="*/ 1087 w 10001"/>
                <a:gd name="connsiteY100" fmla="*/ 2404 h 10000"/>
                <a:gd name="connsiteX101" fmla="*/ 1021 w 10001"/>
                <a:gd name="connsiteY101" fmla="*/ 2529 h 10000"/>
                <a:gd name="connsiteX102" fmla="*/ 1135 w 10001"/>
                <a:gd name="connsiteY102" fmla="*/ 2694 h 10000"/>
                <a:gd name="connsiteX103" fmla="*/ 1226 w 10001"/>
                <a:gd name="connsiteY103" fmla="*/ 2529 h 10000"/>
                <a:gd name="connsiteX104" fmla="*/ 1339 w 10001"/>
                <a:gd name="connsiteY104" fmla="*/ 2301 h 10000"/>
                <a:gd name="connsiteX105" fmla="*/ 1459 w 10001"/>
                <a:gd name="connsiteY105" fmla="*/ 2157 h 10000"/>
                <a:gd name="connsiteX106" fmla="*/ 1497 w 10001"/>
                <a:gd name="connsiteY106" fmla="*/ 2250 h 10000"/>
                <a:gd name="connsiteX107" fmla="*/ 1807 w 10001"/>
                <a:gd name="connsiteY107" fmla="*/ 2054 h 10000"/>
                <a:gd name="connsiteX108" fmla="*/ 1870 w 10001"/>
                <a:gd name="connsiteY108" fmla="*/ 2250 h 10000"/>
                <a:gd name="connsiteX109" fmla="*/ 1860 w 10001"/>
                <a:gd name="connsiteY109" fmla="*/ 2002 h 10000"/>
                <a:gd name="connsiteX110" fmla="*/ 1778 w 10001"/>
                <a:gd name="connsiteY110" fmla="*/ 1786 h 10000"/>
                <a:gd name="connsiteX111" fmla="*/ 1763 w 10001"/>
                <a:gd name="connsiteY111" fmla="*/ 1703 h 10000"/>
                <a:gd name="connsiteX112" fmla="*/ 1823 w 10001"/>
                <a:gd name="connsiteY112" fmla="*/ 1786 h 10000"/>
                <a:gd name="connsiteX113" fmla="*/ 2034 w 10001"/>
                <a:gd name="connsiteY113" fmla="*/ 1951 h 10000"/>
                <a:gd name="connsiteX114" fmla="*/ 2270 w 10001"/>
                <a:gd name="connsiteY114" fmla="*/ 2126 h 10000"/>
                <a:gd name="connsiteX115" fmla="*/ 2384 w 10001"/>
                <a:gd name="connsiteY115" fmla="*/ 2250 h 10000"/>
                <a:gd name="connsiteX116" fmla="*/ 2421 w 10001"/>
                <a:gd name="connsiteY116" fmla="*/ 2074 h 10000"/>
                <a:gd name="connsiteX117" fmla="*/ 2368 w 10001"/>
                <a:gd name="connsiteY117" fmla="*/ 2033 h 10000"/>
                <a:gd name="connsiteX118" fmla="*/ 2299 w 10001"/>
                <a:gd name="connsiteY118" fmla="*/ 1930 h 10000"/>
                <a:gd name="connsiteX119" fmla="*/ 2254 w 10001"/>
                <a:gd name="connsiteY119" fmla="*/ 1734 h 10000"/>
                <a:gd name="connsiteX120" fmla="*/ 2185 w 10001"/>
                <a:gd name="connsiteY120" fmla="*/ 1486 h 10000"/>
                <a:gd name="connsiteX121" fmla="*/ 2210 w 10001"/>
                <a:gd name="connsiteY121" fmla="*/ 1434 h 10000"/>
                <a:gd name="connsiteX122" fmla="*/ 2232 w 10001"/>
                <a:gd name="connsiteY122" fmla="*/ 1455 h 10000"/>
                <a:gd name="connsiteX123" fmla="*/ 2292 w 10001"/>
                <a:gd name="connsiteY123" fmla="*/ 1115 h 10000"/>
                <a:gd name="connsiteX124" fmla="*/ 2443 w 10001"/>
                <a:gd name="connsiteY124" fmla="*/ 1135 h 10000"/>
                <a:gd name="connsiteX125" fmla="*/ 2488 w 10001"/>
                <a:gd name="connsiteY125" fmla="*/ 1311 h 10000"/>
                <a:gd name="connsiteX126" fmla="*/ 2519 w 10001"/>
                <a:gd name="connsiteY126" fmla="*/ 1538 h 10000"/>
                <a:gd name="connsiteX127" fmla="*/ 2573 w 10001"/>
                <a:gd name="connsiteY127" fmla="*/ 1734 h 10000"/>
                <a:gd name="connsiteX128" fmla="*/ 2670 w 10001"/>
                <a:gd name="connsiteY128" fmla="*/ 2157 h 10000"/>
                <a:gd name="connsiteX129" fmla="*/ 2481 w 10001"/>
                <a:gd name="connsiteY129" fmla="*/ 2673 h 10000"/>
                <a:gd name="connsiteX130" fmla="*/ 2557 w 10001"/>
                <a:gd name="connsiteY130" fmla="*/ 2746 h 10000"/>
                <a:gd name="connsiteX131" fmla="*/ 2655 w 10001"/>
                <a:gd name="connsiteY131" fmla="*/ 2818 h 10000"/>
                <a:gd name="connsiteX132" fmla="*/ 2784 w 10001"/>
                <a:gd name="connsiteY132" fmla="*/ 2622 h 10000"/>
                <a:gd name="connsiteX133" fmla="*/ 2790 w 10001"/>
                <a:gd name="connsiteY133" fmla="*/ 2404 h 10000"/>
                <a:gd name="connsiteX134" fmla="*/ 2746 w 10001"/>
                <a:gd name="connsiteY134" fmla="*/ 2301 h 10000"/>
                <a:gd name="connsiteX135" fmla="*/ 2919 w 10001"/>
                <a:gd name="connsiteY135" fmla="*/ 2250 h 10000"/>
                <a:gd name="connsiteX136" fmla="*/ 2989 w 10001"/>
                <a:gd name="connsiteY136" fmla="*/ 2497 h 10000"/>
                <a:gd name="connsiteX137" fmla="*/ 2989 w 10001"/>
                <a:gd name="connsiteY137" fmla="*/ 2425 h 10000"/>
                <a:gd name="connsiteX138" fmla="*/ 2973 w 10001"/>
                <a:gd name="connsiteY138" fmla="*/ 2353 h 10000"/>
                <a:gd name="connsiteX139" fmla="*/ 2967 w 10001"/>
                <a:gd name="connsiteY139" fmla="*/ 2178 h 10000"/>
                <a:gd name="connsiteX140" fmla="*/ 2800 w 10001"/>
                <a:gd name="connsiteY140" fmla="*/ 1930 h 10000"/>
                <a:gd name="connsiteX141" fmla="*/ 2670 w 10001"/>
                <a:gd name="connsiteY141" fmla="*/ 2002 h 10000"/>
                <a:gd name="connsiteX142" fmla="*/ 2617 w 10001"/>
                <a:gd name="connsiteY142" fmla="*/ 1683 h 10000"/>
                <a:gd name="connsiteX143" fmla="*/ 2563 w 10001"/>
                <a:gd name="connsiteY143" fmla="*/ 1507 h 10000"/>
                <a:gd name="connsiteX144" fmla="*/ 2617 w 10001"/>
                <a:gd name="connsiteY144" fmla="*/ 1331 h 10000"/>
                <a:gd name="connsiteX145" fmla="*/ 2611 w 10001"/>
                <a:gd name="connsiteY145" fmla="*/ 1166 h 10000"/>
                <a:gd name="connsiteX146" fmla="*/ 2588 w 10001"/>
                <a:gd name="connsiteY146" fmla="*/ 1115 h 10000"/>
                <a:gd name="connsiteX147" fmla="*/ 2626 w 10001"/>
                <a:gd name="connsiteY147" fmla="*/ 1115 h 10000"/>
                <a:gd name="connsiteX148" fmla="*/ 2670 w 10001"/>
                <a:gd name="connsiteY148" fmla="*/ 1455 h 10000"/>
                <a:gd name="connsiteX149" fmla="*/ 2891 w 10001"/>
                <a:gd name="connsiteY149" fmla="*/ 1662 h 10000"/>
                <a:gd name="connsiteX150" fmla="*/ 2724 w 10001"/>
                <a:gd name="connsiteY150" fmla="*/ 1383 h 10000"/>
                <a:gd name="connsiteX151" fmla="*/ 3049 w 10001"/>
                <a:gd name="connsiteY151" fmla="*/ 1383 h 10000"/>
                <a:gd name="connsiteX152" fmla="*/ 3102 w 10001"/>
                <a:gd name="connsiteY152" fmla="*/ 1362 h 10000"/>
                <a:gd name="connsiteX153" fmla="*/ 2897 w 10001"/>
                <a:gd name="connsiteY153" fmla="*/ 1115 h 10000"/>
                <a:gd name="connsiteX154" fmla="*/ 2951 w 10001"/>
                <a:gd name="connsiteY154" fmla="*/ 888 h 10000"/>
                <a:gd name="connsiteX155" fmla="*/ 3178 w 10001"/>
                <a:gd name="connsiteY155" fmla="*/ 888 h 10000"/>
                <a:gd name="connsiteX156" fmla="*/ 3156 w 10001"/>
                <a:gd name="connsiteY156" fmla="*/ 713 h 10000"/>
                <a:gd name="connsiteX157" fmla="*/ 3231 w 10001"/>
                <a:gd name="connsiteY157" fmla="*/ 589 h 10000"/>
                <a:gd name="connsiteX158" fmla="*/ 3276 w 10001"/>
                <a:gd name="connsiteY158" fmla="*/ 548 h 10000"/>
                <a:gd name="connsiteX159" fmla="*/ 3443 w 10001"/>
                <a:gd name="connsiteY159" fmla="*/ 423 h 10000"/>
                <a:gd name="connsiteX160" fmla="*/ 3487 w 10001"/>
                <a:gd name="connsiteY160" fmla="*/ 371 h 10000"/>
                <a:gd name="connsiteX161" fmla="*/ 3480 w 10001"/>
                <a:gd name="connsiteY161" fmla="*/ 444 h 10000"/>
                <a:gd name="connsiteX162" fmla="*/ 3660 w 10001"/>
                <a:gd name="connsiteY162" fmla="*/ 371 h 10000"/>
                <a:gd name="connsiteX163" fmla="*/ 3805 w 10001"/>
                <a:gd name="connsiteY163" fmla="*/ 248 h 10000"/>
                <a:gd name="connsiteX164" fmla="*/ 3827 w 10001"/>
                <a:gd name="connsiteY164" fmla="*/ 0 h 10000"/>
                <a:gd name="connsiteX165" fmla="*/ 3988 w 10001"/>
                <a:gd name="connsiteY165" fmla="*/ 21 h 10000"/>
                <a:gd name="connsiteX166" fmla="*/ 3978 w 10001"/>
                <a:gd name="connsiteY166" fmla="*/ 93 h 10000"/>
                <a:gd name="connsiteX167" fmla="*/ 3988 w 10001"/>
                <a:gd name="connsiteY167" fmla="*/ 176 h 10000"/>
                <a:gd name="connsiteX168" fmla="*/ 4085 w 10001"/>
                <a:gd name="connsiteY168" fmla="*/ 248 h 10000"/>
                <a:gd name="connsiteX169" fmla="*/ 4379 w 10001"/>
                <a:gd name="connsiteY169" fmla="*/ 268 h 10000"/>
                <a:gd name="connsiteX170" fmla="*/ 4539 w 10001"/>
                <a:gd name="connsiteY170" fmla="*/ 392 h 10000"/>
                <a:gd name="connsiteX171" fmla="*/ 4486 w 10001"/>
                <a:gd name="connsiteY171" fmla="*/ 795 h 10000"/>
                <a:gd name="connsiteX172" fmla="*/ 4426 w 10001"/>
                <a:gd name="connsiteY172" fmla="*/ 919 h 10000"/>
                <a:gd name="connsiteX173" fmla="*/ 4356 w 10001"/>
                <a:gd name="connsiteY173" fmla="*/ 1043 h 10000"/>
                <a:gd name="connsiteX174" fmla="*/ 4372 w 10001"/>
                <a:gd name="connsiteY174" fmla="*/ 1115 h 10000"/>
                <a:gd name="connsiteX175" fmla="*/ 4583 w 10001"/>
                <a:gd name="connsiteY175" fmla="*/ 919 h 10000"/>
                <a:gd name="connsiteX176" fmla="*/ 5060 w 10001"/>
                <a:gd name="connsiteY176" fmla="*/ 991 h 10000"/>
                <a:gd name="connsiteX177" fmla="*/ 5108 w 10001"/>
                <a:gd name="connsiteY177" fmla="*/ 1063 h 10000"/>
                <a:gd name="connsiteX178" fmla="*/ 5212 w 10001"/>
                <a:gd name="connsiteY178" fmla="*/ 1187 h 10000"/>
                <a:gd name="connsiteX179" fmla="*/ 5357 w 10001"/>
                <a:gd name="connsiteY179" fmla="*/ 919 h 10000"/>
                <a:gd name="connsiteX180" fmla="*/ 5577 w 10001"/>
                <a:gd name="connsiteY180" fmla="*/ 1063 h 10000"/>
                <a:gd name="connsiteX181" fmla="*/ 5643 w 10001"/>
                <a:gd name="connsiteY181" fmla="*/ 1115 h 10000"/>
                <a:gd name="connsiteX182" fmla="*/ 5697 w 10001"/>
                <a:gd name="connsiteY182" fmla="*/ 1166 h 10000"/>
                <a:gd name="connsiteX183" fmla="*/ 5908 w 10001"/>
                <a:gd name="connsiteY183" fmla="*/ 1631 h 10000"/>
                <a:gd name="connsiteX184" fmla="*/ 5984 w 10001"/>
                <a:gd name="connsiteY184" fmla="*/ 1611 h 10000"/>
                <a:gd name="connsiteX185" fmla="*/ 5977 w 10001"/>
                <a:gd name="connsiteY185" fmla="*/ 1507 h 10000"/>
                <a:gd name="connsiteX186" fmla="*/ 5984 w 10001"/>
                <a:gd name="connsiteY186" fmla="*/ 1383 h 10000"/>
                <a:gd name="connsiteX187" fmla="*/ 6091 w 10001"/>
                <a:gd name="connsiteY187" fmla="*/ 1486 h 10000"/>
                <a:gd name="connsiteX188" fmla="*/ 6264 w 10001"/>
                <a:gd name="connsiteY188" fmla="*/ 1507 h 10000"/>
                <a:gd name="connsiteX189" fmla="*/ 6409 w 10001"/>
                <a:gd name="connsiteY189" fmla="*/ 1455 h 10000"/>
                <a:gd name="connsiteX190" fmla="*/ 6340 w 10001"/>
                <a:gd name="connsiteY190" fmla="*/ 1362 h 10000"/>
                <a:gd name="connsiteX191" fmla="*/ 6431 w 10001"/>
                <a:gd name="connsiteY191" fmla="*/ 1084 h 10000"/>
                <a:gd name="connsiteX192" fmla="*/ 6687 w 10001"/>
                <a:gd name="connsiteY192" fmla="*/ 1207 h 10000"/>
                <a:gd name="connsiteX193" fmla="*/ 6945 w 10001"/>
                <a:gd name="connsiteY193" fmla="*/ 1331 h 10000"/>
                <a:gd name="connsiteX194" fmla="*/ 6967 w 10001"/>
                <a:gd name="connsiteY194" fmla="*/ 1362 h 10000"/>
                <a:gd name="connsiteX195" fmla="*/ 7194 w 10001"/>
                <a:gd name="connsiteY195" fmla="*/ 1611 h 10000"/>
                <a:gd name="connsiteX196" fmla="*/ 7367 w 10001"/>
                <a:gd name="connsiteY196" fmla="*/ 1507 h 10000"/>
                <a:gd name="connsiteX197" fmla="*/ 7582 w 10001"/>
                <a:gd name="connsiteY197" fmla="*/ 1538 h 10000"/>
                <a:gd name="connsiteX198" fmla="*/ 7657 w 10001"/>
                <a:gd name="connsiteY198" fmla="*/ 1611 h 10000"/>
                <a:gd name="connsiteX199" fmla="*/ 7928 w 10001"/>
                <a:gd name="connsiteY199" fmla="*/ 1930 h 10000"/>
                <a:gd name="connsiteX200" fmla="*/ 8231 w 10001"/>
                <a:gd name="connsiteY200" fmla="*/ 1879 h 10000"/>
                <a:gd name="connsiteX201" fmla="*/ 8339 w 10001"/>
                <a:gd name="connsiteY201" fmla="*/ 2033 h 10000"/>
                <a:gd name="connsiteX202" fmla="*/ 8490 w 10001"/>
                <a:gd name="connsiteY202" fmla="*/ 2157 h 10000"/>
                <a:gd name="connsiteX203" fmla="*/ 8519 w 10001"/>
                <a:gd name="connsiteY203" fmla="*/ 2105 h 10000"/>
                <a:gd name="connsiteX204" fmla="*/ 8497 w 10001"/>
                <a:gd name="connsiteY204" fmla="*/ 2074 h 10000"/>
                <a:gd name="connsiteX205" fmla="*/ 8383 w 10001"/>
                <a:gd name="connsiteY205" fmla="*/ 1930 h 10000"/>
                <a:gd name="connsiteX206" fmla="*/ 8465 w 10001"/>
                <a:gd name="connsiteY206" fmla="*/ 1755 h 10000"/>
                <a:gd name="connsiteX207" fmla="*/ 8664 w 10001"/>
                <a:gd name="connsiteY207" fmla="*/ 1910 h 10000"/>
                <a:gd name="connsiteX208" fmla="*/ 8950 w 10001"/>
                <a:gd name="connsiteY208" fmla="*/ 1982 h 10000"/>
                <a:gd name="connsiteX209" fmla="*/ 9206 w 10001"/>
                <a:gd name="connsiteY209" fmla="*/ 2260 h 10000"/>
                <a:gd name="connsiteX210" fmla="*/ 9344 w 10001"/>
                <a:gd name="connsiteY210" fmla="*/ 2332 h 10000"/>
                <a:gd name="connsiteX211" fmla="*/ 9451 w 10001"/>
                <a:gd name="connsiteY211" fmla="*/ 2446 h 10000"/>
                <a:gd name="connsiteX212" fmla="*/ 9574 w 10001"/>
                <a:gd name="connsiteY212" fmla="*/ 2632 h 10000"/>
                <a:gd name="connsiteX213" fmla="*/ 9631 w 10001"/>
                <a:gd name="connsiteY213" fmla="*/ 2756 h 10000"/>
                <a:gd name="connsiteX214" fmla="*/ 9726 w 10001"/>
                <a:gd name="connsiteY214" fmla="*/ 2787 h 10000"/>
                <a:gd name="connsiteX215" fmla="*/ 9590 w 10001"/>
                <a:gd name="connsiteY215" fmla="*/ 2570 h 10000"/>
                <a:gd name="connsiteX216" fmla="*/ 9915 w 10001"/>
                <a:gd name="connsiteY216" fmla="*/ 2756 h 10000"/>
                <a:gd name="connsiteX217" fmla="*/ 10000 w 10001"/>
                <a:gd name="connsiteY217" fmla="*/ 3014 h 10000"/>
                <a:gd name="connsiteX218" fmla="*/ 9934 w 10001"/>
                <a:gd name="connsiteY218" fmla="*/ 2941 h 10000"/>
                <a:gd name="connsiteX219" fmla="*/ 10000 w 10001"/>
                <a:gd name="connsiteY219" fmla="*/ 3292 h 10000"/>
                <a:gd name="connsiteX220" fmla="*/ 9845 w 10001"/>
                <a:gd name="connsiteY220" fmla="*/ 3220 h 10000"/>
                <a:gd name="connsiteX221" fmla="*/ 9641 w 10001"/>
                <a:gd name="connsiteY221" fmla="*/ 2972 h 10000"/>
                <a:gd name="connsiteX222" fmla="*/ 9470 w 10001"/>
                <a:gd name="connsiteY222" fmla="*/ 2787 h 10000"/>
                <a:gd name="connsiteX223" fmla="*/ 9366 w 10001"/>
                <a:gd name="connsiteY223" fmla="*/ 2725 h 10000"/>
                <a:gd name="connsiteX0" fmla="*/ 1610 w 10015"/>
                <a:gd name="connsiteY0" fmla="*/ 7183 h 10000"/>
                <a:gd name="connsiteX1" fmla="*/ 1655 w 10015"/>
                <a:gd name="connsiteY1" fmla="*/ 7430 h 10000"/>
                <a:gd name="connsiteX2" fmla="*/ 1604 w 10015"/>
                <a:gd name="connsiteY2" fmla="*/ 7430 h 10000"/>
                <a:gd name="connsiteX3" fmla="*/ 1551 w 10015"/>
                <a:gd name="connsiteY3" fmla="*/ 7255 h 10000"/>
                <a:gd name="connsiteX4" fmla="*/ 1513 w 10015"/>
                <a:gd name="connsiteY4" fmla="*/ 7430 h 10000"/>
                <a:gd name="connsiteX5" fmla="*/ 1519 w 10015"/>
                <a:gd name="connsiteY5" fmla="*/ 7854 h 10000"/>
                <a:gd name="connsiteX6" fmla="*/ 1604 w 10015"/>
                <a:gd name="connsiteY6" fmla="*/ 8070 h 10000"/>
                <a:gd name="connsiteX7" fmla="*/ 1648 w 10015"/>
                <a:gd name="connsiteY7" fmla="*/ 8019 h 10000"/>
                <a:gd name="connsiteX8" fmla="*/ 1741 w 10015"/>
                <a:gd name="connsiteY8" fmla="*/ 8493 h 10000"/>
                <a:gd name="connsiteX9" fmla="*/ 1610 w 10015"/>
                <a:gd name="connsiteY9" fmla="*/ 8669 h 10000"/>
                <a:gd name="connsiteX10" fmla="*/ 1595 w 10015"/>
                <a:gd name="connsiteY10" fmla="*/ 9009 h 10000"/>
                <a:gd name="connsiteX11" fmla="*/ 1664 w 10015"/>
                <a:gd name="connsiteY11" fmla="*/ 9236 h 10000"/>
                <a:gd name="connsiteX12" fmla="*/ 1664 w 10015"/>
                <a:gd name="connsiteY12" fmla="*/ 9484 h 10000"/>
                <a:gd name="connsiteX13" fmla="*/ 1769 w 10015"/>
                <a:gd name="connsiteY13" fmla="*/ 9835 h 10000"/>
                <a:gd name="connsiteX14" fmla="*/ 1703 w 10015"/>
                <a:gd name="connsiteY14" fmla="*/ 10000 h 10000"/>
                <a:gd name="connsiteX15" fmla="*/ 1604 w 10015"/>
                <a:gd name="connsiteY15" fmla="*/ 9753 h 10000"/>
                <a:gd name="connsiteX16" fmla="*/ 1465 w 10015"/>
                <a:gd name="connsiteY16" fmla="*/ 9505 h 10000"/>
                <a:gd name="connsiteX17" fmla="*/ 1406 w 10015"/>
                <a:gd name="connsiteY17" fmla="*/ 9588 h 10000"/>
                <a:gd name="connsiteX18" fmla="*/ 1308 w 10015"/>
                <a:gd name="connsiteY18" fmla="*/ 9380 h 10000"/>
                <a:gd name="connsiteX19" fmla="*/ 1097 w 10015"/>
                <a:gd name="connsiteY19" fmla="*/ 9339 h 10000"/>
                <a:gd name="connsiteX20" fmla="*/ 848 w 10015"/>
                <a:gd name="connsiteY20" fmla="*/ 8813 h 10000"/>
                <a:gd name="connsiteX21" fmla="*/ 914 w 10015"/>
                <a:gd name="connsiteY21" fmla="*/ 8721 h 10000"/>
                <a:gd name="connsiteX22" fmla="*/ 961 w 10015"/>
                <a:gd name="connsiteY22" fmla="*/ 8493 h 10000"/>
                <a:gd name="connsiteX23" fmla="*/ 908 w 10015"/>
                <a:gd name="connsiteY23" fmla="*/ 8390 h 10000"/>
                <a:gd name="connsiteX24" fmla="*/ 1021 w 10015"/>
                <a:gd name="connsiteY24" fmla="*/ 8245 h 10000"/>
                <a:gd name="connsiteX25" fmla="*/ 945 w 10015"/>
                <a:gd name="connsiteY25" fmla="*/ 8194 h 10000"/>
                <a:gd name="connsiteX26" fmla="*/ 958 w 10015"/>
                <a:gd name="connsiteY26" fmla="*/ 8091 h 10000"/>
                <a:gd name="connsiteX27" fmla="*/ 1005 w 10015"/>
                <a:gd name="connsiteY27" fmla="*/ 8111 h 10000"/>
                <a:gd name="connsiteX28" fmla="*/ 1059 w 10015"/>
                <a:gd name="connsiteY28" fmla="*/ 8019 h 10000"/>
                <a:gd name="connsiteX29" fmla="*/ 1034 w 10015"/>
                <a:gd name="connsiteY29" fmla="*/ 7864 h 10000"/>
                <a:gd name="connsiteX30" fmla="*/ 1043 w 10015"/>
                <a:gd name="connsiteY30" fmla="*/ 7503 h 10000"/>
                <a:gd name="connsiteX31" fmla="*/ 930 w 10015"/>
                <a:gd name="connsiteY31" fmla="*/ 7440 h 10000"/>
                <a:gd name="connsiteX32" fmla="*/ 832 w 10015"/>
                <a:gd name="connsiteY32" fmla="*/ 7286 h 10000"/>
                <a:gd name="connsiteX33" fmla="*/ 700 w 10015"/>
                <a:gd name="connsiteY33" fmla="*/ 7275 h 10000"/>
                <a:gd name="connsiteX34" fmla="*/ 684 w 10015"/>
                <a:gd name="connsiteY34" fmla="*/ 7090 h 10000"/>
                <a:gd name="connsiteX35" fmla="*/ 596 w 10015"/>
                <a:gd name="connsiteY35" fmla="*/ 6945 h 10000"/>
                <a:gd name="connsiteX36" fmla="*/ 615 w 10015"/>
                <a:gd name="connsiteY36" fmla="*/ 6822 h 10000"/>
                <a:gd name="connsiteX37" fmla="*/ 561 w 10015"/>
                <a:gd name="connsiteY37" fmla="*/ 6698 h 10000"/>
                <a:gd name="connsiteX38" fmla="*/ 457 w 10015"/>
                <a:gd name="connsiteY38" fmla="*/ 6698 h 10000"/>
                <a:gd name="connsiteX39" fmla="*/ 425 w 10015"/>
                <a:gd name="connsiteY39" fmla="*/ 6791 h 10000"/>
                <a:gd name="connsiteX40" fmla="*/ 400 w 10015"/>
                <a:gd name="connsiteY40" fmla="*/ 6750 h 10000"/>
                <a:gd name="connsiteX41" fmla="*/ 378 w 10015"/>
                <a:gd name="connsiteY41" fmla="*/ 6439 h 10000"/>
                <a:gd name="connsiteX42" fmla="*/ 419 w 10015"/>
                <a:gd name="connsiteY42" fmla="*/ 6470 h 10000"/>
                <a:gd name="connsiteX43" fmla="*/ 466 w 10015"/>
                <a:gd name="connsiteY43" fmla="*/ 6347 h 10000"/>
                <a:gd name="connsiteX44" fmla="*/ 400 w 10015"/>
                <a:gd name="connsiteY44" fmla="*/ 6233 h 10000"/>
                <a:gd name="connsiteX45" fmla="*/ 315 w 10015"/>
                <a:gd name="connsiteY45" fmla="*/ 6017 h 10000"/>
                <a:gd name="connsiteX46" fmla="*/ 334 w 10015"/>
                <a:gd name="connsiteY46" fmla="*/ 5821 h 10000"/>
                <a:gd name="connsiteX47" fmla="*/ 274 w 10015"/>
                <a:gd name="connsiteY47" fmla="*/ 5697 h 10000"/>
                <a:gd name="connsiteX48" fmla="*/ 227 w 10015"/>
                <a:gd name="connsiteY48" fmla="*/ 5728 h 10000"/>
                <a:gd name="connsiteX49" fmla="*/ 202 w 10015"/>
                <a:gd name="connsiteY49" fmla="*/ 5604 h 10000"/>
                <a:gd name="connsiteX50" fmla="*/ 164 w 10015"/>
                <a:gd name="connsiteY50" fmla="*/ 5645 h 10000"/>
                <a:gd name="connsiteX51" fmla="*/ 117 w 10015"/>
                <a:gd name="connsiteY51" fmla="*/ 5604 h 10000"/>
                <a:gd name="connsiteX52" fmla="*/ 69 w 10015"/>
                <a:gd name="connsiteY52" fmla="*/ 5181 h 10000"/>
                <a:gd name="connsiteX53" fmla="*/ 85 w 10015"/>
                <a:gd name="connsiteY53" fmla="*/ 5057 h 10000"/>
                <a:gd name="connsiteX54" fmla="*/ 41 w 10015"/>
                <a:gd name="connsiteY54" fmla="*/ 4892 h 10000"/>
                <a:gd name="connsiteX55" fmla="*/ 66 w 10015"/>
                <a:gd name="connsiteY55" fmla="*/ 4655 h 10000"/>
                <a:gd name="connsiteX56" fmla="*/ 211 w 10015"/>
                <a:gd name="connsiteY56" fmla="*/ 4510 h 10000"/>
                <a:gd name="connsiteX57" fmla="*/ 129 w 10015"/>
                <a:gd name="connsiteY57" fmla="*/ 4406 h 10000"/>
                <a:gd name="connsiteX58" fmla="*/ 82 w 10015"/>
                <a:gd name="connsiteY58" fmla="*/ 4283 h 10000"/>
                <a:gd name="connsiteX59" fmla="*/ 205 w 10015"/>
                <a:gd name="connsiteY59" fmla="*/ 3912 h 10000"/>
                <a:gd name="connsiteX60" fmla="*/ 249 w 10015"/>
                <a:gd name="connsiteY60" fmla="*/ 3664 h 10000"/>
                <a:gd name="connsiteX61" fmla="*/ 151 w 10015"/>
                <a:gd name="connsiteY61" fmla="*/ 3488 h 10000"/>
                <a:gd name="connsiteX62" fmla="*/ 189 w 10015"/>
                <a:gd name="connsiteY62" fmla="*/ 3344 h 10000"/>
                <a:gd name="connsiteX63" fmla="*/ 113 w 10015"/>
                <a:gd name="connsiteY63" fmla="*/ 3148 h 10000"/>
                <a:gd name="connsiteX64" fmla="*/ 113 w 10015"/>
                <a:gd name="connsiteY64" fmla="*/ 2972 h 10000"/>
                <a:gd name="connsiteX65" fmla="*/ 60 w 10015"/>
                <a:gd name="connsiteY65" fmla="*/ 2622 h 10000"/>
                <a:gd name="connsiteX66" fmla="*/ 98 w 10015"/>
                <a:gd name="connsiteY66" fmla="*/ 2404 h 10000"/>
                <a:gd name="connsiteX67" fmla="*/ 38 w 10015"/>
                <a:gd name="connsiteY67" fmla="*/ 2301 h 10000"/>
                <a:gd name="connsiteX68" fmla="*/ 0 w 10015"/>
                <a:gd name="connsiteY68" fmla="*/ 2178 h 10000"/>
                <a:gd name="connsiteX69" fmla="*/ 54 w 10015"/>
                <a:gd name="connsiteY69" fmla="*/ 1951 h 10000"/>
                <a:gd name="connsiteX70" fmla="*/ 120 w 10015"/>
                <a:gd name="connsiteY70" fmla="*/ 1910 h 10000"/>
                <a:gd name="connsiteX71" fmla="*/ 195 w 10015"/>
                <a:gd name="connsiteY71" fmla="*/ 1858 h 10000"/>
                <a:gd name="connsiteX72" fmla="*/ 309 w 10015"/>
                <a:gd name="connsiteY72" fmla="*/ 1951 h 10000"/>
                <a:gd name="connsiteX73" fmla="*/ 482 w 10015"/>
                <a:gd name="connsiteY73" fmla="*/ 2054 h 10000"/>
                <a:gd name="connsiteX74" fmla="*/ 633 w 10015"/>
                <a:gd name="connsiteY74" fmla="*/ 2229 h 10000"/>
                <a:gd name="connsiteX75" fmla="*/ 756 w 10015"/>
                <a:gd name="connsiteY75" fmla="*/ 2373 h 10000"/>
                <a:gd name="connsiteX76" fmla="*/ 725 w 10015"/>
                <a:gd name="connsiteY76" fmla="*/ 2777 h 10000"/>
                <a:gd name="connsiteX77" fmla="*/ 362 w 10015"/>
                <a:gd name="connsiteY77" fmla="*/ 2673 h 10000"/>
                <a:gd name="connsiteX78" fmla="*/ 243 w 10015"/>
                <a:gd name="connsiteY78" fmla="*/ 2550 h 10000"/>
                <a:gd name="connsiteX79" fmla="*/ 287 w 10015"/>
                <a:gd name="connsiteY79" fmla="*/ 2622 h 10000"/>
                <a:gd name="connsiteX80" fmla="*/ 331 w 10015"/>
                <a:gd name="connsiteY80" fmla="*/ 2797 h 10000"/>
                <a:gd name="connsiteX81" fmla="*/ 400 w 10015"/>
                <a:gd name="connsiteY81" fmla="*/ 2921 h 10000"/>
                <a:gd name="connsiteX82" fmla="*/ 416 w 10015"/>
                <a:gd name="connsiteY82" fmla="*/ 3189 h 10000"/>
                <a:gd name="connsiteX83" fmla="*/ 507 w 10015"/>
                <a:gd name="connsiteY83" fmla="*/ 3313 h 10000"/>
                <a:gd name="connsiteX84" fmla="*/ 583 w 10015"/>
                <a:gd name="connsiteY84" fmla="*/ 3436 h 10000"/>
                <a:gd name="connsiteX85" fmla="*/ 605 w 10015"/>
                <a:gd name="connsiteY85" fmla="*/ 3467 h 10000"/>
                <a:gd name="connsiteX86" fmla="*/ 649 w 10015"/>
                <a:gd name="connsiteY86" fmla="*/ 3436 h 10000"/>
                <a:gd name="connsiteX87" fmla="*/ 633 w 10015"/>
                <a:gd name="connsiteY87" fmla="*/ 3364 h 10000"/>
                <a:gd name="connsiteX88" fmla="*/ 545 w 10015"/>
                <a:gd name="connsiteY88" fmla="*/ 3189 h 10000"/>
                <a:gd name="connsiteX89" fmla="*/ 801 w 10015"/>
                <a:gd name="connsiteY89" fmla="*/ 3344 h 10000"/>
                <a:gd name="connsiteX90" fmla="*/ 810 w 10015"/>
                <a:gd name="connsiteY90" fmla="*/ 3271 h 10000"/>
                <a:gd name="connsiteX91" fmla="*/ 785 w 10015"/>
                <a:gd name="connsiteY91" fmla="*/ 3220 h 10000"/>
                <a:gd name="connsiteX92" fmla="*/ 741 w 10015"/>
                <a:gd name="connsiteY92" fmla="*/ 2993 h 10000"/>
                <a:gd name="connsiteX93" fmla="*/ 870 w 10015"/>
                <a:gd name="connsiteY93" fmla="*/ 2777 h 10000"/>
                <a:gd name="connsiteX94" fmla="*/ 968 w 10015"/>
                <a:gd name="connsiteY94" fmla="*/ 2921 h 10000"/>
                <a:gd name="connsiteX95" fmla="*/ 999 w 10015"/>
                <a:gd name="connsiteY95" fmla="*/ 2725 h 10000"/>
                <a:gd name="connsiteX96" fmla="*/ 952 w 10015"/>
                <a:gd name="connsiteY96" fmla="*/ 2653 h 10000"/>
                <a:gd name="connsiteX97" fmla="*/ 936 w 10015"/>
                <a:gd name="connsiteY97" fmla="*/ 2281 h 10000"/>
                <a:gd name="connsiteX98" fmla="*/ 914 w 10015"/>
                <a:gd name="connsiteY98" fmla="*/ 2229 h 10000"/>
                <a:gd name="connsiteX99" fmla="*/ 1037 w 10015"/>
                <a:gd name="connsiteY99" fmla="*/ 2250 h 10000"/>
                <a:gd name="connsiteX100" fmla="*/ 1087 w 10015"/>
                <a:gd name="connsiteY100" fmla="*/ 2404 h 10000"/>
                <a:gd name="connsiteX101" fmla="*/ 1021 w 10015"/>
                <a:gd name="connsiteY101" fmla="*/ 2529 h 10000"/>
                <a:gd name="connsiteX102" fmla="*/ 1135 w 10015"/>
                <a:gd name="connsiteY102" fmla="*/ 2694 h 10000"/>
                <a:gd name="connsiteX103" fmla="*/ 1226 w 10015"/>
                <a:gd name="connsiteY103" fmla="*/ 2529 h 10000"/>
                <a:gd name="connsiteX104" fmla="*/ 1339 w 10015"/>
                <a:gd name="connsiteY104" fmla="*/ 2301 h 10000"/>
                <a:gd name="connsiteX105" fmla="*/ 1459 w 10015"/>
                <a:gd name="connsiteY105" fmla="*/ 2157 h 10000"/>
                <a:gd name="connsiteX106" fmla="*/ 1497 w 10015"/>
                <a:gd name="connsiteY106" fmla="*/ 2250 h 10000"/>
                <a:gd name="connsiteX107" fmla="*/ 1807 w 10015"/>
                <a:gd name="connsiteY107" fmla="*/ 2054 h 10000"/>
                <a:gd name="connsiteX108" fmla="*/ 1870 w 10015"/>
                <a:gd name="connsiteY108" fmla="*/ 2250 h 10000"/>
                <a:gd name="connsiteX109" fmla="*/ 1860 w 10015"/>
                <a:gd name="connsiteY109" fmla="*/ 2002 h 10000"/>
                <a:gd name="connsiteX110" fmla="*/ 1778 w 10015"/>
                <a:gd name="connsiteY110" fmla="*/ 1786 h 10000"/>
                <a:gd name="connsiteX111" fmla="*/ 1763 w 10015"/>
                <a:gd name="connsiteY111" fmla="*/ 1703 h 10000"/>
                <a:gd name="connsiteX112" fmla="*/ 1823 w 10015"/>
                <a:gd name="connsiteY112" fmla="*/ 1786 h 10000"/>
                <a:gd name="connsiteX113" fmla="*/ 2034 w 10015"/>
                <a:gd name="connsiteY113" fmla="*/ 1951 h 10000"/>
                <a:gd name="connsiteX114" fmla="*/ 2270 w 10015"/>
                <a:gd name="connsiteY114" fmla="*/ 2126 h 10000"/>
                <a:gd name="connsiteX115" fmla="*/ 2384 w 10015"/>
                <a:gd name="connsiteY115" fmla="*/ 2250 h 10000"/>
                <a:gd name="connsiteX116" fmla="*/ 2421 w 10015"/>
                <a:gd name="connsiteY116" fmla="*/ 2074 h 10000"/>
                <a:gd name="connsiteX117" fmla="*/ 2368 w 10015"/>
                <a:gd name="connsiteY117" fmla="*/ 2033 h 10000"/>
                <a:gd name="connsiteX118" fmla="*/ 2299 w 10015"/>
                <a:gd name="connsiteY118" fmla="*/ 1930 h 10000"/>
                <a:gd name="connsiteX119" fmla="*/ 2254 w 10015"/>
                <a:gd name="connsiteY119" fmla="*/ 1734 h 10000"/>
                <a:gd name="connsiteX120" fmla="*/ 2185 w 10015"/>
                <a:gd name="connsiteY120" fmla="*/ 1486 h 10000"/>
                <a:gd name="connsiteX121" fmla="*/ 2210 w 10015"/>
                <a:gd name="connsiteY121" fmla="*/ 1434 h 10000"/>
                <a:gd name="connsiteX122" fmla="*/ 2232 w 10015"/>
                <a:gd name="connsiteY122" fmla="*/ 1455 h 10000"/>
                <a:gd name="connsiteX123" fmla="*/ 2292 w 10015"/>
                <a:gd name="connsiteY123" fmla="*/ 1115 h 10000"/>
                <a:gd name="connsiteX124" fmla="*/ 2443 w 10015"/>
                <a:gd name="connsiteY124" fmla="*/ 1135 h 10000"/>
                <a:gd name="connsiteX125" fmla="*/ 2488 w 10015"/>
                <a:gd name="connsiteY125" fmla="*/ 1311 h 10000"/>
                <a:gd name="connsiteX126" fmla="*/ 2519 w 10015"/>
                <a:gd name="connsiteY126" fmla="*/ 1538 h 10000"/>
                <a:gd name="connsiteX127" fmla="*/ 2573 w 10015"/>
                <a:gd name="connsiteY127" fmla="*/ 1734 h 10000"/>
                <a:gd name="connsiteX128" fmla="*/ 2670 w 10015"/>
                <a:gd name="connsiteY128" fmla="*/ 2157 h 10000"/>
                <a:gd name="connsiteX129" fmla="*/ 2481 w 10015"/>
                <a:gd name="connsiteY129" fmla="*/ 2673 h 10000"/>
                <a:gd name="connsiteX130" fmla="*/ 2557 w 10015"/>
                <a:gd name="connsiteY130" fmla="*/ 2746 h 10000"/>
                <a:gd name="connsiteX131" fmla="*/ 2655 w 10015"/>
                <a:gd name="connsiteY131" fmla="*/ 2818 h 10000"/>
                <a:gd name="connsiteX132" fmla="*/ 2784 w 10015"/>
                <a:gd name="connsiteY132" fmla="*/ 2622 h 10000"/>
                <a:gd name="connsiteX133" fmla="*/ 2790 w 10015"/>
                <a:gd name="connsiteY133" fmla="*/ 2404 h 10000"/>
                <a:gd name="connsiteX134" fmla="*/ 2746 w 10015"/>
                <a:gd name="connsiteY134" fmla="*/ 2301 h 10000"/>
                <a:gd name="connsiteX135" fmla="*/ 2919 w 10015"/>
                <a:gd name="connsiteY135" fmla="*/ 2250 h 10000"/>
                <a:gd name="connsiteX136" fmla="*/ 2989 w 10015"/>
                <a:gd name="connsiteY136" fmla="*/ 2497 h 10000"/>
                <a:gd name="connsiteX137" fmla="*/ 2989 w 10015"/>
                <a:gd name="connsiteY137" fmla="*/ 2425 h 10000"/>
                <a:gd name="connsiteX138" fmla="*/ 2973 w 10015"/>
                <a:gd name="connsiteY138" fmla="*/ 2353 h 10000"/>
                <a:gd name="connsiteX139" fmla="*/ 2967 w 10015"/>
                <a:gd name="connsiteY139" fmla="*/ 2178 h 10000"/>
                <a:gd name="connsiteX140" fmla="*/ 2800 w 10015"/>
                <a:gd name="connsiteY140" fmla="*/ 1930 h 10000"/>
                <a:gd name="connsiteX141" fmla="*/ 2670 w 10015"/>
                <a:gd name="connsiteY141" fmla="*/ 2002 h 10000"/>
                <a:gd name="connsiteX142" fmla="*/ 2617 w 10015"/>
                <a:gd name="connsiteY142" fmla="*/ 1683 h 10000"/>
                <a:gd name="connsiteX143" fmla="*/ 2563 w 10015"/>
                <a:gd name="connsiteY143" fmla="*/ 1507 h 10000"/>
                <a:gd name="connsiteX144" fmla="*/ 2617 w 10015"/>
                <a:gd name="connsiteY144" fmla="*/ 1331 h 10000"/>
                <a:gd name="connsiteX145" fmla="*/ 2611 w 10015"/>
                <a:gd name="connsiteY145" fmla="*/ 1166 h 10000"/>
                <a:gd name="connsiteX146" fmla="*/ 2588 w 10015"/>
                <a:gd name="connsiteY146" fmla="*/ 1115 h 10000"/>
                <a:gd name="connsiteX147" fmla="*/ 2626 w 10015"/>
                <a:gd name="connsiteY147" fmla="*/ 1115 h 10000"/>
                <a:gd name="connsiteX148" fmla="*/ 2670 w 10015"/>
                <a:gd name="connsiteY148" fmla="*/ 1455 h 10000"/>
                <a:gd name="connsiteX149" fmla="*/ 2891 w 10015"/>
                <a:gd name="connsiteY149" fmla="*/ 1662 h 10000"/>
                <a:gd name="connsiteX150" fmla="*/ 2724 w 10015"/>
                <a:gd name="connsiteY150" fmla="*/ 1383 h 10000"/>
                <a:gd name="connsiteX151" fmla="*/ 3049 w 10015"/>
                <a:gd name="connsiteY151" fmla="*/ 1383 h 10000"/>
                <a:gd name="connsiteX152" fmla="*/ 3102 w 10015"/>
                <a:gd name="connsiteY152" fmla="*/ 1362 h 10000"/>
                <a:gd name="connsiteX153" fmla="*/ 2897 w 10015"/>
                <a:gd name="connsiteY153" fmla="*/ 1115 h 10000"/>
                <a:gd name="connsiteX154" fmla="*/ 2951 w 10015"/>
                <a:gd name="connsiteY154" fmla="*/ 888 h 10000"/>
                <a:gd name="connsiteX155" fmla="*/ 3178 w 10015"/>
                <a:gd name="connsiteY155" fmla="*/ 888 h 10000"/>
                <a:gd name="connsiteX156" fmla="*/ 3156 w 10015"/>
                <a:gd name="connsiteY156" fmla="*/ 713 h 10000"/>
                <a:gd name="connsiteX157" fmla="*/ 3231 w 10015"/>
                <a:gd name="connsiteY157" fmla="*/ 589 h 10000"/>
                <a:gd name="connsiteX158" fmla="*/ 3276 w 10015"/>
                <a:gd name="connsiteY158" fmla="*/ 548 h 10000"/>
                <a:gd name="connsiteX159" fmla="*/ 3443 w 10015"/>
                <a:gd name="connsiteY159" fmla="*/ 423 h 10000"/>
                <a:gd name="connsiteX160" fmla="*/ 3487 w 10015"/>
                <a:gd name="connsiteY160" fmla="*/ 371 h 10000"/>
                <a:gd name="connsiteX161" fmla="*/ 3480 w 10015"/>
                <a:gd name="connsiteY161" fmla="*/ 444 h 10000"/>
                <a:gd name="connsiteX162" fmla="*/ 3660 w 10015"/>
                <a:gd name="connsiteY162" fmla="*/ 371 h 10000"/>
                <a:gd name="connsiteX163" fmla="*/ 3805 w 10015"/>
                <a:gd name="connsiteY163" fmla="*/ 248 h 10000"/>
                <a:gd name="connsiteX164" fmla="*/ 3827 w 10015"/>
                <a:gd name="connsiteY164" fmla="*/ 0 h 10000"/>
                <a:gd name="connsiteX165" fmla="*/ 3988 w 10015"/>
                <a:gd name="connsiteY165" fmla="*/ 21 h 10000"/>
                <a:gd name="connsiteX166" fmla="*/ 3978 w 10015"/>
                <a:gd name="connsiteY166" fmla="*/ 93 h 10000"/>
                <a:gd name="connsiteX167" fmla="*/ 3988 w 10015"/>
                <a:gd name="connsiteY167" fmla="*/ 176 h 10000"/>
                <a:gd name="connsiteX168" fmla="*/ 4085 w 10015"/>
                <a:gd name="connsiteY168" fmla="*/ 248 h 10000"/>
                <a:gd name="connsiteX169" fmla="*/ 4379 w 10015"/>
                <a:gd name="connsiteY169" fmla="*/ 268 h 10000"/>
                <a:gd name="connsiteX170" fmla="*/ 4539 w 10015"/>
                <a:gd name="connsiteY170" fmla="*/ 392 h 10000"/>
                <a:gd name="connsiteX171" fmla="*/ 4486 w 10015"/>
                <a:gd name="connsiteY171" fmla="*/ 795 h 10000"/>
                <a:gd name="connsiteX172" fmla="*/ 4426 w 10015"/>
                <a:gd name="connsiteY172" fmla="*/ 919 h 10000"/>
                <a:gd name="connsiteX173" fmla="*/ 4356 w 10015"/>
                <a:gd name="connsiteY173" fmla="*/ 1043 h 10000"/>
                <a:gd name="connsiteX174" fmla="*/ 4372 w 10015"/>
                <a:gd name="connsiteY174" fmla="*/ 1115 h 10000"/>
                <a:gd name="connsiteX175" fmla="*/ 4583 w 10015"/>
                <a:gd name="connsiteY175" fmla="*/ 919 h 10000"/>
                <a:gd name="connsiteX176" fmla="*/ 5060 w 10015"/>
                <a:gd name="connsiteY176" fmla="*/ 991 h 10000"/>
                <a:gd name="connsiteX177" fmla="*/ 5108 w 10015"/>
                <a:gd name="connsiteY177" fmla="*/ 1063 h 10000"/>
                <a:gd name="connsiteX178" fmla="*/ 5212 w 10015"/>
                <a:gd name="connsiteY178" fmla="*/ 1187 h 10000"/>
                <a:gd name="connsiteX179" fmla="*/ 5357 w 10015"/>
                <a:gd name="connsiteY179" fmla="*/ 919 h 10000"/>
                <a:gd name="connsiteX180" fmla="*/ 5577 w 10015"/>
                <a:gd name="connsiteY180" fmla="*/ 1063 h 10000"/>
                <a:gd name="connsiteX181" fmla="*/ 5643 w 10015"/>
                <a:gd name="connsiteY181" fmla="*/ 1115 h 10000"/>
                <a:gd name="connsiteX182" fmla="*/ 5697 w 10015"/>
                <a:gd name="connsiteY182" fmla="*/ 1166 h 10000"/>
                <a:gd name="connsiteX183" fmla="*/ 5908 w 10015"/>
                <a:gd name="connsiteY183" fmla="*/ 1631 h 10000"/>
                <a:gd name="connsiteX184" fmla="*/ 5984 w 10015"/>
                <a:gd name="connsiteY184" fmla="*/ 1611 h 10000"/>
                <a:gd name="connsiteX185" fmla="*/ 5977 w 10015"/>
                <a:gd name="connsiteY185" fmla="*/ 1507 h 10000"/>
                <a:gd name="connsiteX186" fmla="*/ 5984 w 10015"/>
                <a:gd name="connsiteY186" fmla="*/ 1383 h 10000"/>
                <a:gd name="connsiteX187" fmla="*/ 6091 w 10015"/>
                <a:gd name="connsiteY187" fmla="*/ 1486 h 10000"/>
                <a:gd name="connsiteX188" fmla="*/ 6264 w 10015"/>
                <a:gd name="connsiteY188" fmla="*/ 1507 h 10000"/>
                <a:gd name="connsiteX189" fmla="*/ 6409 w 10015"/>
                <a:gd name="connsiteY189" fmla="*/ 1455 h 10000"/>
                <a:gd name="connsiteX190" fmla="*/ 6340 w 10015"/>
                <a:gd name="connsiteY190" fmla="*/ 1362 h 10000"/>
                <a:gd name="connsiteX191" fmla="*/ 6431 w 10015"/>
                <a:gd name="connsiteY191" fmla="*/ 1084 h 10000"/>
                <a:gd name="connsiteX192" fmla="*/ 6687 w 10015"/>
                <a:gd name="connsiteY192" fmla="*/ 1207 h 10000"/>
                <a:gd name="connsiteX193" fmla="*/ 6945 w 10015"/>
                <a:gd name="connsiteY193" fmla="*/ 1331 h 10000"/>
                <a:gd name="connsiteX194" fmla="*/ 6967 w 10015"/>
                <a:gd name="connsiteY194" fmla="*/ 1362 h 10000"/>
                <a:gd name="connsiteX195" fmla="*/ 7194 w 10015"/>
                <a:gd name="connsiteY195" fmla="*/ 1611 h 10000"/>
                <a:gd name="connsiteX196" fmla="*/ 7367 w 10015"/>
                <a:gd name="connsiteY196" fmla="*/ 1507 h 10000"/>
                <a:gd name="connsiteX197" fmla="*/ 7582 w 10015"/>
                <a:gd name="connsiteY197" fmla="*/ 1538 h 10000"/>
                <a:gd name="connsiteX198" fmla="*/ 7657 w 10015"/>
                <a:gd name="connsiteY198" fmla="*/ 1611 h 10000"/>
                <a:gd name="connsiteX199" fmla="*/ 7928 w 10015"/>
                <a:gd name="connsiteY199" fmla="*/ 1930 h 10000"/>
                <a:gd name="connsiteX200" fmla="*/ 8231 w 10015"/>
                <a:gd name="connsiteY200" fmla="*/ 1879 h 10000"/>
                <a:gd name="connsiteX201" fmla="*/ 8339 w 10015"/>
                <a:gd name="connsiteY201" fmla="*/ 2033 h 10000"/>
                <a:gd name="connsiteX202" fmla="*/ 8490 w 10015"/>
                <a:gd name="connsiteY202" fmla="*/ 2157 h 10000"/>
                <a:gd name="connsiteX203" fmla="*/ 8519 w 10015"/>
                <a:gd name="connsiteY203" fmla="*/ 2105 h 10000"/>
                <a:gd name="connsiteX204" fmla="*/ 8497 w 10015"/>
                <a:gd name="connsiteY204" fmla="*/ 2074 h 10000"/>
                <a:gd name="connsiteX205" fmla="*/ 8383 w 10015"/>
                <a:gd name="connsiteY205" fmla="*/ 1930 h 10000"/>
                <a:gd name="connsiteX206" fmla="*/ 8465 w 10015"/>
                <a:gd name="connsiteY206" fmla="*/ 1755 h 10000"/>
                <a:gd name="connsiteX207" fmla="*/ 8664 w 10015"/>
                <a:gd name="connsiteY207" fmla="*/ 1910 h 10000"/>
                <a:gd name="connsiteX208" fmla="*/ 8950 w 10015"/>
                <a:gd name="connsiteY208" fmla="*/ 1982 h 10000"/>
                <a:gd name="connsiteX209" fmla="*/ 9206 w 10015"/>
                <a:gd name="connsiteY209" fmla="*/ 2260 h 10000"/>
                <a:gd name="connsiteX210" fmla="*/ 9344 w 10015"/>
                <a:gd name="connsiteY210" fmla="*/ 2332 h 10000"/>
                <a:gd name="connsiteX211" fmla="*/ 9451 w 10015"/>
                <a:gd name="connsiteY211" fmla="*/ 2446 h 10000"/>
                <a:gd name="connsiteX212" fmla="*/ 9574 w 10015"/>
                <a:gd name="connsiteY212" fmla="*/ 2632 h 10000"/>
                <a:gd name="connsiteX213" fmla="*/ 9631 w 10015"/>
                <a:gd name="connsiteY213" fmla="*/ 2756 h 10000"/>
                <a:gd name="connsiteX214" fmla="*/ 9726 w 10015"/>
                <a:gd name="connsiteY214" fmla="*/ 2787 h 10000"/>
                <a:gd name="connsiteX215" fmla="*/ 9590 w 10015"/>
                <a:gd name="connsiteY215" fmla="*/ 2570 h 10000"/>
                <a:gd name="connsiteX216" fmla="*/ 9915 w 10015"/>
                <a:gd name="connsiteY216" fmla="*/ 2756 h 10000"/>
                <a:gd name="connsiteX217" fmla="*/ 10000 w 10015"/>
                <a:gd name="connsiteY217" fmla="*/ 3014 h 10000"/>
                <a:gd name="connsiteX218" fmla="*/ 10000 w 10015"/>
                <a:gd name="connsiteY218" fmla="*/ 3292 h 10000"/>
                <a:gd name="connsiteX219" fmla="*/ 9845 w 10015"/>
                <a:gd name="connsiteY219" fmla="*/ 3220 h 10000"/>
                <a:gd name="connsiteX220" fmla="*/ 9641 w 10015"/>
                <a:gd name="connsiteY220" fmla="*/ 2972 h 10000"/>
                <a:gd name="connsiteX221" fmla="*/ 9470 w 10015"/>
                <a:gd name="connsiteY221" fmla="*/ 2787 h 10000"/>
                <a:gd name="connsiteX222" fmla="*/ 9366 w 10015"/>
                <a:gd name="connsiteY222" fmla="*/ 2725 h 10000"/>
                <a:gd name="connsiteX0" fmla="*/ 1610 w 10030"/>
                <a:gd name="connsiteY0" fmla="*/ 7183 h 10000"/>
                <a:gd name="connsiteX1" fmla="*/ 1655 w 10030"/>
                <a:gd name="connsiteY1" fmla="*/ 7430 h 10000"/>
                <a:gd name="connsiteX2" fmla="*/ 1604 w 10030"/>
                <a:gd name="connsiteY2" fmla="*/ 7430 h 10000"/>
                <a:gd name="connsiteX3" fmla="*/ 1551 w 10030"/>
                <a:gd name="connsiteY3" fmla="*/ 7255 h 10000"/>
                <a:gd name="connsiteX4" fmla="*/ 1513 w 10030"/>
                <a:gd name="connsiteY4" fmla="*/ 7430 h 10000"/>
                <a:gd name="connsiteX5" fmla="*/ 1519 w 10030"/>
                <a:gd name="connsiteY5" fmla="*/ 7854 h 10000"/>
                <a:gd name="connsiteX6" fmla="*/ 1604 w 10030"/>
                <a:gd name="connsiteY6" fmla="*/ 8070 h 10000"/>
                <a:gd name="connsiteX7" fmla="*/ 1648 w 10030"/>
                <a:gd name="connsiteY7" fmla="*/ 8019 h 10000"/>
                <a:gd name="connsiteX8" fmla="*/ 1741 w 10030"/>
                <a:gd name="connsiteY8" fmla="*/ 8493 h 10000"/>
                <a:gd name="connsiteX9" fmla="*/ 1610 w 10030"/>
                <a:gd name="connsiteY9" fmla="*/ 8669 h 10000"/>
                <a:gd name="connsiteX10" fmla="*/ 1595 w 10030"/>
                <a:gd name="connsiteY10" fmla="*/ 9009 h 10000"/>
                <a:gd name="connsiteX11" fmla="*/ 1664 w 10030"/>
                <a:gd name="connsiteY11" fmla="*/ 9236 h 10000"/>
                <a:gd name="connsiteX12" fmla="*/ 1664 w 10030"/>
                <a:gd name="connsiteY12" fmla="*/ 9484 h 10000"/>
                <a:gd name="connsiteX13" fmla="*/ 1769 w 10030"/>
                <a:gd name="connsiteY13" fmla="*/ 9835 h 10000"/>
                <a:gd name="connsiteX14" fmla="*/ 1703 w 10030"/>
                <a:gd name="connsiteY14" fmla="*/ 10000 h 10000"/>
                <a:gd name="connsiteX15" fmla="*/ 1604 w 10030"/>
                <a:gd name="connsiteY15" fmla="*/ 9753 h 10000"/>
                <a:gd name="connsiteX16" fmla="*/ 1465 w 10030"/>
                <a:gd name="connsiteY16" fmla="*/ 9505 h 10000"/>
                <a:gd name="connsiteX17" fmla="*/ 1406 w 10030"/>
                <a:gd name="connsiteY17" fmla="*/ 9588 h 10000"/>
                <a:gd name="connsiteX18" fmla="*/ 1308 w 10030"/>
                <a:gd name="connsiteY18" fmla="*/ 9380 h 10000"/>
                <a:gd name="connsiteX19" fmla="*/ 1097 w 10030"/>
                <a:gd name="connsiteY19" fmla="*/ 9339 h 10000"/>
                <a:gd name="connsiteX20" fmla="*/ 848 w 10030"/>
                <a:gd name="connsiteY20" fmla="*/ 8813 h 10000"/>
                <a:gd name="connsiteX21" fmla="*/ 914 w 10030"/>
                <a:gd name="connsiteY21" fmla="*/ 8721 h 10000"/>
                <a:gd name="connsiteX22" fmla="*/ 961 w 10030"/>
                <a:gd name="connsiteY22" fmla="*/ 8493 h 10000"/>
                <a:gd name="connsiteX23" fmla="*/ 908 w 10030"/>
                <a:gd name="connsiteY23" fmla="*/ 8390 h 10000"/>
                <a:gd name="connsiteX24" fmla="*/ 1021 w 10030"/>
                <a:gd name="connsiteY24" fmla="*/ 8245 h 10000"/>
                <a:gd name="connsiteX25" fmla="*/ 945 w 10030"/>
                <a:gd name="connsiteY25" fmla="*/ 8194 h 10000"/>
                <a:gd name="connsiteX26" fmla="*/ 958 w 10030"/>
                <a:gd name="connsiteY26" fmla="*/ 8091 h 10000"/>
                <a:gd name="connsiteX27" fmla="*/ 1005 w 10030"/>
                <a:gd name="connsiteY27" fmla="*/ 8111 h 10000"/>
                <a:gd name="connsiteX28" fmla="*/ 1059 w 10030"/>
                <a:gd name="connsiteY28" fmla="*/ 8019 h 10000"/>
                <a:gd name="connsiteX29" fmla="*/ 1034 w 10030"/>
                <a:gd name="connsiteY29" fmla="*/ 7864 h 10000"/>
                <a:gd name="connsiteX30" fmla="*/ 1043 w 10030"/>
                <a:gd name="connsiteY30" fmla="*/ 7503 h 10000"/>
                <a:gd name="connsiteX31" fmla="*/ 930 w 10030"/>
                <a:gd name="connsiteY31" fmla="*/ 7440 h 10000"/>
                <a:gd name="connsiteX32" fmla="*/ 832 w 10030"/>
                <a:gd name="connsiteY32" fmla="*/ 7286 h 10000"/>
                <a:gd name="connsiteX33" fmla="*/ 700 w 10030"/>
                <a:gd name="connsiteY33" fmla="*/ 7275 h 10000"/>
                <a:gd name="connsiteX34" fmla="*/ 684 w 10030"/>
                <a:gd name="connsiteY34" fmla="*/ 7090 h 10000"/>
                <a:gd name="connsiteX35" fmla="*/ 596 w 10030"/>
                <a:gd name="connsiteY35" fmla="*/ 6945 h 10000"/>
                <a:gd name="connsiteX36" fmla="*/ 615 w 10030"/>
                <a:gd name="connsiteY36" fmla="*/ 6822 h 10000"/>
                <a:gd name="connsiteX37" fmla="*/ 561 w 10030"/>
                <a:gd name="connsiteY37" fmla="*/ 6698 h 10000"/>
                <a:gd name="connsiteX38" fmla="*/ 457 w 10030"/>
                <a:gd name="connsiteY38" fmla="*/ 6698 h 10000"/>
                <a:gd name="connsiteX39" fmla="*/ 425 w 10030"/>
                <a:gd name="connsiteY39" fmla="*/ 6791 h 10000"/>
                <a:gd name="connsiteX40" fmla="*/ 400 w 10030"/>
                <a:gd name="connsiteY40" fmla="*/ 6750 h 10000"/>
                <a:gd name="connsiteX41" fmla="*/ 378 w 10030"/>
                <a:gd name="connsiteY41" fmla="*/ 6439 h 10000"/>
                <a:gd name="connsiteX42" fmla="*/ 419 w 10030"/>
                <a:gd name="connsiteY42" fmla="*/ 6470 h 10000"/>
                <a:gd name="connsiteX43" fmla="*/ 466 w 10030"/>
                <a:gd name="connsiteY43" fmla="*/ 6347 h 10000"/>
                <a:gd name="connsiteX44" fmla="*/ 400 w 10030"/>
                <a:gd name="connsiteY44" fmla="*/ 6233 h 10000"/>
                <a:gd name="connsiteX45" fmla="*/ 315 w 10030"/>
                <a:gd name="connsiteY45" fmla="*/ 6017 h 10000"/>
                <a:gd name="connsiteX46" fmla="*/ 334 w 10030"/>
                <a:gd name="connsiteY46" fmla="*/ 5821 h 10000"/>
                <a:gd name="connsiteX47" fmla="*/ 274 w 10030"/>
                <a:gd name="connsiteY47" fmla="*/ 5697 h 10000"/>
                <a:gd name="connsiteX48" fmla="*/ 227 w 10030"/>
                <a:gd name="connsiteY48" fmla="*/ 5728 h 10000"/>
                <a:gd name="connsiteX49" fmla="*/ 202 w 10030"/>
                <a:gd name="connsiteY49" fmla="*/ 5604 h 10000"/>
                <a:gd name="connsiteX50" fmla="*/ 164 w 10030"/>
                <a:gd name="connsiteY50" fmla="*/ 5645 h 10000"/>
                <a:gd name="connsiteX51" fmla="*/ 117 w 10030"/>
                <a:gd name="connsiteY51" fmla="*/ 5604 h 10000"/>
                <a:gd name="connsiteX52" fmla="*/ 69 w 10030"/>
                <a:gd name="connsiteY52" fmla="*/ 5181 h 10000"/>
                <a:gd name="connsiteX53" fmla="*/ 85 w 10030"/>
                <a:gd name="connsiteY53" fmla="*/ 5057 h 10000"/>
                <a:gd name="connsiteX54" fmla="*/ 41 w 10030"/>
                <a:gd name="connsiteY54" fmla="*/ 4892 h 10000"/>
                <a:gd name="connsiteX55" fmla="*/ 66 w 10030"/>
                <a:gd name="connsiteY55" fmla="*/ 4655 h 10000"/>
                <a:gd name="connsiteX56" fmla="*/ 211 w 10030"/>
                <a:gd name="connsiteY56" fmla="*/ 4510 h 10000"/>
                <a:gd name="connsiteX57" fmla="*/ 129 w 10030"/>
                <a:gd name="connsiteY57" fmla="*/ 4406 h 10000"/>
                <a:gd name="connsiteX58" fmla="*/ 82 w 10030"/>
                <a:gd name="connsiteY58" fmla="*/ 4283 h 10000"/>
                <a:gd name="connsiteX59" fmla="*/ 205 w 10030"/>
                <a:gd name="connsiteY59" fmla="*/ 3912 h 10000"/>
                <a:gd name="connsiteX60" fmla="*/ 249 w 10030"/>
                <a:gd name="connsiteY60" fmla="*/ 3664 h 10000"/>
                <a:gd name="connsiteX61" fmla="*/ 151 w 10030"/>
                <a:gd name="connsiteY61" fmla="*/ 3488 h 10000"/>
                <a:gd name="connsiteX62" fmla="*/ 189 w 10030"/>
                <a:gd name="connsiteY62" fmla="*/ 3344 h 10000"/>
                <a:gd name="connsiteX63" fmla="*/ 113 w 10030"/>
                <a:gd name="connsiteY63" fmla="*/ 3148 h 10000"/>
                <a:gd name="connsiteX64" fmla="*/ 113 w 10030"/>
                <a:gd name="connsiteY64" fmla="*/ 2972 h 10000"/>
                <a:gd name="connsiteX65" fmla="*/ 60 w 10030"/>
                <a:gd name="connsiteY65" fmla="*/ 2622 h 10000"/>
                <a:gd name="connsiteX66" fmla="*/ 98 w 10030"/>
                <a:gd name="connsiteY66" fmla="*/ 2404 h 10000"/>
                <a:gd name="connsiteX67" fmla="*/ 38 w 10030"/>
                <a:gd name="connsiteY67" fmla="*/ 2301 h 10000"/>
                <a:gd name="connsiteX68" fmla="*/ 0 w 10030"/>
                <a:gd name="connsiteY68" fmla="*/ 2178 h 10000"/>
                <a:gd name="connsiteX69" fmla="*/ 54 w 10030"/>
                <a:gd name="connsiteY69" fmla="*/ 1951 h 10000"/>
                <a:gd name="connsiteX70" fmla="*/ 120 w 10030"/>
                <a:gd name="connsiteY70" fmla="*/ 1910 h 10000"/>
                <a:gd name="connsiteX71" fmla="*/ 195 w 10030"/>
                <a:gd name="connsiteY71" fmla="*/ 1858 h 10000"/>
                <a:gd name="connsiteX72" fmla="*/ 309 w 10030"/>
                <a:gd name="connsiteY72" fmla="*/ 1951 h 10000"/>
                <a:gd name="connsiteX73" fmla="*/ 482 w 10030"/>
                <a:gd name="connsiteY73" fmla="*/ 2054 h 10000"/>
                <a:gd name="connsiteX74" fmla="*/ 633 w 10030"/>
                <a:gd name="connsiteY74" fmla="*/ 2229 h 10000"/>
                <a:gd name="connsiteX75" fmla="*/ 756 w 10030"/>
                <a:gd name="connsiteY75" fmla="*/ 2373 h 10000"/>
                <a:gd name="connsiteX76" fmla="*/ 725 w 10030"/>
                <a:gd name="connsiteY76" fmla="*/ 2777 h 10000"/>
                <a:gd name="connsiteX77" fmla="*/ 362 w 10030"/>
                <a:gd name="connsiteY77" fmla="*/ 2673 h 10000"/>
                <a:gd name="connsiteX78" fmla="*/ 243 w 10030"/>
                <a:gd name="connsiteY78" fmla="*/ 2550 h 10000"/>
                <a:gd name="connsiteX79" fmla="*/ 287 w 10030"/>
                <a:gd name="connsiteY79" fmla="*/ 2622 h 10000"/>
                <a:gd name="connsiteX80" fmla="*/ 331 w 10030"/>
                <a:gd name="connsiteY80" fmla="*/ 2797 h 10000"/>
                <a:gd name="connsiteX81" fmla="*/ 400 w 10030"/>
                <a:gd name="connsiteY81" fmla="*/ 2921 h 10000"/>
                <a:gd name="connsiteX82" fmla="*/ 416 w 10030"/>
                <a:gd name="connsiteY82" fmla="*/ 3189 h 10000"/>
                <a:gd name="connsiteX83" fmla="*/ 507 w 10030"/>
                <a:gd name="connsiteY83" fmla="*/ 3313 h 10000"/>
                <a:gd name="connsiteX84" fmla="*/ 583 w 10030"/>
                <a:gd name="connsiteY84" fmla="*/ 3436 h 10000"/>
                <a:gd name="connsiteX85" fmla="*/ 605 w 10030"/>
                <a:gd name="connsiteY85" fmla="*/ 3467 h 10000"/>
                <a:gd name="connsiteX86" fmla="*/ 649 w 10030"/>
                <a:gd name="connsiteY86" fmla="*/ 3436 h 10000"/>
                <a:gd name="connsiteX87" fmla="*/ 633 w 10030"/>
                <a:gd name="connsiteY87" fmla="*/ 3364 h 10000"/>
                <a:gd name="connsiteX88" fmla="*/ 545 w 10030"/>
                <a:gd name="connsiteY88" fmla="*/ 3189 h 10000"/>
                <a:gd name="connsiteX89" fmla="*/ 801 w 10030"/>
                <a:gd name="connsiteY89" fmla="*/ 3344 h 10000"/>
                <a:gd name="connsiteX90" fmla="*/ 810 w 10030"/>
                <a:gd name="connsiteY90" fmla="*/ 3271 h 10000"/>
                <a:gd name="connsiteX91" fmla="*/ 785 w 10030"/>
                <a:gd name="connsiteY91" fmla="*/ 3220 h 10000"/>
                <a:gd name="connsiteX92" fmla="*/ 741 w 10030"/>
                <a:gd name="connsiteY92" fmla="*/ 2993 h 10000"/>
                <a:gd name="connsiteX93" fmla="*/ 870 w 10030"/>
                <a:gd name="connsiteY93" fmla="*/ 2777 h 10000"/>
                <a:gd name="connsiteX94" fmla="*/ 968 w 10030"/>
                <a:gd name="connsiteY94" fmla="*/ 2921 h 10000"/>
                <a:gd name="connsiteX95" fmla="*/ 999 w 10030"/>
                <a:gd name="connsiteY95" fmla="*/ 2725 h 10000"/>
                <a:gd name="connsiteX96" fmla="*/ 952 w 10030"/>
                <a:gd name="connsiteY96" fmla="*/ 2653 h 10000"/>
                <a:gd name="connsiteX97" fmla="*/ 936 w 10030"/>
                <a:gd name="connsiteY97" fmla="*/ 2281 h 10000"/>
                <a:gd name="connsiteX98" fmla="*/ 914 w 10030"/>
                <a:gd name="connsiteY98" fmla="*/ 2229 h 10000"/>
                <a:gd name="connsiteX99" fmla="*/ 1037 w 10030"/>
                <a:gd name="connsiteY99" fmla="*/ 2250 h 10000"/>
                <a:gd name="connsiteX100" fmla="*/ 1087 w 10030"/>
                <a:gd name="connsiteY100" fmla="*/ 2404 h 10000"/>
                <a:gd name="connsiteX101" fmla="*/ 1021 w 10030"/>
                <a:gd name="connsiteY101" fmla="*/ 2529 h 10000"/>
                <a:gd name="connsiteX102" fmla="*/ 1135 w 10030"/>
                <a:gd name="connsiteY102" fmla="*/ 2694 h 10000"/>
                <a:gd name="connsiteX103" fmla="*/ 1226 w 10030"/>
                <a:gd name="connsiteY103" fmla="*/ 2529 h 10000"/>
                <a:gd name="connsiteX104" fmla="*/ 1339 w 10030"/>
                <a:gd name="connsiteY104" fmla="*/ 2301 h 10000"/>
                <a:gd name="connsiteX105" fmla="*/ 1459 w 10030"/>
                <a:gd name="connsiteY105" fmla="*/ 2157 h 10000"/>
                <a:gd name="connsiteX106" fmla="*/ 1497 w 10030"/>
                <a:gd name="connsiteY106" fmla="*/ 2250 h 10000"/>
                <a:gd name="connsiteX107" fmla="*/ 1807 w 10030"/>
                <a:gd name="connsiteY107" fmla="*/ 2054 h 10000"/>
                <a:gd name="connsiteX108" fmla="*/ 1870 w 10030"/>
                <a:gd name="connsiteY108" fmla="*/ 2250 h 10000"/>
                <a:gd name="connsiteX109" fmla="*/ 1860 w 10030"/>
                <a:gd name="connsiteY109" fmla="*/ 2002 h 10000"/>
                <a:gd name="connsiteX110" fmla="*/ 1778 w 10030"/>
                <a:gd name="connsiteY110" fmla="*/ 1786 h 10000"/>
                <a:gd name="connsiteX111" fmla="*/ 1763 w 10030"/>
                <a:gd name="connsiteY111" fmla="*/ 1703 h 10000"/>
                <a:gd name="connsiteX112" fmla="*/ 1823 w 10030"/>
                <a:gd name="connsiteY112" fmla="*/ 1786 h 10000"/>
                <a:gd name="connsiteX113" fmla="*/ 2034 w 10030"/>
                <a:gd name="connsiteY113" fmla="*/ 1951 h 10000"/>
                <a:gd name="connsiteX114" fmla="*/ 2270 w 10030"/>
                <a:gd name="connsiteY114" fmla="*/ 2126 h 10000"/>
                <a:gd name="connsiteX115" fmla="*/ 2384 w 10030"/>
                <a:gd name="connsiteY115" fmla="*/ 2250 h 10000"/>
                <a:gd name="connsiteX116" fmla="*/ 2421 w 10030"/>
                <a:gd name="connsiteY116" fmla="*/ 2074 h 10000"/>
                <a:gd name="connsiteX117" fmla="*/ 2368 w 10030"/>
                <a:gd name="connsiteY117" fmla="*/ 2033 h 10000"/>
                <a:gd name="connsiteX118" fmla="*/ 2299 w 10030"/>
                <a:gd name="connsiteY118" fmla="*/ 1930 h 10000"/>
                <a:gd name="connsiteX119" fmla="*/ 2254 w 10030"/>
                <a:gd name="connsiteY119" fmla="*/ 1734 h 10000"/>
                <a:gd name="connsiteX120" fmla="*/ 2185 w 10030"/>
                <a:gd name="connsiteY120" fmla="*/ 1486 h 10000"/>
                <a:gd name="connsiteX121" fmla="*/ 2210 w 10030"/>
                <a:gd name="connsiteY121" fmla="*/ 1434 h 10000"/>
                <a:gd name="connsiteX122" fmla="*/ 2232 w 10030"/>
                <a:gd name="connsiteY122" fmla="*/ 1455 h 10000"/>
                <a:gd name="connsiteX123" fmla="*/ 2292 w 10030"/>
                <a:gd name="connsiteY123" fmla="*/ 1115 h 10000"/>
                <a:gd name="connsiteX124" fmla="*/ 2443 w 10030"/>
                <a:gd name="connsiteY124" fmla="*/ 1135 h 10000"/>
                <a:gd name="connsiteX125" fmla="*/ 2488 w 10030"/>
                <a:gd name="connsiteY125" fmla="*/ 1311 h 10000"/>
                <a:gd name="connsiteX126" fmla="*/ 2519 w 10030"/>
                <a:gd name="connsiteY126" fmla="*/ 1538 h 10000"/>
                <a:gd name="connsiteX127" fmla="*/ 2573 w 10030"/>
                <a:gd name="connsiteY127" fmla="*/ 1734 h 10000"/>
                <a:gd name="connsiteX128" fmla="*/ 2670 w 10030"/>
                <a:gd name="connsiteY128" fmla="*/ 2157 h 10000"/>
                <a:gd name="connsiteX129" fmla="*/ 2481 w 10030"/>
                <a:gd name="connsiteY129" fmla="*/ 2673 h 10000"/>
                <a:gd name="connsiteX130" fmla="*/ 2557 w 10030"/>
                <a:gd name="connsiteY130" fmla="*/ 2746 h 10000"/>
                <a:gd name="connsiteX131" fmla="*/ 2655 w 10030"/>
                <a:gd name="connsiteY131" fmla="*/ 2818 h 10000"/>
                <a:gd name="connsiteX132" fmla="*/ 2784 w 10030"/>
                <a:gd name="connsiteY132" fmla="*/ 2622 h 10000"/>
                <a:gd name="connsiteX133" fmla="*/ 2790 w 10030"/>
                <a:gd name="connsiteY133" fmla="*/ 2404 h 10000"/>
                <a:gd name="connsiteX134" fmla="*/ 2746 w 10030"/>
                <a:gd name="connsiteY134" fmla="*/ 2301 h 10000"/>
                <a:gd name="connsiteX135" fmla="*/ 2919 w 10030"/>
                <a:gd name="connsiteY135" fmla="*/ 2250 h 10000"/>
                <a:gd name="connsiteX136" fmla="*/ 2989 w 10030"/>
                <a:gd name="connsiteY136" fmla="*/ 2497 h 10000"/>
                <a:gd name="connsiteX137" fmla="*/ 2989 w 10030"/>
                <a:gd name="connsiteY137" fmla="*/ 2425 h 10000"/>
                <a:gd name="connsiteX138" fmla="*/ 2973 w 10030"/>
                <a:gd name="connsiteY138" fmla="*/ 2353 h 10000"/>
                <a:gd name="connsiteX139" fmla="*/ 2967 w 10030"/>
                <a:gd name="connsiteY139" fmla="*/ 2178 h 10000"/>
                <a:gd name="connsiteX140" fmla="*/ 2800 w 10030"/>
                <a:gd name="connsiteY140" fmla="*/ 1930 h 10000"/>
                <a:gd name="connsiteX141" fmla="*/ 2670 w 10030"/>
                <a:gd name="connsiteY141" fmla="*/ 2002 h 10000"/>
                <a:gd name="connsiteX142" fmla="*/ 2617 w 10030"/>
                <a:gd name="connsiteY142" fmla="*/ 1683 h 10000"/>
                <a:gd name="connsiteX143" fmla="*/ 2563 w 10030"/>
                <a:gd name="connsiteY143" fmla="*/ 1507 h 10000"/>
                <a:gd name="connsiteX144" fmla="*/ 2617 w 10030"/>
                <a:gd name="connsiteY144" fmla="*/ 1331 h 10000"/>
                <a:gd name="connsiteX145" fmla="*/ 2611 w 10030"/>
                <a:gd name="connsiteY145" fmla="*/ 1166 h 10000"/>
                <a:gd name="connsiteX146" fmla="*/ 2588 w 10030"/>
                <a:gd name="connsiteY146" fmla="*/ 1115 h 10000"/>
                <a:gd name="connsiteX147" fmla="*/ 2626 w 10030"/>
                <a:gd name="connsiteY147" fmla="*/ 1115 h 10000"/>
                <a:gd name="connsiteX148" fmla="*/ 2670 w 10030"/>
                <a:gd name="connsiteY148" fmla="*/ 1455 h 10000"/>
                <a:gd name="connsiteX149" fmla="*/ 2891 w 10030"/>
                <a:gd name="connsiteY149" fmla="*/ 1662 h 10000"/>
                <a:gd name="connsiteX150" fmla="*/ 2724 w 10030"/>
                <a:gd name="connsiteY150" fmla="*/ 1383 h 10000"/>
                <a:gd name="connsiteX151" fmla="*/ 3049 w 10030"/>
                <a:gd name="connsiteY151" fmla="*/ 1383 h 10000"/>
                <a:gd name="connsiteX152" fmla="*/ 3102 w 10030"/>
                <a:gd name="connsiteY152" fmla="*/ 1362 h 10000"/>
                <a:gd name="connsiteX153" fmla="*/ 2897 w 10030"/>
                <a:gd name="connsiteY153" fmla="*/ 1115 h 10000"/>
                <a:gd name="connsiteX154" fmla="*/ 2951 w 10030"/>
                <a:gd name="connsiteY154" fmla="*/ 888 h 10000"/>
                <a:gd name="connsiteX155" fmla="*/ 3178 w 10030"/>
                <a:gd name="connsiteY155" fmla="*/ 888 h 10000"/>
                <a:gd name="connsiteX156" fmla="*/ 3156 w 10030"/>
                <a:gd name="connsiteY156" fmla="*/ 713 h 10000"/>
                <a:gd name="connsiteX157" fmla="*/ 3231 w 10030"/>
                <a:gd name="connsiteY157" fmla="*/ 589 h 10000"/>
                <a:gd name="connsiteX158" fmla="*/ 3276 w 10030"/>
                <a:gd name="connsiteY158" fmla="*/ 548 h 10000"/>
                <a:gd name="connsiteX159" fmla="*/ 3443 w 10030"/>
                <a:gd name="connsiteY159" fmla="*/ 423 h 10000"/>
                <a:gd name="connsiteX160" fmla="*/ 3487 w 10030"/>
                <a:gd name="connsiteY160" fmla="*/ 371 h 10000"/>
                <a:gd name="connsiteX161" fmla="*/ 3480 w 10030"/>
                <a:gd name="connsiteY161" fmla="*/ 444 h 10000"/>
                <a:gd name="connsiteX162" fmla="*/ 3660 w 10030"/>
                <a:gd name="connsiteY162" fmla="*/ 371 h 10000"/>
                <a:gd name="connsiteX163" fmla="*/ 3805 w 10030"/>
                <a:gd name="connsiteY163" fmla="*/ 248 h 10000"/>
                <a:gd name="connsiteX164" fmla="*/ 3827 w 10030"/>
                <a:gd name="connsiteY164" fmla="*/ 0 h 10000"/>
                <a:gd name="connsiteX165" fmla="*/ 3988 w 10030"/>
                <a:gd name="connsiteY165" fmla="*/ 21 h 10000"/>
                <a:gd name="connsiteX166" fmla="*/ 3978 w 10030"/>
                <a:gd name="connsiteY166" fmla="*/ 93 h 10000"/>
                <a:gd name="connsiteX167" fmla="*/ 3988 w 10030"/>
                <a:gd name="connsiteY167" fmla="*/ 176 h 10000"/>
                <a:gd name="connsiteX168" fmla="*/ 4085 w 10030"/>
                <a:gd name="connsiteY168" fmla="*/ 248 h 10000"/>
                <a:gd name="connsiteX169" fmla="*/ 4379 w 10030"/>
                <a:gd name="connsiteY169" fmla="*/ 268 h 10000"/>
                <a:gd name="connsiteX170" fmla="*/ 4539 w 10030"/>
                <a:gd name="connsiteY170" fmla="*/ 392 h 10000"/>
                <a:gd name="connsiteX171" fmla="*/ 4486 w 10030"/>
                <a:gd name="connsiteY171" fmla="*/ 795 h 10000"/>
                <a:gd name="connsiteX172" fmla="*/ 4426 w 10030"/>
                <a:gd name="connsiteY172" fmla="*/ 919 h 10000"/>
                <a:gd name="connsiteX173" fmla="*/ 4356 w 10030"/>
                <a:gd name="connsiteY173" fmla="*/ 1043 h 10000"/>
                <a:gd name="connsiteX174" fmla="*/ 4372 w 10030"/>
                <a:gd name="connsiteY174" fmla="*/ 1115 h 10000"/>
                <a:gd name="connsiteX175" fmla="*/ 4583 w 10030"/>
                <a:gd name="connsiteY175" fmla="*/ 919 h 10000"/>
                <a:gd name="connsiteX176" fmla="*/ 5060 w 10030"/>
                <a:gd name="connsiteY176" fmla="*/ 991 h 10000"/>
                <a:gd name="connsiteX177" fmla="*/ 5108 w 10030"/>
                <a:gd name="connsiteY177" fmla="*/ 1063 h 10000"/>
                <a:gd name="connsiteX178" fmla="*/ 5212 w 10030"/>
                <a:gd name="connsiteY178" fmla="*/ 1187 h 10000"/>
                <a:gd name="connsiteX179" fmla="*/ 5357 w 10030"/>
                <a:gd name="connsiteY179" fmla="*/ 919 h 10000"/>
                <a:gd name="connsiteX180" fmla="*/ 5577 w 10030"/>
                <a:gd name="connsiteY180" fmla="*/ 1063 h 10000"/>
                <a:gd name="connsiteX181" fmla="*/ 5643 w 10030"/>
                <a:gd name="connsiteY181" fmla="*/ 1115 h 10000"/>
                <a:gd name="connsiteX182" fmla="*/ 5697 w 10030"/>
                <a:gd name="connsiteY182" fmla="*/ 1166 h 10000"/>
                <a:gd name="connsiteX183" fmla="*/ 5908 w 10030"/>
                <a:gd name="connsiteY183" fmla="*/ 1631 h 10000"/>
                <a:gd name="connsiteX184" fmla="*/ 5984 w 10030"/>
                <a:gd name="connsiteY184" fmla="*/ 1611 h 10000"/>
                <a:gd name="connsiteX185" fmla="*/ 5977 w 10030"/>
                <a:gd name="connsiteY185" fmla="*/ 1507 h 10000"/>
                <a:gd name="connsiteX186" fmla="*/ 5984 w 10030"/>
                <a:gd name="connsiteY186" fmla="*/ 1383 h 10000"/>
                <a:gd name="connsiteX187" fmla="*/ 6091 w 10030"/>
                <a:gd name="connsiteY187" fmla="*/ 1486 h 10000"/>
                <a:gd name="connsiteX188" fmla="*/ 6264 w 10030"/>
                <a:gd name="connsiteY188" fmla="*/ 1507 h 10000"/>
                <a:gd name="connsiteX189" fmla="*/ 6409 w 10030"/>
                <a:gd name="connsiteY189" fmla="*/ 1455 h 10000"/>
                <a:gd name="connsiteX190" fmla="*/ 6340 w 10030"/>
                <a:gd name="connsiteY190" fmla="*/ 1362 h 10000"/>
                <a:gd name="connsiteX191" fmla="*/ 6431 w 10030"/>
                <a:gd name="connsiteY191" fmla="*/ 1084 h 10000"/>
                <a:gd name="connsiteX192" fmla="*/ 6687 w 10030"/>
                <a:gd name="connsiteY192" fmla="*/ 1207 h 10000"/>
                <a:gd name="connsiteX193" fmla="*/ 6945 w 10030"/>
                <a:gd name="connsiteY193" fmla="*/ 1331 h 10000"/>
                <a:gd name="connsiteX194" fmla="*/ 6967 w 10030"/>
                <a:gd name="connsiteY194" fmla="*/ 1362 h 10000"/>
                <a:gd name="connsiteX195" fmla="*/ 7194 w 10030"/>
                <a:gd name="connsiteY195" fmla="*/ 1611 h 10000"/>
                <a:gd name="connsiteX196" fmla="*/ 7367 w 10030"/>
                <a:gd name="connsiteY196" fmla="*/ 1507 h 10000"/>
                <a:gd name="connsiteX197" fmla="*/ 7582 w 10030"/>
                <a:gd name="connsiteY197" fmla="*/ 1538 h 10000"/>
                <a:gd name="connsiteX198" fmla="*/ 7657 w 10030"/>
                <a:gd name="connsiteY198" fmla="*/ 1611 h 10000"/>
                <a:gd name="connsiteX199" fmla="*/ 7928 w 10030"/>
                <a:gd name="connsiteY199" fmla="*/ 1930 h 10000"/>
                <a:gd name="connsiteX200" fmla="*/ 8231 w 10030"/>
                <a:gd name="connsiteY200" fmla="*/ 1879 h 10000"/>
                <a:gd name="connsiteX201" fmla="*/ 8339 w 10030"/>
                <a:gd name="connsiteY201" fmla="*/ 2033 h 10000"/>
                <a:gd name="connsiteX202" fmla="*/ 8490 w 10030"/>
                <a:gd name="connsiteY202" fmla="*/ 2157 h 10000"/>
                <a:gd name="connsiteX203" fmla="*/ 8519 w 10030"/>
                <a:gd name="connsiteY203" fmla="*/ 2105 h 10000"/>
                <a:gd name="connsiteX204" fmla="*/ 8497 w 10030"/>
                <a:gd name="connsiteY204" fmla="*/ 2074 h 10000"/>
                <a:gd name="connsiteX205" fmla="*/ 8383 w 10030"/>
                <a:gd name="connsiteY205" fmla="*/ 1930 h 10000"/>
                <a:gd name="connsiteX206" fmla="*/ 8465 w 10030"/>
                <a:gd name="connsiteY206" fmla="*/ 1755 h 10000"/>
                <a:gd name="connsiteX207" fmla="*/ 8664 w 10030"/>
                <a:gd name="connsiteY207" fmla="*/ 1910 h 10000"/>
                <a:gd name="connsiteX208" fmla="*/ 8950 w 10030"/>
                <a:gd name="connsiteY208" fmla="*/ 1982 h 10000"/>
                <a:gd name="connsiteX209" fmla="*/ 9206 w 10030"/>
                <a:gd name="connsiteY209" fmla="*/ 2260 h 10000"/>
                <a:gd name="connsiteX210" fmla="*/ 9344 w 10030"/>
                <a:gd name="connsiteY210" fmla="*/ 2332 h 10000"/>
                <a:gd name="connsiteX211" fmla="*/ 9451 w 10030"/>
                <a:gd name="connsiteY211" fmla="*/ 2446 h 10000"/>
                <a:gd name="connsiteX212" fmla="*/ 9574 w 10030"/>
                <a:gd name="connsiteY212" fmla="*/ 2632 h 10000"/>
                <a:gd name="connsiteX213" fmla="*/ 9631 w 10030"/>
                <a:gd name="connsiteY213" fmla="*/ 2756 h 10000"/>
                <a:gd name="connsiteX214" fmla="*/ 9726 w 10030"/>
                <a:gd name="connsiteY214" fmla="*/ 2787 h 10000"/>
                <a:gd name="connsiteX215" fmla="*/ 9590 w 10030"/>
                <a:gd name="connsiteY215" fmla="*/ 2570 h 10000"/>
                <a:gd name="connsiteX216" fmla="*/ 9915 w 10030"/>
                <a:gd name="connsiteY216" fmla="*/ 2756 h 10000"/>
                <a:gd name="connsiteX217" fmla="*/ 10000 w 10030"/>
                <a:gd name="connsiteY217" fmla="*/ 3014 h 10000"/>
                <a:gd name="connsiteX218" fmla="*/ 10000 w 10030"/>
                <a:gd name="connsiteY218" fmla="*/ 3292 h 10000"/>
                <a:gd name="connsiteX219" fmla="*/ 9641 w 10030"/>
                <a:gd name="connsiteY219" fmla="*/ 2972 h 10000"/>
                <a:gd name="connsiteX220" fmla="*/ 9470 w 10030"/>
                <a:gd name="connsiteY220" fmla="*/ 2787 h 10000"/>
                <a:gd name="connsiteX221" fmla="*/ 9366 w 10030"/>
                <a:gd name="connsiteY221" fmla="*/ 2725 h 10000"/>
                <a:gd name="connsiteX0" fmla="*/ 1610 w 10015"/>
                <a:gd name="connsiteY0" fmla="*/ 7183 h 10000"/>
                <a:gd name="connsiteX1" fmla="*/ 1655 w 10015"/>
                <a:gd name="connsiteY1" fmla="*/ 7430 h 10000"/>
                <a:gd name="connsiteX2" fmla="*/ 1604 w 10015"/>
                <a:gd name="connsiteY2" fmla="*/ 7430 h 10000"/>
                <a:gd name="connsiteX3" fmla="*/ 1551 w 10015"/>
                <a:gd name="connsiteY3" fmla="*/ 7255 h 10000"/>
                <a:gd name="connsiteX4" fmla="*/ 1513 w 10015"/>
                <a:gd name="connsiteY4" fmla="*/ 7430 h 10000"/>
                <a:gd name="connsiteX5" fmla="*/ 1519 w 10015"/>
                <a:gd name="connsiteY5" fmla="*/ 7854 h 10000"/>
                <a:gd name="connsiteX6" fmla="*/ 1604 w 10015"/>
                <a:gd name="connsiteY6" fmla="*/ 8070 h 10000"/>
                <a:gd name="connsiteX7" fmla="*/ 1648 w 10015"/>
                <a:gd name="connsiteY7" fmla="*/ 8019 h 10000"/>
                <a:gd name="connsiteX8" fmla="*/ 1741 w 10015"/>
                <a:gd name="connsiteY8" fmla="*/ 8493 h 10000"/>
                <a:gd name="connsiteX9" fmla="*/ 1610 w 10015"/>
                <a:gd name="connsiteY9" fmla="*/ 8669 h 10000"/>
                <a:gd name="connsiteX10" fmla="*/ 1595 w 10015"/>
                <a:gd name="connsiteY10" fmla="*/ 9009 h 10000"/>
                <a:gd name="connsiteX11" fmla="*/ 1664 w 10015"/>
                <a:gd name="connsiteY11" fmla="*/ 9236 h 10000"/>
                <a:gd name="connsiteX12" fmla="*/ 1664 w 10015"/>
                <a:gd name="connsiteY12" fmla="*/ 9484 h 10000"/>
                <a:gd name="connsiteX13" fmla="*/ 1769 w 10015"/>
                <a:gd name="connsiteY13" fmla="*/ 9835 h 10000"/>
                <a:gd name="connsiteX14" fmla="*/ 1703 w 10015"/>
                <a:gd name="connsiteY14" fmla="*/ 10000 h 10000"/>
                <a:gd name="connsiteX15" fmla="*/ 1604 w 10015"/>
                <a:gd name="connsiteY15" fmla="*/ 9753 h 10000"/>
                <a:gd name="connsiteX16" fmla="*/ 1465 w 10015"/>
                <a:gd name="connsiteY16" fmla="*/ 9505 h 10000"/>
                <a:gd name="connsiteX17" fmla="*/ 1406 w 10015"/>
                <a:gd name="connsiteY17" fmla="*/ 9588 h 10000"/>
                <a:gd name="connsiteX18" fmla="*/ 1308 w 10015"/>
                <a:gd name="connsiteY18" fmla="*/ 9380 h 10000"/>
                <a:gd name="connsiteX19" fmla="*/ 1097 w 10015"/>
                <a:gd name="connsiteY19" fmla="*/ 9339 h 10000"/>
                <a:gd name="connsiteX20" fmla="*/ 848 w 10015"/>
                <a:gd name="connsiteY20" fmla="*/ 8813 h 10000"/>
                <a:gd name="connsiteX21" fmla="*/ 914 w 10015"/>
                <a:gd name="connsiteY21" fmla="*/ 8721 h 10000"/>
                <a:gd name="connsiteX22" fmla="*/ 961 w 10015"/>
                <a:gd name="connsiteY22" fmla="*/ 8493 h 10000"/>
                <a:gd name="connsiteX23" fmla="*/ 908 w 10015"/>
                <a:gd name="connsiteY23" fmla="*/ 8390 h 10000"/>
                <a:gd name="connsiteX24" fmla="*/ 1021 w 10015"/>
                <a:gd name="connsiteY24" fmla="*/ 8245 h 10000"/>
                <a:gd name="connsiteX25" fmla="*/ 945 w 10015"/>
                <a:gd name="connsiteY25" fmla="*/ 8194 h 10000"/>
                <a:gd name="connsiteX26" fmla="*/ 958 w 10015"/>
                <a:gd name="connsiteY26" fmla="*/ 8091 h 10000"/>
                <a:gd name="connsiteX27" fmla="*/ 1005 w 10015"/>
                <a:gd name="connsiteY27" fmla="*/ 8111 h 10000"/>
                <a:gd name="connsiteX28" fmla="*/ 1059 w 10015"/>
                <a:gd name="connsiteY28" fmla="*/ 8019 h 10000"/>
                <a:gd name="connsiteX29" fmla="*/ 1034 w 10015"/>
                <a:gd name="connsiteY29" fmla="*/ 7864 h 10000"/>
                <a:gd name="connsiteX30" fmla="*/ 1043 w 10015"/>
                <a:gd name="connsiteY30" fmla="*/ 7503 h 10000"/>
                <a:gd name="connsiteX31" fmla="*/ 930 w 10015"/>
                <a:gd name="connsiteY31" fmla="*/ 7440 h 10000"/>
                <a:gd name="connsiteX32" fmla="*/ 832 w 10015"/>
                <a:gd name="connsiteY32" fmla="*/ 7286 h 10000"/>
                <a:gd name="connsiteX33" fmla="*/ 700 w 10015"/>
                <a:gd name="connsiteY33" fmla="*/ 7275 h 10000"/>
                <a:gd name="connsiteX34" fmla="*/ 684 w 10015"/>
                <a:gd name="connsiteY34" fmla="*/ 7090 h 10000"/>
                <a:gd name="connsiteX35" fmla="*/ 596 w 10015"/>
                <a:gd name="connsiteY35" fmla="*/ 6945 h 10000"/>
                <a:gd name="connsiteX36" fmla="*/ 615 w 10015"/>
                <a:gd name="connsiteY36" fmla="*/ 6822 h 10000"/>
                <a:gd name="connsiteX37" fmla="*/ 561 w 10015"/>
                <a:gd name="connsiteY37" fmla="*/ 6698 h 10000"/>
                <a:gd name="connsiteX38" fmla="*/ 457 w 10015"/>
                <a:gd name="connsiteY38" fmla="*/ 6698 h 10000"/>
                <a:gd name="connsiteX39" fmla="*/ 425 w 10015"/>
                <a:gd name="connsiteY39" fmla="*/ 6791 h 10000"/>
                <a:gd name="connsiteX40" fmla="*/ 400 w 10015"/>
                <a:gd name="connsiteY40" fmla="*/ 6750 h 10000"/>
                <a:gd name="connsiteX41" fmla="*/ 378 w 10015"/>
                <a:gd name="connsiteY41" fmla="*/ 6439 h 10000"/>
                <a:gd name="connsiteX42" fmla="*/ 419 w 10015"/>
                <a:gd name="connsiteY42" fmla="*/ 6470 h 10000"/>
                <a:gd name="connsiteX43" fmla="*/ 466 w 10015"/>
                <a:gd name="connsiteY43" fmla="*/ 6347 h 10000"/>
                <a:gd name="connsiteX44" fmla="*/ 400 w 10015"/>
                <a:gd name="connsiteY44" fmla="*/ 6233 h 10000"/>
                <a:gd name="connsiteX45" fmla="*/ 315 w 10015"/>
                <a:gd name="connsiteY45" fmla="*/ 6017 h 10000"/>
                <a:gd name="connsiteX46" fmla="*/ 334 w 10015"/>
                <a:gd name="connsiteY46" fmla="*/ 5821 h 10000"/>
                <a:gd name="connsiteX47" fmla="*/ 274 w 10015"/>
                <a:gd name="connsiteY47" fmla="*/ 5697 h 10000"/>
                <a:gd name="connsiteX48" fmla="*/ 227 w 10015"/>
                <a:gd name="connsiteY48" fmla="*/ 5728 h 10000"/>
                <a:gd name="connsiteX49" fmla="*/ 202 w 10015"/>
                <a:gd name="connsiteY49" fmla="*/ 5604 h 10000"/>
                <a:gd name="connsiteX50" fmla="*/ 164 w 10015"/>
                <a:gd name="connsiteY50" fmla="*/ 5645 h 10000"/>
                <a:gd name="connsiteX51" fmla="*/ 117 w 10015"/>
                <a:gd name="connsiteY51" fmla="*/ 5604 h 10000"/>
                <a:gd name="connsiteX52" fmla="*/ 69 w 10015"/>
                <a:gd name="connsiteY52" fmla="*/ 5181 h 10000"/>
                <a:gd name="connsiteX53" fmla="*/ 85 w 10015"/>
                <a:gd name="connsiteY53" fmla="*/ 5057 h 10000"/>
                <a:gd name="connsiteX54" fmla="*/ 41 w 10015"/>
                <a:gd name="connsiteY54" fmla="*/ 4892 h 10000"/>
                <a:gd name="connsiteX55" fmla="*/ 66 w 10015"/>
                <a:gd name="connsiteY55" fmla="*/ 4655 h 10000"/>
                <a:gd name="connsiteX56" fmla="*/ 211 w 10015"/>
                <a:gd name="connsiteY56" fmla="*/ 4510 h 10000"/>
                <a:gd name="connsiteX57" fmla="*/ 129 w 10015"/>
                <a:gd name="connsiteY57" fmla="*/ 4406 h 10000"/>
                <a:gd name="connsiteX58" fmla="*/ 82 w 10015"/>
                <a:gd name="connsiteY58" fmla="*/ 4283 h 10000"/>
                <a:gd name="connsiteX59" fmla="*/ 205 w 10015"/>
                <a:gd name="connsiteY59" fmla="*/ 3912 h 10000"/>
                <a:gd name="connsiteX60" fmla="*/ 249 w 10015"/>
                <a:gd name="connsiteY60" fmla="*/ 3664 h 10000"/>
                <a:gd name="connsiteX61" fmla="*/ 151 w 10015"/>
                <a:gd name="connsiteY61" fmla="*/ 3488 h 10000"/>
                <a:gd name="connsiteX62" fmla="*/ 189 w 10015"/>
                <a:gd name="connsiteY62" fmla="*/ 3344 h 10000"/>
                <a:gd name="connsiteX63" fmla="*/ 113 w 10015"/>
                <a:gd name="connsiteY63" fmla="*/ 3148 h 10000"/>
                <a:gd name="connsiteX64" fmla="*/ 113 w 10015"/>
                <a:gd name="connsiteY64" fmla="*/ 2972 h 10000"/>
                <a:gd name="connsiteX65" fmla="*/ 60 w 10015"/>
                <a:gd name="connsiteY65" fmla="*/ 2622 h 10000"/>
                <a:gd name="connsiteX66" fmla="*/ 98 w 10015"/>
                <a:gd name="connsiteY66" fmla="*/ 2404 h 10000"/>
                <a:gd name="connsiteX67" fmla="*/ 38 w 10015"/>
                <a:gd name="connsiteY67" fmla="*/ 2301 h 10000"/>
                <a:gd name="connsiteX68" fmla="*/ 0 w 10015"/>
                <a:gd name="connsiteY68" fmla="*/ 2178 h 10000"/>
                <a:gd name="connsiteX69" fmla="*/ 54 w 10015"/>
                <a:gd name="connsiteY69" fmla="*/ 1951 h 10000"/>
                <a:gd name="connsiteX70" fmla="*/ 120 w 10015"/>
                <a:gd name="connsiteY70" fmla="*/ 1910 h 10000"/>
                <a:gd name="connsiteX71" fmla="*/ 195 w 10015"/>
                <a:gd name="connsiteY71" fmla="*/ 1858 h 10000"/>
                <a:gd name="connsiteX72" fmla="*/ 309 w 10015"/>
                <a:gd name="connsiteY72" fmla="*/ 1951 h 10000"/>
                <a:gd name="connsiteX73" fmla="*/ 482 w 10015"/>
                <a:gd name="connsiteY73" fmla="*/ 2054 h 10000"/>
                <a:gd name="connsiteX74" fmla="*/ 633 w 10015"/>
                <a:gd name="connsiteY74" fmla="*/ 2229 h 10000"/>
                <a:gd name="connsiteX75" fmla="*/ 756 w 10015"/>
                <a:gd name="connsiteY75" fmla="*/ 2373 h 10000"/>
                <a:gd name="connsiteX76" fmla="*/ 725 w 10015"/>
                <a:gd name="connsiteY76" fmla="*/ 2777 h 10000"/>
                <a:gd name="connsiteX77" fmla="*/ 362 w 10015"/>
                <a:gd name="connsiteY77" fmla="*/ 2673 h 10000"/>
                <a:gd name="connsiteX78" fmla="*/ 243 w 10015"/>
                <a:gd name="connsiteY78" fmla="*/ 2550 h 10000"/>
                <a:gd name="connsiteX79" fmla="*/ 287 w 10015"/>
                <a:gd name="connsiteY79" fmla="*/ 2622 h 10000"/>
                <a:gd name="connsiteX80" fmla="*/ 331 w 10015"/>
                <a:gd name="connsiteY80" fmla="*/ 2797 h 10000"/>
                <a:gd name="connsiteX81" fmla="*/ 400 w 10015"/>
                <a:gd name="connsiteY81" fmla="*/ 2921 h 10000"/>
                <a:gd name="connsiteX82" fmla="*/ 416 w 10015"/>
                <a:gd name="connsiteY82" fmla="*/ 3189 h 10000"/>
                <a:gd name="connsiteX83" fmla="*/ 507 w 10015"/>
                <a:gd name="connsiteY83" fmla="*/ 3313 h 10000"/>
                <a:gd name="connsiteX84" fmla="*/ 583 w 10015"/>
                <a:gd name="connsiteY84" fmla="*/ 3436 h 10000"/>
                <a:gd name="connsiteX85" fmla="*/ 605 w 10015"/>
                <a:gd name="connsiteY85" fmla="*/ 3467 h 10000"/>
                <a:gd name="connsiteX86" fmla="*/ 649 w 10015"/>
                <a:gd name="connsiteY86" fmla="*/ 3436 h 10000"/>
                <a:gd name="connsiteX87" fmla="*/ 633 w 10015"/>
                <a:gd name="connsiteY87" fmla="*/ 3364 h 10000"/>
                <a:gd name="connsiteX88" fmla="*/ 545 w 10015"/>
                <a:gd name="connsiteY88" fmla="*/ 3189 h 10000"/>
                <a:gd name="connsiteX89" fmla="*/ 801 w 10015"/>
                <a:gd name="connsiteY89" fmla="*/ 3344 h 10000"/>
                <a:gd name="connsiteX90" fmla="*/ 810 w 10015"/>
                <a:gd name="connsiteY90" fmla="*/ 3271 h 10000"/>
                <a:gd name="connsiteX91" fmla="*/ 785 w 10015"/>
                <a:gd name="connsiteY91" fmla="*/ 3220 h 10000"/>
                <a:gd name="connsiteX92" fmla="*/ 741 w 10015"/>
                <a:gd name="connsiteY92" fmla="*/ 2993 h 10000"/>
                <a:gd name="connsiteX93" fmla="*/ 870 w 10015"/>
                <a:gd name="connsiteY93" fmla="*/ 2777 h 10000"/>
                <a:gd name="connsiteX94" fmla="*/ 968 w 10015"/>
                <a:gd name="connsiteY94" fmla="*/ 2921 h 10000"/>
                <a:gd name="connsiteX95" fmla="*/ 999 w 10015"/>
                <a:gd name="connsiteY95" fmla="*/ 2725 h 10000"/>
                <a:gd name="connsiteX96" fmla="*/ 952 w 10015"/>
                <a:gd name="connsiteY96" fmla="*/ 2653 h 10000"/>
                <a:gd name="connsiteX97" fmla="*/ 936 w 10015"/>
                <a:gd name="connsiteY97" fmla="*/ 2281 h 10000"/>
                <a:gd name="connsiteX98" fmla="*/ 914 w 10015"/>
                <a:gd name="connsiteY98" fmla="*/ 2229 h 10000"/>
                <a:gd name="connsiteX99" fmla="*/ 1037 w 10015"/>
                <a:gd name="connsiteY99" fmla="*/ 2250 h 10000"/>
                <a:gd name="connsiteX100" fmla="*/ 1087 w 10015"/>
                <a:gd name="connsiteY100" fmla="*/ 2404 h 10000"/>
                <a:gd name="connsiteX101" fmla="*/ 1021 w 10015"/>
                <a:gd name="connsiteY101" fmla="*/ 2529 h 10000"/>
                <a:gd name="connsiteX102" fmla="*/ 1135 w 10015"/>
                <a:gd name="connsiteY102" fmla="*/ 2694 h 10000"/>
                <a:gd name="connsiteX103" fmla="*/ 1226 w 10015"/>
                <a:gd name="connsiteY103" fmla="*/ 2529 h 10000"/>
                <a:gd name="connsiteX104" fmla="*/ 1339 w 10015"/>
                <a:gd name="connsiteY104" fmla="*/ 2301 h 10000"/>
                <a:gd name="connsiteX105" fmla="*/ 1459 w 10015"/>
                <a:gd name="connsiteY105" fmla="*/ 2157 h 10000"/>
                <a:gd name="connsiteX106" fmla="*/ 1497 w 10015"/>
                <a:gd name="connsiteY106" fmla="*/ 2250 h 10000"/>
                <a:gd name="connsiteX107" fmla="*/ 1807 w 10015"/>
                <a:gd name="connsiteY107" fmla="*/ 2054 h 10000"/>
                <a:gd name="connsiteX108" fmla="*/ 1870 w 10015"/>
                <a:gd name="connsiteY108" fmla="*/ 2250 h 10000"/>
                <a:gd name="connsiteX109" fmla="*/ 1860 w 10015"/>
                <a:gd name="connsiteY109" fmla="*/ 2002 h 10000"/>
                <a:gd name="connsiteX110" fmla="*/ 1778 w 10015"/>
                <a:gd name="connsiteY110" fmla="*/ 1786 h 10000"/>
                <a:gd name="connsiteX111" fmla="*/ 1763 w 10015"/>
                <a:gd name="connsiteY111" fmla="*/ 1703 h 10000"/>
                <a:gd name="connsiteX112" fmla="*/ 1823 w 10015"/>
                <a:gd name="connsiteY112" fmla="*/ 1786 h 10000"/>
                <a:gd name="connsiteX113" fmla="*/ 2034 w 10015"/>
                <a:gd name="connsiteY113" fmla="*/ 1951 h 10000"/>
                <a:gd name="connsiteX114" fmla="*/ 2270 w 10015"/>
                <a:gd name="connsiteY114" fmla="*/ 2126 h 10000"/>
                <a:gd name="connsiteX115" fmla="*/ 2384 w 10015"/>
                <a:gd name="connsiteY115" fmla="*/ 2250 h 10000"/>
                <a:gd name="connsiteX116" fmla="*/ 2421 w 10015"/>
                <a:gd name="connsiteY116" fmla="*/ 2074 h 10000"/>
                <a:gd name="connsiteX117" fmla="*/ 2368 w 10015"/>
                <a:gd name="connsiteY117" fmla="*/ 2033 h 10000"/>
                <a:gd name="connsiteX118" fmla="*/ 2299 w 10015"/>
                <a:gd name="connsiteY118" fmla="*/ 1930 h 10000"/>
                <a:gd name="connsiteX119" fmla="*/ 2254 w 10015"/>
                <a:gd name="connsiteY119" fmla="*/ 1734 h 10000"/>
                <a:gd name="connsiteX120" fmla="*/ 2185 w 10015"/>
                <a:gd name="connsiteY120" fmla="*/ 1486 h 10000"/>
                <a:gd name="connsiteX121" fmla="*/ 2210 w 10015"/>
                <a:gd name="connsiteY121" fmla="*/ 1434 h 10000"/>
                <a:gd name="connsiteX122" fmla="*/ 2232 w 10015"/>
                <a:gd name="connsiteY122" fmla="*/ 1455 h 10000"/>
                <a:gd name="connsiteX123" fmla="*/ 2292 w 10015"/>
                <a:gd name="connsiteY123" fmla="*/ 1115 h 10000"/>
                <a:gd name="connsiteX124" fmla="*/ 2443 w 10015"/>
                <a:gd name="connsiteY124" fmla="*/ 1135 h 10000"/>
                <a:gd name="connsiteX125" fmla="*/ 2488 w 10015"/>
                <a:gd name="connsiteY125" fmla="*/ 1311 h 10000"/>
                <a:gd name="connsiteX126" fmla="*/ 2519 w 10015"/>
                <a:gd name="connsiteY126" fmla="*/ 1538 h 10000"/>
                <a:gd name="connsiteX127" fmla="*/ 2573 w 10015"/>
                <a:gd name="connsiteY127" fmla="*/ 1734 h 10000"/>
                <a:gd name="connsiteX128" fmla="*/ 2670 w 10015"/>
                <a:gd name="connsiteY128" fmla="*/ 2157 h 10000"/>
                <a:gd name="connsiteX129" fmla="*/ 2481 w 10015"/>
                <a:gd name="connsiteY129" fmla="*/ 2673 h 10000"/>
                <a:gd name="connsiteX130" fmla="*/ 2557 w 10015"/>
                <a:gd name="connsiteY130" fmla="*/ 2746 h 10000"/>
                <a:gd name="connsiteX131" fmla="*/ 2655 w 10015"/>
                <a:gd name="connsiteY131" fmla="*/ 2818 h 10000"/>
                <a:gd name="connsiteX132" fmla="*/ 2784 w 10015"/>
                <a:gd name="connsiteY132" fmla="*/ 2622 h 10000"/>
                <a:gd name="connsiteX133" fmla="*/ 2790 w 10015"/>
                <a:gd name="connsiteY133" fmla="*/ 2404 h 10000"/>
                <a:gd name="connsiteX134" fmla="*/ 2746 w 10015"/>
                <a:gd name="connsiteY134" fmla="*/ 2301 h 10000"/>
                <a:gd name="connsiteX135" fmla="*/ 2919 w 10015"/>
                <a:gd name="connsiteY135" fmla="*/ 2250 h 10000"/>
                <a:gd name="connsiteX136" fmla="*/ 2989 w 10015"/>
                <a:gd name="connsiteY136" fmla="*/ 2497 h 10000"/>
                <a:gd name="connsiteX137" fmla="*/ 2989 w 10015"/>
                <a:gd name="connsiteY137" fmla="*/ 2425 h 10000"/>
                <a:gd name="connsiteX138" fmla="*/ 2973 w 10015"/>
                <a:gd name="connsiteY138" fmla="*/ 2353 h 10000"/>
                <a:gd name="connsiteX139" fmla="*/ 2967 w 10015"/>
                <a:gd name="connsiteY139" fmla="*/ 2178 h 10000"/>
                <a:gd name="connsiteX140" fmla="*/ 2800 w 10015"/>
                <a:gd name="connsiteY140" fmla="*/ 1930 h 10000"/>
                <a:gd name="connsiteX141" fmla="*/ 2670 w 10015"/>
                <a:gd name="connsiteY141" fmla="*/ 2002 h 10000"/>
                <a:gd name="connsiteX142" fmla="*/ 2617 w 10015"/>
                <a:gd name="connsiteY142" fmla="*/ 1683 h 10000"/>
                <a:gd name="connsiteX143" fmla="*/ 2563 w 10015"/>
                <a:gd name="connsiteY143" fmla="*/ 1507 h 10000"/>
                <a:gd name="connsiteX144" fmla="*/ 2617 w 10015"/>
                <a:gd name="connsiteY144" fmla="*/ 1331 h 10000"/>
                <a:gd name="connsiteX145" fmla="*/ 2611 w 10015"/>
                <a:gd name="connsiteY145" fmla="*/ 1166 h 10000"/>
                <a:gd name="connsiteX146" fmla="*/ 2588 w 10015"/>
                <a:gd name="connsiteY146" fmla="*/ 1115 h 10000"/>
                <a:gd name="connsiteX147" fmla="*/ 2626 w 10015"/>
                <a:gd name="connsiteY147" fmla="*/ 1115 h 10000"/>
                <a:gd name="connsiteX148" fmla="*/ 2670 w 10015"/>
                <a:gd name="connsiteY148" fmla="*/ 1455 h 10000"/>
                <a:gd name="connsiteX149" fmla="*/ 2891 w 10015"/>
                <a:gd name="connsiteY149" fmla="*/ 1662 h 10000"/>
                <a:gd name="connsiteX150" fmla="*/ 2724 w 10015"/>
                <a:gd name="connsiteY150" fmla="*/ 1383 h 10000"/>
                <a:gd name="connsiteX151" fmla="*/ 3049 w 10015"/>
                <a:gd name="connsiteY151" fmla="*/ 1383 h 10000"/>
                <a:gd name="connsiteX152" fmla="*/ 3102 w 10015"/>
                <a:gd name="connsiteY152" fmla="*/ 1362 h 10000"/>
                <a:gd name="connsiteX153" fmla="*/ 2897 w 10015"/>
                <a:gd name="connsiteY153" fmla="*/ 1115 h 10000"/>
                <a:gd name="connsiteX154" fmla="*/ 2951 w 10015"/>
                <a:gd name="connsiteY154" fmla="*/ 888 h 10000"/>
                <a:gd name="connsiteX155" fmla="*/ 3178 w 10015"/>
                <a:gd name="connsiteY155" fmla="*/ 888 h 10000"/>
                <a:gd name="connsiteX156" fmla="*/ 3156 w 10015"/>
                <a:gd name="connsiteY156" fmla="*/ 713 h 10000"/>
                <a:gd name="connsiteX157" fmla="*/ 3231 w 10015"/>
                <a:gd name="connsiteY157" fmla="*/ 589 h 10000"/>
                <a:gd name="connsiteX158" fmla="*/ 3276 w 10015"/>
                <a:gd name="connsiteY158" fmla="*/ 548 h 10000"/>
                <a:gd name="connsiteX159" fmla="*/ 3443 w 10015"/>
                <a:gd name="connsiteY159" fmla="*/ 423 h 10000"/>
                <a:gd name="connsiteX160" fmla="*/ 3487 w 10015"/>
                <a:gd name="connsiteY160" fmla="*/ 371 h 10000"/>
                <a:gd name="connsiteX161" fmla="*/ 3480 w 10015"/>
                <a:gd name="connsiteY161" fmla="*/ 444 h 10000"/>
                <a:gd name="connsiteX162" fmla="*/ 3660 w 10015"/>
                <a:gd name="connsiteY162" fmla="*/ 371 h 10000"/>
                <a:gd name="connsiteX163" fmla="*/ 3805 w 10015"/>
                <a:gd name="connsiteY163" fmla="*/ 248 h 10000"/>
                <a:gd name="connsiteX164" fmla="*/ 3827 w 10015"/>
                <a:gd name="connsiteY164" fmla="*/ 0 h 10000"/>
                <a:gd name="connsiteX165" fmla="*/ 3988 w 10015"/>
                <a:gd name="connsiteY165" fmla="*/ 21 h 10000"/>
                <a:gd name="connsiteX166" fmla="*/ 3978 w 10015"/>
                <a:gd name="connsiteY166" fmla="*/ 93 h 10000"/>
                <a:gd name="connsiteX167" fmla="*/ 3988 w 10015"/>
                <a:gd name="connsiteY167" fmla="*/ 176 h 10000"/>
                <a:gd name="connsiteX168" fmla="*/ 4085 w 10015"/>
                <a:gd name="connsiteY168" fmla="*/ 248 h 10000"/>
                <a:gd name="connsiteX169" fmla="*/ 4379 w 10015"/>
                <a:gd name="connsiteY169" fmla="*/ 268 h 10000"/>
                <a:gd name="connsiteX170" fmla="*/ 4539 w 10015"/>
                <a:gd name="connsiteY170" fmla="*/ 392 h 10000"/>
                <a:gd name="connsiteX171" fmla="*/ 4486 w 10015"/>
                <a:gd name="connsiteY171" fmla="*/ 795 h 10000"/>
                <a:gd name="connsiteX172" fmla="*/ 4426 w 10015"/>
                <a:gd name="connsiteY172" fmla="*/ 919 h 10000"/>
                <a:gd name="connsiteX173" fmla="*/ 4356 w 10015"/>
                <a:gd name="connsiteY173" fmla="*/ 1043 h 10000"/>
                <a:gd name="connsiteX174" fmla="*/ 4372 w 10015"/>
                <a:gd name="connsiteY174" fmla="*/ 1115 h 10000"/>
                <a:gd name="connsiteX175" fmla="*/ 4583 w 10015"/>
                <a:gd name="connsiteY175" fmla="*/ 919 h 10000"/>
                <a:gd name="connsiteX176" fmla="*/ 5060 w 10015"/>
                <a:gd name="connsiteY176" fmla="*/ 991 h 10000"/>
                <a:gd name="connsiteX177" fmla="*/ 5108 w 10015"/>
                <a:gd name="connsiteY177" fmla="*/ 1063 h 10000"/>
                <a:gd name="connsiteX178" fmla="*/ 5212 w 10015"/>
                <a:gd name="connsiteY178" fmla="*/ 1187 h 10000"/>
                <a:gd name="connsiteX179" fmla="*/ 5357 w 10015"/>
                <a:gd name="connsiteY179" fmla="*/ 919 h 10000"/>
                <a:gd name="connsiteX180" fmla="*/ 5577 w 10015"/>
                <a:gd name="connsiteY180" fmla="*/ 1063 h 10000"/>
                <a:gd name="connsiteX181" fmla="*/ 5643 w 10015"/>
                <a:gd name="connsiteY181" fmla="*/ 1115 h 10000"/>
                <a:gd name="connsiteX182" fmla="*/ 5697 w 10015"/>
                <a:gd name="connsiteY182" fmla="*/ 1166 h 10000"/>
                <a:gd name="connsiteX183" fmla="*/ 5908 w 10015"/>
                <a:gd name="connsiteY183" fmla="*/ 1631 h 10000"/>
                <a:gd name="connsiteX184" fmla="*/ 5984 w 10015"/>
                <a:gd name="connsiteY184" fmla="*/ 1611 h 10000"/>
                <a:gd name="connsiteX185" fmla="*/ 5977 w 10015"/>
                <a:gd name="connsiteY185" fmla="*/ 1507 h 10000"/>
                <a:gd name="connsiteX186" fmla="*/ 5984 w 10015"/>
                <a:gd name="connsiteY186" fmla="*/ 1383 h 10000"/>
                <a:gd name="connsiteX187" fmla="*/ 6091 w 10015"/>
                <a:gd name="connsiteY187" fmla="*/ 1486 h 10000"/>
                <a:gd name="connsiteX188" fmla="*/ 6264 w 10015"/>
                <a:gd name="connsiteY188" fmla="*/ 1507 h 10000"/>
                <a:gd name="connsiteX189" fmla="*/ 6409 w 10015"/>
                <a:gd name="connsiteY189" fmla="*/ 1455 h 10000"/>
                <a:gd name="connsiteX190" fmla="*/ 6340 w 10015"/>
                <a:gd name="connsiteY190" fmla="*/ 1362 h 10000"/>
                <a:gd name="connsiteX191" fmla="*/ 6431 w 10015"/>
                <a:gd name="connsiteY191" fmla="*/ 1084 h 10000"/>
                <a:gd name="connsiteX192" fmla="*/ 6687 w 10015"/>
                <a:gd name="connsiteY192" fmla="*/ 1207 h 10000"/>
                <a:gd name="connsiteX193" fmla="*/ 6945 w 10015"/>
                <a:gd name="connsiteY193" fmla="*/ 1331 h 10000"/>
                <a:gd name="connsiteX194" fmla="*/ 6967 w 10015"/>
                <a:gd name="connsiteY194" fmla="*/ 1362 h 10000"/>
                <a:gd name="connsiteX195" fmla="*/ 7194 w 10015"/>
                <a:gd name="connsiteY195" fmla="*/ 1611 h 10000"/>
                <a:gd name="connsiteX196" fmla="*/ 7367 w 10015"/>
                <a:gd name="connsiteY196" fmla="*/ 1507 h 10000"/>
                <a:gd name="connsiteX197" fmla="*/ 7582 w 10015"/>
                <a:gd name="connsiteY197" fmla="*/ 1538 h 10000"/>
                <a:gd name="connsiteX198" fmla="*/ 7657 w 10015"/>
                <a:gd name="connsiteY198" fmla="*/ 1611 h 10000"/>
                <a:gd name="connsiteX199" fmla="*/ 7928 w 10015"/>
                <a:gd name="connsiteY199" fmla="*/ 1930 h 10000"/>
                <a:gd name="connsiteX200" fmla="*/ 8231 w 10015"/>
                <a:gd name="connsiteY200" fmla="*/ 1879 h 10000"/>
                <a:gd name="connsiteX201" fmla="*/ 8339 w 10015"/>
                <a:gd name="connsiteY201" fmla="*/ 2033 h 10000"/>
                <a:gd name="connsiteX202" fmla="*/ 8490 w 10015"/>
                <a:gd name="connsiteY202" fmla="*/ 2157 h 10000"/>
                <a:gd name="connsiteX203" fmla="*/ 8519 w 10015"/>
                <a:gd name="connsiteY203" fmla="*/ 2105 h 10000"/>
                <a:gd name="connsiteX204" fmla="*/ 8497 w 10015"/>
                <a:gd name="connsiteY204" fmla="*/ 2074 h 10000"/>
                <a:gd name="connsiteX205" fmla="*/ 8383 w 10015"/>
                <a:gd name="connsiteY205" fmla="*/ 1930 h 10000"/>
                <a:gd name="connsiteX206" fmla="*/ 8465 w 10015"/>
                <a:gd name="connsiteY206" fmla="*/ 1755 h 10000"/>
                <a:gd name="connsiteX207" fmla="*/ 8664 w 10015"/>
                <a:gd name="connsiteY207" fmla="*/ 1910 h 10000"/>
                <a:gd name="connsiteX208" fmla="*/ 8950 w 10015"/>
                <a:gd name="connsiteY208" fmla="*/ 1982 h 10000"/>
                <a:gd name="connsiteX209" fmla="*/ 9206 w 10015"/>
                <a:gd name="connsiteY209" fmla="*/ 2260 h 10000"/>
                <a:gd name="connsiteX210" fmla="*/ 9344 w 10015"/>
                <a:gd name="connsiteY210" fmla="*/ 2332 h 10000"/>
                <a:gd name="connsiteX211" fmla="*/ 9451 w 10015"/>
                <a:gd name="connsiteY211" fmla="*/ 2446 h 10000"/>
                <a:gd name="connsiteX212" fmla="*/ 9574 w 10015"/>
                <a:gd name="connsiteY212" fmla="*/ 2632 h 10000"/>
                <a:gd name="connsiteX213" fmla="*/ 9631 w 10015"/>
                <a:gd name="connsiteY213" fmla="*/ 2756 h 10000"/>
                <a:gd name="connsiteX214" fmla="*/ 9726 w 10015"/>
                <a:gd name="connsiteY214" fmla="*/ 2787 h 10000"/>
                <a:gd name="connsiteX215" fmla="*/ 9590 w 10015"/>
                <a:gd name="connsiteY215" fmla="*/ 2570 h 10000"/>
                <a:gd name="connsiteX216" fmla="*/ 9915 w 10015"/>
                <a:gd name="connsiteY216" fmla="*/ 2756 h 10000"/>
                <a:gd name="connsiteX217" fmla="*/ 10000 w 10015"/>
                <a:gd name="connsiteY217" fmla="*/ 3014 h 10000"/>
                <a:gd name="connsiteX218" fmla="*/ 9641 w 10015"/>
                <a:gd name="connsiteY218" fmla="*/ 2972 h 10000"/>
                <a:gd name="connsiteX219" fmla="*/ 9470 w 10015"/>
                <a:gd name="connsiteY219" fmla="*/ 2787 h 10000"/>
                <a:gd name="connsiteX220" fmla="*/ 9366 w 10015"/>
                <a:gd name="connsiteY220" fmla="*/ 2725 h 10000"/>
                <a:gd name="connsiteX0" fmla="*/ 1610 w 9915"/>
                <a:gd name="connsiteY0" fmla="*/ 7183 h 10000"/>
                <a:gd name="connsiteX1" fmla="*/ 1655 w 9915"/>
                <a:gd name="connsiteY1" fmla="*/ 7430 h 10000"/>
                <a:gd name="connsiteX2" fmla="*/ 1604 w 9915"/>
                <a:gd name="connsiteY2" fmla="*/ 7430 h 10000"/>
                <a:gd name="connsiteX3" fmla="*/ 1551 w 9915"/>
                <a:gd name="connsiteY3" fmla="*/ 7255 h 10000"/>
                <a:gd name="connsiteX4" fmla="*/ 1513 w 9915"/>
                <a:gd name="connsiteY4" fmla="*/ 7430 h 10000"/>
                <a:gd name="connsiteX5" fmla="*/ 1519 w 9915"/>
                <a:gd name="connsiteY5" fmla="*/ 7854 h 10000"/>
                <a:gd name="connsiteX6" fmla="*/ 1604 w 9915"/>
                <a:gd name="connsiteY6" fmla="*/ 8070 h 10000"/>
                <a:gd name="connsiteX7" fmla="*/ 1648 w 9915"/>
                <a:gd name="connsiteY7" fmla="*/ 8019 h 10000"/>
                <a:gd name="connsiteX8" fmla="*/ 1741 w 9915"/>
                <a:gd name="connsiteY8" fmla="*/ 8493 h 10000"/>
                <a:gd name="connsiteX9" fmla="*/ 1610 w 9915"/>
                <a:gd name="connsiteY9" fmla="*/ 8669 h 10000"/>
                <a:gd name="connsiteX10" fmla="*/ 1595 w 9915"/>
                <a:gd name="connsiteY10" fmla="*/ 9009 h 10000"/>
                <a:gd name="connsiteX11" fmla="*/ 1664 w 9915"/>
                <a:gd name="connsiteY11" fmla="*/ 9236 h 10000"/>
                <a:gd name="connsiteX12" fmla="*/ 1664 w 9915"/>
                <a:gd name="connsiteY12" fmla="*/ 9484 h 10000"/>
                <a:gd name="connsiteX13" fmla="*/ 1769 w 9915"/>
                <a:gd name="connsiteY13" fmla="*/ 9835 h 10000"/>
                <a:gd name="connsiteX14" fmla="*/ 1703 w 9915"/>
                <a:gd name="connsiteY14" fmla="*/ 10000 h 10000"/>
                <a:gd name="connsiteX15" fmla="*/ 1604 w 9915"/>
                <a:gd name="connsiteY15" fmla="*/ 9753 h 10000"/>
                <a:gd name="connsiteX16" fmla="*/ 1465 w 9915"/>
                <a:gd name="connsiteY16" fmla="*/ 9505 h 10000"/>
                <a:gd name="connsiteX17" fmla="*/ 1406 w 9915"/>
                <a:gd name="connsiteY17" fmla="*/ 9588 h 10000"/>
                <a:gd name="connsiteX18" fmla="*/ 1308 w 9915"/>
                <a:gd name="connsiteY18" fmla="*/ 9380 h 10000"/>
                <a:gd name="connsiteX19" fmla="*/ 1097 w 9915"/>
                <a:gd name="connsiteY19" fmla="*/ 9339 h 10000"/>
                <a:gd name="connsiteX20" fmla="*/ 848 w 9915"/>
                <a:gd name="connsiteY20" fmla="*/ 8813 h 10000"/>
                <a:gd name="connsiteX21" fmla="*/ 914 w 9915"/>
                <a:gd name="connsiteY21" fmla="*/ 8721 h 10000"/>
                <a:gd name="connsiteX22" fmla="*/ 961 w 9915"/>
                <a:gd name="connsiteY22" fmla="*/ 8493 h 10000"/>
                <a:gd name="connsiteX23" fmla="*/ 908 w 9915"/>
                <a:gd name="connsiteY23" fmla="*/ 8390 h 10000"/>
                <a:gd name="connsiteX24" fmla="*/ 1021 w 9915"/>
                <a:gd name="connsiteY24" fmla="*/ 8245 h 10000"/>
                <a:gd name="connsiteX25" fmla="*/ 945 w 9915"/>
                <a:gd name="connsiteY25" fmla="*/ 8194 h 10000"/>
                <a:gd name="connsiteX26" fmla="*/ 958 w 9915"/>
                <a:gd name="connsiteY26" fmla="*/ 8091 h 10000"/>
                <a:gd name="connsiteX27" fmla="*/ 1005 w 9915"/>
                <a:gd name="connsiteY27" fmla="*/ 8111 h 10000"/>
                <a:gd name="connsiteX28" fmla="*/ 1059 w 9915"/>
                <a:gd name="connsiteY28" fmla="*/ 8019 h 10000"/>
                <a:gd name="connsiteX29" fmla="*/ 1034 w 9915"/>
                <a:gd name="connsiteY29" fmla="*/ 7864 h 10000"/>
                <a:gd name="connsiteX30" fmla="*/ 1043 w 9915"/>
                <a:gd name="connsiteY30" fmla="*/ 7503 h 10000"/>
                <a:gd name="connsiteX31" fmla="*/ 930 w 9915"/>
                <a:gd name="connsiteY31" fmla="*/ 7440 h 10000"/>
                <a:gd name="connsiteX32" fmla="*/ 832 w 9915"/>
                <a:gd name="connsiteY32" fmla="*/ 7286 h 10000"/>
                <a:gd name="connsiteX33" fmla="*/ 700 w 9915"/>
                <a:gd name="connsiteY33" fmla="*/ 7275 h 10000"/>
                <a:gd name="connsiteX34" fmla="*/ 684 w 9915"/>
                <a:gd name="connsiteY34" fmla="*/ 7090 h 10000"/>
                <a:gd name="connsiteX35" fmla="*/ 596 w 9915"/>
                <a:gd name="connsiteY35" fmla="*/ 6945 h 10000"/>
                <a:gd name="connsiteX36" fmla="*/ 615 w 9915"/>
                <a:gd name="connsiteY36" fmla="*/ 6822 h 10000"/>
                <a:gd name="connsiteX37" fmla="*/ 561 w 9915"/>
                <a:gd name="connsiteY37" fmla="*/ 6698 h 10000"/>
                <a:gd name="connsiteX38" fmla="*/ 457 w 9915"/>
                <a:gd name="connsiteY38" fmla="*/ 6698 h 10000"/>
                <a:gd name="connsiteX39" fmla="*/ 425 w 9915"/>
                <a:gd name="connsiteY39" fmla="*/ 6791 h 10000"/>
                <a:gd name="connsiteX40" fmla="*/ 400 w 9915"/>
                <a:gd name="connsiteY40" fmla="*/ 6750 h 10000"/>
                <a:gd name="connsiteX41" fmla="*/ 378 w 9915"/>
                <a:gd name="connsiteY41" fmla="*/ 6439 h 10000"/>
                <a:gd name="connsiteX42" fmla="*/ 419 w 9915"/>
                <a:gd name="connsiteY42" fmla="*/ 6470 h 10000"/>
                <a:gd name="connsiteX43" fmla="*/ 466 w 9915"/>
                <a:gd name="connsiteY43" fmla="*/ 6347 h 10000"/>
                <a:gd name="connsiteX44" fmla="*/ 400 w 9915"/>
                <a:gd name="connsiteY44" fmla="*/ 6233 h 10000"/>
                <a:gd name="connsiteX45" fmla="*/ 315 w 9915"/>
                <a:gd name="connsiteY45" fmla="*/ 6017 h 10000"/>
                <a:gd name="connsiteX46" fmla="*/ 334 w 9915"/>
                <a:gd name="connsiteY46" fmla="*/ 5821 h 10000"/>
                <a:gd name="connsiteX47" fmla="*/ 274 w 9915"/>
                <a:gd name="connsiteY47" fmla="*/ 5697 h 10000"/>
                <a:gd name="connsiteX48" fmla="*/ 227 w 9915"/>
                <a:gd name="connsiteY48" fmla="*/ 5728 h 10000"/>
                <a:gd name="connsiteX49" fmla="*/ 202 w 9915"/>
                <a:gd name="connsiteY49" fmla="*/ 5604 h 10000"/>
                <a:gd name="connsiteX50" fmla="*/ 164 w 9915"/>
                <a:gd name="connsiteY50" fmla="*/ 5645 h 10000"/>
                <a:gd name="connsiteX51" fmla="*/ 117 w 9915"/>
                <a:gd name="connsiteY51" fmla="*/ 5604 h 10000"/>
                <a:gd name="connsiteX52" fmla="*/ 69 w 9915"/>
                <a:gd name="connsiteY52" fmla="*/ 5181 h 10000"/>
                <a:gd name="connsiteX53" fmla="*/ 85 w 9915"/>
                <a:gd name="connsiteY53" fmla="*/ 5057 h 10000"/>
                <a:gd name="connsiteX54" fmla="*/ 41 w 9915"/>
                <a:gd name="connsiteY54" fmla="*/ 4892 h 10000"/>
                <a:gd name="connsiteX55" fmla="*/ 66 w 9915"/>
                <a:gd name="connsiteY55" fmla="*/ 4655 h 10000"/>
                <a:gd name="connsiteX56" fmla="*/ 211 w 9915"/>
                <a:gd name="connsiteY56" fmla="*/ 4510 h 10000"/>
                <a:gd name="connsiteX57" fmla="*/ 129 w 9915"/>
                <a:gd name="connsiteY57" fmla="*/ 4406 h 10000"/>
                <a:gd name="connsiteX58" fmla="*/ 82 w 9915"/>
                <a:gd name="connsiteY58" fmla="*/ 4283 h 10000"/>
                <a:gd name="connsiteX59" fmla="*/ 205 w 9915"/>
                <a:gd name="connsiteY59" fmla="*/ 3912 h 10000"/>
                <a:gd name="connsiteX60" fmla="*/ 249 w 9915"/>
                <a:gd name="connsiteY60" fmla="*/ 3664 h 10000"/>
                <a:gd name="connsiteX61" fmla="*/ 151 w 9915"/>
                <a:gd name="connsiteY61" fmla="*/ 3488 h 10000"/>
                <a:gd name="connsiteX62" fmla="*/ 189 w 9915"/>
                <a:gd name="connsiteY62" fmla="*/ 3344 h 10000"/>
                <a:gd name="connsiteX63" fmla="*/ 113 w 9915"/>
                <a:gd name="connsiteY63" fmla="*/ 3148 h 10000"/>
                <a:gd name="connsiteX64" fmla="*/ 113 w 9915"/>
                <a:gd name="connsiteY64" fmla="*/ 2972 h 10000"/>
                <a:gd name="connsiteX65" fmla="*/ 60 w 9915"/>
                <a:gd name="connsiteY65" fmla="*/ 2622 h 10000"/>
                <a:gd name="connsiteX66" fmla="*/ 98 w 9915"/>
                <a:gd name="connsiteY66" fmla="*/ 2404 h 10000"/>
                <a:gd name="connsiteX67" fmla="*/ 38 w 9915"/>
                <a:gd name="connsiteY67" fmla="*/ 2301 h 10000"/>
                <a:gd name="connsiteX68" fmla="*/ 0 w 9915"/>
                <a:gd name="connsiteY68" fmla="*/ 2178 h 10000"/>
                <a:gd name="connsiteX69" fmla="*/ 54 w 9915"/>
                <a:gd name="connsiteY69" fmla="*/ 1951 h 10000"/>
                <a:gd name="connsiteX70" fmla="*/ 120 w 9915"/>
                <a:gd name="connsiteY70" fmla="*/ 1910 h 10000"/>
                <a:gd name="connsiteX71" fmla="*/ 195 w 9915"/>
                <a:gd name="connsiteY71" fmla="*/ 1858 h 10000"/>
                <a:gd name="connsiteX72" fmla="*/ 309 w 9915"/>
                <a:gd name="connsiteY72" fmla="*/ 1951 h 10000"/>
                <a:gd name="connsiteX73" fmla="*/ 482 w 9915"/>
                <a:gd name="connsiteY73" fmla="*/ 2054 h 10000"/>
                <a:gd name="connsiteX74" fmla="*/ 633 w 9915"/>
                <a:gd name="connsiteY74" fmla="*/ 2229 h 10000"/>
                <a:gd name="connsiteX75" fmla="*/ 756 w 9915"/>
                <a:gd name="connsiteY75" fmla="*/ 2373 h 10000"/>
                <a:gd name="connsiteX76" fmla="*/ 725 w 9915"/>
                <a:gd name="connsiteY76" fmla="*/ 2777 h 10000"/>
                <a:gd name="connsiteX77" fmla="*/ 362 w 9915"/>
                <a:gd name="connsiteY77" fmla="*/ 2673 h 10000"/>
                <a:gd name="connsiteX78" fmla="*/ 243 w 9915"/>
                <a:gd name="connsiteY78" fmla="*/ 2550 h 10000"/>
                <a:gd name="connsiteX79" fmla="*/ 287 w 9915"/>
                <a:gd name="connsiteY79" fmla="*/ 2622 h 10000"/>
                <a:gd name="connsiteX80" fmla="*/ 331 w 9915"/>
                <a:gd name="connsiteY80" fmla="*/ 2797 h 10000"/>
                <a:gd name="connsiteX81" fmla="*/ 400 w 9915"/>
                <a:gd name="connsiteY81" fmla="*/ 2921 h 10000"/>
                <a:gd name="connsiteX82" fmla="*/ 416 w 9915"/>
                <a:gd name="connsiteY82" fmla="*/ 3189 h 10000"/>
                <a:gd name="connsiteX83" fmla="*/ 507 w 9915"/>
                <a:gd name="connsiteY83" fmla="*/ 3313 h 10000"/>
                <a:gd name="connsiteX84" fmla="*/ 583 w 9915"/>
                <a:gd name="connsiteY84" fmla="*/ 3436 h 10000"/>
                <a:gd name="connsiteX85" fmla="*/ 605 w 9915"/>
                <a:gd name="connsiteY85" fmla="*/ 3467 h 10000"/>
                <a:gd name="connsiteX86" fmla="*/ 649 w 9915"/>
                <a:gd name="connsiteY86" fmla="*/ 3436 h 10000"/>
                <a:gd name="connsiteX87" fmla="*/ 633 w 9915"/>
                <a:gd name="connsiteY87" fmla="*/ 3364 h 10000"/>
                <a:gd name="connsiteX88" fmla="*/ 545 w 9915"/>
                <a:gd name="connsiteY88" fmla="*/ 3189 h 10000"/>
                <a:gd name="connsiteX89" fmla="*/ 801 w 9915"/>
                <a:gd name="connsiteY89" fmla="*/ 3344 h 10000"/>
                <a:gd name="connsiteX90" fmla="*/ 810 w 9915"/>
                <a:gd name="connsiteY90" fmla="*/ 3271 h 10000"/>
                <a:gd name="connsiteX91" fmla="*/ 785 w 9915"/>
                <a:gd name="connsiteY91" fmla="*/ 3220 h 10000"/>
                <a:gd name="connsiteX92" fmla="*/ 741 w 9915"/>
                <a:gd name="connsiteY92" fmla="*/ 2993 h 10000"/>
                <a:gd name="connsiteX93" fmla="*/ 870 w 9915"/>
                <a:gd name="connsiteY93" fmla="*/ 2777 h 10000"/>
                <a:gd name="connsiteX94" fmla="*/ 968 w 9915"/>
                <a:gd name="connsiteY94" fmla="*/ 2921 h 10000"/>
                <a:gd name="connsiteX95" fmla="*/ 999 w 9915"/>
                <a:gd name="connsiteY95" fmla="*/ 2725 h 10000"/>
                <a:gd name="connsiteX96" fmla="*/ 952 w 9915"/>
                <a:gd name="connsiteY96" fmla="*/ 2653 h 10000"/>
                <a:gd name="connsiteX97" fmla="*/ 936 w 9915"/>
                <a:gd name="connsiteY97" fmla="*/ 2281 h 10000"/>
                <a:gd name="connsiteX98" fmla="*/ 914 w 9915"/>
                <a:gd name="connsiteY98" fmla="*/ 2229 h 10000"/>
                <a:gd name="connsiteX99" fmla="*/ 1037 w 9915"/>
                <a:gd name="connsiteY99" fmla="*/ 2250 h 10000"/>
                <a:gd name="connsiteX100" fmla="*/ 1087 w 9915"/>
                <a:gd name="connsiteY100" fmla="*/ 2404 h 10000"/>
                <a:gd name="connsiteX101" fmla="*/ 1021 w 9915"/>
                <a:gd name="connsiteY101" fmla="*/ 2529 h 10000"/>
                <a:gd name="connsiteX102" fmla="*/ 1135 w 9915"/>
                <a:gd name="connsiteY102" fmla="*/ 2694 h 10000"/>
                <a:gd name="connsiteX103" fmla="*/ 1226 w 9915"/>
                <a:gd name="connsiteY103" fmla="*/ 2529 h 10000"/>
                <a:gd name="connsiteX104" fmla="*/ 1339 w 9915"/>
                <a:gd name="connsiteY104" fmla="*/ 2301 h 10000"/>
                <a:gd name="connsiteX105" fmla="*/ 1459 w 9915"/>
                <a:gd name="connsiteY105" fmla="*/ 2157 h 10000"/>
                <a:gd name="connsiteX106" fmla="*/ 1497 w 9915"/>
                <a:gd name="connsiteY106" fmla="*/ 2250 h 10000"/>
                <a:gd name="connsiteX107" fmla="*/ 1807 w 9915"/>
                <a:gd name="connsiteY107" fmla="*/ 2054 h 10000"/>
                <a:gd name="connsiteX108" fmla="*/ 1870 w 9915"/>
                <a:gd name="connsiteY108" fmla="*/ 2250 h 10000"/>
                <a:gd name="connsiteX109" fmla="*/ 1860 w 9915"/>
                <a:gd name="connsiteY109" fmla="*/ 2002 h 10000"/>
                <a:gd name="connsiteX110" fmla="*/ 1778 w 9915"/>
                <a:gd name="connsiteY110" fmla="*/ 1786 h 10000"/>
                <a:gd name="connsiteX111" fmla="*/ 1763 w 9915"/>
                <a:gd name="connsiteY111" fmla="*/ 1703 h 10000"/>
                <a:gd name="connsiteX112" fmla="*/ 1823 w 9915"/>
                <a:gd name="connsiteY112" fmla="*/ 1786 h 10000"/>
                <a:gd name="connsiteX113" fmla="*/ 2034 w 9915"/>
                <a:gd name="connsiteY113" fmla="*/ 1951 h 10000"/>
                <a:gd name="connsiteX114" fmla="*/ 2270 w 9915"/>
                <a:gd name="connsiteY114" fmla="*/ 2126 h 10000"/>
                <a:gd name="connsiteX115" fmla="*/ 2384 w 9915"/>
                <a:gd name="connsiteY115" fmla="*/ 2250 h 10000"/>
                <a:gd name="connsiteX116" fmla="*/ 2421 w 9915"/>
                <a:gd name="connsiteY116" fmla="*/ 2074 h 10000"/>
                <a:gd name="connsiteX117" fmla="*/ 2368 w 9915"/>
                <a:gd name="connsiteY117" fmla="*/ 2033 h 10000"/>
                <a:gd name="connsiteX118" fmla="*/ 2299 w 9915"/>
                <a:gd name="connsiteY118" fmla="*/ 1930 h 10000"/>
                <a:gd name="connsiteX119" fmla="*/ 2254 w 9915"/>
                <a:gd name="connsiteY119" fmla="*/ 1734 h 10000"/>
                <a:gd name="connsiteX120" fmla="*/ 2185 w 9915"/>
                <a:gd name="connsiteY120" fmla="*/ 1486 h 10000"/>
                <a:gd name="connsiteX121" fmla="*/ 2210 w 9915"/>
                <a:gd name="connsiteY121" fmla="*/ 1434 h 10000"/>
                <a:gd name="connsiteX122" fmla="*/ 2232 w 9915"/>
                <a:gd name="connsiteY122" fmla="*/ 1455 h 10000"/>
                <a:gd name="connsiteX123" fmla="*/ 2292 w 9915"/>
                <a:gd name="connsiteY123" fmla="*/ 1115 h 10000"/>
                <a:gd name="connsiteX124" fmla="*/ 2443 w 9915"/>
                <a:gd name="connsiteY124" fmla="*/ 1135 h 10000"/>
                <a:gd name="connsiteX125" fmla="*/ 2488 w 9915"/>
                <a:gd name="connsiteY125" fmla="*/ 1311 h 10000"/>
                <a:gd name="connsiteX126" fmla="*/ 2519 w 9915"/>
                <a:gd name="connsiteY126" fmla="*/ 1538 h 10000"/>
                <a:gd name="connsiteX127" fmla="*/ 2573 w 9915"/>
                <a:gd name="connsiteY127" fmla="*/ 1734 h 10000"/>
                <a:gd name="connsiteX128" fmla="*/ 2670 w 9915"/>
                <a:gd name="connsiteY128" fmla="*/ 2157 h 10000"/>
                <a:gd name="connsiteX129" fmla="*/ 2481 w 9915"/>
                <a:gd name="connsiteY129" fmla="*/ 2673 h 10000"/>
                <a:gd name="connsiteX130" fmla="*/ 2557 w 9915"/>
                <a:gd name="connsiteY130" fmla="*/ 2746 h 10000"/>
                <a:gd name="connsiteX131" fmla="*/ 2655 w 9915"/>
                <a:gd name="connsiteY131" fmla="*/ 2818 h 10000"/>
                <a:gd name="connsiteX132" fmla="*/ 2784 w 9915"/>
                <a:gd name="connsiteY132" fmla="*/ 2622 h 10000"/>
                <a:gd name="connsiteX133" fmla="*/ 2790 w 9915"/>
                <a:gd name="connsiteY133" fmla="*/ 2404 h 10000"/>
                <a:gd name="connsiteX134" fmla="*/ 2746 w 9915"/>
                <a:gd name="connsiteY134" fmla="*/ 2301 h 10000"/>
                <a:gd name="connsiteX135" fmla="*/ 2919 w 9915"/>
                <a:gd name="connsiteY135" fmla="*/ 2250 h 10000"/>
                <a:gd name="connsiteX136" fmla="*/ 2989 w 9915"/>
                <a:gd name="connsiteY136" fmla="*/ 2497 h 10000"/>
                <a:gd name="connsiteX137" fmla="*/ 2989 w 9915"/>
                <a:gd name="connsiteY137" fmla="*/ 2425 h 10000"/>
                <a:gd name="connsiteX138" fmla="*/ 2973 w 9915"/>
                <a:gd name="connsiteY138" fmla="*/ 2353 h 10000"/>
                <a:gd name="connsiteX139" fmla="*/ 2967 w 9915"/>
                <a:gd name="connsiteY139" fmla="*/ 2178 h 10000"/>
                <a:gd name="connsiteX140" fmla="*/ 2800 w 9915"/>
                <a:gd name="connsiteY140" fmla="*/ 1930 h 10000"/>
                <a:gd name="connsiteX141" fmla="*/ 2670 w 9915"/>
                <a:gd name="connsiteY141" fmla="*/ 2002 h 10000"/>
                <a:gd name="connsiteX142" fmla="*/ 2617 w 9915"/>
                <a:gd name="connsiteY142" fmla="*/ 1683 h 10000"/>
                <a:gd name="connsiteX143" fmla="*/ 2563 w 9915"/>
                <a:gd name="connsiteY143" fmla="*/ 1507 h 10000"/>
                <a:gd name="connsiteX144" fmla="*/ 2617 w 9915"/>
                <a:gd name="connsiteY144" fmla="*/ 1331 h 10000"/>
                <a:gd name="connsiteX145" fmla="*/ 2611 w 9915"/>
                <a:gd name="connsiteY145" fmla="*/ 1166 h 10000"/>
                <a:gd name="connsiteX146" fmla="*/ 2588 w 9915"/>
                <a:gd name="connsiteY146" fmla="*/ 1115 h 10000"/>
                <a:gd name="connsiteX147" fmla="*/ 2626 w 9915"/>
                <a:gd name="connsiteY147" fmla="*/ 1115 h 10000"/>
                <a:gd name="connsiteX148" fmla="*/ 2670 w 9915"/>
                <a:gd name="connsiteY148" fmla="*/ 1455 h 10000"/>
                <a:gd name="connsiteX149" fmla="*/ 2891 w 9915"/>
                <a:gd name="connsiteY149" fmla="*/ 1662 h 10000"/>
                <a:gd name="connsiteX150" fmla="*/ 2724 w 9915"/>
                <a:gd name="connsiteY150" fmla="*/ 1383 h 10000"/>
                <a:gd name="connsiteX151" fmla="*/ 3049 w 9915"/>
                <a:gd name="connsiteY151" fmla="*/ 1383 h 10000"/>
                <a:gd name="connsiteX152" fmla="*/ 3102 w 9915"/>
                <a:gd name="connsiteY152" fmla="*/ 1362 h 10000"/>
                <a:gd name="connsiteX153" fmla="*/ 2897 w 9915"/>
                <a:gd name="connsiteY153" fmla="*/ 1115 h 10000"/>
                <a:gd name="connsiteX154" fmla="*/ 2951 w 9915"/>
                <a:gd name="connsiteY154" fmla="*/ 888 h 10000"/>
                <a:gd name="connsiteX155" fmla="*/ 3178 w 9915"/>
                <a:gd name="connsiteY155" fmla="*/ 888 h 10000"/>
                <a:gd name="connsiteX156" fmla="*/ 3156 w 9915"/>
                <a:gd name="connsiteY156" fmla="*/ 713 h 10000"/>
                <a:gd name="connsiteX157" fmla="*/ 3231 w 9915"/>
                <a:gd name="connsiteY157" fmla="*/ 589 h 10000"/>
                <a:gd name="connsiteX158" fmla="*/ 3276 w 9915"/>
                <a:gd name="connsiteY158" fmla="*/ 548 h 10000"/>
                <a:gd name="connsiteX159" fmla="*/ 3443 w 9915"/>
                <a:gd name="connsiteY159" fmla="*/ 423 h 10000"/>
                <a:gd name="connsiteX160" fmla="*/ 3487 w 9915"/>
                <a:gd name="connsiteY160" fmla="*/ 371 h 10000"/>
                <a:gd name="connsiteX161" fmla="*/ 3480 w 9915"/>
                <a:gd name="connsiteY161" fmla="*/ 444 h 10000"/>
                <a:gd name="connsiteX162" fmla="*/ 3660 w 9915"/>
                <a:gd name="connsiteY162" fmla="*/ 371 h 10000"/>
                <a:gd name="connsiteX163" fmla="*/ 3805 w 9915"/>
                <a:gd name="connsiteY163" fmla="*/ 248 h 10000"/>
                <a:gd name="connsiteX164" fmla="*/ 3827 w 9915"/>
                <a:gd name="connsiteY164" fmla="*/ 0 h 10000"/>
                <a:gd name="connsiteX165" fmla="*/ 3988 w 9915"/>
                <a:gd name="connsiteY165" fmla="*/ 21 h 10000"/>
                <a:gd name="connsiteX166" fmla="*/ 3978 w 9915"/>
                <a:gd name="connsiteY166" fmla="*/ 93 h 10000"/>
                <a:gd name="connsiteX167" fmla="*/ 3988 w 9915"/>
                <a:gd name="connsiteY167" fmla="*/ 176 h 10000"/>
                <a:gd name="connsiteX168" fmla="*/ 4085 w 9915"/>
                <a:gd name="connsiteY168" fmla="*/ 248 h 10000"/>
                <a:gd name="connsiteX169" fmla="*/ 4379 w 9915"/>
                <a:gd name="connsiteY169" fmla="*/ 268 h 10000"/>
                <a:gd name="connsiteX170" fmla="*/ 4539 w 9915"/>
                <a:gd name="connsiteY170" fmla="*/ 392 h 10000"/>
                <a:gd name="connsiteX171" fmla="*/ 4486 w 9915"/>
                <a:gd name="connsiteY171" fmla="*/ 795 h 10000"/>
                <a:gd name="connsiteX172" fmla="*/ 4426 w 9915"/>
                <a:gd name="connsiteY172" fmla="*/ 919 h 10000"/>
                <a:gd name="connsiteX173" fmla="*/ 4356 w 9915"/>
                <a:gd name="connsiteY173" fmla="*/ 1043 h 10000"/>
                <a:gd name="connsiteX174" fmla="*/ 4372 w 9915"/>
                <a:gd name="connsiteY174" fmla="*/ 1115 h 10000"/>
                <a:gd name="connsiteX175" fmla="*/ 4583 w 9915"/>
                <a:gd name="connsiteY175" fmla="*/ 919 h 10000"/>
                <a:gd name="connsiteX176" fmla="*/ 5060 w 9915"/>
                <a:gd name="connsiteY176" fmla="*/ 991 h 10000"/>
                <a:gd name="connsiteX177" fmla="*/ 5108 w 9915"/>
                <a:gd name="connsiteY177" fmla="*/ 1063 h 10000"/>
                <a:gd name="connsiteX178" fmla="*/ 5212 w 9915"/>
                <a:gd name="connsiteY178" fmla="*/ 1187 h 10000"/>
                <a:gd name="connsiteX179" fmla="*/ 5357 w 9915"/>
                <a:gd name="connsiteY179" fmla="*/ 919 h 10000"/>
                <a:gd name="connsiteX180" fmla="*/ 5577 w 9915"/>
                <a:gd name="connsiteY180" fmla="*/ 1063 h 10000"/>
                <a:gd name="connsiteX181" fmla="*/ 5643 w 9915"/>
                <a:gd name="connsiteY181" fmla="*/ 1115 h 10000"/>
                <a:gd name="connsiteX182" fmla="*/ 5697 w 9915"/>
                <a:gd name="connsiteY182" fmla="*/ 1166 h 10000"/>
                <a:gd name="connsiteX183" fmla="*/ 5908 w 9915"/>
                <a:gd name="connsiteY183" fmla="*/ 1631 h 10000"/>
                <a:gd name="connsiteX184" fmla="*/ 5984 w 9915"/>
                <a:gd name="connsiteY184" fmla="*/ 1611 h 10000"/>
                <a:gd name="connsiteX185" fmla="*/ 5977 w 9915"/>
                <a:gd name="connsiteY185" fmla="*/ 1507 h 10000"/>
                <a:gd name="connsiteX186" fmla="*/ 5984 w 9915"/>
                <a:gd name="connsiteY186" fmla="*/ 1383 h 10000"/>
                <a:gd name="connsiteX187" fmla="*/ 6091 w 9915"/>
                <a:gd name="connsiteY187" fmla="*/ 1486 h 10000"/>
                <a:gd name="connsiteX188" fmla="*/ 6264 w 9915"/>
                <a:gd name="connsiteY188" fmla="*/ 1507 h 10000"/>
                <a:gd name="connsiteX189" fmla="*/ 6409 w 9915"/>
                <a:gd name="connsiteY189" fmla="*/ 1455 h 10000"/>
                <a:gd name="connsiteX190" fmla="*/ 6340 w 9915"/>
                <a:gd name="connsiteY190" fmla="*/ 1362 h 10000"/>
                <a:gd name="connsiteX191" fmla="*/ 6431 w 9915"/>
                <a:gd name="connsiteY191" fmla="*/ 1084 h 10000"/>
                <a:gd name="connsiteX192" fmla="*/ 6687 w 9915"/>
                <a:gd name="connsiteY192" fmla="*/ 1207 h 10000"/>
                <a:gd name="connsiteX193" fmla="*/ 6945 w 9915"/>
                <a:gd name="connsiteY193" fmla="*/ 1331 h 10000"/>
                <a:gd name="connsiteX194" fmla="*/ 6967 w 9915"/>
                <a:gd name="connsiteY194" fmla="*/ 1362 h 10000"/>
                <a:gd name="connsiteX195" fmla="*/ 7194 w 9915"/>
                <a:gd name="connsiteY195" fmla="*/ 1611 h 10000"/>
                <a:gd name="connsiteX196" fmla="*/ 7367 w 9915"/>
                <a:gd name="connsiteY196" fmla="*/ 1507 h 10000"/>
                <a:gd name="connsiteX197" fmla="*/ 7582 w 9915"/>
                <a:gd name="connsiteY197" fmla="*/ 1538 h 10000"/>
                <a:gd name="connsiteX198" fmla="*/ 7657 w 9915"/>
                <a:gd name="connsiteY198" fmla="*/ 1611 h 10000"/>
                <a:gd name="connsiteX199" fmla="*/ 7928 w 9915"/>
                <a:gd name="connsiteY199" fmla="*/ 1930 h 10000"/>
                <a:gd name="connsiteX200" fmla="*/ 8231 w 9915"/>
                <a:gd name="connsiteY200" fmla="*/ 1879 h 10000"/>
                <a:gd name="connsiteX201" fmla="*/ 8339 w 9915"/>
                <a:gd name="connsiteY201" fmla="*/ 2033 h 10000"/>
                <a:gd name="connsiteX202" fmla="*/ 8490 w 9915"/>
                <a:gd name="connsiteY202" fmla="*/ 2157 h 10000"/>
                <a:gd name="connsiteX203" fmla="*/ 8519 w 9915"/>
                <a:gd name="connsiteY203" fmla="*/ 2105 h 10000"/>
                <a:gd name="connsiteX204" fmla="*/ 8497 w 9915"/>
                <a:gd name="connsiteY204" fmla="*/ 2074 h 10000"/>
                <a:gd name="connsiteX205" fmla="*/ 8383 w 9915"/>
                <a:gd name="connsiteY205" fmla="*/ 1930 h 10000"/>
                <a:gd name="connsiteX206" fmla="*/ 8465 w 9915"/>
                <a:gd name="connsiteY206" fmla="*/ 1755 h 10000"/>
                <a:gd name="connsiteX207" fmla="*/ 8664 w 9915"/>
                <a:gd name="connsiteY207" fmla="*/ 1910 h 10000"/>
                <a:gd name="connsiteX208" fmla="*/ 8950 w 9915"/>
                <a:gd name="connsiteY208" fmla="*/ 1982 h 10000"/>
                <a:gd name="connsiteX209" fmla="*/ 9206 w 9915"/>
                <a:gd name="connsiteY209" fmla="*/ 2260 h 10000"/>
                <a:gd name="connsiteX210" fmla="*/ 9344 w 9915"/>
                <a:gd name="connsiteY210" fmla="*/ 2332 h 10000"/>
                <a:gd name="connsiteX211" fmla="*/ 9451 w 9915"/>
                <a:gd name="connsiteY211" fmla="*/ 2446 h 10000"/>
                <a:gd name="connsiteX212" fmla="*/ 9574 w 9915"/>
                <a:gd name="connsiteY212" fmla="*/ 2632 h 10000"/>
                <a:gd name="connsiteX213" fmla="*/ 9631 w 9915"/>
                <a:gd name="connsiteY213" fmla="*/ 2756 h 10000"/>
                <a:gd name="connsiteX214" fmla="*/ 9726 w 9915"/>
                <a:gd name="connsiteY214" fmla="*/ 2787 h 10000"/>
                <a:gd name="connsiteX215" fmla="*/ 9590 w 9915"/>
                <a:gd name="connsiteY215" fmla="*/ 2570 h 10000"/>
                <a:gd name="connsiteX216" fmla="*/ 9915 w 9915"/>
                <a:gd name="connsiteY216" fmla="*/ 2756 h 10000"/>
                <a:gd name="connsiteX217" fmla="*/ 9641 w 9915"/>
                <a:gd name="connsiteY217" fmla="*/ 2972 h 10000"/>
                <a:gd name="connsiteX218" fmla="*/ 9470 w 9915"/>
                <a:gd name="connsiteY218" fmla="*/ 2787 h 10000"/>
                <a:gd name="connsiteX219" fmla="*/ 9366 w 9915"/>
                <a:gd name="connsiteY219" fmla="*/ 2725 h 10000"/>
                <a:gd name="connsiteX0" fmla="*/ 1624 w 9809"/>
                <a:gd name="connsiteY0" fmla="*/ 7183 h 10000"/>
                <a:gd name="connsiteX1" fmla="*/ 1669 w 9809"/>
                <a:gd name="connsiteY1" fmla="*/ 7430 h 10000"/>
                <a:gd name="connsiteX2" fmla="*/ 1618 w 9809"/>
                <a:gd name="connsiteY2" fmla="*/ 7430 h 10000"/>
                <a:gd name="connsiteX3" fmla="*/ 1564 w 9809"/>
                <a:gd name="connsiteY3" fmla="*/ 7255 h 10000"/>
                <a:gd name="connsiteX4" fmla="*/ 1526 w 9809"/>
                <a:gd name="connsiteY4" fmla="*/ 7430 h 10000"/>
                <a:gd name="connsiteX5" fmla="*/ 1532 w 9809"/>
                <a:gd name="connsiteY5" fmla="*/ 7854 h 10000"/>
                <a:gd name="connsiteX6" fmla="*/ 1618 w 9809"/>
                <a:gd name="connsiteY6" fmla="*/ 8070 h 10000"/>
                <a:gd name="connsiteX7" fmla="*/ 1662 w 9809"/>
                <a:gd name="connsiteY7" fmla="*/ 8019 h 10000"/>
                <a:gd name="connsiteX8" fmla="*/ 1756 w 9809"/>
                <a:gd name="connsiteY8" fmla="*/ 8493 h 10000"/>
                <a:gd name="connsiteX9" fmla="*/ 1624 w 9809"/>
                <a:gd name="connsiteY9" fmla="*/ 8669 h 10000"/>
                <a:gd name="connsiteX10" fmla="*/ 1609 w 9809"/>
                <a:gd name="connsiteY10" fmla="*/ 9009 h 10000"/>
                <a:gd name="connsiteX11" fmla="*/ 1678 w 9809"/>
                <a:gd name="connsiteY11" fmla="*/ 9236 h 10000"/>
                <a:gd name="connsiteX12" fmla="*/ 1678 w 9809"/>
                <a:gd name="connsiteY12" fmla="*/ 9484 h 10000"/>
                <a:gd name="connsiteX13" fmla="*/ 1784 w 9809"/>
                <a:gd name="connsiteY13" fmla="*/ 9835 h 10000"/>
                <a:gd name="connsiteX14" fmla="*/ 1718 w 9809"/>
                <a:gd name="connsiteY14" fmla="*/ 10000 h 10000"/>
                <a:gd name="connsiteX15" fmla="*/ 1618 w 9809"/>
                <a:gd name="connsiteY15" fmla="*/ 9753 h 10000"/>
                <a:gd name="connsiteX16" fmla="*/ 1478 w 9809"/>
                <a:gd name="connsiteY16" fmla="*/ 9505 h 10000"/>
                <a:gd name="connsiteX17" fmla="*/ 1418 w 9809"/>
                <a:gd name="connsiteY17" fmla="*/ 9588 h 10000"/>
                <a:gd name="connsiteX18" fmla="*/ 1319 w 9809"/>
                <a:gd name="connsiteY18" fmla="*/ 9380 h 10000"/>
                <a:gd name="connsiteX19" fmla="*/ 1106 w 9809"/>
                <a:gd name="connsiteY19" fmla="*/ 9339 h 10000"/>
                <a:gd name="connsiteX20" fmla="*/ 855 w 9809"/>
                <a:gd name="connsiteY20" fmla="*/ 8813 h 10000"/>
                <a:gd name="connsiteX21" fmla="*/ 922 w 9809"/>
                <a:gd name="connsiteY21" fmla="*/ 8721 h 10000"/>
                <a:gd name="connsiteX22" fmla="*/ 969 w 9809"/>
                <a:gd name="connsiteY22" fmla="*/ 8493 h 10000"/>
                <a:gd name="connsiteX23" fmla="*/ 916 w 9809"/>
                <a:gd name="connsiteY23" fmla="*/ 8390 h 10000"/>
                <a:gd name="connsiteX24" fmla="*/ 1030 w 9809"/>
                <a:gd name="connsiteY24" fmla="*/ 8245 h 10000"/>
                <a:gd name="connsiteX25" fmla="*/ 953 w 9809"/>
                <a:gd name="connsiteY25" fmla="*/ 8194 h 10000"/>
                <a:gd name="connsiteX26" fmla="*/ 966 w 9809"/>
                <a:gd name="connsiteY26" fmla="*/ 8091 h 10000"/>
                <a:gd name="connsiteX27" fmla="*/ 1014 w 9809"/>
                <a:gd name="connsiteY27" fmla="*/ 8111 h 10000"/>
                <a:gd name="connsiteX28" fmla="*/ 1068 w 9809"/>
                <a:gd name="connsiteY28" fmla="*/ 8019 h 10000"/>
                <a:gd name="connsiteX29" fmla="*/ 1043 w 9809"/>
                <a:gd name="connsiteY29" fmla="*/ 7864 h 10000"/>
                <a:gd name="connsiteX30" fmla="*/ 1052 w 9809"/>
                <a:gd name="connsiteY30" fmla="*/ 7503 h 10000"/>
                <a:gd name="connsiteX31" fmla="*/ 938 w 9809"/>
                <a:gd name="connsiteY31" fmla="*/ 7440 h 10000"/>
                <a:gd name="connsiteX32" fmla="*/ 839 w 9809"/>
                <a:gd name="connsiteY32" fmla="*/ 7286 h 10000"/>
                <a:gd name="connsiteX33" fmla="*/ 706 w 9809"/>
                <a:gd name="connsiteY33" fmla="*/ 7275 h 10000"/>
                <a:gd name="connsiteX34" fmla="*/ 690 w 9809"/>
                <a:gd name="connsiteY34" fmla="*/ 7090 h 10000"/>
                <a:gd name="connsiteX35" fmla="*/ 601 w 9809"/>
                <a:gd name="connsiteY35" fmla="*/ 6945 h 10000"/>
                <a:gd name="connsiteX36" fmla="*/ 620 w 9809"/>
                <a:gd name="connsiteY36" fmla="*/ 6822 h 10000"/>
                <a:gd name="connsiteX37" fmla="*/ 566 w 9809"/>
                <a:gd name="connsiteY37" fmla="*/ 6698 h 10000"/>
                <a:gd name="connsiteX38" fmla="*/ 461 w 9809"/>
                <a:gd name="connsiteY38" fmla="*/ 6698 h 10000"/>
                <a:gd name="connsiteX39" fmla="*/ 429 w 9809"/>
                <a:gd name="connsiteY39" fmla="*/ 6791 h 10000"/>
                <a:gd name="connsiteX40" fmla="*/ 403 w 9809"/>
                <a:gd name="connsiteY40" fmla="*/ 6750 h 10000"/>
                <a:gd name="connsiteX41" fmla="*/ 381 w 9809"/>
                <a:gd name="connsiteY41" fmla="*/ 6439 h 10000"/>
                <a:gd name="connsiteX42" fmla="*/ 423 w 9809"/>
                <a:gd name="connsiteY42" fmla="*/ 6470 h 10000"/>
                <a:gd name="connsiteX43" fmla="*/ 470 w 9809"/>
                <a:gd name="connsiteY43" fmla="*/ 6347 h 10000"/>
                <a:gd name="connsiteX44" fmla="*/ 403 w 9809"/>
                <a:gd name="connsiteY44" fmla="*/ 6233 h 10000"/>
                <a:gd name="connsiteX45" fmla="*/ 318 w 9809"/>
                <a:gd name="connsiteY45" fmla="*/ 6017 h 10000"/>
                <a:gd name="connsiteX46" fmla="*/ 337 w 9809"/>
                <a:gd name="connsiteY46" fmla="*/ 5821 h 10000"/>
                <a:gd name="connsiteX47" fmla="*/ 276 w 9809"/>
                <a:gd name="connsiteY47" fmla="*/ 5697 h 10000"/>
                <a:gd name="connsiteX48" fmla="*/ 229 w 9809"/>
                <a:gd name="connsiteY48" fmla="*/ 5728 h 10000"/>
                <a:gd name="connsiteX49" fmla="*/ 204 w 9809"/>
                <a:gd name="connsiteY49" fmla="*/ 5604 h 10000"/>
                <a:gd name="connsiteX50" fmla="*/ 165 w 9809"/>
                <a:gd name="connsiteY50" fmla="*/ 5645 h 10000"/>
                <a:gd name="connsiteX51" fmla="*/ 118 w 9809"/>
                <a:gd name="connsiteY51" fmla="*/ 5604 h 10000"/>
                <a:gd name="connsiteX52" fmla="*/ 70 w 9809"/>
                <a:gd name="connsiteY52" fmla="*/ 5181 h 10000"/>
                <a:gd name="connsiteX53" fmla="*/ 86 w 9809"/>
                <a:gd name="connsiteY53" fmla="*/ 5057 h 10000"/>
                <a:gd name="connsiteX54" fmla="*/ 41 w 9809"/>
                <a:gd name="connsiteY54" fmla="*/ 4892 h 10000"/>
                <a:gd name="connsiteX55" fmla="*/ 67 w 9809"/>
                <a:gd name="connsiteY55" fmla="*/ 4655 h 10000"/>
                <a:gd name="connsiteX56" fmla="*/ 213 w 9809"/>
                <a:gd name="connsiteY56" fmla="*/ 4510 h 10000"/>
                <a:gd name="connsiteX57" fmla="*/ 130 w 9809"/>
                <a:gd name="connsiteY57" fmla="*/ 4406 h 10000"/>
                <a:gd name="connsiteX58" fmla="*/ 83 w 9809"/>
                <a:gd name="connsiteY58" fmla="*/ 4283 h 10000"/>
                <a:gd name="connsiteX59" fmla="*/ 207 w 9809"/>
                <a:gd name="connsiteY59" fmla="*/ 3912 h 10000"/>
                <a:gd name="connsiteX60" fmla="*/ 251 w 9809"/>
                <a:gd name="connsiteY60" fmla="*/ 3664 h 10000"/>
                <a:gd name="connsiteX61" fmla="*/ 152 w 9809"/>
                <a:gd name="connsiteY61" fmla="*/ 3488 h 10000"/>
                <a:gd name="connsiteX62" fmla="*/ 191 w 9809"/>
                <a:gd name="connsiteY62" fmla="*/ 3344 h 10000"/>
                <a:gd name="connsiteX63" fmla="*/ 114 w 9809"/>
                <a:gd name="connsiteY63" fmla="*/ 3148 h 10000"/>
                <a:gd name="connsiteX64" fmla="*/ 114 w 9809"/>
                <a:gd name="connsiteY64" fmla="*/ 2972 h 10000"/>
                <a:gd name="connsiteX65" fmla="*/ 61 w 9809"/>
                <a:gd name="connsiteY65" fmla="*/ 2622 h 10000"/>
                <a:gd name="connsiteX66" fmla="*/ 99 w 9809"/>
                <a:gd name="connsiteY66" fmla="*/ 2404 h 10000"/>
                <a:gd name="connsiteX67" fmla="*/ 38 w 9809"/>
                <a:gd name="connsiteY67" fmla="*/ 2301 h 10000"/>
                <a:gd name="connsiteX68" fmla="*/ 0 w 9809"/>
                <a:gd name="connsiteY68" fmla="*/ 2178 h 10000"/>
                <a:gd name="connsiteX69" fmla="*/ 54 w 9809"/>
                <a:gd name="connsiteY69" fmla="*/ 1951 h 10000"/>
                <a:gd name="connsiteX70" fmla="*/ 121 w 9809"/>
                <a:gd name="connsiteY70" fmla="*/ 1910 h 10000"/>
                <a:gd name="connsiteX71" fmla="*/ 197 w 9809"/>
                <a:gd name="connsiteY71" fmla="*/ 1858 h 10000"/>
                <a:gd name="connsiteX72" fmla="*/ 312 w 9809"/>
                <a:gd name="connsiteY72" fmla="*/ 1951 h 10000"/>
                <a:gd name="connsiteX73" fmla="*/ 486 w 9809"/>
                <a:gd name="connsiteY73" fmla="*/ 2054 h 10000"/>
                <a:gd name="connsiteX74" fmla="*/ 638 w 9809"/>
                <a:gd name="connsiteY74" fmla="*/ 2229 h 10000"/>
                <a:gd name="connsiteX75" fmla="*/ 762 w 9809"/>
                <a:gd name="connsiteY75" fmla="*/ 2373 h 10000"/>
                <a:gd name="connsiteX76" fmla="*/ 731 w 9809"/>
                <a:gd name="connsiteY76" fmla="*/ 2777 h 10000"/>
                <a:gd name="connsiteX77" fmla="*/ 365 w 9809"/>
                <a:gd name="connsiteY77" fmla="*/ 2673 h 10000"/>
                <a:gd name="connsiteX78" fmla="*/ 245 w 9809"/>
                <a:gd name="connsiteY78" fmla="*/ 2550 h 10000"/>
                <a:gd name="connsiteX79" fmla="*/ 289 w 9809"/>
                <a:gd name="connsiteY79" fmla="*/ 2622 h 10000"/>
                <a:gd name="connsiteX80" fmla="*/ 334 w 9809"/>
                <a:gd name="connsiteY80" fmla="*/ 2797 h 10000"/>
                <a:gd name="connsiteX81" fmla="*/ 403 w 9809"/>
                <a:gd name="connsiteY81" fmla="*/ 2921 h 10000"/>
                <a:gd name="connsiteX82" fmla="*/ 420 w 9809"/>
                <a:gd name="connsiteY82" fmla="*/ 3189 h 10000"/>
                <a:gd name="connsiteX83" fmla="*/ 511 w 9809"/>
                <a:gd name="connsiteY83" fmla="*/ 3313 h 10000"/>
                <a:gd name="connsiteX84" fmla="*/ 588 w 9809"/>
                <a:gd name="connsiteY84" fmla="*/ 3436 h 10000"/>
                <a:gd name="connsiteX85" fmla="*/ 610 w 9809"/>
                <a:gd name="connsiteY85" fmla="*/ 3467 h 10000"/>
                <a:gd name="connsiteX86" fmla="*/ 655 w 9809"/>
                <a:gd name="connsiteY86" fmla="*/ 3436 h 10000"/>
                <a:gd name="connsiteX87" fmla="*/ 638 w 9809"/>
                <a:gd name="connsiteY87" fmla="*/ 3364 h 10000"/>
                <a:gd name="connsiteX88" fmla="*/ 550 w 9809"/>
                <a:gd name="connsiteY88" fmla="*/ 3189 h 10000"/>
                <a:gd name="connsiteX89" fmla="*/ 808 w 9809"/>
                <a:gd name="connsiteY89" fmla="*/ 3344 h 10000"/>
                <a:gd name="connsiteX90" fmla="*/ 817 w 9809"/>
                <a:gd name="connsiteY90" fmla="*/ 3271 h 10000"/>
                <a:gd name="connsiteX91" fmla="*/ 792 w 9809"/>
                <a:gd name="connsiteY91" fmla="*/ 3220 h 10000"/>
                <a:gd name="connsiteX92" fmla="*/ 747 w 9809"/>
                <a:gd name="connsiteY92" fmla="*/ 2993 h 10000"/>
                <a:gd name="connsiteX93" fmla="*/ 877 w 9809"/>
                <a:gd name="connsiteY93" fmla="*/ 2777 h 10000"/>
                <a:gd name="connsiteX94" fmla="*/ 976 w 9809"/>
                <a:gd name="connsiteY94" fmla="*/ 2921 h 10000"/>
                <a:gd name="connsiteX95" fmla="*/ 1008 w 9809"/>
                <a:gd name="connsiteY95" fmla="*/ 2725 h 10000"/>
                <a:gd name="connsiteX96" fmla="*/ 960 w 9809"/>
                <a:gd name="connsiteY96" fmla="*/ 2653 h 10000"/>
                <a:gd name="connsiteX97" fmla="*/ 944 w 9809"/>
                <a:gd name="connsiteY97" fmla="*/ 2281 h 10000"/>
                <a:gd name="connsiteX98" fmla="*/ 922 w 9809"/>
                <a:gd name="connsiteY98" fmla="*/ 2229 h 10000"/>
                <a:gd name="connsiteX99" fmla="*/ 1046 w 9809"/>
                <a:gd name="connsiteY99" fmla="*/ 2250 h 10000"/>
                <a:gd name="connsiteX100" fmla="*/ 1096 w 9809"/>
                <a:gd name="connsiteY100" fmla="*/ 2404 h 10000"/>
                <a:gd name="connsiteX101" fmla="*/ 1030 w 9809"/>
                <a:gd name="connsiteY101" fmla="*/ 2529 h 10000"/>
                <a:gd name="connsiteX102" fmla="*/ 1145 w 9809"/>
                <a:gd name="connsiteY102" fmla="*/ 2694 h 10000"/>
                <a:gd name="connsiteX103" fmla="*/ 1237 w 9809"/>
                <a:gd name="connsiteY103" fmla="*/ 2529 h 10000"/>
                <a:gd name="connsiteX104" fmla="*/ 1350 w 9809"/>
                <a:gd name="connsiteY104" fmla="*/ 2301 h 10000"/>
                <a:gd name="connsiteX105" fmla="*/ 1472 w 9809"/>
                <a:gd name="connsiteY105" fmla="*/ 2157 h 10000"/>
                <a:gd name="connsiteX106" fmla="*/ 1510 w 9809"/>
                <a:gd name="connsiteY106" fmla="*/ 2250 h 10000"/>
                <a:gd name="connsiteX107" fmla="*/ 1822 w 9809"/>
                <a:gd name="connsiteY107" fmla="*/ 2054 h 10000"/>
                <a:gd name="connsiteX108" fmla="*/ 1886 w 9809"/>
                <a:gd name="connsiteY108" fmla="*/ 2250 h 10000"/>
                <a:gd name="connsiteX109" fmla="*/ 1876 w 9809"/>
                <a:gd name="connsiteY109" fmla="*/ 2002 h 10000"/>
                <a:gd name="connsiteX110" fmla="*/ 1793 w 9809"/>
                <a:gd name="connsiteY110" fmla="*/ 1786 h 10000"/>
                <a:gd name="connsiteX111" fmla="*/ 1778 w 9809"/>
                <a:gd name="connsiteY111" fmla="*/ 1703 h 10000"/>
                <a:gd name="connsiteX112" fmla="*/ 1839 w 9809"/>
                <a:gd name="connsiteY112" fmla="*/ 1786 h 10000"/>
                <a:gd name="connsiteX113" fmla="*/ 2051 w 9809"/>
                <a:gd name="connsiteY113" fmla="*/ 1951 h 10000"/>
                <a:gd name="connsiteX114" fmla="*/ 2289 w 9809"/>
                <a:gd name="connsiteY114" fmla="*/ 2126 h 10000"/>
                <a:gd name="connsiteX115" fmla="*/ 2404 w 9809"/>
                <a:gd name="connsiteY115" fmla="*/ 2250 h 10000"/>
                <a:gd name="connsiteX116" fmla="*/ 2442 w 9809"/>
                <a:gd name="connsiteY116" fmla="*/ 2074 h 10000"/>
                <a:gd name="connsiteX117" fmla="*/ 2388 w 9809"/>
                <a:gd name="connsiteY117" fmla="*/ 2033 h 10000"/>
                <a:gd name="connsiteX118" fmla="*/ 2319 w 9809"/>
                <a:gd name="connsiteY118" fmla="*/ 1930 h 10000"/>
                <a:gd name="connsiteX119" fmla="*/ 2273 w 9809"/>
                <a:gd name="connsiteY119" fmla="*/ 1734 h 10000"/>
                <a:gd name="connsiteX120" fmla="*/ 2204 w 9809"/>
                <a:gd name="connsiteY120" fmla="*/ 1486 h 10000"/>
                <a:gd name="connsiteX121" fmla="*/ 2229 w 9809"/>
                <a:gd name="connsiteY121" fmla="*/ 1434 h 10000"/>
                <a:gd name="connsiteX122" fmla="*/ 2251 w 9809"/>
                <a:gd name="connsiteY122" fmla="*/ 1455 h 10000"/>
                <a:gd name="connsiteX123" fmla="*/ 2312 w 9809"/>
                <a:gd name="connsiteY123" fmla="*/ 1115 h 10000"/>
                <a:gd name="connsiteX124" fmla="*/ 2464 w 9809"/>
                <a:gd name="connsiteY124" fmla="*/ 1135 h 10000"/>
                <a:gd name="connsiteX125" fmla="*/ 2509 w 9809"/>
                <a:gd name="connsiteY125" fmla="*/ 1311 h 10000"/>
                <a:gd name="connsiteX126" fmla="*/ 2541 w 9809"/>
                <a:gd name="connsiteY126" fmla="*/ 1538 h 10000"/>
                <a:gd name="connsiteX127" fmla="*/ 2595 w 9809"/>
                <a:gd name="connsiteY127" fmla="*/ 1734 h 10000"/>
                <a:gd name="connsiteX128" fmla="*/ 2693 w 9809"/>
                <a:gd name="connsiteY128" fmla="*/ 2157 h 10000"/>
                <a:gd name="connsiteX129" fmla="*/ 2502 w 9809"/>
                <a:gd name="connsiteY129" fmla="*/ 2673 h 10000"/>
                <a:gd name="connsiteX130" fmla="*/ 2579 w 9809"/>
                <a:gd name="connsiteY130" fmla="*/ 2746 h 10000"/>
                <a:gd name="connsiteX131" fmla="*/ 2678 w 9809"/>
                <a:gd name="connsiteY131" fmla="*/ 2818 h 10000"/>
                <a:gd name="connsiteX132" fmla="*/ 2808 w 9809"/>
                <a:gd name="connsiteY132" fmla="*/ 2622 h 10000"/>
                <a:gd name="connsiteX133" fmla="*/ 2814 w 9809"/>
                <a:gd name="connsiteY133" fmla="*/ 2404 h 10000"/>
                <a:gd name="connsiteX134" fmla="*/ 2770 w 9809"/>
                <a:gd name="connsiteY134" fmla="*/ 2301 h 10000"/>
                <a:gd name="connsiteX135" fmla="*/ 2944 w 9809"/>
                <a:gd name="connsiteY135" fmla="*/ 2250 h 10000"/>
                <a:gd name="connsiteX136" fmla="*/ 3015 w 9809"/>
                <a:gd name="connsiteY136" fmla="*/ 2497 h 10000"/>
                <a:gd name="connsiteX137" fmla="*/ 3015 w 9809"/>
                <a:gd name="connsiteY137" fmla="*/ 2425 h 10000"/>
                <a:gd name="connsiteX138" fmla="*/ 2998 w 9809"/>
                <a:gd name="connsiteY138" fmla="*/ 2353 h 10000"/>
                <a:gd name="connsiteX139" fmla="*/ 2992 w 9809"/>
                <a:gd name="connsiteY139" fmla="*/ 2178 h 10000"/>
                <a:gd name="connsiteX140" fmla="*/ 2824 w 9809"/>
                <a:gd name="connsiteY140" fmla="*/ 1930 h 10000"/>
                <a:gd name="connsiteX141" fmla="*/ 2693 w 9809"/>
                <a:gd name="connsiteY141" fmla="*/ 2002 h 10000"/>
                <a:gd name="connsiteX142" fmla="*/ 2639 w 9809"/>
                <a:gd name="connsiteY142" fmla="*/ 1683 h 10000"/>
                <a:gd name="connsiteX143" fmla="*/ 2585 w 9809"/>
                <a:gd name="connsiteY143" fmla="*/ 1507 h 10000"/>
                <a:gd name="connsiteX144" fmla="*/ 2639 w 9809"/>
                <a:gd name="connsiteY144" fmla="*/ 1331 h 10000"/>
                <a:gd name="connsiteX145" fmla="*/ 2633 w 9809"/>
                <a:gd name="connsiteY145" fmla="*/ 1166 h 10000"/>
                <a:gd name="connsiteX146" fmla="*/ 2610 w 9809"/>
                <a:gd name="connsiteY146" fmla="*/ 1115 h 10000"/>
                <a:gd name="connsiteX147" fmla="*/ 2649 w 9809"/>
                <a:gd name="connsiteY147" fmla="*/ 1115 h 10000"/>
                <a:gd name="connsiteX148" fmla="*/ 2693 w 9809"/>
                <a:gd name="connsiteY148" fmla="*/ 1455 h 10000"/>
                <a:gd name="connsiteX149" fmla="*/ 2916 w 9809"/>
                <a:gd name="connsiteY149" fmla="*/ 1662 h 10000"/>
                <a:gd name="connsiteX150" fmla="*/ 2747 w 9809"/>
                <a:gd name="connsiteY150" fmla="*/ 1383 h 10000"/>
                <a:gd name="connsiteX151" fmla="*/ 3075 w 9809"/>
                <a:gd name="connsiteY151" fmla="*/ 1383 h 10000"/>
                <a:gd name="connsiteX152" fmla="*/ 3129 w 9809"/>
                <a:gd name="connsiteY152" fmla="*/ 1362 h 10000"/>
                <a:gd name="connsiteX153" fmla="*/ 2922 w 9809"/>
                <a:gd name="connsiteY153" fmla="*/ 1115 h 10000"/>
                <a:gd name="connsiteX154" fmla="*/ 2976 w 9809"/>
                <a:gd name="connsiteY154" fmla="*/ 888 h 10000"/>
                <a:gd name="connsiteX155" fmla="*/ 3205 w 9809"/>
                <a:gd name="connsiteY155" fmla="*/ 888 h 10000"/>
                <a:gd name="connsiteX156" fmla="*/ 3183 w 9809"/>
                <a:gd name="connsiteY156" fmla="*/ 713 h 10000"/>
                <a:gd name="connsiteX157" fmla="*/ 3259 w 9809"/>
                <a:gd name="connsiteY157" fmla="*/ 589 h 10000"/>
                <a:gd name="connsiteX158" fmla="*/ 3304 w 9809"/>
                <a:gd name="connsiteY158" fmla="*/ 548 h 10000"/>
                <a:gd name="connsiteX159" fmla="*/ 3473 w 9809"/>
                <a:gd name="connsiteY159" fmla="*/ 423 h 10000"/>
                <a:gd name="connsiteX160" fmla="*/ 3517 w 9809"/>
                <a:gd name="connsiteY160" fmla="*/ 371 h 10000"/>
                <a:gd name="connsiteX161" fmla="*/ 3510 w 9809"/>
                <a:gd name="connsiteY161" fmla="*/ 444 h 10000"/>
                <a:gd name="connsiteX162" fmla="*/ 3691 w 9809"/>
                <a:gd name="connsiteY162" fmla="*/ 371 h 10000"/>
                <a:gd name="connsiteX163" fmla="*/ 3838 w 9809"/>
                <a:gd name="connsiteY163" fmla="*/ 248 h 10000"/>
                <a:gd name="connsiteX164" fmla="*/ 3860 w 9809"/>
                <a:gd name="connsiteY164" fmla="*/ 0 h 10000"/>
                <a:gd name="connsiteX165" fmla="*/ 4022 w 9809"/>
                <a:gd name="connsiteY165" fmla="*/ 21 h 10000"/>
                <a:gd name="connsiteX166" fmla="*/ 4012 w 9809"/>
                <a:gd name="connsiteY166" fmla="*/ 93 h 10000"/>
                <a:gd name="connsiteX167" fmla="*/ 4022 w 9809"/>
                <a:gd name="connsiteY167" fmla="*/ 176 h 10000"/>
                <a:gd name="connsiteX168" fmla="*/ 4120 w 9809"/>
                <a:gd name="connsiteY168" fmla="*/ 248 h 10000"/>
                <a:gd name="connsiteX169" fmla="*/ 4417 w 9809"/>
                <a:gd name="connsiteY169" fmla="*/ 268 h 10000"/>
                <a:gd name="connsiteX170" fmla="*/ 4578 w 9809"/>
                <a:gd name="connsiteY170" fmla="*/ 392 h 10000"/>
                <a:gd name="connsiteX171" fmla="*/ 4524 w 9809"/>
                <a:gd name="connsiteY171" fmla="*/ 795 h 10000"/>
                <a:gd name="connsiteX172" fmla="*/ 4464 w 9809"/>
                <a:gd name="connsiteY172" fmla="*/ 919 h 10000"/>
                <a:gd name="connsiteX173" fmla="*/ 4393 w 9809"/>
                <a:gd name="connsiteY173" fmla="*/ 1043 h 10000"/>
                <a:gd name="connsiteX174" fmla="*/ 4409 w 9809"/>
                <a:gd name="connsiteY174" fmla="*/ 1115 h 10000"/>
                <a:gd name="connsiteX175" fmla="*/ 4622 w 9809"/>
                <a:gd name="connsiteY175" fmla="*/ 919 h 10000"/>
                <a:gd name="connsiteX176" fmla="*/ 5103 w 9809"/>
                <a:gd name="connsiteY176" fmla="*/ 991 h 10000"/>
                <a:gd name="connsiteX177" fmla="*/ 5152 w 9809"/>
                <a:gd name="connsiteY177" fmla="*/ 1063 h 10000"/>
                <a:gd name="connsiteX178" fmla="*/ 5257 w 9809"/>
                <a:gd name="connsiteY178" fmla="*/ 1187 h 10000"/>
                <a:gd name="connsiteX179" fmla="*/ 5403 w 9809"/>
                <a:gd name="connsiteY179" fmla="*/ 919 h 10000"/>
                <a:gd name="connsiteX180" fmla="*/ 5625 w 9809"/>
                <a:gd name="connsiteY180" fmla="*/ 1063 h 10000"/>
                <a:gd name="connsiteX181" fmla="*/ 5691 w 9809"/>
                <a:gd name="connsiteY181" fmla="*/ 1115 h 10000"/>
                <a:gd name="connsiteX182" fmla="*/ 5746 w 9809"/>
                <a:gd name="connsiteY182" fmla="*/ 1166 h 10000"/>
                <a:gd name="connsiteX183" fmla="*/ 5959 w 9809"/>
                <a:gd name="connsiteY183" fmla="*/ 1631 h 10000"/>
                <a:gd name="connsiteX184" fmla="*/ 6035 w 9809"/>
                <a:gd name="connsiteY184" fmla="*/ 1611 h 10000"/>
                <a:gd name="connsiteX185" fmla="*/ 6028 w 9809"/>
                <a:gd name="connsiteY185" fmla="*/ 1507 h 10000"/>
                <a:gd name="connsiteX186" fmla="*/ 6035 w 9809"/>
                <a:gd name="connsiteY186" fmla="*/ 1383 h 10000"/>
                <a:gd name="connsiteX187" fmla="*/ 6143 w 9809"/>
                <a:gd name="connsiteY187" fmla="*/ 1486 h 10000"/>
                <a:gd name="connsiteX188" fmla="*/ 6318 w 9809"/>
                <a:gd name="connsiteY188" fmla="*/ 1507 h 10000"/>
                <a:gd name="connsiteX189" fmla="*/ 6464 w 9809"/>
                <a:gd name="connsiteY189" fmla="*/ 1455 h 10000"/>
                <a:gd name="connsiteX190" fmla="*/ 6394 w 9809"/>
                <a:gd name="connsiteY190" fmla="*/ 1362 h 10000"/>
                <a:gd name="connsiteX191" fmla="*/ 6486 w 9809"/>
                <a:gd name="connsiteY191" fmla="*/ 1084 h 10000"/>
                <a:gd name="connsiteX192" fmla="*/ 6744 w 9809"/>
                <a:gd name="connsiteY192" fmla="*/ 1207 h 10000"/>
                <a:gd name="connsiteX193" fmla="*/ 7005 w 9809"/>
                <a:gd name="connsiteY193" fmla="*/ 1331 h 10000"/>
                <a:gd name="connsiteX194" fmla="*/ 7027 w 9809"/>
                <a:gd name="connsiteY194" fmla="*/ 1362 h 10000"/>
                <a:gd name="connsiteX195" fmla="*/ 7256 w 9809"/>
                <a:gd name="connsiteY195" fmla="*/ 1611 h 10000"/>
                <a:gd name="connsiteX196" fmla="*/ 7430 w 9809"/>
                <a:gd name="connsiteY196" fmla="*/ 1507 h 10000"/>
                <a:gd name="connsiteX197" fmla="*/ 7647 w 9809"/>
                <a:gd name="connsiteY197" fmla="*/ 1538 h 10000"/>
                <a:gd name="connsiteX198" fmla="*/ 7723 w 9809"/>
                <a:gd name="connsiteY198" fmla="*/ 1611 h 10000"/>
                <a:gd name="connsiteX199" fmla="*/ 7996 w 9809"/>
                <a:gd name="connsiteY199" fmla="*/ 1930 h 10000"/>
                <a:gd name="connsiteX200" fmla="*/ 8302 w 9809"/>
                <a:gd name="connsiteY200" fmla="*/ 1879 h 10000"/>
                <a:gd name="connsiteX201" fmla="*/ 8410 w 9809"/>
                <a:gd name="connsiteY201" fmla="*/ 2033 h 10000"/>
                <a:gd name="connsiteX202" fmla="*/ 8563 w 9809"/>
                <a:gd name="connsiteY202" fmla="*/ 2157 h 10000"/>
                <a:gd name="connsiteX203" fmla="*/ 8592 w 9809"/>
                <a:gd name="connsiteY203" fmla="*/ 2105 h 10000"/>
                <a:gd name="connsiteX204" fmla="*/ 8570 w 9809"/>
                <a:gd name="connsiteY204" fmla="*/ 2074 h 10000"/>
                <a:gd name="connsiteX205" fmla="*/ 8455 w 9809"/>
                <a:gd name="connsiteY205" fmla="*/ 1930 h 10000"/>
                <a:gd name="connsiteX206" fmla="*/ 8538 w 9809"/>
                <a:gd name="connsiteY206" fmla="*/ 1755 h 10000"/>
                <a:gd name="connsiteX207" fmla="*/ 8738 w 9809"/>
                <a:gd name="connsiteY207" fmla="*/ 1910 h 10000"/>
                <a:gd name="connsiteX208" fmla="*/ 9027 w 9809"/>
                <a:gd name="connsiteY208" fmla="*/ 1982 h 10000"/>
                <a:gd name="connsiteX209" fmla="*/ 9285 w 9809"/>
                <a:gd name="connsiteY209" fmla="*/ 2260 h 10000"/>
                <a:gd name="connsiteX210" fmla="*/ 9424 w 9809"/>
                <a:gd name="connsiteY210" fmla="*/ 2332 h 10000"/>
                <a:gd name="connsiteX211" fmla="*/ 9532 w 9809"/>
                <a:gd name="connsiteY211" fmla="*/ 2446 h 10000"/>
                <a:gd name="connsiteX212" fmla="*/ 9656 w 9809"/>
                <a:gd name="connsiteY212" fmla="*/ 2632 h 10000"/>
                <a:gd name="connsiteX213" fmla="*/ 9714 w 9809"/>
                <a:gd name="connsiteY213" fmla="*/ 2756 h 10000"/>
                <a:gd name="connsiteX214" fmla="*/ 9809 w 9809"/>
                <a:gd name="connsiteY214" fmla="*/ 2787 h 10000"/>
                <a:gd name="connsiteX215" fmla="*/ 9672 w 9809"/>
                <a:gd name="connsiteY215" fmla="*/ 2570 h 10000"/>
                <a:gd name="connsiteX216" fmla="*/ 9724 w 9809"/>
                <a:gd name="connsiteY216" fmla="*/ 2972 h 10000"/>
                <a:gd name="connsiteX217" fmla="*/ 9551 w 9809"/>
                <a:gd name="connsiteY217" fmla="*/ 2787 h 10000"/>
                <a:gd name="connsiteX218" fmla="*/ 9446 w 9809"/>
                <a:gd name="connsiteY218" fmla="*/ 2725 h 10000"/>
                <a:gd name="connsiteX0" fmla="*/ 1656 w 10000"/>
                <a:gd name="connsiteY0" fmla="*/ 7183 h 10000"/>
                <a:gd name="connsiteX1" fmla="*/ 1701 w 10000"/>
                <a:gd name="connsiteY1" fmla="*/ 7430 h 10000"/>
                <a:gd name="connsiteX2" fmla="*/ 1650 w 10000"/>
                <a:gd name="connsiteY2" fmla="*/ 7430 h 10000"/>
                <a:gd name="connsiteX3" fmla="*/ 1594 w 10000"/>
                <a:gd name="connsiteY3" fmla="*/ 7255 h 10000"/>
                <a:gd name="connsiteX4" fmla="*/ 1556 w 10000"/>
                <a:gd name="connsiteY4" fmla="*/ 7430 h 10000"/>
                <a:gd name="connsiteX5" fmla="*/ 1562 w 10000"/>
                <a:gd name="connsiteY5" fmla="*/ 7854 h 10000"/>
                <a:gd name="connsiteX6" fmla="*/ 1650 w 10000"/>
                <a:gd name="connsiteY6" fmla="*/ 8070 h 10000"/>
                <a:gd name="connsiteX7" fmla="*/ 1694 w 10000"/>
                <a:gd name="connsiteY7" fmla="*/ 8019 h 10000"/>
                <a:gd name="connsiteX8" fmla="*/ 1790 w 10000"/>
                <a:gd name="connsiteY8" fmla="*/ 8493 h 10000"/>
                <a:gd name="connsiteX9" fmla="*/ 1656 w 10000"/>
                <a:gd name="connsiteY9" fmla="*/ 8669 h 10000"/>
                <a:gd name="connsiteX10" fmla="*/ 1640 w 10000"/>
                <a:gd name="connsiteY10" fmla="*/ 9009 h 10000"/>
                <a:gd name="connsiteX11" fmla="*/ 1711 w 10000"/>
                <a:gd name="connsiteY11" fmla="*/ 9236 h 10000"/>
                <a:gd name="connsiteX12" fmla="*/ 1711 w 10000"/>
                <a:gd name="connsiteY12" fmla="*/ 9484 h 10000"/>
                <a:gd name="connsiteX13" fmla="*/ 1819 w 10000"/>
                <a:gd name="connsiteY13" fmla="*/ 9835 h 10000"/>
                <a:gd name="connsiteX14" fmla="*/ 1751 w 10000"/>
                <a:gd name="connsiteY14" fmla="*/ 10000 h 10000"/>
                <a:gd name="connsiteX15" fmla="*/ 1650 w 10000"/>
                <a:gd name="connsiteY15" fmla="*/ 9753 h 10000"/>
                <a:gd name="connsiteX16" fmla="*/ 1507 w 10000"/>
                <a:gd name="connsiteY16" fmla="*/ 9505 h 10000"/>
                <a:gd name="connsiteX17" fmla="*/ 1446 w 10000"/>
                <a:gd name="connsiteY17" fmla="*/ 9588 h 10000"/>
                <a:gd name="connsiteX18" fmla="*/ 1345 w 10000"/>
                <a:gd name="connsiteY18" fmla="*/ 9380 h 10000"/>
                <a:gd name="connsiteX19" fmla="*/ 1128 w 10000"/>
                <a:gd name="connsiteY19" fmla="*/ 9339 h 10000"/>
                <a:gd name="connsiteX20" fmla="*/ 872 w 10000"/>
                <a:gd name="connsiteY20" fmla="*/ 8813 h 10000"/>
                <a:gd name="connsiteX21" fmla="*/ 940 w 10000"/>
                <a:gd name="connsiteY21" fmla="*/ 8721 h 10000"/>
                <a:gd name="connsiteX22" fmla="*/ 988 w 10000"/>
                <a:gd name="connsiteY22" fmla="*/ 8493 h 10000"/>
                <a:gd name="connsiteX23" fmla="*/ 934 w 10000"/>
                <a:gd name="connsiteY23" fmla="*/ 8390 h 10000"/>
                <a:gd name="connsiteX24" fmla="*/ 1050 w 10000"/>
                <a:gd name="connsiteY24" fmla="*/ 8245 h 10000"/>
                <a:gd name="connsiteX25" fmla="*/ 972 w 10000"/>
                <a:gd name="connsiteY25" fmla="*/ 8194 h 10000"/>
                <a:gd name="connsiteX26" fmla="*/ 985 w 10000"/>
                <a:gd name="connsiteY26" fmla="*/ 8091 h 10000"/>
                <a:gd name="connsiteX27" fmla="*/ 1034 w 10000"/>
                <a:gd name="connsiteY27" fmla="*/ 8111 h 10000"/>
                <a:gd name="connsiteX28" fmla="*/ 1089 w 10000"/>
                <a:gd name="connsiteY28" fmla="*/ 8019 h 10000"/>
                <a:gd name="connsiteX29" fmla="*/ 1063 w 10000"/>
                <a:gd name="connsiteY29" fmla="*/ 7864 h 10000"/>
                <a:gd name="connsiteX30" fmla="*/ 1072 w 10000"/>
                <a:gd name="connsiteY30" fmla="*/ 7503 h 10000"/>
                <a:gd name="connsiteX31" fmla="*/ 956 w 10000"/>
                <a:gd name="connsiteY31" fmla="*/ 7440 h 10000"/>
                <a:gd name="connsiteX32" fmla="*/ 855 w 10000"/>
                <a:gd name="connsiteY32" fmla="*/ 7286 h 10000"/>
                <a:gd name="connsiteX33" fmla="*/ 720 w 10000"/>
                <a:gd name="connsiteY33" fmla="*/ 7275 h 10000"/>
                <a:gd name="connsiteX34" fmla="*/ 703 w 10000"/>
                <a:gd name="connsiteY34" fmla="*/ 7090 h 10000"/>
                <a:gd name="connsiteX35" fmla="*/ 613 w 10000"/>
                <a:gd name="connsiteY35" fmla="*/ 6945 h 10000"/>
                <a:gd name="connsiteX36" fmla="*/ 632 w 10000"/>
                <a:gd name="connsiteY36" fmla="*/ 6822 h 10000"/>
                <a:gd name="connsiteX37" fmla="*/ 577 w 10000"/>
                <a:gd name="connsiteY37" fmla="*/ 6698 h 10000"/>
                <a:gd name="connsiteX38" fmla="*/ 470 w 10000"/>
                <a:gd name="connsiteY38" fmla="*/ 6698 h 10000"/>
                <a:gd name="connsiteX39" fmla="*/ 437 w 10000"/>
                <a:gd name="connsiteY39" fmla="*/ 6791 h 10000"/>
                <a:gd name="connsiteX40" fmla="*/ 411 w 10000"/>
                <a:gd name="connsiteY40" fmla="*/ 6750 h 10000"/>
                <a:gd name="connsiteX41" fmla="*/ 388 w 10000"/>
                <a:gd name="connsiteY41" fmla="*/ 6439 h 10000"/>
                <a:gd name="connsiteX42" fmla="*/ 431 w 10000"/>
                <a:gd name="connsiteY42" fmla="*/ 6470 h 10000"/>
                <a:gd name="connsiteX43" fmla="*/ 479 w 10000"/>
                <a:gd name="connsiteY43" fmla="*/ 6347 h 10000"/>
                <a:gd name="connsiteX44" fmla="*/ 411 w 10000"/>
                <a:gd name="connsiteY44" fmla="*/ 6233 h 10000"/>
                <a:gd name="connsiteX45" fmla="*/ 324 w 10000"/>
                <a:gd name="connsiteY45" fmla="*/ 6017 h 10000"/>
                <a:gd name="connsiteX46" fmla="*/ 344 w 10000"/>
                <a:gd name="connsiteY46" fmla="*/ 5821 h 10000"/>
                <a:gd name="connsiteX47" fmla="*/ 281 w 10000"/>
                <a:gd name="connsiteY47" fmla="*/ 5697 h 10000"/>
                <a:gd name="connsiteX48" fmla="*/ 233 w 10000"/>
                <a:gd name="connsiteY48" fmla="*/ 5728 h 10000"/>
                <a:gd name="connsiteX49" fmla="*/ 208 w 10000"/>
                <a:gd name="connsiteY49" fmla="*/ 5604 h 10000"/>
                <a:gd name="connsiteX50" fmla="*/ 168 w 10000"/>
                <a:gd name="connsiteY50" fmla="*/ 5645 h 10000"/>
                <a:gd name="connsiteX51" fmla="*/ 120 w 10000"/>
                <a:gd name="connsiteY51" fmla="*/ 5604 h 10000"/>
                <a:gd name="connsiteX52" fmla="*/ 71 w 10000"/>
                <a:gd name="connsiteY52" fmla="*/ 5181 h 10000"/>
                <a:gd name="connsiteX53" fmla="*/ 88 w 10000"/>
                <a:gd name="connsiteY53" fmla="*/ 5057 h 10000"/>
                <a:gd name="connsiteX54" fmla="*/ 42 w 10000"/>
                <a:gd name="connsiteY54" fmla="*/ 4892 h 10000"/>
                <a:gd name="connsiteX55" fmla="*/ 68 w 10000"/>
                <a:gd name="connsiteY55" fmla="*/ 4655 h 10000"/>
                <a:gd name="connsiteX56" fmla="*/ 217 w 10000"/>
                <a:gd name="connsiteY56" fmla="*/ 4510 h 10000"/>
                <a:gd name="connsiteX57" fmla="*/ 133 w 10000"/>
                <a:gd name="connsiteY57" fmla="*/ 4406 h 10000"/>
                <a:gd name="connsiteX58" fmla="*/ 85 w 10000"/>
                <a:gd name="connsiteY58" fmla="*/ 4283 h 10000"/>
                <a:gd name="connsiteX59" fmla="*/ 211 w 10000"/>
                <a:gd name="connsiteY59" fmla="*/ 3912 h 10000"/>
                <a:gd name="connsiteX60" fmla="*/ 256 w 10000"/>
                <a:gd name="connsiteY60" fmla="*/ 3664 h 10000"/>
                <a:gd name="connsiteX61" fmla="*/ 155 w 10000"/>
                <a:gd name="connsiteY61" fmla="*/ 3488 h 10000"/>
                <a:gd name="connsiteX62" fmla="*/ 195 w 10000"/>
                <a:gd name="connsiteY62" fmla="*/ 3344 h 10000"/>
                <a:gd name="connsiteX63" fmla="*/ 116 w 10000"/>
                <a:gd name="connsiteY63" fmla="*/ 3148 h 10000"/>
                <a:gd name="connsiteX64" fmla="*/ 116 w 10000"/>
                <a:gd name="connsiteY64" fmla="*/ 2972 h 10000"/>
                <a:gd name="connsiteX65" fmla="*/ 62 w 10000"/>
                <a:gd name="connsiteY65" fmla="*/ 2622 h 10000"/>
                <a:gd name="connsiteX66" fmla="*/ 101 w 10000"/>
                <a:gd name="connsiteY66" fmla="*/ 2404 h 10000"/>
                <a:gd name="connsiteX67" fmla="*/ 39 w 10000"/>
                <a:gd name="connsiteY67" fmla="*/ 2301 h 10000"/>
                <a:gd name="connsiteX68" fmla="*/ 0 w 10000"/>
                <a:gd name="connsiteY68" fmla="*/ 2178 h 10000"/>
                <a:gd name="connsiteX69" fmla="*/ 55 w 10000"/>
                <a:gd name="connsiteY69" fmla="*/ 1951 h 10000"/>
                <a:gd name="connsiteX70" fmla="*/ 123 w 10000"/>
                <a:gd name="connsiteY70" fmla="*/ 1910 h 10000"/>
                <a:gd name="connsiteX71" fmla="*/ 201 w 10000"/>
                <a:gd name="connsiteY71" fmla="*/ 1858 h 10000"/>
                <a:gd name="connsiteX72" fmla="*/ 318 w 10000"/>
                <a:gd name="connsiteY72" fmla="*/ 1951 h 10000"/>
                <a:gd name="connsiteX73" fmla="*/ 495 w 10000"/>
                <a:gd name="connsiteY73" fmla="*/ 2054 h 10000"/>
                <a:gd name="connsiteX74" fmla="*/ 650 w 10000"/>
                <a:gd name="connsiteY74" fmla="*/ 2229 h 10000"/>
                <a:gd name="connsiteX75" fmla="*/ 777 w 10000"/>
                <a:gd name="connsiteY75" fmla="*/ 2373 h 10000"/>
                <a:gd name="connsiteX76" fmla="*/ 745 w 10000"/>
                <a:gd name="connsiteY76" fmla="*/ 2777 h 10000"/>
                <a:gd name="connsiteX77" fmla="*/ 372 w 10000"/>
                <a:gd name="connsiteY77" fmla="*/ 2673 h 10000"/>
                <a:gd name="connsiteX78" fmla="*/ 250 w 10000"/>
                <a:gd name="connsiteY78" fmla="*/ 2550 h 10000"/>
                <a:gd name="connsiteX79" fmla="*/ 295 w 10000"/>
                <a:gd name="connsiteY79" fmla="*/ 2622 h 10000"/>
                <a:gd name="connsiteX80" fmla="*/ 341 w 10000"/>
                <a:gd name="connsiteY80" fmla="*/ 2797 h 10000"/>
                <a:gd name="connsiteX81" fmla="*/ 411 w 10000"/>
                <a:gd name="connsiteY81" fmla="*/ 2921 h 10000"/>
                <a:gd name="connsiteX82" fmla="*/ 428 w 10000"/>
                <a:gd name="connsiteY82" fmla="*/ 3189 h 10000"/>
                <a:gd name="connsiteX83" fmla="*/ 521 w 10000"/>
                <a:gd name="connsiteY83" fmla="*/ 3313 h 10000"/>
                <a:gd name="connsiteX84" fmla="*/ 599 w 10000"/>
                <a:gd name="connsiteY84" fmla="*/ 3436 h 10000"/>
                <a:gd name="connsiteX85" fmla="*/ 622 w 10000"/>
                <a:gd name="connsiteY85" fmla="*/ 3467 h 10000"/>
                <a:gd name="connsiteX86" fmla="*/ 668 w 10000"/>
                <a:gd name="connsiteY86" fmla="*/ 3436 h 10000"/>
                <a:gd name="connsiteX87" fmla="*/ 650 w 10000"/>
                <a:gd name="connsiteY87" fmla="*/ 3364 h 10000"/>
                <a:gd name="connsiteX88" fmla="*/ 561 w 10000"/>
                <a:gd name="connsiteY88" fmla="*/ 3189 h 10000"/>
                <a:gd name="connsiteX89" fmla="*/ 824 w 10000"/>
                <a:gd name="connsiteY89" fmla="*/ 3344 h 10000"/>
                <a:gd name="connsiteX90" fmla="*/ 833 w 10000"/>
                <a:gd name="connsiteY90" fmla="*/ 3271 h 10000"/>
                <a:gd name="connsiteX91" fmla="*/ 807 w 10000"/>
                <a:gd name="connsiteY91" fmla="*/ 3220 h 10000"/>
                <a:gd name="connsiteX92" fmla="*/ 762 w 10000"/>
                <a:gd name="connsiteY92" fmla="*/ 2993 h 10000"/>
                <a:gd name="connsiteX93" fmla="*/ 894 w 10000"/>
                <a:gd name="connsiteY93" fmla="*/ 2777 h 10000"/>
                <a:gd name="connsiteX94" fmla="*/ 995 w 10000"/>
                <a:gd name="connsiteY94" fmla="*/ 2921 h 10000"/>
                <a:gd name="connsiteX95" fmla="*/ 1028 w 10000"/>
                <a:gd name="connsiteY95" fmla="*/ 2725 h 10000"/>
                <a:gd name="connsiteX96" fmla="*/ 979 w 10000"/>
                <a:gd name="connsiteY96" fmla="*/ 2653 h 10000"/>
                <a:gd name="connsiteX97" fmla="*/ 962 w 10000"/>
                <a:gd name="connsiteY97" fmla="*/ 2281 h 10000"/>
                <a:gd name="connsiteX98" fmla="*/ 940 w 10000"/>
                <a:gd name="connsiteY98" fmla="*/ 2229 h 10000"/>
                <a:gd name="connsiteX99" fmla="*/ 1066 w 10000"/>
                <a:gd name="connsiteY99" fmla="*/ 2250 h 10000"/>
                <a:gd name="connsiteX100" fmla="*/ 1117 w 10000"/>
                <a:gd name="connsiteY100" fmla="*/ 2404 h 10000"/>
                <a:gd name="connsiteX101" fmla="*/ 1050 w 10000"/>
                <a:gd name="connsiteY101" fmla="*/ 2529 h 10000"/>
                <a:gd name="connsiteX102" fmla="*/ 1167 w 10000"/>
                <a:gd name="connsiteY102" fmla="*/ 2694 h 10000"/>
                <a:gd name="connsiteX103" fmla="*/ 1261 w 10000"/>
                <a:gd name="connsiteY103" fmla="*/ 2529 h 10000"/>
                <a:gd name="connsiteX104" fmla="*/ 1376 w 10000"/>
                <a:gd name="connsiteY104" fmla="*/ 2301 h 10000"/>
                <a:gd name="connsiteX105" fmla="*/ 1501 w 10000"/>
                <a:gd name="connsiteY105" fmla="*/ 2157 h 10000"/>
                <a:gd name="connsiteX106" fmla="*/ 1539 w 10000"/>
                <a:gd name="connsiteY106" fmla="*/ 2250 h 10000"/>
                <a:gd name="connsiteX107" fmla="*/ 1857 w 10000"/>
                <a:gd name="connsiteY107" fmla="*/ 2054 h 10000"/>
                <a:gd name="connsiteX108" fmla="*/ 1923 w 10000"/>
                <a:gd name="connsiteY108" fmla="*/ 2250 h 10000"/>
                <a:gd name="connsiteX109" fmla="*/ 1913 w 10000"/>
                <a:gd name="connsiteY109" fmla="*/ 2002 h 10000"/>
                <a:gd name="connsiteX110" fmla="*/ 1828 w 10000"/>
                <a:gd name="connsiteY110" fmla="*/ 1786 h 10000"/>
                <a:gd name="connsiteX111" fmla="*/ 1813 w 10000"/>
                <a:gd name="connsiteY111" fmla="*/ 1703 h 10000"/>
                <a:gd name="connsiteX112" fmla="*/ 1875 w 10000"/>
                <a:gd name="connsiteY112" fmla="*/ 1786 h 10000"/>
                <a:gd name="connsiteX113" fmla="*/ 2091 w 10000"/>
                <a:gd name="connsiteY113" fmla="*/ 1951 h 10000"/>
                <a:gd name="connsiteX114" fmla="*/ 2334 w 10000"/>
                <a:gd name="connsiteY114" fmla="*/ 2126 h 10000"/>
                <a:gd name="connsiteX115" fmla="*/ 2451 w 10000"/>
                <a:gd name="connsiteY115" fmla="*/ 2250 h 10000"/>
                <a:gd name="connsiteX116" fmla="*/ 2490 w 10000"/>
                <a:gd name="connsiteY116" fmla="*/ 2074 h 10000"/>
                <a:gd name="connsiteX117" fmla="*/ 2434 w 10000"/>
                <a:gd name="connsiteY117" fmla="*/ 2033 h 10000"/>
                <a:gd name="connsiteX118" fmla="*/ 2364 w 10000"/>
                <a:gd name="connsiteY118" fmla="*/ 1930 h 10000"/>
                <a:gd name="connsiteX119" fmla="*/ 2317 w 10000"/>
                <a:gd name="connsiteY119" fmla="*/ 1734 h 10000"/>
                <a:gd name="connsiteX120" fmla="*/ 2247 w 10000"/>
                <a:gd name="connsiteY120" fmla="*/ 1486 h 10000"/>
                <a:gd name="connsiteX121" fmla="*/ 2272 w 10000"/>
                <a:gd name="connsiteY121" fmla="*/ 1434 h 10000"/>
                <a:gd name="connsiteX122" fmla="*/ 2295 w 10000"/>
                <a:gd name="connsiteY122" fmla="*/ 1455 h 10000"/>
                <a:gd name="connsiteX123" fmla="*/ 2357 w 10000"/>
                <a:gd name="connsiteY123" fmla="*/ 1115 h 10000"/>
                <a:gd name="connsiteX124" fmla="*/ 2512 w 10000"/>
                <a:gd name="connsiteY124" fmla="*/ 1135 h 10000"/>
                <a:gd name="connsiteX125" fmla="*/ 2558 w 10000"/>
                <a:gd name="connsiteY125" fmla="*/ 1311 h 10000"/>
                <a:gd name="connsiteX126" fmla="*/ 2590 w 10000"/>
                <a:gd name="connsiteY126" fmla="*/ 1538 h 10000"/>
                <a:gd name="connsiteX127" fmla="*/ 2646 w 10000"/>
                <a:gd name="connsiteY127" fmla="*/ 1734 h 10000"/>
                <a:gd name="connsiteX128" fmla="*/ 2745 w 10000"/>
                <a:gd name="connsiteY128" fmla="*/ 2157 h 10000"/>
                <a:gd name="connsiteX129" fmla="*/ 2551 w 10000"/>
                <a:gd name="connsiteY129" fmla="*/ 2673 h 10000"/>
                <a:gd name="connsiteX130" fmla="*/ 2629 w 10000"/>
                <a:gd name="connsiteY130" fmla="*/ 2746 h 10000"/>
                <a:gd name="connsiteX131" fmla="*/ 2730 w 10000"/>
                <a:gd name="connsiteY131" fmla="*/ 2818 h 10000"/>
                <a:gd name="connsiteX132" fmla="*/ 2863 w 10000"/>
                <a:gd name="connsiteY132" fmla="*/ 2622 h 10000"/>
                <a:gd name="connsiteX133" fmla="*/ 2869 w 10000"/>
                <a:gd name="connsiteY133" fmla="*/ 2404 h 10000"/>
                <a:gd name="connsiteX134" fmla="*/ 2824 w 10000"/>
                <a:gd name="connsiteY134" fmla="*/ 2301 h 10000"/>
                <a:gd name="connsiteX135" fmla="*/ 3001 w 10000"/>
                <a:gd name="connsiteY135" fmla="*/ 2250 h 10000"/>
                <a:gd name="connsiteX136" fmla="*/ 3074 w 10000"/>
                <a:gd name="connsiteY136" fmla="*/ 2497 h 10000"/>
                <a:gd name="connsiteX137" fmla="*/ 3074 w 10000"/>
                <a:gd name="connsiteY137" fmla="*/ 2425 h 10000"/>
                <a:gd name="connsiteX138" fmla="*/ 3056 w 10000"/>
                <a:gd name="connsiteY138" fmla="*/ 2353 h 10000"/>
                <a:gd name="connsiteX139" fmla="*/ 3050 w 10000"/>
                <a:gd name="connsiteY139" fmla="*/ 2178 h 10000"/>
                <a:gd name="connsiteX140" fmla="*/ 2879 w 10000"/>
                <a:gd name="connsiteY140" fmla="*/ 1930 h 10000"/>
                <a:gd name="connsiteX141" fmla="*/ 2745 w 10000"/>
                <a:gd name="connsiteY141" fmla="*/ 2002 h 10000"/>
                <a:gd name="connsiteX142" fmla="*/ 2690 w 10000"/>
                <a:gd name="connsiteY142" fmla="*/ 1683 h 10000"/>
                <a:gd name="connsiteX143" fmla="*/ 2635 w 10000"/>
                <a:gd name="connsiteY143" fmla="*/ 1507 h 10000"/>
                <a:gd name="connsiteX144" fmla="*/ 2690 w 10000"/>
                <a:gd name="connsiteY144" fmla="*/ 1331 h 10000"/>
                <a:gd name="connsiteX145" fmla="*/ 2684 w 10000"/>
                <a:gd name="connsiteY145" fmla="*/ 1166 h 10000"/>
                <a:gd name="connsiteX146" fmla="*/ 2661 w 10000"/>
                <a:gd name="connsiteY146" fmla="*/ 1115 h 10000"/>
                <a:gd name="connsiteX147" fmla="*/ 2701 w 10000"/>
                <a:gd name="connsiteY147" fmla="*/ 1115 h 10000"/>
                <a:gd name="connsiteX148" fmla="*/ 2745 w 10000"/>
                <a:gd name="connsiteY148" fmla="*/ 1455 h 10000"/>
                <a:gd name="connsiteX149" fmla="*/ 2973 w 10000"/>
                <a:gd name="connsiteY149" fmla="*/ 1662 h 10000"/>
                <a:gd name="connsiteX150" fmla="*/ 2800 w 10000"/>
                <a:gd name="connsiteY150" fmla="*/ 1383 h 10000"/>
                <a:gd name="connsiteX151" fmla="*/ 3135 w 10000"/>
                <a:gd name="connsiteY151" fmla="*/ 1383 h 10000"/>
                <a:gd name="connsiteX152" fmla="*/ 3190 w 10000"/>
                <a:gd name="connsiteY152" fmla="*/ 1362 h 10000"/>
                <a:gd name="connsiteX153" fmla="*/ 2979 w 10000"/>
                <a:gd name="connsiteY153" fmla="*/ 1115 h 10000"/>
                <a:gd name="connsiteX154" fmla="*/ 3034 w 10000"/>
                <a:gd name="connsiteY154" fmla="*/ 888 h 10000"/>
                <a:gd name="connsiteX155" fmla="*/ 3267 w 10000"/>
                <a:gd name="connsiteY155" fmla="*/ 888 h 10000"/>
                <a:gd name="connsiteX156" fmla="*/ 3245 w 10000"/>
                <a:gd name="connsiteY156" fmla="*/ 713 h 10000"/>
                <a:gd name="connsiteX157" fmla="*/ 3322 w 10000"/>
                <a:gd name="connsiteY157" fmla="*/ 589 h 10000"/>
                <a:gd name="connsiteX158" fmla="*/ 3368 w 10000"/>
                <a:gd name="connsiteY158" fmla="*/ 548 h 10000"/>
                <a:gd name="connsiteX159" fmla="*/ 3541 w 10000"/>
                <a:gd name="connsiteY159" fmla="*/ 423 h 10000"/>
                <a:gd name="connsiteX160" fmla="*/ 3585 w 10000"/>
                <a:gd name="connsiteY160" fmla="*/ 371 h 10000"/>
                <a:gd name="connsiteX161" fmla="*/ 3578 w 10000"/>
                <a:gd name="connsiteY161" fmla="*/ 444 h 10000"/>
                <a:gd name="connsiteX162" fmla="*/ 3763 w 10000"/>
                <a:gd name="connsiteY162" fmla="*/ 371 h 10000"/>
                <a:gd name="connsiteX163" fmla="*/ 3913 w 10000"/>
                <a:gd name="connsiteY163" fmla="*/ 248 h 10000"/>
                <a:gd name="connsiteX164" fmla="*/ 3935 w 10000"/>
                <a:gd name="connsiteY164" fmla="*/ 0 h 10000"/>
                <a:gd name="connsiteX165" fmla="*/ 4100 w 10000"/>
                <a:gd name="connsiteY165" fmla="*/ 21 h 10000"/>
                <a:gd name="connsiteX166" fmla="*/ 4090 w 10000"/>
                <a:gd name="connsiteY166" fmla="*/ 93 h 10000"/>
                <a:gd name="connsiteX167" fmla="*/ 4100 w 10000"/>
                <a:gd name="connsiteY167" fmla="*/ 176 h 10000"/>
                <a:gd name="connsiteX168" fmla="*/ 4200 w 10000"/>
                <a:gd name="connsiteY168" fmla="*/ 248 h 10000"/>
                <a:gd name="connsiteX169" fmla="*/ 4503 w 10000"/>
                <a:gd name="connsiteY169" fmla="*/ 268 h 10000"/>
                <a:gd name="connsiteX170" fmla="*/ 4667 w 10000"/>
                <a:gd name="connsiteY170" fmla="*/ 392 h 10000"/>
                <a:gd name="connsiteX171" fmla="*/ 4612 w 10000"/>
                <a:gd name="connsiteY171" fmla="*/ 795 h 10000"/>
                <a:gd name="connsiteX172" fmla="*/ 4551 w 10000"/>
                <a:gd name="connsiteY172" fmla="*/ 919 h 10000"/>
                <a:gd name="connsiteX173" fmla="*/ 4479 w 10000"/>
                <a:gd name="connsiteY173" fmla="*/ 1043 h 10000"/>
                <a:gd name="connsiteX174" fmla="*/ 4495 w 10000"/>
                <a:gd name="connsiteY174" fmla="*/ 1115 h 10000"/>
                <a:gd name="connsiteX175" fmla="*/ 4712 w 10000"/>
                <a:gd name="connsiteY175" fmla="*/ 919 h 10000"/>
                <a:gd name="connsiteX176" fmla="*/ 5202 w 10000"/>
                <a:gd name="connsiteY176" fmla="*/ 991 h 10000"/>
                <a:gd name="connsiteX177" fmla="*/ 5252 w 10000"/>
                <a:gd name="connsiteY177" fmla="*/ 1063 h 10000"/>
                <a:gd name="connsiteX178" fmla="*/ 5359 w 10000"/>
                <a:gd name="connsiteY178" fmla="*/ 1187 h 10000"/>
                <a:gd name="connsiteX179" fmla="*/ 5508 w 10000"/>
                <a:gd name="connsiteY179" fmla="*/ 919 h 10000"/>
                <a:gd name="connsiteX180" fmla="*/ 5735 w 10000"/>
                <a:gd name="connsiteY180" fmla="*/ 1063 h 10000"/>
                <a:gd name="connsiteX181" fmla="*/ 5802 w 10000"/>
                <a:gd name="connsiteY181" fmla="*/ 1115 h 10000"/>
                <a:gd name="connsiteX182" fmla="*/ 5858 w 10000"/>
                <a:gd name="connsiteY182" fmla="*/ 1166 h 10000"/>
                <a:gd name="connsiteX183" fmla="*/ 6075 w 10000"/>
                <a:gd name="connsiteY183" fmla="*/ 1631 h 10000"/>
                <a:gd name="connsiteX184" fmla="*/ 6153 w 10000"/>
                <a:gd name="connsiteY184" fmla="*/ 1611 h 10000"/>
                <a:gd name="connsiteX185" fmla="*/ 6145 w 10000"/>
                <a:gd name="connsiteY185" fmla="*/ 1507 h 10000"/>
                <a:gd name="connsiteX186" fmla="*/ 6153 w 10000"/>
                <a:gd name="connsiteY186" fmla="*/ 1383 h 10000"/>
                <a:gd name="connsiteX187" fmla="*/ 6263 w 10000"/>
                <a:gd name="connsiteY187" fmla="*/ 1486 h 10000"/>
                <a:gd name="connsiteX188" fmla="*/ 6441 w 10000"/>
                <a:gd name="connsiteY188" fmla="*/ 1507 h 10000"/>
                <a:gd name="connsiteX189" fmla="*/ 6590 w 10000"/>
                <a:gd name="connsiteY189" fmla="*/ 1455 h 10000"/>
                <a:gd name="connsiteX190" fmla="*/ 6519 w 10000"/>
                <a:gd name="connsiteY190" fmla="*/ 1362 h 10000"/>
                <a:gd name="connsiteX191" fmla="*/ 6612 w 10000"/>
                <a:gd name="connsiteY191" fmla="*/ 1084 h 10000"/>
                <a:gd name="connsiteX192" fmla="*/ 6875 w 10000"/>
                <a:gd name="connsiteY192" fmla="*/ 1207 h 10000"/>
                <a:gd name="connsiteX193" fmla="*/ 7141 w 10000"/>
                <a:gd name="connsiteY193" fmla="*/ 1331 h 10000"/>
                <a:gd name="connsiteX194" fmla="*/ 7164 w 10000"/>
                <a:gd name="connsiteY194" fmla="*/ 1362 h 10000"/>
                <a:gd name="connsiteX195" fmla="*/ 7397 w 10000"/>
                <a:gd name="connsiteY195" fmla="*/ 1611 h 10000"/>
                <a:gd name="connsiteX196" fmla="*/ 7575 w 10000"/>
                <a:gd name="connsiteY196" fmla="*/ 1507 h 10000"/>
                <a:gd name="connsiteX197" fmla="*/ 7796 w 10000"/>
                <a:gd name="connsiteY197" fmla="*/ 1538 h 10000"/>
                <a:gd name="connsiteX198" fmla="*/ 7873 w 10000"/>
                <a:gd name="connsiteY198" fmla="*/ 1611 h 10000"/>
                <a:gd name="connsiteX199" fmla="*/ 8152 w 10000"/>
                <a:gd name="connsiteY199" fmla="*/ 1930 h 10000"/>
                <a:gd name="connsiteX200" fmla="*/ 8464 w 10000"/>
                <a:gd name="connsiteY200" fmla="*/ 1879 h 10000"/>
                <a:gd name="connsiteX201" fmla="*/ 8574 w 10000"/>
                <a:gd name="connsiteY201" fmla="*/ 2033 h 10000"/>
                <a:gd name="connsiteX202" fmla="*/ 8730 w 10000"/>
                <a:gd name="connsiteY202" fmla="*/ 2157 h 10000"/>
                <a:gd name="connsiteX203" fmla="*/ 8759 w 10000"/>
                <a:gd name="connsiteY203" fmla="*/ 2105 h 10000"/>
                <a:gd name="connsiteX204" fmla="*/ 8737 w 10000"/>
                <a:gd name="connsiteY204" fmla="*/ 2074 h 10000"/>
                <a:gd name="connsiteX205" fmla="*/ 8620 w 10000"/>
                <a:gd name="connsiteY205" fmla="*/ 1930 h 10000"/>
                <a:gd name="connsiteX206" fmla="*/ 8704 w 10000"/>
                <a:gd name="connsiteY206" fmla="*/ 1755 h 10000"/>
                <a:gd name="connsiteX207" fmla="*/ 8908 w 10000"/>
                <a:gd name="connsiteY207" fmla="*/ 1910 h 10000"/>
                <a:gd name="connsiteX208" fmla="*/ 9203 w 10000"/>
                <a:gd name="connsiteY208" fmla="*/ 1982 h 10000"/>
                <a:gd name="connsiteX209" fmla="*/ 9466 w 10000"/>
                <a:gd name="connsiteY209" fmla="*/ 2260 h 10000"/>
                <a:gd name="connsiteX210" fmla="*/ 9608 w 10000"/>
                <a:gd name="connsiteY210" fmla="*/ 2332 h 10000"/>
                <a:gd name="connsiteX211" fmla="*/ 9718 w 10000"/>
                <a:gd name="connsiteY211" fmla="*/ 2446 h 10000"/>
                <a:gd name="connsiteX212" fmla="*/ 9844 w 10000"/>
                <a:gd name="connsiteY212" fmla="*/ 2632 h 10000"/>
                <a:gd name="connsiteX213" fmla="*/ 9903 w 10000"/>
                <a:gd name="connsiteY213" fmla="*/ 2756 h 10000"/>
                <a:gd name="connsiteX214" fmla="*/ 10000 w 10000"/>
                <a:gd name="connsiteY214" fmla="*/ 2787 h 10000"/>
                <a:gd name="connsiteX215" fmla="*/ 9860 w 10000"/>
                <a:gd name="connsiteY215" fmla="*/ 2570 h 10000"/>
                <a:gd name="connsiteX216" fmla="*/ 9737 w 10000"/>
                <a:gd name="connsiteY216" fmla="*/ 2787 h 10000"/>
                <a:gd name="connsiteX217" fmla="*/ 9630 w 10000"/>
                <a:gd name="connsiteY217" fmla="*/ 2725 h 10000"/>
                <a:gd name="connsiteX0" fmla="*/ 1656 w 9903"/>
                <a:gd name="connsiteY0" fmla="*/ 7183 h 10000"/>
                <a:gd name="connsiteX1" fmla="*/ 1701 w 9903"/>
                <a:gd name="connsiteY1" fmla="*/ 7430 h 10000"/>
                <a:gd name="connsiteX2" fmla="*/ 1650 w 9903"/>
                <a:gd name="connsiteY2" fmla="*/ 7430 h 10000"/>
                <a:gd name="connsiteX3" fmla="*/ 1594 w 9903"/>
                <a:gd name="connsiteY3" fmla="*/ 7255 h 10000"/>
                <a:gd name="connsiteX4" fmla="*/ 1556 w 9903"/>
                <a:gd name="connsiteY4" fmla="*/ 7430 h 10000"/>
                <a:gd name="connsiteX5" fmla="*/ 1562 w 9903"/>
                <a:gd name="connsiteY5" fmla="*/ 7854 h 10000"/>
                <a:gd name="connsiteX6" fmla="*/ 1650 w 9903"/>
                <a:gd name="connsiteY6" fmla="*/ 8070 h 10000"/>
                <a:gd name="connsiteX7" fmla="*/ 1694 w 9903"/>
                <a:gd name="connsiteY7" fmla="*/ 8019 h 10000"/>
                <a:gd name="connsiteX8" fmla="*/ 1790 w 9903"/>
                <a:gd name="connsiteY8" fmla="*/ 8493 h 10000"/>
                <a:gd name="connsiteX9" fmla="*/ 1656 w 9903"/>
                <a:gd name="connsiteY9" fmla="*/ 8669 h 10000"/>
                <a:gd name="connsiteX10" fmla="*/ 1640 w 9903"/>
                <a:gd name="connsiteY10" fmla="*/ 9009 h 10000"/>
                <a:gd name="connsiteX11" fmla="*/ 1711 w 9903"/>
                <a:gd name="connsiteY11" fmla="*/ 9236 h 10000"/>
                <a:gd name="connsiteX12" fmla="*/ 1711 w 9903"/>
                <a:gd name="connsiteY12" fmla="*/ 9484 h 10000"/>
                <a:gd name="connsiteX13" fmla="*/ 1819 w 9903"/>
                <a:gd name="connsiteY13" fmla="*/ 9835 h 10000"/>
                <a:gd name="connsiteX14" fmla="*/ 1751 w 9903"/>
                <a:gd name="connsiteY14" fmla="*/ 10000 h 10000"/>
                <a:gd name="connsiteX15" fmla="*/ 1650 w 9903"/>
                <a:gd name="connsiteY15" fmla="*/ 9753 h 10000"/>
                <a:gd name="connsiteX16" fmla="*/ 1507 w 9903"/>
                <a:gd name="connsiteY16" fmla="*/ 9505 h 10000"/>
                <a:gd name="connsiteX17" fmla="*/ 1446 w 9903"/>
                <a:gd name="connsiteY17" fmla="*/ 9588 h 10000"/>
                <a:gd name="connsiteX18" fmla="*/ 1345 w 9903"/>
                <a:gd name="connsiteY18" fmla="*/ 9380 h 10000"/>
                <a:gd name="connsiteX19" fmla="*/ 1128 w 9903"/>
                <a:gd name="connsiteY19" fmla="*/ 9339 h 10000"/>
                <a:gd name="connsiteX20" fmla="*/ 872 w 9903"/>
                <a:gd name="connsiteY20" fmla="*/ 8813 h 10000"/>
                <a:gd name="connsiteX21" fmla="*/ 940 w 9903"/>
                <a:gd name="connsiteY21" fmla="*/ 8721 h 10000"/>
                <a:gd name="connsiteX22" fmla="*/ 988 w 9903"/>
                <a:gd name="connsiteY22" fmla="*/ 8493 h 10000"/>
                <a:gd name="connsiteX23" fmla="*/ 934 w 9903"/>
                <a:gd name="connsiteY23" fmla="*/ 8390 h 10000"/>
                <a:gd name="connsiteX24" fmla="*/ 1050 w 9903"/>
                <a:gd name="connsiteY24" fmla="*/ 8245 h 10000"/>
                <a:gd name="connsiteX25" fmla="*/ 972 w 9903"/>
                <a:gd name="connsiteY25" fmla="*/ 8194 h 10000"/>
                <a:gd name="connsiteX26" fmla="*/ 985 w 9903"/>
                <a:gd name="connsiteY26" fmla="*/ 8091 h 10000"/>
                <a:gd name="connsiteX27" fmla="*/ 1034 w 9903"/>
                <a:gd name="connsiteY27" fmla="*/ 8111 h 10000"/>
                <a:gd name="connsiteX28" fmla="*/ 1089 w 9903"/>
                <a:gd name="connsiteY28" fmla="*/ 8019 h 10000"/>
                <a:gd name="connsiteX29" fmla="*/ 1063 w 9903"/>
                <a:gd name="connsiteY29" fmla="*/ 7864 h 10000"/>
                <a:gd name="connsiteX30" fmla="*/ 1072 w 9903"/>
                <a:gd name="connsiteY30" fmla="*/ 7503 h 10000"/>
                <a:gd name="connsiteX31" fmla="*/ 956 w 9903"/>
                <a:gd name="connsiteY31" fmla="*/ 7440 h 10000"/>
                <a:gd name="connsiteX32" fmla="*/ 855 w 9903"/>
                <a:gd name="connsiteY32" fmla="*/ 7286 h 10000"/>
                <a:gd name="connsiteX33" fmla="*/ 720 w 9903"/>
                <a:gd name="connsiteY33" fmla="*/ 7275 h 10000"/>
                <a:gd name="connsiteX34" fmla="*/ 703 w 9903"/>
                <a:gd name="connsiteY34" fmla="*/ 7090 h 10000"/>
                <a:gd name="connsiteX35" fmla="*/ 613 w 9903"/>
                <a:gd name="connsiteY35" fmla="*/ 6945 h 10000"/>
                <a:gd name="connsiteX36" fmla="*/ 632 w 9903"/>
                <a:gd name="connsiteY36" fmla="*/ 6822 h 10000"/>
                <a:gd name="connsiteX37" fmla="*/ 577 w 9903"/>
                <a:gd name="connsiteY37" fmla="*/ 6698 h 10000"/>
                <a:gd name="connsiteX38" fmla="*/ 470 w 9903"/>
                <a:gd name="connsiteY38" fmla="*/ 6698 h 10000"/>
                <a:gd name="connsiteX39" fmla="*/ 437 w 9903"/>
                <a:gd name="connsiteY39" fmla="*/ 6791 h 10000"/>
                <a:gd name="connsiteX40" fmla="*/ 411 w 9903"/>
                <a:gd name="connsiteY40" fmla="*/ 6750 h 10000"/>
                <a:gd name="connsiteX41" fmla="*/ 388 w 9903"/>
                <a:gd name="connsiteY41" fmla="*/ 6439 h 10000"/>
                <a:gd name="connsiteX42" fmla="*/ 431 w 9903"/>
                <a:gd name="connsiteY42" fmla="*/ 6470 h 10000"/>
                <a:gd name="connsiteX43" fmla="*/ 479 w 9903"/>
                <a:gd name="connsiteY43" fmla="*/ 6347 h 10000"/>
                <a:gd name="connsiteX44" fmla="*/ 411 w 9903"/>
                <a:gd name="connsiteY44" fmla="*/ 6233 h 10000"/>
                <a:gd name="connsiteX45" fmla="*/ 324 w 9903"/>
                <a:gd name="connsiteY45" fmla="*/ 6017 h 10000"/>
                <a:gd name="connsiteX46" fmla="*/ 344 w 9903"/>
                <a:gd name="connsiteY46" fmla="*/ 5821 h 10000"/>
                <a:gd name="connsiteX47" fmla="*/ 281 w 9903"/>
                <a:gd name="connsiteY47" fmla="*/ 5697 h 10000"/>
                <a:gd name="connsiteX48" fmla="*/ 233 w 9903"/>
                <a:gd name="connsiteY48" fmla="*/ 5728 h 10000"/>
                <a:gd name="connsiteX49" fmla="*/ 208 w 9903"/>
                <a:gd name="connsiteY49" fmla="*/ 5604 h 10000"/>
                <a:gd name="connsiteX50" fmla="*/ 168 w 9903"/>
                <a:gd name="connsiteY50" fmla="*/ 5645 h 10000"/>
                <a:gd name="connsiteX51" fmla="*/ 120 w 9903"/>
                <a:gd name="connsiteY51" fmla="*/ 5604 h 10000"/>
                <a:gd name="connsiteX52" fmla="*/ 71 w 9903"/>
                <a:gd name="connsiteY52" fmla="*/ 5181 h 10000"/>
                <a:gd name="connsiteX53" fmla="*/ 88 w 9903"/>
                <a:gd name="connsiteY53" fmla="*/ 5057 h 10000"/>
                <a:gd name="connsiteX54" fmla="*/ 42 w 9903"/>
                <a:gd name="connsiteY54" fmla="*/ 4892 h 10000"/>
                <a:gd name="connsiteX55" fmla="*/ 68 w 9903"/>
                <a:gd name="connsiteY55" fmla="*/ 4655 h 10000"/>
                <a:gd name="connsiteX56" fmla="*/ 217 w 9903"/>
                <a:gd name="connsiteY56" fmla="*/ 4510 h 10000"/>
                <a:gd name="connsiteX57" fmla="*/ 133 w 9903"/>
                <a:gd name="connsiteY57" fmla="*/ 4406 h 10000"/>
                <a:gd name="connsiteX58" fmla="*/ 85 w 9903"/>
                <a:gd name="connsiteY58" fmla="*/ 4283 h 10000"/>
                <a:gd name="connsiteX59" fmla="*/ 211 w 9903"/>
                <a:gd name="connsiteY59" fmla="*/ 3912 h 10000"/>
                <a:gd name="connsiteX60" fmla="*/ 256 w 9903"/>
                <a:gd name="connsiteY60" fmla="*/ 3664 h 10000"/>
                <a:gd name="connsiteX61" fmla="*/ 155 w 9903"/>
                <a:gd name="connsiteY61" fmla="*/ 3488 h 10000"/>
                <a:gd name="connsiteX62" fmla="*/ 195 w 9903"/>
                <a:gd name="connsiteY62" fmla="*/ 3344 h 10000"/>
                <a:gd name="connsiteX63" fmla="*/ 116 w 9903"/>
                <a:gd name="connsiteY63" fmla="*/ 3148 h 10000"/>
                <a:gd name="connsiteX64" fmla="*/ 116 w 9903"/>
                <a:gd name="connsiteY64" fmla="*/ 2972 h 10000"/>
                <a:gd name="connsiteX65" fmla="*/ 62 w 9903"/>
                <a:gd name="connsiteY65" fmla="*/ 2622 h 10000"/>
                <a:gd name="connsiteX66" fmla="*/ 101 w 9903"/>
                <a:gd name="connsiteY66" fmla="*/ 2404 h 10000"/>
                <a:gd name="connsiteX67" fmla="*/ 39 w 9903"/>
                <a:gd name="connsiteY67" fmla="*/ 2301 h 10000"/>
                <a:gd name="connsiteX68" fmla="*/ 0 w 9903"/>
                <a:gd name="connsiteY68" fmla="*/ 2178 h 10000"/>
                <a:gd name="connsiteX69" fmla="*/ 55 w 9903"/>
                <a:gd name="connsiteY69" fmla="*/ 1951 h 10000"/>
                <a:gd name="connsiteX70" fmla="*/ 123 w 9903"/>
                <a:gd name="connsiteY70" fmla="*/ 1910 h 10000"/>
                <a:gd name="connsiteX71" fmla="*/ 201 w 9903"/>
                <a:gd name="connsiteY71" fmla="*/ 1858 h 10000"/>
                <a:gd name="connsiteX72" fmla="*/ 318 w 9903"/>
                <a:gd name="connsiteY72" fmla="*/ 1951 h 10000"/>
                <a:gd name="connsiteX73" fmla="*/ 495 w 9903"/>
                <a:gd name="connsiteY73" fmla="*/ 2054 h 10000"/>
                <a:gd name="connsiteX74" fmla="*/ 650 w 9903"/>
                <a:gd name="connsiteY74" fmla="*/ 2229 h 10000"/>
                <a:gd name="connsiteX75" fmla="*/ 777 w 9903"/>
                <a:gd name="connsiteY75" fmla="*/ 2373 h 10000"/>
                <a:gd name="connsiteX76" fmla="*/ 745 w 9903"/>
                <a:gd name="connsiteY76" fmla="*/ 2777 h 10000"/>
                <a:gd name="connsiteX77" fmla="*/ 372 w 9903"/>
                <a:gd name="connsiteY77" fmla="*/ 2673 h 10000"/>
                <a:gd name="connsiteX78" fmla="*/ 250 w 9903"/>
                <a:gd name="connsiteY78" fmla="*/ 2550 h 10000"/>
                <a:gd name="connsiteX79" fmla="*/ 295 w 9903"/>
                <a:gd name="connsiteY79" fmla="*/ 2622 h 10000"/>
                <a:gd name="connsiteX80" fmla="*/ 341 w 9903"/>
                <a:gd name="connsiteY80" fmla="*/ 2797 h 10000"/>
                <a:gd name="connsiteX81" fmla="*/ 411 w 9903"/>
                <a:gd name="connsiteY81" fmla="*/ 2921 h 10000"/>
                <a:gd name="connsiteX82" fmla="*/ 428 w 9903"/>
                <a:gd name="connsiteY82" fmla="*/ 3189 h 10000"/>
                <a:gd name="connsiteX83" fmla="*/ 521 w 9903"/>
                <a:gd name="connsiteY83" fmla="*/ 3313 h 10000"/>
                <a:gd name="connsiteX84" fmla="*/ 599 w 9903"/>
                <a:gd name="connsiteY84" fmla="*/ 3436 h 10000"/>
                <a:gd name="connsiteX85" fmla="*/ 622 w 9903"/>
                <a:gd name="connsiteY85" fmla="*/ 3467 h 10000"/>
                <a:gd name="connsiteX86" fmla="*/ 668 w 9903"/>
                <a:gd name="connsiteY86" fmla="*/ 3436 h 10000"/>
                <a:gd name="connsiteX87" fmla="*/ 650 w 9903"/>
                <a:gd name="connsiteY87" fmla="*/ 3364 h 10000"/>
                <a:gd name="connsiteX88" fmla="*/ 561 w 9903"/>
                <a:gd name="connsiteY88" fmla="*/ 3189 h 10000"/>
                <a:gd name="connsiteX89" fmla="*/ 824 w 9903"/>
                <a:gd name="connsiteY89" fmla="*/ 3344 h 10000"/>
                <a:gd name="connsiteX90" fmla="*/ 833 w 9903"/>
                <a:gd name="connsiteY90" fmla="*/ 3271 h 10000"/>
                <a:gd name="connsiteX91" fmla="*/ 807 w 9903"/>
                <a:gd name="connsiteY91" fmla="*/ 3220 h 10000"/>
                <a:gd name="connsiteX92" fmla="*/ 762 w 9903"/>
                <a:gd name="connsiteY92" fmla="*/ 2993 h 10000"/>
                <a:gd name="connsiteX93" fmla="*/ 894 w 9903"/>
                <a:gd name="connsiteY93" fmla="*/ 2777 h 10000"/>
                <a:gd name="connsiteX94" fmla="*/ 995 w 9903"/>
                <a:gd name="connsiteY94" fmla="*/ 2921 h 10000"/>
                <a:gd name="connsiteX95" fmla="*/ 1028 w 9903"/>
                <a:gd name="connsiteY95" fmla="*/ 2725 h 10000"/>
                <a:gd name="connsiteX96" fmla="*/ 979 w 9903"/>
                <a:gd name="connsiteY96" fmla="*/ 2653 h 10000"/>
                <a:gd name="connsiteX97" fmla="*/ 962 w 9903"/>
                <a:gd name="connsiteY97" fmla="*/ 2281 h 10000"/>
                <a:gd name="connsiteX98" fmla="*/ 940 w 9903"/>
                <a:gd name="connsiteY98" fmla="*/ 2229 h 10000"/>
                <a:gd name="connsiteX99" fmla="*/ 1066 w 9903"/>
                <a:gd name="connsiteY99" fmla="*/ 2250 h 10000"/>
                <a:gd name="connsiteX100" fmla="*/ 1117 w 9903"/>
                <a:gd name="connsiteY100" fmla="*/ 2404 h 10000"/>
                <a:gd name="connsiteX101" fmla="*/ 1050 w 9903"/>
                <a:gd name="connsiteY101" fmla="*/ 2529 h 10000"/>
                <a:gd name="connsiteX102" fmla="*/ 1167 w 9903"/>
                <a:gd name="connsiteY102" fmla="*/ 2694 h 10000"/>
                <a:gd name="connsiteX103" fmla="*/ 1261 w 9903"/>
                <a:gd name="connsiteY103" fmla="*/ 2529 h 10000"/>
                <a:gd name="connsiteX104" fmla="*/ 1376 w 9903"/>
                <a:gd name="connsiteY104" fmla="*/ 2301 h 10000"/>
                <a:gd name="connsiteX105" fmla="*/ 1501 w 9903"/>
                <a:gd name="connsiteY105" fmla="*/ 2157 h 10000"/>
                <a:gd name="connsiteX106" fmla="*/ 1539 w 9903"/>
                <a:gd name="connsiteY106" fmla="*/ 2250 h 10000"/>
                <a:gd name="connsiteX107" fmla="*/ 1857 w 9903"/>
                <a:gd name="connsiteY107" fmla="*/ 2054 h 10000"/>
                <a:gd name="connsiteX108" fmla="*/ 1923 w 9903"/>
                <a:gd name="connsiteY108" fmla="*/ 2250 h 10000"/>
                <a:gd name="connsiteX109" fmla="*/ 1913 w 9903"/>
                <a:gd name="connsiteY109" fmla="*/ 2002 h 10000"/>
                <a:gd name="connsiteX110" fmla="*/ 1828 w 9903"/>
                <a:gd name="connsiteY110" fmla="*/ 1786 h 10000"/>
                <a:gd name="connsiteX111" fmla="*/ 1813 w 9903"/>
                <a:gd name="connsiteY111" fmla="*/ 1703 h 10000"/>
                <a:gd name="connsiteX112" fmla="*/ 1875 w 9903"/>
                <a:gd name="connsiteY112" fmla="*/ 1786 h 10000"/>
                <a:gd name="connsiteX113" fmla="*/ 2091 w 9903"/>
                <a:gd name="connsiteY113" fmla="*/ 1951 h 10000"/>
                <a:gd name="connsiteX114" fmla="*/ 2334 w 9903"/>
                <a:gd name="connsiteY114" fmla="*/ 2126 h 10000"/>
                <a:gd name="connsiteX115" fmla="*/ 2451 w 9903"/>
                <a:gd name="connsiteY115" fmla="*/ 2250 h 10000"/>
                <a:gd name="connsiteX116" fmla="*/ 2490 w 9903"/>
                <a:gd name="connsiteY116" fmla="*/ 2074 h 10000"/>
                <a:gd name="connsiteX117" fmla="*/ 2434 w 9903"/>
                <a:gd name="connsiteY117" fmla="*/ 2033 h 10000"/>
                <a:gd name="connsiteX118" fmla="*/ 2364 w 9903"/>
                <a:gd name="connsiteY118" fmla="*/ 1930 h 10000"/>
                <a:gd name="connsiteX119" fmla="*/ 2317 w 9903"/>
                <a:gd name="connsiteY119" fmla="*/ 1734 h 10000"/>
                <a:gd name="connsiteX120" fmla="*/ 2247 w 9903"/>
                <a:gd name="connsiteY120" fmla="*/ 1486 h 10000"/>
                <a:gd name="connsiteX121" fmla="*/ 2272 w 9903"/>
                <a:gd name="connsiteY121" fmla="*/ 1434 h 10000"/>
                <a:gd name="connsiteX122" fmla="*/ 2295 w 9903"/>
                <a:gd name="connsiteY122" fmla="*/ 1455 h 10000"/>
                <a:gd name="connsiteX123" fmla="*/ 2357 w 9903"/>
                <a:gd name="connsiteY123" fmla="*/ 1115 h 10000"/>
                <a:gd name="connsiteX124" fmla="*/ 2512 w 9903"/>
                <a:gd name="connsiteY124" fmla="*/ 1135 h 10000"/>
                <a:gd name="connsiteX125" fmla="*/ 2558 w 9903"/>
                <a:gd name="connsiteY125" fmla="*/ 1311 h 10000"/>
                <a:gd name="connsiteX126" fmla="*/ 2590 w 9903"/>
                <a:gd name="connsiteY126" fmla="*/ 1538 h 10000"/>
                <a:gd name="connsiteX127" fmla="*/ 2646 w 9903"/>
                <a:gd name="connsiteY127" fmla="*/ 1734 h 10000"/>
                <a:gd name="connsiteX128" fmla="*/ 2745 w 9903"/>
                <a:gd name="connsiteY128" fmla="*/ 2157 h 10000"/>
                <a:gd name="connsiteX129" fmla="*/ 2551 w 9903"/>
                <a:gd name="connsiteY129" fmla="*/ 2673 h 10000"/>
                <a:gd name="connsiteX130" fmla="*/ 2629 w 9903"/>
                <a:gd name="connsiteY130" fmla="*/ 2746 h 10000"/>
                <a:gd name="connsiteX131" fmla="*/ 2730 w 9903"/>
                <a:gd name="connsiteY131" fmla="*/ 2818 h 10000"/>
                <a:gd name="connsiteX132" fmla="*/ 2863 w 9903"/>
                <a:gd name="connsiteY132" fmla="*/ 2622 h 10000"/>
                <a:gd name="connsiteX133" fmla="*/ 2869 w 9903"/>
                <a:gd name="connsiteY133" fmla="*/ 2404 h 10000"/>
                <a:gd name="connsiteX134" fmla="*/ 2824 w 9903"/>
                <a:gd name="connsiteY134" fmla="*/ 2301 h 10000"/>
                <a:gd name="connsiteX135" fmla="*/ 3001 w 9903"/>
                <a:gd name="connsiteY135" fmla="*/ 2250 h 10000"/>
                <a:gd name="connsiteX136" fmla="*/ 3074 w 9903"/>
                <a:gd name="connsiteY136" fmla="*/ 2497 h 10000"/>
                <a:gd name="connsiteX137" fmla="*/ 3074 w 9903"/>
                <a:gd name="connsiteY137" fmla="*/ 2425 h 10000"/>
                <a:gd name="connsiteX138" fmla="*/ 3056 w 9903"/>
                <a:gd name="connsiteY138" fmla="*/ 2353 h 10000"/>
                <a:gd name="connsiteX139" fmla="*/ 3050 w 9903"/>
                <a:gd name="connsiteY139" fmla="*/ 2178 h 10000"/>
                <a:gd name="connsiteX140" fmla="*/ 2879 w 9903"/>
                <a:gd name="connsiteY140" fmla="*/ 1930 h 10000"/>
                <a:gd name="connsiteX141" fmla="*/ 2745 w 9903"/>
                <a:gd name="connsiteY141" fmla="*/ 2002 h 10000"/>
                <a:gd name="connsiteX142" fmla="*/ 2690 w 9903"/>
                <a:gd name="connsiteY142" fmla="*/ 1683 h 10000"/>
                <a:gd name="connsiteX143" fmla="*/ 2635 w 9903"/>
                <a:gd name="connsiteY143" fmla="*/ 1507 h 10000"/>
                <a:gd name="connsiteX144" fmla="*/ 2690 w 9903"/>
                <a:gd name="connsiteY144" fmla="*/ 1331 h 10000"/>
                <a:gd name="connsiteX145" fmla="*/ 2684 w 9903"/>
                <a:gd name="connsiteY145" fmla="*/ 1166 h 10000"/>
                <a:gd name="connsiteX146" fmla="*/ 2661 w 9903"/>
                <a:gd name="connsiteY146" fmla="*/ 1115 h 10000"/>
                <a:gd name="connsiteX147" fmla="*/ 2701 w 9903"/>
                <a:gd name="connsiteY147" fmla="*/ 1115 h 10000"/>
                <a:gd name="connsiteX148" fmla="*/ 2745 w 9903"/>
                <a:gd name="connsiteY148" fmla="*/ 1455 h 10000"/>
                <a:gd name="connsiteX149" fmla="*/ 2973 w 9903"/>
                <a:gd name="connsiteY149" fmla="*/ 1662 h 10000"/>
                <a:gd name="connsiteX150" fmla="*/ 2800 w 9903"/>
                <a:gd name="connsiteY150" fmla="*/ 1383 h 10000"/>
                <a:gd name="connsiteX151" fmla="*/ 3135 w 9903"/>
                <a:gd name="connsiteY151" fmla="*/ 1383 h 10000"/>
                <a:gd name="connsiteX152" fmla="*/ 3190 w 9903"/>
                <a:gd name="connsiteY152" fmla="*/ 1362 h 10000"/>
                <a:gd name="connsiteX153" fmla="*/ 2979 w 9903"/>
                <a:gd name="connsiteY153" fmla="*/ 1115 h 10000"/>
                <a:gd name="connsiteX154" fmla="*/ 3034 w 9903"/>
                <a:gd name="connsiteY154" fmla="*/ 888 h 10000"/>
                <a:gd name="connsiteX155" fmla="*/ 3267 w 9903"/>
                <a:gd name="connsiteY155" fmla="*/ 888 h 10000"/>
                <a:gd name="connsiteX156" fmla="*/ 3245 w 9903"/>
                <a:gd name="connsiteY156" fmla="*/ 713 h 10000"/>
                <a:gd name="connsiteX157" fmla="*/ 3322 w 9903"/>
                <a:gd name="connsiteY157" fmla="*/ 589 h 10000"/>
                <a:gd name="connsiteX158" fmla="*/ 3368 w 9903"/>
                <a:gd name="connsiteY158" fmla="*/ 548 h 10000"/>
                <a:gd name="connsiteX159" fmla="*/ 3541 w 9903"/>
                <a:gd name="connsiteY159" fmla="*/ 423 h 10000"/>
                <a:gd name="connsiteX160" fmla="*/ 3585 w 9903"/>
                <a:gd name="connsiteY160" fmla="*/ 371 h 10000"/>
                <a:gd name="connsiteX161" fmla="*/ 3578 w 9903"/>
                <a:gd name="connsiteY161" fmla="*/ 444 h 10000"/>
                <a:gd name="connsiteX162" fmla="*/ 3763 w 9903"/>
                <a:gd name="connsiteY162" fmla="*/ 371 h 10000"/>
                <a:gd name="connsiteX163" fmla="*/ 3913 w 9903"/>
                <a:gd name="connsiteY163" fmla="*/ 248 h 10000"/>
                <a:gd name="connsiteX164" fmla="*/ 3935 w 9903"/>
                <a:gd name="connsiteY164" fmla="*/ 0 h 10000"/>
                <a:gd name="connsiteX165" fmla="*/ 4100 w 9903"/>
                <a:gd name="connsiteY165" fmla="*/ 21 h 10000"/>
                <a:gd name="connsiteX166" fmla="*/ 4090 w 9903"/>
                <a:gd name="connsiteY166" fmla="*/ 93 h 10000"/>
                <a:gd name="connsiteX167" fmla="*/ 4100 w 9903"/>
                <a:gd name="connsiteY167" fmla="*/ 176 h 10000"/>
                <a:gd name="connsiteX168" fmla="*/ 4200 w 9903"/>
                <a:gd name="connsiteY168" fmla="*/ 248 h 10000"/>
                <a:gd name="connsiteX169" fmla="*/ 4503 w 9903"/>
                <a:gd name="connsiteY169" fmla="*/ 268 h 10000"/>
                <a:gd name="connsiteX170" fmla="*/ 4667 w 9903"/>
                <a:gd name="connsiteY170" fmla="*/ 392 h 10000"/>
                <a:gd name="connsiteX171" fmla="*/ 4612 w 9903"/>
                <a:gd name="connsiteY171" fmla="*/ 795 h 10000"/>
                <a:gd name="connsiteX172" fmla="*/ 4551 w 9903"/>
                <a:gd name="connsiteY172" fmla="*/ 919 h 10000"/>
                <a:gd name="connsiteX173" fmla="*/ 4479 w 9903"/>
                <a:gd name="connsiteY173" fmla="*/ 1043 h 10000"/>
                <a:gd name="connsiteX174" fmla="*/ 4495 w 9903"/>
                <a:gd name="connsiteY174" fmla="*/ 1115 h 10000"/>
                <a:gd name="connsiteX175" fmla="*/ 4712 w 9903"/>
                <a:gd name="connsiteY175" fmla="*/ 919 h 10000"/>
                <a:gd name="connsiteX176" fmla="*/ 5202 w 9903"/>
                <a:gd name="connsiteY176" fmla="*/ 991 h 10000"/>
                <a:gd name="connsiteX177" fmla="*/ 5252 w 9903"/>
                <a:gd name="connsiteY177" fmla="*/ 1063 h 10000"/>
                <a:gd name="connsiteX178" fmla="*/ 5359 w 9903"/>
                <a:gd name="connsiteY178" fmla="*/ 1187 h 10000"/>
                <a:gd name="connsiteX179" fmla="*/ 5508 w 9903"/>
                <a:gd name="connsiteY179" fmla="*/ 919 h 10000"/>
                <a:gd name="connsiteX180" fmla="*/ 5735 w 9903"/>
                <a:gd name="connsiteY180" fmla="*/ 1063 h 10000"/>
                <a:gd name="connsiteX181" fmla="*/ 5802 w 9903"/>
                <a:gd name="connsiteY181" fmla="*/ 1115 h 10000"/>
                <a:gd name="connsiteX182" fmla="*/ 5858 w 9903"/>
                <a:gd name="connsiteY182" fmla="*/ 1166 h 10000"/>
                <a:gd name="connsiteX183" fmla="*/ 6075 w 9903"/>
                <a:gd name="connsiteY183" fmla="*/ 1631 h 10000"/>
                <a:gd name="connsiteX184" fmla="*/ 6153 w 9903"/>
                <a:gd name="connsiteY184" fmla="*/ 1611 h 10000"/>
                <a:gd name="connsiteX185" fmla="*/ 6145 w 9903"/>
                <a:gd name="connsiteY185" fmla="*/ 1507 h 10000"/>
                <a:gd name="connsiteX186" fmla="*/ 6153 w 9903"/>
                <a:gd name="connsiteY186" fmla="*/ 1383 h 10000"/>
                <a:gd name="connsiteX187" fmla="*/ 6263 w 9903"/>
                <a:gd name="connsiteY187" fmla="*/ 1486 h 10000"/>
                <a:gd name="connsiteX188" fmla="*/ 6441 w 9903"/>
                <a:gd name="connsiteY188" fmla="*/ 1507 h 10000"/>
                <a:gd name="connsiteX189" fmla="*/ 6590 w 9903"/>
                <a:gd name="connsiteY189" fmla="*/ 1455 h 10000"/>
                <a:gd name="connsiteX190" fmla="*/ 6519 w 9903"/>
                <a:gd name="connsiteY190" fmla="*/ 1362 h 10000"/>
                <a:gd name="connsiteX191" fmla="*/ 6612 w 9903"/>
                <a:gd name="connsiteY191" fmla="*/ 1084 h 10000"/>
                <a:gd name="connsiteX192" fmla="*/ 6875 w 9903"/>
                <a:gd name="connsiteY192" fmla="*/ 1207 h 10000"/>
                <a:gd name="connsiteX193" fmla="*/ 7141 w 9903"/>
                <a:gd name="connsiteY193" fmla="*/ 1331 h 10000"/>
                <a:gd name="connsiteX194" fmla="*/ 7164 w 9903"/>
                <a:gd name="connsiteY194" fmla="*/ 1362 h 10000"/>
                <a:gd name="connsiteX195" fmla="*/ 7397 w 9903"/>
                <a:gd name="connsiteY195" fmla="*/ 1611 h 10000"/>
                <a:gd name="connsiteX196" fmla="*/ 7575 w 9903"/>
                <a:gd name="connsiteY196" fmla="*/ 1507 h 10000"/>
                <a:gd name="connsiteX197" fmla="*/ 7796 w 9903"/>
                <a:gd name="connsiteY197" fmla="*/ 1538 h 10000"/>
                <a:gd name="connsiteX198" fmla="*/ 7873 w 9903"/>
                <a:gd name="connsiteY198" fmla="*/ 1611 h 10000"/>
                <a:gd name="connsiteX199" fmla="*/ 8152 w 9903"/>
                <a:gd name="connsiteY199" fmla="*/ 1930 h 10000"/>
                <a:gd name="connsiteX200" fmla="*/ 8464 w 9903"/>
                <a:gd name="connsiteY200" fmla="*/ 1879 h 10000"/>
                <a:gd name="connsiteX201" fmla="*/ 8574 w 9903"/>
                <a:gd name="connsiteY201" fmla="*/ 2033 h 10000"/>
                <a:gd name="connsiteX202" fmla="*/ 8730 w 9903"/>
                <a:gd name="connsiteY202" fmla="*/ 2157 h 10000"/>
                <a:gd name="connsiteX203" fmla="*/ 8759 w 9903"/>
                <a:gd name="connsiteY203" fmla="*/ 2105 h 10000"/>
                <a:gd name="connsiteX204" fmla="*/ 8737 w 9903"/>
                <a:gd name="connsiteY204" fmla="*/ 2074 h 10000"/>
                <a:gd name="connsiteX205" fmla="*/ 8620 w 9903"/>
                <a:gd name="connsiteY205" fmla="*/ 1930 h 10000"/>
                <a:gd name="connsiteX206" fmla="*/ 8704 w 9903"/>
                <a:gd name="connsiteY206" fmla="*/ 1755 h 10000"/>
                <a:gd name="connsiteX207" fmla="*/ 8908 w 9903"/>
                <a:gd name="connsiteY207" fmla="*/ 1910 h 10000"/>
                <a:gd name="connsiteX208" fmla="*/ 9203 w 9903"/>
                <a:gd name="connsiteY208" fmla="*/ 1982 h 10000"/>
                <a:gd name="connsiteX209" fmla="*/ 9466 w 9903"/>
                <a:gd name="connsiteY209" fmla="*/ 2260 h 10000"/>
                <a:gd name="connsiteX210" fmla="*/ 9608 w 9903"/>
                <a:gd name="connsiteY210" fmla="*/ 2332 h 10000"/>
                <a:gd name="connsiteX211" fmla="*/ 9718 w 9903"/>
                <a:gd name="connsiteY211" fmla="*/ 2446 h 10000"/>
                <a:gd name="connsiteX212" fmla="*/ 9844 w 9903"/>
                <a:gd name="connsiteY212" fmla="*/ 2632 h 10000"/>
                <a:gd name="connsiteX213" fmla="*/ 9903 w 9903"/>
                <a:gd name="connsiteY213" fmla="*/ 2756 h 10000"/>
                <a:gd name="connsiteX214" fmla="*/ 9860 w 9903"/>
                <a:gd name="connsiteY214" fmla="*/ 2570 h 10000"/>
                <a:gd name="connsiteX215" fmla="*/ 9737 w 9903"/>
                <a:gd name="connsiteY215" fmla="*/ 2787 h 10000"/>
                <a:gd name="connsiteX216" fmla="*/ 9630 w 9903"/>
                <a:gd name="connsiteY216" fmla="*/ 2725 h 10000"/>
                <a:gd name="connsiteX0" fmla="*/ 1672 w 10003"/>
                <a:gd name="connsiteY0" fmla="*/ 7183 h 10000"/>
                <a:gd name="connsiteX1" fmla="*/ 1718 w 10003"/>
                <a:gd name="connsiteY1" fmla="*/ 7430 h 10000"/>
                <a:gd name="connsiteX2" fmla="*/ 1666 w 10003"/>
                <a:gd name="connsiteY2" fmla="*/ 7430 h 10000"/>
                <a:gd name="connsiteX3" fmla="*/ 1610 w 10003"/>
                <a:gd name="connsiteY3" fmla="*/ 7255 h 10000"/>
                <a:gd name="connsiteX4" fmla="*/ 1571 w 10003"/>
                <a:gd name="connsiteY4" fmla="*/ 7430 h 10000"/>
                <a:gd name="connsiteX5" fmla="*/ 1577 w 10003"/>
                <a:gd name="connsiteY5" fmla="*/ 7854 h 10000"/>
                <a:gd name="connsiteX6" fmla="*/ 1666 w 10003"/>
                <a:gd name="connsiteY6" fmla="*/ 8070 h 10000"/>
                <a:gd name="connsiteX7" fmla="*/ 1711 w 10003"/>
                <a:gd name="connsiteY7" fmla="*/ 8019 h 10000"/>
                <a:gd name="connsiteX8" fmla="*/ 1808 w 10003"/>
                <a:gd name="connsiteY8" fmla="*/ 8493 h 10000"/>
                <a:gd name="connsiteX9" fmla="*/ 1672 w 10003"/>
                <a:gd name="connsiteY9" fmla="*/ 8669 h 10000"/>
                <a:gd name="connsiteX10" fmla="*/ 1656 w 10003"/>
                <a:gd name="connsiteY10" fmla="*/ 9009 h 10000"/>
                <a:gd name="connsiteX11" fmla="*/ 1728 w 10003"/>
                <a:gd name="connsiteY11" fmla="*/ 9236 h 10000"/>
                <a:gd name="connsiteX12" fmla="*/ 1728 w 10003"/>
                <a:gd name="connsiteY12" fmla="*/ 9484 h 10000"/>
                <a:gd name="connsiteX13" fmla="*/ 1837 w 10003"/>
                <a:gd name="connsiteY13" fmla="*/ 9835 h 10000"/>
                <a:gd name="connsiteX14" fmla="*/ 1768 w 10003"/>
                <a:gd name="connsiteY14" fmla="*/ 10000 h 10000"/>
                <a:gd name="connsiteX15" fmla="*/ 1666 w 10003"/>
                <a:gd name="connsiteY15" fmla="*/ 9753 h 10000"/>
                <a:gd name="connsiteX16" fmla="*/ 1522 w 10003"/>
                <a:gd name="connsiteY16" fmla="*/ 9505 h 10000"/>
                <a:gd name="connsiteX17" fmla="*/ 1460 w 10003"/>
                <a:gd name="connsiteY17" fmla="*/ 9588 h 10000"/>
                <a:gd name="connsiteX18" fmla="*/ 1358 w 10003"/>
                <a:gd name="connsiteY18" fmla="*/ 9380 h 10000"/>
                <a:gd name="connsiteX19" fmla="*/ 1139 w 10003"/>
                <a:gd name="connsiteY19" fmla="*/ 9339 h 10000"/>
                <a:gd name="connsiteX20" fmla="*/ 881 w 10003"/>
                <a:gd name="connsiteY20" fmla="*/ 8813 h 10000"/>
                <a:gd name="connsiteX21" fmla="*/ 949 w 10003"/>
                <a:gd name="connsiteY21" fmla="*/ 8721 h 10000"/>
                <a:gd name="connsiteX22" fmla="*/ 998 w 10003"/>
                <a:gd name="connsiteY22" fmla="*/ 8493 h 10000"/>
                <a:gd name="connsiteX23" fmla="*/ 943 w 10003"/>
                <a:gd name="connsiteY23" fmla="*/ 8390 h 10000"/>
                <a:gd name="connsiteX24" fmla="*/ 1060 w 10003"/>
                <a:gd name="connsiteY24" fmla="*/ 8245 h 10000"/>
                <a:gd name="connsiteX25" fmla="*/ 982 w 10003"/>
                <a:gd name="connsiteY25" fmla="*/ 8194 h 10000"/>
                <a:gd name="connsiteX26" fmla="*/ 995 w 10003"/>
                <a:gd name="connsiteY26" fmla="*/ 8091 h 10000"/>
                <a:gd name="connsiteX27" fmla="*/ 1044 w 10003"/>
                <a:gd name="connsiteY27" fmla="*/ 8111 h 10000"/>
                <a:gd name="connsiteX28" fmla="*/ 1100 w 10003"/>
                <a:gd name="connsiteY28" fmla="*/ 8019 h 10000"/>
                <a:gd name="connsiteX29" fmla="*/ 1073 w 10003"/>
                <a:gd name="connsiteY29" fmla="*/ 7864 h 10000"/>
                <a:gd name="connsiteX30" fmla="*/ 1083 w 10003"/>
                <a:gd name="connsiteY30" fmla="*/ 7503 h 10000"/>
                <a:gd name="connsiteX31" fmla="*/ 965 w 10003"/>
                <a:gd name="connsiteY31" fmla="*/ 7440 h 10000"/>
                <a:gd name="connsiteX32" fmla="*/ 863 w 10003"/>
                <a:gd name="connsiteY32" fmla="*/ 7286 h 10000"/>
                <a:gd name="connsiteX33" fmla="*/ 727 w 10003"/>
                <a:gd name="connsiteY33" fmla="*/ 7275 h 10000"/>
                <a:gd name="connsiteX34" fmla="*/ 710 w 10003"/>
                <a:gd name="connsiteY34" fmla="*/ 7090 h 10000"/>
                <a:gd name="connsiteX35" fmla="*/ 619 w 10003"/>
                <a:gd name="connsiteY35" fmla="*/ 6945 h 10000"/>
                <a:gd name="connsiteX36" fmla="*/ 638 w 10003"/>
                <a:gd name="connsiteY36" fmla="*/ 6822 h 10000"/>
                <a:gd name="connsiteX37" fmla="*/ 583 w 10003"/>
                <a:gd name="connsiteY37" fmla="*/ 6698 h 10000"/>
                <a:gd name="connsiteX38" fmla="*/ 475 w 10003"/>
                <a:gd name="connsiteY38" fmla="*/ 6698 h 10000"/>
                <a:gd name="connsiteX39" fmla="*/ 441 w 10003"/>
                <a:gd name="connsiteY39" fmla="*/ 6791 h 10000"/>
                <a:gd name="connsiteX40" fmla="*/ 415 w 10003"/>
                <a:gd name="connsiteY40" fmla="*/ 6750 h 10000"/>
                <a:gd name="connsiteX41" fmla="*/ 392 w 10003"/>
                <a:gd name="connsiteY41" fmla="*/ 6439 h 10000"/>
                <a:gd name="connsiteX42" fmla="*/ 435 w 10003"/>
                <a:gd name="connsiteY42" fmla="*/ 6470 h 10000"/>
                <a:gd name="connsiteX43" fmla="*/ 484 w 10003"/>
                <a:gd name="connsiteY43" fmla="*/ 6347 h 10000"/>
                <a:gd name="connsiteX44" fmla="*/ 415 w 10003"/>
                <a:gd name="connsiteY44" fmla="*/ 6233 h 10000"/>
                <a:gd name="connsiteX45" fmla="*/ 327 w 10003"/>
                <a:gd name="connsiteY45" fmla="*/ 6017 h 10000"/>
                <a:gd name="connsiteX46" fmla="*/ 347 w 10003"/>
                <a:gd name="connsiteY46" fmla="*/ 5821 h 10000"/>
                <a:gd name="connsiteX47" fmla="*/ 284 w 10003"/>
                <a:gd name="connsiteY47" fmla="*/ 5697 h 10000"/>
                <a:gd name="connsiteX48" fmla="*/ 235 w 10003"/>
                <a:gd name="connsiteY48" fmla="*/ 5728 h 10000"/>
                <a:gd name="connsiteX49" fmla="*/ 210 w 10003"/>
                <a:gd name="connsiteY49" fmla="*/ 5604 h 10000"/>
                <a:gd name="connsiteX50" fmla="*/ 170 w 10003"/>
                <a:gd name="connsiteY50" fmla="*/ 5645 h 10000"/>
                <a:gd name="connsiteX51" fmla="*/ 121 w 10003"/>
                <a:gd name="connsiteY51" fmla="*/ 5604 h 10000"/>
                <a:gd name="connsiteX52" fmla="*/ 72 w 10003"/>
                <a:gd name="connsiteY52" fmla="*/ 5181 h 10000"/>
                <a:gd name="connsiteX53" fmla="*/ 89 w 10003"/>
                <a:gd name="connsiteY53" fmla="*/ 5057 h 10000"/>
                <a:gd name="connsiteX54" fmla="*/ 42 w 10003"/>
                <a:gd name="connsiteY54" fmla="*/ 4892 h 10000"/>
                <a:gd name="connsiteX55" fmla="*/ 69 w 10003"/>
                <a:gd name="connsiteY55" fmla="*/ 4655 h 10000"/>
                <a:gd name="connsiteX56" fmla="*/ 219 w 10003"/>
                <a:gd name="connsiteY56" fmla="*/ 4510 h 10000"/>
                <a:gd name="connsiteX57" fmla="*/ 134 w 10003"/>
                <a:gd name="connsiteY57" fmla="*/ 4406 h 10000"/>
                <a:gd name="connsiteX58" fmla="*/ 86 w 10003"/>
                <a:gd name="connsiteY58" fmla="*/ 4283 h 10000"/>
                <a:gd name="connsiteX59" fmla="*/ 213 w 10003"/>
                <a:gd name="connsiteY59" fmla="*/ 3912 h 10000"/>
                <a:gd name="connsiteX60" fmla="*/ 259 w 10003"/>
                <a:gd name="connsiteY60" fmla="*/ 3664 h 10000"/>
                <a:gd name="connsiteX61" fmla="*/ 157 w 10003"/>
                <a:gd name="connsiteY61" fmla="*/ 3488 h 10000"/>
                <a:gd name="connsiteX62" fmla="*/ 197 w 10003"/>
                <a:gd name="connsiteY62" fmla="*/ 3344 h 10000"/>
                <a:gd name="connsiteX63" fmla="*/ 117 w 10003"/>
                <a:gd name="connsiteY63" fmla="*/ 3148 h 10000"/>
                <a:gd name="connsiteX64" fmla="*/ 117 w 10003"/>
                <a:gd name="connsiteY64" fmla="*/ 2972 h 10000"/>
                <a:gd name="connsiteX65" fmla="*/ 63 w 10003"/>
                <a:gd name="connsiteY65" fmla="*/ 2622 h 10000"/>
                <a:gd name="connsiteX66" fmla="*/ 102 w 10003"/>
                <a:gd name="connsiteY66" fmla="*/ 2404 h 10000"/>
                <a:gd name="connsiteX67" fmla="*/ 39 w 10003"/>
                <a:gd name="connsiteY67" fmla="*/ 2301 h 10000"/>
                <a:gd name="connsiteX68" fmla="*/ 0 w 10003"/>
                <a:gd name="connsiteY68" fmla="*/ 2178 h 10000"/>
                <a:gd name="connsiteX69" fmla="*/ 56 w 10003"/>
                <a:gd name="connsiteY69" fmla="*/ 1951 h 10000"/>
                <a:gd name="connsiteX70" fmla="*/ 124 w 10003"/>
                <a:gd name="connsiteY70" fmla="*/ 1910 h 10000"/>
                <a:gd name="connsiteX71" fmla="*/ 203 w 10003"/>
                <a:gd name="connsiteY71" fmla="*/ 1858 h 10000"/>
                <a:gd name="connsiteX72" fmla="*/ 321 w 10003"/>
                <a:gd name="connsiteY72" fmla="*/ 1951 h 10000"/>
                <a:gd name="connsiteX73" fmla="*/ 500 w 10003"/>
                <a:gd name="connsiteY73" fmla="*/ 2054 h 10000"/>
                <a:gd name="connsiteX74" fmla="*/ 656 w 10003"/>
                <a:gd name="connsiteY74" fmla="*/ 2229 h 10000"/>
                <a:gd name="connsiteX75" fmla="*/ 785 w 10003"/>
                <a:gd name="connsiteY75" fmla="*/ 2373 h 10000"/>
                <a:gd name="connsiteX76" fmla="*/ 752 w 10003"/>
                <a:gd name="connsiteY76" fmla="*/ 2777 h 10000"/>
                <a:gd name="connsiteX77" fmla="*/ 376 w 10003"/>
                <a:gd name="connsiteY77" fmla="*/ 2673 h 10000"/>
                <a:gd name="connsiteX78" fmla="*/ 252 w 10003"/>
                <a:gd name="connsiteY78" fmla="*/ 2550 h 10000"/>
                <a:gd name="connsiteX79" fmla="*/ 298 w 10003"/>
                <a:gd name="connsiteY79" fmla="*/ 2622 h 10000"/>
                <a:gd name="connsiteX80" fmla="*/ 344 w 10003"/>
                <a:gd name="connsiteY80" fmla="*/ 2797 h 10000"/>
                <a:gd name="connsiteX81" fmla="*/ 415 w 10003"/>
                <a:gd name="connsiteY81" fmla="*/ 2921 h 10000"/>
                <a:gd name="connsiteX82" fmla="*/ 432 w 10003"/>
                <a:gd name="connsiteY82" fmla="*/ 3189 h 10000"/>
                <a:gd name="connsiteX83" fmla="*/ 526 w 10003"/>
                <a:gd name="connsiteY83" fmla="*/ 3313 h 10000"/>
                <a:gd name="connsiteX84" fmla="*/ 605 w 10003"/>
                <a:gd name="connsiteY84" fmla="*/ 3436 h 10000"/>
                <a:gd name="connsiteX85" fmla="*/ 628 w 10003"/>
                <a:gd name="connsiteY85" fmla="*/ 3467 h 10000"/>
                <a:gd name="connsiteX86" fmla="*/ 675 w 10003"/>
                <a:gd name="connsiteY86" fmla="*/ 3436 h 10000"/>
                <a:gd name="connsiteX87" fmla="*/ 656 w 10003"/>
                <a:gd name="connsiteY87" fmla="*/ 3364 h 10000"/>
                <a:gd name="connsiteX88" fmla="*/ 566 w 10003"/>
                <a:gd name="connsiteY88" fmla="*/ 3189 h 10000"/>
                <a:gd name="connsiteX89" fmla="*/ 832 w 10003"/>
                <a:gd name="connsiteY89" fmla="*/ 3344 h 10000"/>
                <a:gd name="connsiteX90" fmla="*/ 841 w 10003"/>
                <a:gd name="connsiteY90" fmla="*/ 3271 h 10000"/>
                <a:gd name="connsiteX91" fmla="*/ 815 w 10003"/>
                <a:gd name="connsiteY91" fmla="*/ 3220 h 10000"/>
                <a:gd name="connsiteX92" fmla="*/ 769 w 10003"/>
                <a:gd name="connsiteY92" fmla="*/ 2993 h 10000"/>
                <a:gd name="connsiteX93" fmla="*/ 903 w 10003"/>
                <a:gd name="connsiteY93" fmla="*/ 2777 h 10000"/>
                <a:gd name="connsiteX94" fmla="*/ 1005 w 10003"/>
                <a:gd name="connsiteY94" fmla="*/ 2921 h 10000"/>
                <a:gd name="connsiteX95" fmla="*/ 1038 w 10003"/>
                <a:gd name="connsiteY95" fmla="*/ 2725 h 10000"/>
                <a:gd name="connsiteX96" fmla="*/ 989 w 10003"/>
                <a:gd name="connsiteY96" fmla="*/ 2653 h 10000"/>
                <a:gd name="connsiteX97" fmla="*/ 971 w 10003"/>
                <a:gd name="connsiteY97" fmla="*/ 2281 h 10000"/>
                <a:gd name="connsiteX98" fmla="*/ 949 w 10003"/>
                <a:gd name="connsiteY98" fmla="*/ 2229 h 10000"/>
                <a:gd name="connsiteX99" fmla="*/ 1076 w 10003"/>
                <a:gd name="connsiteY99" fmla="*/ 2250 h 10000"/>
                <a:gd name="connsiteX100" fmla="*/ 1128 w 10003"/>
                <a:gd name="connsiteY100" fmla="*/ 2404 h 10000"/>
                <a:gd name="connsiteX101" fmla="*/ 1060 w 10003"/>
                <a:gd name="connsiteY101" fmla="*/ 2529 h 10000"/>
                <a:gd name="connsiteX102" fmla="*/ 1178 w 10003"/>
                <a:gd name="connsiteY102" fmla="*/ 2694 h 10000"/>
                <a:gd name="connsiteX103" fmla="*/ 1273 w 10003"/>
                <a:gd name="connsiteY103" fmla="*/ 2529 h 10000"/>
                <a:gd name="connsiteX104" fmla="*/ 1389 w 10003"/>
                <a:gd name="connsiteY104" fmla="*/ 2301 h 10000"/>
                <a:gd name="connsiteX105" fmla="*/ 1516 w 10003"/>
                <a:gd name="connsiteY105" fmla="*/ 2157 h 10000"/>
                <a:gd name="connsiteX106" fmla="*/ 1554 w 10003"/>
                <a:gd name="connsiteY106" fmla="*/ 2250 h 10000"/>
                <a:gd name="connsiteX107" fmla="*/ 1875 w 10003"/>
                <a:gd name="connsiteY107" fmla="*/ 2054 h 10000"/>
                <a:gd name="connsiteX108" fmla="*/ 1942 w 10003"/>
                <a:gd name="connsiteY108" fmla="*/ 2250 h 10000"/>
                <a:gd name="connsiteX109" fmla="*/ 1932 w 10003"/>
                <a:gd name="connsiteY109" fmla="*/ 2002 h 10000"/>
                <a:gd name="connsiteX110" fmla="*/ 1846 w 10003"/>
                <a:gd name="connsiteY110" fmla="*/ 1786 h 10000"/>
                <a:gd name="connsiteX111" fmla="*/ 1831 w 10003"/>
                <a:gd name="connsiteY111" fmla="*/ 1703 h 10000"/>
                <a:gd name="connsiteX112" fmla="*/ 1893 w 10003"/>
                <a:gd name="connsiteY112" fmla="*/ 1786 h 10000"/>
                <a:gd name="connsiteX113" fmla="*/ 2111 w 10003"/>
                <a:gd name="connsiteY113" fmla="*/ 1951 h 10000"/>
                <a:gd name="connsiteX114" fmla="*/ 2357 w 10003"/>
                <a:gd name="connsiteY114" fmla="*/ 2126 h 10000"/>
                <a:gd name="connsiteX115" fmla="*/ 2475 w 10003"/>
                <a:gd name="connsiteY115" fmla="*/ 2250 h 10000"/>
                <a:gd name="connsiteX116" fmla="*/ 2514 w 10003"/>
                <a:gd name="connsiteY116" fmla="*/ 2074 h 10000"/>
                <a:gd name="connsiteX117" fmla="*/ 2458 w 10003"/>
                <a:gd name="connsiteY117" fmla="*/ 2033 h 10000"/>
                <a:gd name="connsiteX118" fmla="*/ 2387 w 10003"/>
                <a:gd name="connsiteY118" fmla="*/ 1930 h 10000"/>
                <a:gd name="connsiteX119" fmla="*/ 2340 w 10003"/>
                <a:gd name="connsiteY119" fmla="*/ 1734 h 10000"/>
                <a:gd name="connsiteX120" fmla="*/ 2269 w 10003"/>
                <a:gd name="connsiteY120" fmla="*/ 1486 h 10000"/>
                <a:gd name="connsiteX121" fmla="*/ 2294 w 10003"/>
                <a:gd name="connsiteY121" fmla="*/ 1434 h 10000"/>
                <a:gd name="connsiteX122" fmla="*/ 2317 w 10003"/>
                <a:gd name="connsiteY122" fmla="*/ 1455 h 10000"/>
                <a:gd name="connsiteX123" fmla="*/ 2380 w 10003"/>
                <a:gd name="connsiteY123" fmla="*/ 1115 h 10000"/>
                <a:gd name="connsiteX124" fmla="*/ 2537 w 10003"/>
                <a:gd name="connsiteY124" fmla="*/ 1135 h 10000"/>
                <a:gd name="connsiteX125" fmla="*/ 2583 w 10003"/>
                <a:gd name="connsiteY125" fmla="*/ 1311 h 10000"/>
                <a:gd name="connsiteX126" fmla="*/ 2615 w 10003"/>
                <a:gd name="connsiteY126" fmla="*/ 1538 h 10000"/>
                <a:gd name="connsiteX127" fmla="*/ 2672 w 10003"/>
                <a:gd name="connsiteY127" fmla="*/ 1734 h 10000"/>
                <a:gd name="connsiteX128" fmla="*/ 2772 w 10003"/>
                <a:gd name="connsiteY128" fmla="*/ 2157 h 10000"/>
                <a:gd name="connsiteX129" fmla="*/ 2576 w 10003"/>
                <a:gd name="connsiteY129" fmla="*/ 2673 h 10000"/>
                <a:gd name="connsiteX130" fmla="*/ 2655 w 10003"/>
                <a:gd name="connsiteY130" fmla="*/ 2746 h 10000"/>
                <a:gd name="connsiteX131" fmla="*/ 2757 w 10003"/>
                <a:gd name="connsiteY131" fmla="*/ 2818 h 10000"/>
                <a:gd name="connsiteX132" fmla="*/ 2891 w 10003"/>
                <a:gd name="connsiteY132" fmla="*/ 2622 h 10000"/>
                <a:gd name="connsiteX133" fmla="*/ 2897 w 10003"/>
                <a:gd name="connsiteY133" fmla="*/ 2404 h 10000"/>
                <a:gd name="connsiteX134" fmla="*/ 2852 w 10003"/>
                <a:gd name="connsiteY134" fmla="*/ 2301 h 10000"/>
                <a:gd name="connsiteX135" fmla="*/ 3030 w 10003"/>
                <a:gd name="connsiteY135" fmla="*/ 2250 h 10000"/>
                <a:gd name="connsiteX136" fmla="*/ 3104 w 10003"/>
                <a:gd name="connsiteY136" fmla="*/ 2497 h 10000"/>
                <a:gd name="connsiteX137" fmla="*/ 3104 w 10003"/>
                <a:gd name="connsiteY137" fmla="*/ 2425 h 10000"/>
                <a:gd name="connsiteX138" fmla="*/ 3086 w 10003"/>
                <a:gd name="connsiteY138" fmla="*/ 2353 h 10000"/>
                <a:gd name="connsiteX139" fmla="*/ 3080 w 10003"/>
                <a:gd name="connsiteY139" fmla="*/ 2178 h 10000"/>
                <a:gd name="connsiteX140" fmla="*/ 2907 w 10003"/>
                <a:gd name="connsiteY140" fmla="*/ 1930 h 10000"/>
                <a:gd name="connsiteX141" fmla="*/ 2772 w 10003"/>
                <a:gd name="connsiteY141" fmla="*/ 2002 h 10000"/>
                <a:gd name="connsiteX142" fmla="*/ 2716 w 10003"/>
                <a:gd name="connsiteY142" fmla="*/ 1683 h 10000"/>
                <a:gd name="connsiteX143" fmla="*/ 2661 w 10003"/>
                <a:gd name="connsiteY143" fmla="*/ 1507 h 10000"/>
                <a:gd name="connsiteX144" fmla="*/ 2716 w 10003"/>
                <a:gd name="connsiteY144" fmla="*/ 1331 h 10000"/>
                <a:gd name="connsiteX145" fmla="*/ 2710 w 10003"/>
                <a:gd name="connsiteY145" fmla="*/ 1166 h 10000"/>
                <a:gd name="connsiteX146" fmla="*/ 2687 w 10003"/>
                <a:gd name="connsiteY146" fmla="*/ 1115 h 10000"/>
                <a:gd name="connsiteX147" fmla="*/ 2727 w 10003"/>
                <a:gd name="connsiteY147" fmla="*/ 1115 h 10000"/>
                <a:gd name="connsiteX148" fmla="*/ 2772 w 10003"/>
                <a:gd name="connsiteY148" fmla="*/ 1455 h 10000"/>
                <a:gd name="connsiteX149" fmla="*/ 3002 w 10003"/>
                <a:gd name="connsiteY149" fmla="*/ 1662 h 10000"/>
                <a:gd name="connsiteX150" fmla="*/ 2827 w 10003"/>
                <a:gd name="connsiteY150" fmla="*/ 1383 h 10000"/>
                <a:gd name="connsiteX151" fmla="*/ 3166 w 10003"/>
                <a:gd name="connsiteY151" fmla="*/ 1383 h 10000"/>
                <a:gd name="connsiteX152" fmla="*/ 3221 w 10003"/>
                <a:gd name="connsiteY152" fmla="*/ 1362 h 10000"/>
                <a:gd name="connsiteX153" fmla="*/ 3008 w 10003"/>
                <a:gd name="connsiteY153" fmla="*/ 1115 h 10000"/>
                <a:gd name="connsiteX154" fmla="*/ 3064 w 10003"/>
                <a:gd name="connsiteY154" fmla="*/ 888 h 10000"/>
                <a:gd name="connsiteX155" fmla="*/ 3299 w 10003"/>
                <a:gd name="connsiteY155" fmla="*/ 888 h 10000"/>
                <a:gd name="connsiteX156" fmla="*/ 3277 w 10003"/>
                <a:gd name="connsiteY156" fmla="*/ 713 h 10000"/>
                <a:gd name="connsiteX157" fmla="*/ 3355 w 10003"/>
                <a:gd name="connsiteY157" fmla="*/ 589 h 10000"/>
                <a:gd name="connsiteX158" fmla="*/ 3401 w 10003"/>
                <a:gd name="connsiteY158" fmla="*/ 548 h 10000"/>
                <a:gd name="connsiteX159" fmla="*/ 3576 w 10003"/>
                <a:gd name="connsiteY159" fmla="*/ 423 h 10000"/>
                <a:gd name="connsiteX160" fmla="*/ 3620 w 10003"/>
                <a:gd name="connsiteY160" fmla="*/ 371 h 10000"/>
                <a:gd name="connsiteX161" fmla="*/ 3613 w 10003"/>
                <a:gd name="connsiteY161" fmla="*/ 444 h 10000"/>
                <a:gd name="connsiteX162" fmla="*/ 3800 w 10003"/>
                <a:gd name="connsiteY162" fmla="*/ 371 h 10000"/>
                <a:gd name="connsiteX163" fmla="*/ 3951 w 10003"/>
                <a:gd name="connsiteY163" fmla="*/ 248 h 10000"/>
                <a:gd name="connsiteX164" fmla="*/ 3974 w 10003"/>
                <a:gd name="connsiteY164" fmla="*/ 0 h 10000"/>
                <a:gd name="connsiteX165" fmla="*/ 4140 w 10003"/>
                <a:gd name="connsiteY165" fmla="*/ 21 h 10000"/>
                <a:gd name="connsiteX166" fmla="*/ 4130 w 10003"/>
                <a:gd name="connsiteY166" fmla="*/ 93 h 10000"/>
                <a:gd name="connsiteX167" fmla="*/ 4140 w 10003"/>
                <a:gd name="connsiteY167" fmla="*/ 176 h 10000"/>
                <a:gd name="connsiteX168" fmla="*/ 4241 w 10003"/>
                <a:gd name="connsiteY168" fmla="*/ 248 h 10000"/>
                <a:gd name="connsiteX169" fmla="*/ 4547 w 10003"/>
                <a:gd name="connsiteY169" fmla="*/ 268 h 10000"/>
                <a:gd name="connsiteX170" fmla="*/ 4713 w 10003"/>
                <a:gd name="connsiteY170" fmla="*/ 392 h 10000"/>
                <a:gd name="connsiteX171" fmla="*/ 4657 w 10003"/>
                <a:gd name="connsiteY171" fmla="*/ 795 h 10000"/>
                <a:gd name="connsiteX172" fmla="*/ 4596 w 10003"/>
                <a:gd name="connsiteY172" fmla="*/ 919 h 10000"/>
                <a:gd name="connsiteX173" fmla="*/ 4523 w 10003"/>
                <a:gd name="connsiteY173" fmla="*/ 1043 h 10000"/>
                <a:gd name="connsiteX174" fmla="*/ 4539 w 10003"/>
                <a:gd name="connsiteY174" fmla="*/ 1115 h 10000"/>
                <a:gd name="connsiteX175" fmla="*/ 4758 w 10003"/>
                <a:gd name="connsiteY175" fmla="*/ 919 h 10000"/>
                <a:gd name="connsiteX176" fmla="*/ 5253 w 10003"/>
                <a:gd name="connsiteY176" fmla="*/ 991 h 10000"/>
                <a:gd name="connsiteX177" fmla="*/ 5303 w 10003"/>
                <a:gd name="connsiteY177" fmla="*/ 1063 h 10000"/>
                <a:gd name="connsiteX178" fmla="*/ 5411 w 10003"/>
                <a:gd name="connsiteY178" fmla="*/ 1187 h 10000"/>
                <a:gd name="connsiteX179" fmla="*/ 5562 w 10003"/>
                <a:gd name="connsiteY179" fmla="*/ 919 h 10000"/>
                <a:gd name="connsiteX180" fmla="*/ 5791 w 10003"/>
                <a:gd name="connsiteY180" fmla="*/ 1063 h 10000"/>
                <a:gd name="connsiteX181" fmla="*/ 5859 w 10003"/>
                <a:gd name="connsiteY181" fmla="*/ 1115 h 10000"/>
                <a:gd name="connsiteX182" fmla="*/ 5915 w 10003"/>
                <a:gd name="connsiteY182" fmla="*/ 1166 h 10000"/>
                <a:gd name="connsiteX183" fmla="*/ 6135 w 10003"/>
                <a:gd name="connsiteY183" fmla="*/ 1631 h 10000"/>
                <a:gd name="connsiteX184" fmla="*/ 6213 w 10003"/>
                <a:gd name="connsiteY184" fmla="*/ 1611 h 10000"/>
                <a:gd name="connsiteX185" fmla="*/ 6205 w 10003"/>
                <a:gd name="connsiteY185" fmla="*/ 1507 h 10000"/>
                <a:gd name="connsiteX186" fmla="*/ 6213 w 10003"/>
                <a:gd name="connsiteY186" fmla="*/ 1383 h 10000"/>
                <a:gd name="connsiteX187" fmla="*/ 6324 w 10003"/>
                <a:gd name="connsiteY187" fmla="*/ 1486 h 10000"/>
                <a:gd name="connsiteX188" fmla="*/ 6504 w 10003"/>
                <a:gd name="connsiteY188" fmla="*/ 1507 h 10000"/>
                <a:gd name="connsiteX189" fmla="*/ 6655 w 10003"/>
                <a:gd name="connsiteY189" fmla="*/ 1455 h 10000"/>
                <a:gd name="connsiteX190" fmla="*/ 6583 w 10003"/>
                <a:gd name="connsiteY190" fmla="*/ 1362 h 10000"/>
                <a:gd name="connsiteX191" fmla="*/ 6677 w 10003"/>
                <a:gd name="connsiteY191" fmla="*/ 1084 h 10000"/>
                <a:gd name="connsiteX192" fmla="*/ 6942 w 10003"/>
                <a:gd name="connsiteY192" fmla="*/ 1207 h 10000"/>
                <a:gd name="connsiteX193" fmla="*/ 7211 w 10003"/>
                <a:gd name="connsiteY193" fmla="*/ 1331 h 10000"/>
                <a:gd name="connsiteX194" fmla="*/ 7234 w 10003"/>
                <a:gd name="connsiteY194" fmla="*/ 1362 h 10000"/>
                <a:gd name="connsiteX195" fmla="*/ 7469 w 10003"/>
                <a:gd name="connsiteY195" fmla="*/ 1611 h 10000"/>
                <a:gd name="connsiteX196" fmla="*/ 7649 w 10003"/>
                <a:gd name="connsiteY196" fmla="*/ 1507 h 10000"/>
                <a:gd name="connsiteX197" fmla="*/ 7872 w 10003"/>
                <a:gd name="connsiteY197" fmla="*/ 1538 h 10000"/>
                <a:gd name="connsiteX198" fmla="*/ 7950 w 10003"/>
                <a:gd name="connsiteY198" fmla="*/ 1611 h 10000"/>
                <a:gd name="connsiteX199" fmla="*/ 8232 w 10003"/>
                <a:gd name="connsiteY199" fmla="*/ 1930 h 10000"/>
                <a:gd name="connsiteX200" fmla="*/ 8547 w 10003"/>
                <a:gd name="connsiteY200" fmla="*/ 1879 h 10000"/>
                <a:gd name="connsiteX201" fmla="*/ 8658 w 10003"/>
                <a:gd name="connsiteY201" fmla="*/ 2033 h 10000"/>
                <a:gd name="connsiteX202" fmla="*/ 8816 w 10003"/>
                <a:gd name="connsiteY202" fmla="*/ 2157 h 10000"/>
                <a:gd name="connsiteX203" fmla="*/ 8845 w 10003"/>
                <a:gd name="connsiteY203" fmla="*/ 2105 h 10000"/>
                <a:gd name="connsiteX204" fmla="*/ 8823 w 10003"/>
                <a:gd name="connsiteY204" fmla="*/ 2074 h 10000"/>
                <a:gd name="connsiteX205" fmla="*/ 8704 w 10003"/>
                <a:gd name="connsiteY205" fmla="*/ 1930 h 10000"/>
                <a:gd name="connsiteX206" fmla="*/ 8789 w 10003"/>
                <a:gd name="connsiteY206" fmla="*/ 1755 h 10000"/>
                <a:gd name="connsiteX207" fmla="*/ 8995 w 10003"/>
                <a:gd name="connsiteY207" fmla="*/ 1910 h 10000"/>
                <a:gd name="connsiteX208" fmla="*/ 9293 w 10003"/>
                <a:gd name="connsiteY208" fmla="*/ 1982 h 10000"/>
                <a:gd name="connsiteX209" fmla="*/ 9559 w 10003"/>
                <a:gd name="connsiteY209" fmla="*/ 2260 h 10000"/>
                <a:gd name="connsiteX210" fmla="*/ 9702 w 10003"/>
                <a:gd name="connsiteY210" fmla="*/ 2332 h 10000"/>
                <a:gd name="connsiteX211" fmla="*/ 9813 w 10003"/>
                <a:gd name="connsiteY211" fmla="*/ 2446 h 10000"/>
                <a:gd name="connsiteX212" fmla="*/ 9940 w 10003"/>
                <a:gd name="connsiteY212" fmla="*/ 2632 h 10000"/>
                <a:gd name="connsiteX213" fmla="*/ 10000 w 10003"/>
                <a:gd name="connsiteY213" fmla="*/ 2756 h 10000"/>
                <a:gd name="connsiteX214" fmla="*/ 9832 w 10003"/>
                <a:gd name="connsiteY214" fmla="*/ 2787 h 10000"/>
                <a:gd name="connsiteX215" fmla="*/ 9724 w 10003"/>
                <a:gd name="connsiteY215" fmla="*/ 2725 h 10000"/>
                <a:gd name="connsiteX0" fmla="*/ 1672 w 9940"/>
                <a:gd name="connsiteY0" fmla="*/ 7183 h 10000"/>
                <a:gd name="connsiteX1" fmla="*/ 1718 w 9940"/>
                <a:gd name="connsiteY1" fmla="*/ 7430 h 10000"/>
                <a:gd name="connsiteX2" fmla="*/ 1666 w 9940"/>
                <a:gd name="connsiteY2" fmla="*/ 7430 h 10000"/>
                <a:gd name="connsiteX3" fmla="*/ 1610 w 9940"/>
                <a:gd name="connsiteY3" fmla="*/ 7255 h 10000"/>
                <a:gd name="connsiteX4" fmla="*/ 1571 w 9940"/>
                <a:gd name="connsiteY4" fmla="*/ 7430 h 10000"/>
                <a:gd name="connsiteX5" fmla="*/ 1577 w 9940"/>
                <a:gd name="connsiteY5" fmla="*/ 7854 h 10000"/>
                <a:gd name="connsiteX6" fmla="*/ 1666 w 9940"/>
                <a:gd name="connsiteY6" fmla="*/ 8070 h 10000"/>
                <a:gd name="connsiteX7" fmla="*/ 1711 w 9940"/>
                <a:gd name="connsiteY7" fmla="*/ 8019 h 10000"/>
                <a:gd name="connsiteX8" fmla="*/ 1808 w 9940"/>
                <a:gd name="connsiteY8" fmla="*/ 8493 h 10000"/>
                <a:gd name="connsiteX9" fmla="*/ 1672 w 9940"/>
                <a:gd name="connsiteY9" fmla="*/ 8669 h 10000"/>
                <a:gd name="connsiteX10" fmla="*/ 1656 w 9940"/>
                <a:gd name="connsiteY10" fmla="*/ 9009 h 10000"/>
                <a:gd name="connsiteX11" fmla="*/ 1728 w 9940"/>
                <a:gd name="connsiteY11" fmla="*/ 9236 h 10000"/>
                <a:gd name="connsiteX12" fmla="*/ 1728 w 9940"/>
                <a:gd name="connsiteY12" fmla="*/ 9484 h 10000"/>
                <a:gd name="connsiteX13" fmla="*/ 1837 w 9940"/>
                <a:gd name="connsiteY13" fmla="*/ 9835 h 10000"/>
                <a:gd name="connsiteX14" fmla="*/ 1768 w 9940"/>
                <a:gd name="connsiteY14" fmla="*/ 10000 h 10000"/>
                <a:gd name="connsiteX15" fmla="*/ 1666 w 9940"/>
                <a:gd name="connsiteY15" fmla="*/ 9753 h 10000"/>
                <a:gd name="connsiteX16" fmla="*/ 1522 w 9940"/>
                <a:gd name="connsiteY16" fmla="*/ 9505 h 10000"/>
                <a:gd name="connsiteX17" fmla="*/ 1460 w 9940"/>
                <a:gd name="connsiteY17" fmla="*/ 9588 h 10000"/>
                <a:gd name="connsiteX18" fmla="*/ 1358 w 9940"/>
                <a:gd name="connsiteY18" fmla="*/ 9380 h 10000"/>
                <a:gd name="connsiteX19" fmla="*/ 1139 w 9940"/>
                <a:gd name="connsiteY19" fmla="*/ 9339 h 10000"/>
                <a:gd name="connsiteX20" fmla="*/ 881 w 9940"/>
                <a:gd name="connsiteY20" fmla="*/ 8813 h 10000"/>
                <a:gd name="connsiteX21" fmla="*/ 949 w 9940"/>
                <a:gd name="connsiteY21" fmla="*/ 8721 h 10000"/>
                <a:gd name="connsiteX22" fmla="*/ 998 w 9940"/>
                <a:gd name="connsiteY22" fmla="*/ 8493 h 10000"/>
                <a:gd name="connsiteX23" fmla="*/ 943 w 9940"/>
                <a:gd name="connsiteY23" fmla="*/ 8390 h 10000"/>
                <a:gd name="connsiteX24" fmla="*/ 1060 w 9940"/>
                <a:gd name="connsiteY24" fmla="*/ 8245 h 10000"/>
                <a:gd name="connsiteX25" fmla="*/ 982 w 9940"/>
                <a:gd name="connsiteY25" fmla="*/ 8194 h 10000"/>
                <a:gd name="connsiteX26" fmla="*/ 995 w 9940"/>
                <a:gd name="connsiteY26" fmla="*/ 8091 h 10000"/>
                <a:gd name="connsiteX27" fmla="*/ 1044 w 9940"/>
                <a:gd name="connsiteY27" fmla="*/ 8111 h 10000"/>
                <a:gd name="connsiteX28" fmla="*/ 1100 w 9940"/>
                <a:gd name="connsiteY28" fmla="*/ 8019 h 10000"/>
                <a:gd name="connsiteX29" fmla="*/ 1073 w 9940"/>
                <a:gd name="connsiteY29" fmla="*/ 7864 h 10000"/>
                <a:gd name="connsiteX30" fmla="*/ 1083 w 9940"/>
                <a:gd name="connsiteY30" fmla="*/ 7503 h 10000"/>
                <a:gd name="connsiteX31" fmla="*/ 965 w 9940"/>
                <a:gd name="connsiteY31" fmla="*/ 7440 h 10000"/>
                <a:gd name="connsiteX32" fmla="*/ 863 w 9940"/>
                <a:gd name="connsiteY32" fmla="*/ 7286 h 10000"/>
                <a:gd name="connsiteX33" fmla="*/ 727 w 9940"/>
                <a:gd name="connsiteY33" fmla="*/ 7275 h 10000"/>
                <a:gd name="connsiteX34" fmla="*/ 710 w 9940"/>
                <a:gd name="connsiteY34" fmla="*/ 7090 h 10000"/>
                <a:gd name="connsiteX35" fmla="*/ 619 w 9940"/>
                <a:gd name="connsiteY35" fmla="*/ 6945 h 10000"/>
                <a:gd name="connsiteX36" fmla="*/ 638 w 9940"/>
                <a:gd name="connsiteY36" fmla="*/ 6822 h 10000"/>
                <a:gd name="connsiteX37" fmla="*/ 583 w 9940"/>
                <a:gd name="connsiteY37" fmla="*/ 6698 h 10000"/>
                <a:gd name="connsiteX38" fmla="*/ 475 w 9940"/>
                <a:gd name="connsiteY38" fmla="*/ 6698 h 10000"/>
                <a:gd name="connsiteX39" fmla="*/ 441 w 9940"/>
                <a:gd name="connsiteY39" fmla="*/ 6791 h 10000"/>
                <a:gd name="connsiteX40" fmla="*/ 415 w 9940"/>
                <a:gd name="connsiteY40" fmla="*/ 6750 h 10000"/>
                <a:gd name="connsiteX41" fmla="*/ 392 w 9940"/>
                <a:gd name="connsiteY41" fmla="*/ 6439 h 10000"/>
                <a:gd name="connsiteX42" fmla="*/ 435 w 9940"/>
                <a:gd name="connsiteY42" fmla="*/ 6470 h 10000"/>
                <a:gd name="connsiteX43" fmla="*/ 484 w 9940"/>
                <a:gd name="connsiteY43" fmla="*/ 6347 h 10000"/>
                <a:gd name="connsiteX44" fmla="*/ 415 w 9940"/>
                <a:gd name="connsiteY44" fmla="*/ 6233 h 10000"/>
                <a:gd name="connsiteX45" fmla="*/ 327 w 9940"/>
                <a:gd name="connsiteY45" fmla="*/ 6017 h 10000"/>
                <a:gd name="connsiteX46" fmla="*/ 347 w 9940"/>
                <a:gd name="connsiteY46" fmla="*/ 5821 h 10000"/>
                <a:gd name="connsiteX47" fmla="*/ 284 w 9940"/>
                <a:gd name="connsiteY47" fmla="*/ 5697 h 10000"/>
                <a:gd name="connsiteX48" fmla="*/ 235 w 9940"/>
                <a:gd name="connsiteY48" fmla="*/ 5728 h 10000"/>
                <a:gd name="connsiteX49" fmla="*/ 210 w 9940"/>
                <a:gd name="connsiteY49" fmla="*/ 5604 h 10000"/>
                <a:gd name="connsiteX50" fmla="*/ 170 w 9940"/>
                <a:gd name="connsiteY50" fmla="*/ 5645 h 10000"/>
                <a:gd name="connsiteX51" fmla="*/ 121 w 9940"/>
                <a:gd name="connsiteY51" fmla="*/ 5604 h 10000"/>
                <a:gd name="connsiteX52" fmla="*/ 72 w 9940"/>
                <a:gd name="connsiteY52" fmla="*/ 5181 h 10000"/>
                <a:gd name="connsiteX53" fmla="*/ 89 w 9940"/>
                <a:gd name="connsiteY53" fmla="*/ 5057 h 10000"/>
                <a:gd name="connsiteX54" fmla="*/ 42 w 9940"/>
                <a:gd name="connsiteY54" fmla="*/ 4892 h 10000"/>
                <a:gd name="connsiteX55" fmla="*/ 69 w 9940"/>
                <a:gd name="connsiteY55" fmla="*/ 4655 h 10000"/>
                <a:gd name="connsiteX56" fmla="*/ 219 w 9940"/>
                <a:gd name="connsiteY56" fmla="*/ 4510 h 10000"/>
                <a:gd name="connsiteX57" fmla="*/ 134 w 9940"/>
                <a:gd name="connsiteY57" fmla="*/ 4406 h 10000"/>
                <a:gd name="connsiteX58" fmla="*/ 86 w 9940"/>
                <a:gd name="connsiteY58" fmla="*/ 4283 h 10000"/>
                <a:gd name="connsiteX59" fmla="*/ 213 w 9940"/>
                <a:gd name="connsiteY59" fmla="*/ 3912 h 10000"/>
                <a:gd name="connsiteX60" fmla="*/ 259 w 9940"/>
                <a:gd name="connsiteY60" fmla="*/ 3664 h 10000"/>
                <a:gd name="connsiteX61" fmla="*/ 157 w 9940"/>
                <a:gd name="connsiteY61" fmla="*/ 3488 h 10000"/>
                <a:gd name="connsiteX62" fmla="*/ 197 w 9940"/>
                <a:gd name="connsiteY62" fmla="*/ 3344 h 10000"/>
                <a:gd name="connsiteX63" fmla="*/ 117 w 9940"/>
                <a:gd name="connsiteY63" fmla="*/ 3148 h 10000"/>
                <a:gd name="connsiteX64" fmla="*/ 117 w 9940"/>
                <a:gd name="connsiteY64" fmla="*/ 2972 h 10000"/>
                <a:gd name="connsiteX65" fmla="*/ 63 w 9940"/>
                <a:gd name="connsiteY65" fmla="*/ 2622 h 10000"/>
                <a:gd name="connsiteX66" fmla="*/ 102 w 9940"/>
                <a:gd name="connsiteY66" fmla="*/ 2404 h 10000"/>
                <a:gd name="connsiteX67" fmla="*/ 39 w 9940"/>
                <a:gd name="connsiteY67" fmla="*/ 2301 h 10000"/>
                <a:gd name="connsiteX68" fmla="*/ 0 w 9940"/>
                <a:gd name="connsiteY68" fmla="*/ 2178 h 10000"/>
                <a:gd name="connsiteX69" fmla="*/ 56 w 9940"/>
                <a:gd name="connsiteY69" fmla="*/ 1951 h 10000"/>
                <a:gd name="connsiteX70" fmla="*/ 124 w 9940"/>
                <a:gd name="connsiteY70" fmla="*/ 1910 h 10000"/>
                <a:gd name="connsiteX71" fmla="*/ 203 w 9940"/>
                <a:gd name="connsiteY71" fmla="*/ 1858 h 10000"/>
                <a:gd name="connsiteX72" fmla="*/ 321 w 9940"/>
                <a:gd name="connsiteY72" fmla="*/ 1951 h 10000"/>
                <a:gd name="connsiteX73" fmla="*/ 500 w 9940"/>
                <a:gd name="connsiteY73" fmla="*/ 2054 h 10000"/>
                <a:gd name="connsiteX74" fmla="*/ 656 w 9940"/>
                <a:gd name="connsiteY74" fmla="*/ 2229 h 10000"/>
                <a:gd name="connsiteX75" fmla="*/ 785 w 9940"/>
                <a:gd name="connsiteY75" fmla="*/ 2373 h 10000"/>
                <a:gd name="connsiteX76" fmla="*/ 752 w 9940"/>
                <a:gd name="connsiteY76" fmla="*/ 2777 h 10000"/>
                <a:gd name="connsiteX77" fmla="*/ 376 w 9940"/>
                <a:gd name="connsiteY77" fmla="*/ 2673 h 10000"/>
                <a:gd name="connsiteX78" fmla="*/ 252 w 9940"/>
                <a:gd name="connsiteY78" fmla="*/ 2550 h 10000"/>
                <a:gd name="connsiteX79" fmla="*/ 298 w 9940"/>
                <a:gd name="connsiteY79" fmla="*/ 2622 h 10000"/>
                <a:gd name="connsiteX80" fmla="*/ 344 w 9940"/>
                <a:gd name="connsiteY80" fmla="*/ 2797 h 10000"/>
                <a:gd name="connsiteX81" fmla="*/ 415 w 9940"/>
                <a:gd name="connsiteY81" fmla="*/ 2921 h 10000"/>
                <a:gd name="connsiteX82" fmla="*/ 432 w 9940"/>
                <a:gd name="connsiteY82" fmla="*/ 3189 h 10000"/>
                <a:gd name="connsiteX83" fmla="*/ 526 w 9940"/>
                <a:gd name="connsiteY83" fmla="*/ 3313 h 10000"/>
                <a:gd name="connsiteX84" fmla="*/ 605 w 9940"/>
                <a:gd name="connsiteY84" fmla="*/ 3436 h 10000"/>
                <a:gd name="connsiteX85" fmla="*/ 628 w 9940"/>
                <a:gd name="connsiteY85" fmla="*/ 3467 h 10000"/>
                <a:gd name="connsiteX86" fmla="*/ 675 w 9940"/>
                <a:gd name="connsiteY86" fmla="*/ 3436 h 10000"/>
                <a:gd name="connsiteX87" fmla="*/ 656 w 9940"/>
                <a:gd name="connsiteY87" fmla="*/ 3364 h 10000"/>
                <a:gd name="connsiteX88" fmla="*/ 566 w 9940"/>
                <a:gd name="connsiteY88" fmla="*/ 3189 h 10000"/>
                <a:gd name="connsiteX89" fmla="*/ 832 w 9940"/>
                <a:gd name="connsiteY89" fmla="*/ 3344 h 10000"/>
                <a:gd name="connsiteX90" fmla="*/ 841 w 9940"/>
                <a:gd name="connsiteY90" fmla="*/ 3271 h 10000"/>
                <a:gd name="connsiteX91" fmla="*/ 815 w 9940"/>
                <a:gd name="connsiteY91" fmla="*/ 3220 h 10000"/>
                <a:gd name="connsiteX92" fmla="*/ 769 w 9940"/>
                <a:gd name="connsiteY92" fmla="*/ 2993 h 10000"/>
                <a:gd name="connsiteX93" fmla="*/ 903 w 9940"/>
                <a:gd name="connsiteY93" fmla="*/ 2777 h 10000"/>
                <a:gd name="connsiteX94" fmla="*/ 1005 w 9940"/>
                <a:gd name="connsiteY94" fmla="*/ 2921 h 10000"/>
                <a:gd name="connsiteX95" fmla="*/ 1038 w 9940"/>
                <a:gd name="connsiteY95" fmla="*/ 2725 h 10000"/>
                <a:gd name="connsiteX96" fmla="*/ 989 w 9940"/>
                <a:gd name="connsiteY96" fmla="*/ 2653 h 10000"/>
                <a:gd name="connsiteX97" fmla="*/ 971 w 9940"/>
                <a:gd name="connsiteY97" fmla="*/ 2281 h 10000"/>
                <a:gd name="connsiteX98" fmla="*/ 949 w 9940"/>
                <a:gd name="connsiteY98" fmla="*/ 2229 h 10000"/>
                <a:gd name="connsiteX99" fmla="*/ 1076 w 9940"/>
                <a:gd name="connsiteY99" fmla="*/ 2250 h 10000"/>
                <a:gd name="connsiteX100" fmla="*/ 1128 w 9940"/>
                <a:gd name="connsiteY100" fmla="*/ 2404 h 10000"/>
                <a:gd name="connsiteX101" fmla="*/ 1060 w 9940"/>
                <a:gd name="connsiteY101" fmla="*/ 2529 h 10000"/>
                <a:gd name="connsiteX102" fmla="*/ 1178 w 9940"/>
                <a:gd name="connsiteY102" fmla="*/ 2694 h 10000"/>
                <a:gd name="connsiteX103" fmla="*/ 1273 w 9940"/>
                <a:gd name="connsiteY103" fmla="*/ 2529 h 10000"/>
                <a:gd name="connsiteX104" fmla="*/ 1389 w 9940"/>
                <a:gd name="connsiteY104" fmla="*/ 2301 h 10000"/>
                <a:gd name="connsiteX105" fmla="*/ 1516 w 9940"/>
                <a:gd name="connsiteY105" fmla="*/ 2157 h 10000"/>
                <a:gd name="connsiteX106" fmla="*/ 1554 w 9940"/>
                <a:gd name="connsiteY106" fmla="*/ 2250 h 10000"/>
                <a:gd name="connsiteX107" fmla="*/ 1875 w 9940"/>
                <a:gd name="connsiteY107" fmla="*/ 2054 h 10000"/>
                <a:gd name="connsiteX108" fmla="*/ 1942 w 9940"/>
                <a:gd name="connsiteY108" fmla="*/ 2250 h 10000"/>
                <a:gd name="connsiteX109" fmla="*/ 1932 w 9940"/>
                <a:gd name="connsiteY109" fmla="*/ 2002 h 10000"/>
                <a:gd name="connsiteX110" fmla="*/ 1846 w 9940"/>
                <a:gd name="connsiteY110" fmla="*/ 1786 h 10000"/>
                <a:gd name="connsiteX111" fmla="*/ 1831 w 9940"/>
                <a:gd name="connsiteY111" fmla="*/ 1703 h 10000"/>
                <a:gd name="connsiteX112" fmla="*/ 1893 w 9940"/>
                <a:gd name="connsiteY112" fmla="*/ 1786 h 10000"/>
                <a:gd name="connsiteX113" fmla="*/ 2111 w 9940"/>
                <a:gd name="connsiteY113" fmla="*/ 1951 h 10000"/>
                <a:gd name="connsiteX114" fmla="*/ 2357 w 9940"/>
                <a:gd name="connsiteY114" fmla="*/ 2126 h 10000"/>
                <a:gd name="connsiteX115" fmla="*/ 2475 w 9940"/>
                <a:gd name="connsiteY115" fmla="*/ 2250 h 10000"/>
                <a:gd name="connsiteX116" fmla="*/ 2514 w 9940"/>
                <a:gd name="connsiteY116" fmla="*/ 2074 h 10000"/>
                <a:gd name="connsiteX117" fmla="*/ 2458 w 9940"/>
                <a:gd name="connsiteY117" fmla="*/ 2033 h 10000"/>
                <a:gd name="connsiteX118" fmla="*/ 2387 w 9940"/>
                <a:gd name="connsiteY118" fmla="*/ 1930 h 10000"/>
                <a:gd name="connsiteX119" fmla="*/ 2340 w 9940"/>
                <a:gd name="connsiteY119" fmla="*/ 1734 h 10000"/>
                <a:gd name="connsiteX120" fmla="*/ 2269 w 9940"/>
                <a:gd name="connsiteY120" fmla="*/ 1486 h 10000"/>
                <a:gd name="connsiteX121" fmla="*/ 2294 w 9940"/>
                <a:gd name="connsiteY121" fmla="*/ 1434 h 10000"/>
                <a:gd name="connsiteX122" fmla="*/ 2317 w 9940"/>
                <a:gd name="connsiteY122" fmla="*/ 1455 h 10000"/>
                <a:gd name="connsiteX123" fmla="*/ 2380 w 9940"/>
                <a:gd name="connsiteY123" fmla="*/ 1115 h 10000"/>
                <a:gd name="connsiteX124" fmla="*/ 2537 w 9940"/>
                <a:gd name="connsiteY124" fmla="*/ 1135 h 10000"/>
                <a:gd name="connsiteX125" fmla="*/ 2583 w 9940"/>
                <a:gd name="connsiteY125" fmla="*/ 1311 h 10000"/>
                <a:gd name="connsiteX126" fmla="*/ 2615 w 9940"/>
                <a:gd name="connsiteY126" fmla="*/ 1538 h 10000"/>
                <a:gd name="connsiteX127" fmla="*/ 2672 w 9940"/>
                <a:gd name="connsiteY127" fmla="*/ 1734 h 10000"/>
                <a:gd name="connsiteX128" fmla="*/ 2772 w 9940"/>
                <a:gd name="connsiteY128" fmla="*/ 2157 h 10000"/>
                <a:gd name="connsiteX129" fmla="*/ 2576 w 9940"/>
                <a:gd name="connsiteY129" fmla="*/ 2673 h 10000"/>
                <a:gd name="connsiteX130" fmla="*/ 2655 w 9940"/>
                <a:gd name="connsiteY130" fmla="*/ 2746 h 10000"/>
                <a:gd name="connsiteX131" fmla="*/ 2757 w 9940"/>
                <a:gd name="connsiteY131" fmla="*/ 2818 h 10000"/>
                <a:gd name="connsiteX132" fmla="*/ 2891 w 9940"/>
                <a:gd name="connsiteY132" fmla="*/ 2622 h 10000"/>
                <a:gd name="connsiteX133" fmla="*/ 2897 w 9940"/>
                <a:gd name="connsiteY133" fmla="*/ 2404 h 10000"/>
                <a:gd name="connsiteX134" fmla="*/ 2852 w 9940"/>
                <a:gd name="connsiteY134" fmla="*/ 2301 h 10000"/>
                <a:gd name="connsiteX135" fmla="*/ 3030 w 9940"/>
                <a:gd name="connsiteY135" fmla="*/ 2250 h 10000"/>
                <a:gd name="connsiteX136" fmla="*/ 3104 w 9940"/>
                <a:gd name="connsiteY136" fmla="*/ 2497 h 10000"/>
                <a:gd name="connsiteX137" fmla="*/ 3104 w 9940"/>
                <a:gd name="connsiteY137" fmla="*/ 2425 h 10000"/>
                <a:gd name="connsiteX138" fmla="*/ 3086 w 9940"/>
                <a:gd name="connsiteY138" fmla="*/ 2353 h 10000"/>
                <a:gd name="connsiteX139" fmla="*/ 3080 w 9940"/>
                <a:gd name="connsiteY139" fmla="*/ 2178 h 10000"/>
                <a:gd name="connsiteX140" fmla="*/ 2907 w 9940"/>
                <a:gd name="connsiteY140" fmla="*/ 1930 h 10000"/>
                <a:gd name="connsiteX141" fmla="*/ 2772 w 9940"/>
                <a:gd name="connsiteY141" fmla="*/ 2002 h 10000"/>
                <a:gd name="connsiteX142" fmla="*/ 2716 w 9940"/>
                <a:gd name="connsiteY142" fmla="*/ 1683 h 10000"/>
                <a:gd name="connsiteX143" fmla="*/ 2661 w 9940"/>
                <a:gd name="connsiteY143" fmla="*/ 1507 h 10000"/>
                <a:gd name="connsiteX144" fmla="*/ 2716 w 9940"/>
                <a:gd name="connsiteY144" fmla="*/ 1331 h 10000"/>
                <a:gd name="connsiteX145" fmla="*/ 2710 w 9940"/>
                <a:gd name="connsiteY145" fmla="*/ 1166 h 10000"/>
                <a:gd name="connsiteX146" fmla="*/ 2687 w 9940"/>
                <a:gd name="connsiteY146" fmla="*/ 1115 h 10000"/>
                <a:gd name="connsiteX147" fmla="*/ 2727 w 9940"/>
                <a:gd name="connsiteY147" fmla="*/ 1115 h 10000"/>
                <a:gd name="connsiteX148" fmla="*/ 2772 w 9940"/>
                <a:gd name="connsiteY148" fmla="*/ 1455 h 10000"/>
                <a:gd name="connsiteX149" fmla="*/ 3002 w 9940"/>
                <a:gd name="connsiteY149" fmla="*/ 1662 h 10000"/>
                <a:gd name="connsiteX150" fmla="*/ 2827 w 9940"/>
                <a:gd name="connsiteY150" fmla="*/ 1383 h 10000"/>
                <a:gd name="connsiteX151" fmla="*/ 3166 w 9940"/>
                <a:gd name="connsiteY151" fmla="*/ 1383 h 10000"/>
                <a:gd name="connsiteX152" fmla="*/ 3221 w 9940"/>
                <a:gd name="connsiteY152" fmla="*/ 1362 h 10000"/>
                <a:gd name="connsiteX153" fmla="*/ 3008 w 9940"/>
                <a:gd name="connsiteY153" fmla="*/ 1115 h 10000"/>
                <a:gd name="connsiteX154" fmla="*/ 3064 w 9940"/>
                <a:gd name="connsiteY154" fmla="*/ 888 h 10000"/>
                <a:gd name="connsiteX155" fmla="*/ 3299 w 9940"/>
                <a:gd name="connsiteY155" fmla="*/ 888 h 10000"/>
                <a:gd name="connsiteX156" fmla="*/ 3277 w 9940"/>
                <a:gd name="connsiteY156" fmla="*/ 713 h 10000"/>
                <a:gd name="connsiteX157" fmla="*/ 3355 w 9940"/>
                <a:gd name="connsiteY157" fmla="*/ 589 h 10000"/>
                <a:gd name="connsiteX158" fmla="*/ 3401 w 9940"/>
                <a:gd name="connsiteY158" fmla="*/ 548 h 10000"/>
                <a:gd name="connsiteX159" fmla="*/ 3576 w 9940"/>
                <a:gd name="connsiteY159" fmla="*/ 423 h 10000"/>
                <a:gd name="connsiteX160" fmla="*/ 3620 w 9940"/>
                <a:gd name="connsiteY160" fmla="*/ 371 h 10000"/>
                <a:gd name="connsiteX161" fmla="*/ 3613 w 9940"/>
                <a:gd name="connsiteY161" fmla="*/ 444 h 10000"/>
                <a:gd name="connsiteX162" fmla="*/ 3800 w 9940"/>
                <a:gd name="connsiteY162" fmla="*/ 371 h 10000"/>
                <a:gd name="connsiteX163" fmla="*/ 3951 w 9940"/>
                <a:gd name="connsiteY163" fmla="*/ 248 h 10000"/>
                <a:gd name="connsiteX164" fmla="*/ 3974 w 9940"/>
                <a:gd name="connsiteY164" fmla="*/ 0 h 10000"/>
                <a:gd name="connsiteX165" fmla="*/ 4140 w 9940"/>
                <a:gd name="connsiteY165" fmla="*/ 21 h 10000"/>
                <a:gd name="connsiteX166" fmla="*/ 4130 w 9940"/>
                <a:gd name="connsiteY166" fmla="*/ 93 h 10000"/>
                <a:gd name="connsiteX167" fmla="*/ 4140 w 9940"/>
                <a:gd name="connsiteY167" fmla="*/ 176 h 10000"/>
                <a:gd name="connsiteX168" fmla="*/ 4241 w 9940"/>
                <a:gd name="connsiteY168" fmla="*/ 248 h 10000"/>
                <a:gd name="connsiteX169" fmla="*/ 4547 w 9940"/>
                <a:gd name="connsiteY169" fmla="*/ 268 h 10000"/>
                <a:gd name="connsiteX170" fmla="*/ 4713 w 9940"/>
                <a:gd name="connsiteY170" fmla="*/ 392 h 10000"/>
                <a:gd name="connsiteX171" fmla="*/ 4657 w 9940"/>
                <a:gd name="connsiteY171" fmla="*/ 795 h 10000"/>
                <a:gd name="connsiteX172" fmla="*/ 4596 w 9940"/>
                <a:gd name="connsiteY172" fmla="*/ 919 h 10000"/>
                <a:gd name="connsiteX173" fmla="*/ 4523 w 9940"/>
                <a:gd name="connsiteY173" fmla="*/ 1043 h 10000"/>
                <a:gd name="connsiteX174" fmla="*/ 4539 w 9940"/>
                <a:gd name="connsiteY174" fmla="*/ 1115 h 10000"/>
                <a:gd name="connsiteX175" fmla="*/ 4758 w 9940"/>
                <a:gd name="connsiteY175" fmla="*/ 919 h 10000"/>
                <a:gd name="connsiteX176" fmla="*/ 5253 w 9940"/>
                <a:gd name="connsiteY176" fmla="*/ 991 h 10000"/>
                <a:gd name="connsiteX177" fmla="*/ 5303 w 9940"/>
                <a:gd name="connsiteY177" fmla="*/ 1063 h 10000"/>
                <a:gd name="connsiteX178" fmla="*/ 5411 w 9940"/>
                <a:gd name="connsiteY178" fmla="*/ 1187 h 10000"/>
                <a:gd name="connsiteX179" fmla="*/ 5562 w 9940"/>
                <a:gd name="connsiteY179" fmla="*/ 919 h 10000"/>
                <a:gd name="connsiteX180" fmla="*/ 5791 w 9940"/>
                <a:gd name="connsiteY180" fmla="*/ 1063 h 10000"/>
                <a:gd name="connsiteX181" fmla="*/ 5859 w 9940"/>
                <a:gd name="connsiteY181" fmla="*/ 1115 h 10000"/>
                <a:gd name="connsiteX182" fmla="*/ 5915 w 9940"/>
                <a:gd name="connsiteY182" fmla="*/ 1166 h 10000"/>
                <a:gd name="connsiteX183" fmla="*/ 6135 w 9940"/>
                <a:gd name="connsiteY183" fmla="*/ 1631 h 10000"/>
                <a:gd name="connsiteX184" fmla="*/ 6213 w 9940"/>
                <a:gd name="connsiteY184" fmla="*/ 1611 h 10000"/>
                <a:gd name="connsiteX185" fmla="*/ 6205 w 9940"/>
                <a:gd name="connsiteY185" fmla="*/ 1507 h 10000"/>
                <a:gd name="connsiteX186" fmla="*/ 6213 w 9940"/>
                <a:gd name="connsiteY186" fmla="*/ 1383 h 10000"/>
                <a:gd name="connsiteX187" fmla="*/ 6324 w 9940"/>
                <a:gd name="connsiteY187" fmla="*/ 1486 h 10000"/>
                <a:gd name="connsiteX188" fmla="*/ 6504 w 9940"/>
                <a:gd name="connsiteY188" fmla="*/ 1507 h 10000"/>
                <a:gd name="connsiteX189" fmla="*/ 6655 w 9940"/>
                <a:gd name="connsiteY189" fmla="*/ 1455 h 10000"/>
                <a:gd name="connsiteX190" fmla="*/ 6583 w 9940"/>
                <a:gd name="connsiteY190" fmla="*/ 1362 h 10000"/>
                <a:gd name="connsiteX191" fmla="*/ 6677 w 9940"/>
                <a:gd name="connsiteY191" fmla="*/ 1084 h 10000"/>
                <a:gd name="connsiteX192" fmla="*/ 6942 w 9940"/>
                <a:gd name="connsiteY192" fmla="*/ 1207 h 10000"/>
                <a:gd name="connsiteX193" fmla="*/ 7211 w 9940"/>
                <a:gd name="connsiteY193" fmla="*/ 1331 h 10000"/>
                <a:gd name="connsiteX194" fmla="*/ 7234 w 9940"/>
                <a:gd name="connsiteY194" fmla="*/ 1362 h 10000"/>
                <a:gd name="connsiteX195" fmla="*/ 7469 w 9940"/>
                <a:gd name="connsiteY195" fmla="*/ 1611 h 10000"/>
                <a:gd name="connsiteX196" fmla="*/ 7649 w 9940"/>
                <a:gd name="connsiteY196" fmla="*/ 1507 h 10000"/>
                <a:gd name="connsiteX197" fmla="*/ 7872 w 9940"/>
                <a:gd name="connsiteY197" fmla="*/ 1538 h 10000"/>
                <a:gd name="connsiteX198" fmla="*/ 7950 w 9940"/>
                <a:gd name="connsiteY198" fmla="*/ 1611 h 10000"/>
                <a:gd name="connsiteX199" fmla="*/ 8232 w 9940"/>
                <a:gd name="connsiteY199" fmla="*/ 1930 h 10000"/>
                <a:gd name="connsiteX200" fmla="*/ 8547 w 9940"/>
                <a:gd name="connsiteY200" fmla="*/ 1879 h 10000"/>
                <a:gd name="connsiteX201" fmla="*/ 8658 w 9940"/>
                <a:gd name="connsiteY201" fmla="*/ 2033 h 10000"/>
                <a:gd name="connsiteX202" fmla="*/ 8816 w 9940"/>
                <a:gd name="connsiteY202" fmla="*/ 2157 h 10000"/>
                <a:gd name="connsiteX203" fmla="*/ 8845 w 9940"/>
                <a:gd name="connsiteY203" fmla="*/ 2105 h 10000"/>
                <a:gd name="connsiteX204" fmla="*/ 8823 w 9940"/>
                <a:gd name="connsiteY204" fmla="*/ 2074 h 10000"/>
                <a:gd name="connsiteX205" fmla="*/ 8704 w 9940"/>
                <a:gd name="connsiteY205" fmla="*/ 1930 h 10000"/>
                <a:gd name="connsiteX206" fmla="*/ 8789 w 9940"/>
                <a:gd name="connsiteY206" fmla="*/ 1755 h 10000"/>
                <a:gd name="connsiteX207" fmla="*/ 8995 w 9940"/>
                <a:gd name="connsiteY207" fmla="*/ 1910 h 10000"/>
                <a:gd name="connsiteX208" fmla="*/ 9293 w 9940"/>
                <a:gd name="connsiteY208" fmla="*/ 1982 h 10000"/>
                <a:gd name="connsiteX209" fmla="*/ 9559 w 9940"/>
                <a:gd name="connsiteY209" fmla="*/ 2260 h 10000"/>
                <a:gd name="connsiteX210" fmla="*/ 9702 w 9940"/>
                <a:gd name="connsiteY210" fmla="*/ 2332 h 10000"/>
                <a:gd name="connsiteX211" fmla="*/ 9813 w 9940"/>
                <a:gd name="connsiteY211" fmla="*/ 2446 h 10000"/>
                <a:gd name="connsiteX212" fmla="*/ 9940 w 9940"/>
                <a:gd name="connsiteY212" fmla="*/ 2632 h 10000"/>
                <a:gd name="connsiteX213" fmla="*/ 9832 w 9940"/>
                <a:gd name="connsiteY213" fmla="*/ 2787 h 10000"/>
                <a:gd name="connsiteX214" fmla="*/ 9724 w 9940"/>
                <a:gd name="connsiteY214" fmla="*/ 2725 h 10000"/>
                <a:gd name="connsiteX0" fmla="*/ 1682 w 9897"/>
                <a:gd name="connsiteY0" fmla="*/ 7183 h 10000"/>
                <a:gd name="connsiteX1" fmla="*/ 1728 w 9897"/>
                <a:gd name="connsiteY1" fmla="*/ 7430 h 10000"/>
                <a:gd name="connsiteX2" fmla="*/ 1676 w 9897"/>
                <a:gd name="connsiteY2" fmla="*/ 7430 h 10000"/>
                <a:gd name="connsiteX3" fmla="*/ 1620 w 9897"/>
                <a:gd name="connsiteY3" fmla="*/ 7255 h 10000"/>
                <a:gd name="connsiteX4" fmla="*/ 1580 w 9897"/>
                <a:gd name="connsiteY4" fmla="*/ 7430 h 10000"/>
                <a:gd name="connsiteX5" fmla="*/ 1587 w 9897"/>
                <a:gd name="connsiteY5" fmla="*/ 7854 h 10000"/>
                <a:gd name="connsiteX6" fmla="*/ 1676 w 9897"/>
                <a:gd name="connsiteY6" fmla="*/ 8070 h 10000"/>
                <a:gd name="connsiteX7" fmla="*/ 1721 w 9897"/>
                <a:gd name="connsiteY7" fmla="*/ 8019 h 10000"/>
                <a:gd name="connsiteX8" fmla="*/ 1819 w 9897"/>
                <a:gd name="connsiteY8" fmla="*/ 8493 h 10000"/>
                <a:gd name="connsiteX9" fmla="*/ 1682 w 9897"/>
                <a:gd name="connsiteY9" fmla="*/ 8669 h 10000"/>
                <a:gd name="connsiteX10" fmla="*/ 1666 w 9897"/>
                <a:gd name="connsiteY10" fmla="*/ 9009 h 10000"/>
                <a:gd name="connsiteX11" fmla="*/ 1738 w 9897"/>
                <a:gd name="connsiteY11" fmla="*/ 9236 h 10000"/>
                <a:gd name="connsiteX12" fmla="*/ 1738 w 9897"/>
                <a:gd name="connsiteY12" fmla="*/ 9484 h 10000"/>
                <a:gd name="connsiteX13" fmla="*/ 1848 w 9897"/>
                <a:gd name="connsiteY13" fmla="*/ 9835 h 10000"/>
                <a:gd name="connsiteX14" fmla="*/ 1779 w 9897"/>
                <a:gd name="connsiteY14" fmla="*/ 10000 h 10000"/>
                <a:gd name="connsiteX15" fmla="*/ 1676 w 9897"/>
                <a:gd name="connsiteY15" fmla="*/ 9753 h 10000"/>
                <a:gd name="connsiteX16" fmla="*/ 1531 w 9897"/>
                <a:gd name="connsiteY16" fmla="*/ 9505 h 10000"/>
                <a:gd name="connsiteX17" fmla="*/ 1469 w 9897"/>
                <a:gd name="connsiteY17" fmla="*/ 9588 h 10000"/>
                <a:gd name="connsiteX18" fmla="*/ 1366 w 9897"/>
                <a:gd name="connsiteY18" fmla="*/ 9380 h 10000"/>
                <a:gd name="connsiteX19" fmla="*/ 1146 w 9897"/>
                <a:gd name="connsiteY19" fmla="*/ 9339 h 10000"/>
                <a:gd name="connsiteX20" fmla="*/ 886 w 9897"/>
                <a:gd name="connsiteY20" fmla="*/ 8813 h 10000"/>
                <a:gd name="connsiteX21" fmla="*/ 955 w 9897"/>
                <a:gd name="connsiteY21" fmla="*/ 8721 h 10000"/>
                <a:gd name="connsiteX22" fmla="*/ 1004 w 9897"/>
                <a:gd name="connsiteY22" fmla="*/ 8493 h 10000"/>
                <a:gd name="connsiteX23" fmla="*/ 949 w 9897"/>
                <a:gd name="connsiteY23" fmla="*/ 8390 h 10000"/>
                <a:gd name="connsiteX24" fmla="*/ 1066 w 9897"/>
                <a:gd name="connsiteY24" fmla="*/ 8245 h 10000"/>
                <a:gd name="connsiteX25" fmla="*/ 988 w 9897"/>
                <a:gd name="connsiteY25" fmla="*/ 8194 h 10000"/>
                <a:gd name="connsiteX26" fmla="*/ 1001 w 9897"/>
                <a:gd name="connsiteY26" fmla="*/ 8091 h 10000"/>
                <a:gd name="connsiteX27" fmla="*/ 1050 w 9897"/>
                <a:gd name="connsiteY27" fmla="*/ 8111 h 10000"/>
                <a:gd name="connsiteX28" fmla="*/ 1107 w 9897"/>
                <a:gd name="connsiteY28" fmla="*/ 8019 h 10000"/>
                <a:gd name="connsiteX29" fmla="*/ 1079 w 9897"/>
                <a:gd name="connsiteY29" fmla="*/ 7864 h 10000"/>
                <a:gd name="connsiteX30" fmla="*/ 1090 w 9897"/>
                <a:gd name="connsiteY30" fmla="*/ 7503 h 10000"/>
                <a:gd name="connsiteX31" fmla="*/ 971 w 9897"/>
                <a:gd name="connsiteY31" fmla="*/ 7440 h 10000"/>
                <a:gd name="connsiteX32" fmla="*/ 868 w 9897"/>
                <a:gd name="connsiteY32" fmla="*/ 7286 h 10000"/>
                <a:gd name="connsiteX33" fmla="*/ 731 w 9897"/>
                <a:gd name="connsiteY33" fmla="*/ 7275 h 10000"/>
                <a:gd name="connsiteX34" fmla="*/ 714 w 9897"/>
                <a:gd name="connsiteY34" fmla="*/ 7090 h 10000"/>
                <a:gd name="connsiteX35" fmla="*/ 623 w 9897"/>
                <a:gd name="connsiteY35" fmla="*/ 6945 h 10000"/>
                <a:gd name="connsiteX36" fmla="*/ 642 w 9897"/>
                <a:gd name="connsiteY36" fmla="*/ 6822 h 10000"/>
                <a:gd name="connsiteX37" fmla="*/ 587 w 9897"/>
                <a:gd name="connsiteY37" fmla="*/ 6698 h 10000"/>
                <a:gd name="connsiteX38" fmla="*/ 478 w 9897"/>
                <a:gd name="connsiteY38" fmla="*/ 6698 h 10000"/>
                <a:gd name="connsiteX39" fmla="*/ 444 w 9897"/>
                <a:gd name="connsiteY39" fmla="*/ 6791 h 10000"/>
                <a:gd name="connsiteX40" fmla="*/ 418 w 9897"/>
                <a:gd name="connsiteY40" fmla="*/ 6750 h 10000"/>
                <a:gd name="connsiteX41" fmla="*/ 394 w 9897"/>
                <a:gd name="connsiteY41" fmla="*/ 6439 h 10000"/>
                <a:gd name="connsiteX42" fmla="*/ 438 w 9897"/>
                <a:gd name="connsiteY42" fmla="*/ 6470 h 10000"/>
                <a:gd name="connsiteX43" fmla="*/ 487 w 9897"/>
                <a:gd name="connsiteY43" fmla="*/ 6347 h 10000"/>
                <a:gd name="connsiteX44" fmla="*/ 418 w 9897"/>
                <a:gd name="connsiteY44" fmla="*/ 6233 h 10000"/>
                <a:gd name="connsiteX45" fmla="*/ 329 w 9897"/>
                <a:gd name="connsiteY45" fmla="*/ 6017 h 10000"/>
                <a:gd name="connsiteX46" fmla="*/ 349 w 9897"/>
                <a:gd name="connsiteY46" fmla="*/ 5821 h 10000"/>
                <a:gd name="connsiteX47" fmla="*/ 286 w 9897"/>
                <a:gd name="connsiteY47" fmla="*/ 5697 h 10000"/>
                <a:gd name="connsiteX48" fmla="*/ 236 w 9897"/>
                <a:gd name="connsiteY48" fmla="*/ 5728 h 10000"/>
                <a:gd name="connsiteX49" fmla="*/ 211 w 9897"/>
                <a:gd name="connsiteY49" fmla="*/ 5604 h 10000"/>
                <a:gd name="connsiteX50" fmla="*/ 171 w 9897"/>
                <a:gd name="connsiteY50" fmla="*/ 5645 h 10000"/>
                <a:gd name="connsiteX51" fmla="*/ 122 w 9897"/>
                <a:gd name="connsiteY51" fmla="*/ 5604 h 10000"/>
                <a:gd name="connsiteX52" fmla="*/ 72 w 9897"/>
                <a:gd name="connsiteY52" fmla="*/ 5181 h 10000"/>
                <a:gd name="connsiteX53" fmla="*/ 90 w 9897"/>
                <a:gd name="connsiteY53" fmla="*/ 5057 h 10000"/>
                <a:gd name="connsiteX54" fmla="*/ 42 w 9897"/>
                <a:gd name="connsiteY54" fmla="*/ 4892 h 10000"/>
                <a:gd name="connsiteX55" fmla="*/ 69 w 9897"/>
                <a:gd name="connsiteY55" fmla="*/ 4655 h 10000"/>
                <a:gd name="connsiteX56" fmla="*/ 220 w 9897"/>
                <a:gd name="connsiteY56" fmla="*/ 4510 h 10000"/>
                <a:gd name="connsiteX57" fmla="*/ 135 w 9897"/>
                <a:gd name="connsiteY57" fmla="*/ 4406 h 10000"/>
                <a:gd name="connsiteX58" fmla="*/ 87 w 9897"/>
                <a:gd name="connsiteY58" fmla="*/ 4283 h 10000"/>
                <a:gd name="connsiteX59" fmla="*/ 214 w 9897"/>
                <a:gd name="connsiteY59" fmla="*/ 3912 h 10000"/>
                <a:gd name="connsiteX60" fmla="*/ 261 w 9897"/>
                <a:gd name="connsiteY60" fmla="*/ 3664 h 10000"/>
                <a:gd name="connsiteX61" fmla="*/ 158 w 9897"/>
                <a:gd name="connsiteY61" fmla="*/ 3488 h 10000"/>
                <a:gd name="connsiteX62" fmla="*/ 198 w 9897"/>
                <a:gd name="connsiteY62" fmla="*/ 3344 h 10000"/>
                <a:gd name="connsiteX63" fmla="*/ 118 w 9897"/>
                <a:gd name="connsiteY63" fmla="*/ 3148 h 10000"/>
                <a:gd name="connsiteX64" fmla="*/ 118 w 9897"/>
                <a:gd name="connsiteY64" fmla="*/ 2972 h 10000"/>
                <a:gd name="connsiteX65" fmla="*/ 63 w 9897"/>
                <a:gd name="connsiteY65" fmla="*/ 2622 h 10000"/>
                <a:gd name="connsiteX66" fmla="*/ 103 w 9897"/>
                <a:gd name="connsiteY66" fmla="*/ 2404 h 10000"/>
                <a:gd name="connsiteX67" fmla="*/ 39 w 9897"/>
                <a:gd name="connsiteY67" fmla="*/ 2301 h 10000"/>
                <a:gd name="connsiteX68" fmla="*/ 0 w 9897"/>
                <a:gd name="connsiteY68" fmla="*/ 2178 h 10000"/>
                <a:gd name="connsiteX69" fmla="*/ 56 w 9897"/>
                <a:gd name="connsiteY69" fmla="*/ 1951 h 10000"/>
                <a:gd name="connsiteX70" fmla="*/ 125 w 9897"/>
                <a:gd name="connsiteY70" fmla="*/ 1910 h 10000"/>
                <a:gd name="connsiteX71" fmla="*/ 204 w 9897"/>
                <a:gd name="connsiteY71" fmla="*/ 1858 h 10000"/>
                <a:gd name="connsiteX72" fmla="*/ 323 w 9897"/>
                <a:gd name="connsiteY72" fmla="*/ 1951 h 10000"/>
                <a:gd name="connsiteX73" fmla="*/ 503 w 9897"/>
                <a:gd name="connsiteY73" fmla="*/ 2054 h 10000"/>
                <a:gd name="connsiteX74" fmla="*/ 660 w 9897"/>
                <a:gd name="connsiteY74" fmla="*/ 2229 h 10000"/>
                <a:gd name="connsiteX75" fmla="*/ 790 w 9897"/>
                <a:gd name="connsiteY75" fmla="*/ 2373 h 10000"/>
                <a:gd name="connsiteX76" fmla="*/ 757 w 9897"/>
                <a:gd name="connsiteY76" fmla="*/ 2777 h 10000"/>
                <a:gd name="connsiteX77" fmla="*/ 378 w 9897"/>
                <a:gd name="connsiteY77" fmla="*/ 2673 h 10000"/>
                <a:gd name="connsiteX78" fmla="*/ 254 w 9897"/>
                <a:gd name="connsiteY78" fmla="*/ 2550 h 10000"/>
                <a:gd name="connsiteX79" fmla="*/ 300 w 9897"/>
                <a:gd name="connsiteY79" fmla="*/ 2622 h 10000"/>
                <a:gd name="connsiteX80" fmla="*/ 346 w 9897"/>
                <a:gd name="connsiteY80" fmla="*/ 2797 h 10000"/>
                <a:gd name="connsiteX81" fmla="*/ 418 w 9897"/>
                <a:gd name="connsiteY81" fmla="*/ 2921 h 10000"/>
                <a:gd name="connsiteX82" fmla="*/ 435 w 9897"/>
                <a:gd name="connsiteY82" fmla="*/ 3189 h 10000"/>
                <a:gd name="connsiteX83" fmla="*/ 529 w 9897"/>
                <a:gd name="connsiteY83" fmla="*/ 3313 h 10000"/>
                <a:gd name="connsiteX84" fmla="*/ 609 w 9897"/>
                <a:gd name="connsiteY84" fmla="*/ 3436 h 10000"/>
                <a:gd name="connsiteX85" fmla="*/ 632 w 9897"/>
                <a:gd name="connsiteY85" fmla="*/ 3467 h 10000"/>
                <a:gd name="connsiteX86" fmla="*/ 679 w 9897"/>
                <a:gd name="connsiteY86" fmla="*/ 3436 h 10000"/>
                <a:gd name="connsiteX87" fmla="*/ 660 w 9897"/>
                <a:gd name="connsiteY87" fmla="*/ 3364 h 10000"/>
                <a:gd name="connsiteX88" fmla="*/ 569 w 9897"/>
                <a:gd name="connsiteY88" fmla="*/ 3189 h 10000"/>
                <a:gd name="connsiteX89" fmla="*/ 837 w 9897"/>
                <a:gd name="connsiteY89" fmla="*/ 3344 h 10000"/>
                <a:gd name="connsiteX90" fmla="*/ 846 w 9897"/>
                <a:gd name="connsiteY90" fmla="*/ 3271 h 10000"/>
                <a:gd name="connsiteX91" fmla="*/ 820 w 9897"/>
                <a:gd name="connsiteY91" fmla="*/ 3220 h 10000"/>
                <a:gd name="connsiteX92" fmla="*/ 774 w 9897"/>
                <a:gd name="connsiteY92" fmla="*/ 2993 h 10000"/>
                <a:gd name="connsiteX93" fmla="*/ 908 w 9897"/>
                <a:gd name="connsiteY93" fmla="*/ 2777 h 10000"/>
                <a:gd name="connsiteX94" fmla="*/ 1011 w 9897"/>
                <a:gd name="connsiteY94" fmla="*/ 2921 h 10000"/>
                <a:gd name="connsiteX95" fmla="*/ 1044 w 9897"/>
                <a:gd name="connsiteY95" fmla="*/ 2725 h 10000"/>
                <a:gd name="connsiteX96" fmla="*/ 995 w 9897"/>
                <a:gd name="connsiteY96" fmla="*/ 2653 h 10000"/>
                <a:gd name="connsiteX97" fmla="*/ 977 w 9897"/>
                <a:gd name="connsiteY97" fmla="*/ 2281 h 10000"/>
                <a:gd name="connsiteX98" fmla="*/ 955 w 9897"/>
                <a:gd name="connsiteY98" fmla="*/ 2229 h 10000"/>
                <a:gd name="connsiteX99" fmla="*/ 1082 w 9897"/>
                <a:gd name="connsiteY99" fmla="*/ 2250 h 10000"/>
                <a:gd name="connsiteX100" fmla="*/ 1135 w 9897"/>
                <a:gd name="connsiteY100" fmla="*/ 2404 h 10000"/>
                <a:gd name="connsiteX101" fmla="*/ 1066 w 9897"/>
                <a:gd name="connsiteY101" fmla="*/ 2529 h 10000"/>
                <a:gd name="connsiteX102" fmla="*/ 1185 w 9897"/>
                <a:gd name="connsiteY102" fmla="*/ 2694 h 10000"/>
                <a:gd name="connsiteX103" fmla="*/ 1281 w 9897"/>
                <a:gd name="connsiteY103" fmla="*/ 2529 h 10000"/>
                <a:gd name="connsiteX104" fmla="*/ 1397 w 9897"/>
                <a:gd name="connsiteY104" fmla="*/ 2301 h 10000"/>
                <a:gd name="connsiteX105" fmla="*/ 1525 w 9897"/>
                <a:gd name="connsiteY105" fmla="*/ 2157 h 10000"/>
                <a:gd name="connsiteX106" fmla="*/ 1563 w 9897"/>
                <a:gd name="connsiteY106" fmla="*/ 2250 h 10000"/>
                <a:gd name="connsiteX107" fmla="*/ 1886 w 9897"/>
                <a:gd name="connsiteY107" fmla="*/ 2054 h 10000"/>
                <a:gd name="connsiteX108" fmla="*/ 1954 w 9897"/>
                <a:gd name="connsiteY108" fmla="*/ 2250 h 10000"/>
                <a:gd name="connsiteX109" fmla="*/ 1944 w 9897"/>
                <a:gd name="connsiteY109" fmla="*/ 2002 h 10000"/>
                <a:gd name="connsiteX110" fmla="*/ 1857 w 9897"/>
                <a:gd name="connsiteY110" fmla="*/ 1786 h 10000"/>
                <a:gd name="connsiteX111" fmla="*/ 1842 w 9897"/>
                <a:gd name="connsiteY111" fmla="*/ 1703 h 10000"/>
                <a:gd name="connsiteX112" fmla="*/ 1904 w 9897"/>
                <a:gd name="connsiteY112" fmla="*/ 1786 h 10000"/>
                <a:gd name="connsiteX113" fmla="*/ 2124 w 9897"/>
                <a:gd name="connsiteY113" fmla="*/ 1951 h 10000"/>
                <a:gd name="connsiteX114" fmla="*/ 2371 w 9897"/>
                <a:gd name="connsiteY114" fmla="*/ 2126 h 10000"/>
                <a:gd name="connsiteX115" fmla="*/ 2490 w 9897"/>
                <a:gd name="connsiteY115" fmla="*/ 2250 h 10000"/>
                <a:gd name="connsiteX116" fmla="*/ 2529 w 9897"/>
                <a:gd name="connsiteY116" fmla="*/ 2074 h 10000"/>
                <a:gd name="connsiteX117" fmla="*/ 2473 w 9897"/>
                <a:gd name="connsiteY117" fmla="*/ 2033 h 10000"/>
                <a:gd name="connsiteX118" fmla="*/ 2401 w 9897"/>
                <a:gd name="connsiteY118" fmla="*/ 1930 h 10000"/>
                <a:gd name="connsiteX119" fmla="*/ 2354 w 9897"/>
                <a:gd name="connsiteY119" fmla="*/ 1734 h 10000"/>
                <a:gd name="connsiteX120" fmla="*/ 2283 w 9897"/>
                <a:gd name="connsiteY120" fmla="*/ 1486 h 10000"/>
                <a:gd name="connsiteX121" fmla="*/ 2308 w 9897"/>
                <a:gd name="connsiteY121" fmla="*/ 1434 h 10000"/>
                <a:gd name="connsiteX122" fmla="*/ 2331 w 9897"/>
                <a:gd name="connsiteY122" fmla="*/ 1455 h 10000"/>
                <a:gd name="connsiteX123" fmla="*/ 2394 w 9897"/>
                <a:gd name="connsiteY123" fmla="*/ 1115 h 10000"/>
                <a:gd name="connsiteX124" fmla="*/ 2552 w 9897"/>
                <a:gd name="connsiteY124" fmla="*/ 1135 h 10000"/>
                <a:gd name="connsiteX125" fmla="*/ 2599 w 9897"/>
                <a:gd name="connsiteY125" fmla="*/ 1311 h 10000"/>
                <a:gd name="connsiteX126" fmla="*/ 2631 w 9897"/>
                <a:gd name="connsiteY126" fmla="*/ 1538 h 10000"/>
                <a:gd name="connsiteX127" fmla="*/ 2688 w 9897"/>
                <a:gd name="connsiteY127" fmla="*/ 1734 h 10000"/>
                <a:gd name="connsiteX128" fmla="*/ 2789 w 9897"/>
                <a:gd name="connsiteY128" fmla="*/ 2157 h 10000"/>
                <a:gd name="connsiteX129" fmla="*/ 2592 w 9897"/>
                <a:gd name="connsiteY129" fmla="*/ 2673 h 10000"/>
                <a:gd name="connsiteX130" fmla="*/ 2671 w 9897"/>
                <a:gd name="connsiteY130" fmla="*/ 2746 h 10000"/>
                <a:gd name="connsiteX131" fmla="*/ 2774 w 9897"/>
                <a:gd name="connsiteY131" fmla="*/ 2818 h 10000"/>
                <a:gd name="connsiteX132" fmla="*/ 2908 w 9897"/>
                <a:gd name="connsiteY132" fmla="*/ 2622 h 10000"/>
                <a:gd name="connsiteX133" fmla="*/ 2914 w 9897"/>
                <a:gd name="connsiteY133" fmla="*/ 2404 h 10000"/>
                <a:gd name="connsiteX134" fmla="*/ 2869 w 9897"/>
                <a:gd name="connsiteY134" fmla="*/ 2301 h 10000"/>
                <a:gd name="connsiteX135" fmla="*/ 3048 w 9897"/>
                <a:gd name="connsiteY135" fmla="*/ 2250 h 10000"/>
                <a:gd name="connsiteX136" fmla="*/ 3123 w 9897"/>
                <a:gd name="connsiteY136" fmla="*/ 2497 h 10000"/>
                <a:gd name="connsiteX137" fmla="*/ 3123 w 9897"/>
                <a:gd name="connsiteY137" fmla="*/ 2425 h 10000"/>
                <a:gd name="connsiteX138" fmla="*/ 3105 w 9897"/>
                <a:gd name="connsiteY138" fmla="*/ 2353 h 10000"/>
                <a:gd name="connsiteX139" fmla="*/ 3099 w 9897"/>
                <a:gd name="connsiteY139" fmla="*/ 2178 h 10000"/>
                <a:gd name="connsiteX140" fmla="*/ 2925 w 9897"/>
                <a:gd name="connsiteY140" fmla="*/ 1930 h 10000"/>
                <a:gd name="connsiteX141" fmla="*/ 2789 w 9897"/>
                <a:gd name="connsiteY141" fmla="*/ 2002 h 10000"/>
                <a:gd name="connsiteX142" fmla="*/ 2732 w 9897"/>
                <a:gd name="connsiteY142" fmla="*/ 1683 h 10000"/>
                <a:gd name="connsiteX143" fmla="*/ 2677 w 9897"/>
                <a:gd name="connsiteY143" fmla="*/ 1507 h 10000"/>
                <a:gd name="connsiteX144" fmla="*/ 2732 w 9897"/>
                <a:gd name="connsiteY144" fmla="*/ 1331 h 10000"/>
                <a:gd name="connsiteX145" fmla="*/ 2726 w 9897"/>
                <a:gd name="connsiteY145" fmla="*/ 1166 h 10000"/>
                <a:gd name="connsiteX146" fmla="*/ 2703 w 9897"/>
                <a:gd name="connsiteY146" fmla="*/ 1115 h 10000"/>
                <a:gd name="connsiteX147" fmla="*/ 2743 w 9897"/>
                <a:gd name="connsiteY147" fmla="*/ 1115 h 10000"/>
                <a:gd name="connsiteX148" fmla="*/ 2789 w 9897"/>
                <a:gd name="connsiteY148" fmla="*/ 1455 h 10000"/>
                <a:gd name="connsiteX149" fmla="*/ 3020 w 9897"/>
                <a:gd name="connsiteY149" fmla="*/ 1662 h 10000"/>
                <a:gd name="connsiteX150" fmla="*/ 2844 w 9897"/>
                <a:gd name="connsiteY150" fmla="*/ 1383 h 10000"/>
                <a:gd name="connsiteX151" fmla="*/ 3185 w 9897"/>
                <a:gd name="connsiteY151" fmla="*/ 1383 h 10000"/>
                <a:gd name="connsiteX152" fmla="*/ 3240 w 9897"/>
                <a:gd name="connsiteY152" fmla="*/ 1362 h 10000"/>
                <a:gd name="connsiteX153" fmla="*/ 3026 w 9897"/>
                <a:gd name="connsiteY153" fmla="*/ 1115 h 10000"/>
                <a:gd name="connsiteX154" fmla="*/ 3082 w 9897"/>
                <a:gd name="connsiteY154" fmla="*/ 888 h 10000"/>
                <a:gd name="connsiteX155" fmla="*/ 3319 w 9897"/>
                <a:gd name="connsiteY155" fmla="*/ 888 h 10000"/>
                <a:gd name="connsiteX156" fmla="*/ 3297 w 9897"/>
                <a:gd name="connsiteY156" fmla="*/ 713 h 10000"/>
                <a:gd name="connsiteX157" fmla="*/ 3375 w 9897"/>
                <a:gd name="connsiteY157" fmla="*/ 589 h 10000"/>
                <a:gd name="connsiteX158" fmla="*/ 3422 w 9897"/>
                <a:gd name="connsiteY158" fmla="*/ 548 h 10000"/>
                <a:gd name="connsiteX159" fmla="*/ 3598 w 9897"/>
                <a:gd name="connsiteY159" fmla="*/ 423 h 10000"/>
                <a:gd name="connsiteX160" fmla="*/ 3642 w 9897"/>
                <a:gd name="connsiteY160" fmla="*/ 371 h 10000"/>
                <a:gd name="connsiteX161" fmla="*/ 3635 w 9897"/>
                <a:gd name="connsiteY161" fmla="*/ 444 h 10000"/>
                <a:gd name="connsiteX162" fmla="*/ 3823 w 9897"/>
                <a:gd name="connsiteY162" fmla="*/ 371 h 10000"/>
                <a:gd name="connsiteX163" fmla="*/ 3975 w 9897"/>
                <a:gd name="connsiteY163" fmla="*/ 248 h 10000"/>
                <a:gd name="connsiteX164" fmla="*/ 3998 w 9897"/>
                <a:gd name="connsiteY164" fmla="*/ 0 h 10000"/>
                <a:gd name="connsiteX165" fmla="*/ 4165 w 9897"/>
                <a:gd name="connsiteY165" fmla="*/ 21 h 10000"/>
                <a:gd name="connsiteX166" fmla="*/ 4155 w 9897"/>
                <a:gd name="connsiteY166" fmla="*/ 93 h 10000"/>
                <a:gd name="connsiteX167" fmla="*/ 4165 w 9897"/>
                <a:gd name="connsiteY167" fmla="*/ 176 h 10000"/>
                <a:gd name="connsiteX168" fmla="*/ 4267 w 9897"/>
                <a:gd name="connsiteY168" fmla="*/ 248 h 10000"/>
                <a:gd name="connsiteX169" fmla="*/ 4574 w 9897"/>
                <a:gd name="connsiteY169" fmla="*/ 268 h 10000"/>
                <a:gd name="connsiteX170" fmla="*/ 4741 w 9897"/>
                <a:gd name="connsiteY170" fmla="*/ 392 h 10000"/>
                <a:gd name="connsiteX171" fmla="*/ 4685 w 9897"/>
                <a:gd name="connsiteY171" fmla="*/ 795 h 10000"/>
                <a:gd name="connsiteX172" fmla="*/ 4624 w 9897"/>
                <a:gd name="connsiteY172" fmla="*/ 919 h 10000"/>
                <a:gd name="connsiteX173" fmla="*/ 4550 w 9897"/>
                <a:gd name="connsiteY173" fmla="*/ 1043 h 10000"/>
                <a:gd name="connsiteX174" fmla="*/ 4566 w 9897"/>
                <a:gd name="connsiteY174" fmla="*/ 1115 h 10000"/>
                <a:gd name="connsiteX175" fmla="*/ 4787 w 9897"/>
                <a:gd name="connsiteY175" fmla="*/ 919 h 10000"/>
                <a:gd name="connsiteX176" fmla="*/ 5285 w 9897"/>
                <a:gd name="connsiteY176" fmla="*/ 991 h 10000"/>
                <a:gd name="connsiteX177" fmla="*/ 5335 w 9897"/>
                <a:gd name="connsiteY177" fmla="*/ 1063 h 10000"/>
                <a:gd name="connsiteX178" fmla="*/ 5444 w 9897"/>
                <a:gd name="connsiteY178" fmla="*/ 1187 h 10000"/>
                <a:gd name="connsiteX179" fmla="*/ 5596 w 9897"/>
                <a:gd name="connsiteY179" fmla="*/ 919 h 10000"/>
                <a:gd name="connsiteX180" fmla="*/ 5826 w 9897"/>
                <a:gd name="connsiteY180" fmla="*/ 1063 h 10000"/>
                <a:gd name="connsiteX181" fmla="*/ 5894 w 9897"/>
                <a:gd name="connsiteY181" fmla="*/ 1115 h 10000"/>
                <a:gd name="connsiteX182" fmla="*/ 5951 w 9897"/>
                <a:gd name="connsiteY182" fmla="*/ 1166 h 10000"/>
                <a:gd name="connsiteX183" fmla="*/ 6172 w 9897"/>
                <a:gd name="connsiteY183" fmla="*/ 1631 h 10000"/>
                <a:gd name="connsiteX184" fmla="*/ 6251 w 9897"/>
                <a:gd name="connsiteY184" fmla="*/ 1611 h 10000"/>
                <a:gd name="connsiteX185" fmla="*/ 6242 w 9897"/>
                <a:gd name="connsiteY185" fmla="*/ 1507 h 10000"/>
                <a:gd name="connsiteX186" fmla="*/ 6251 w 9897"/>
                <a:gd name="connsiteY186" fmla="*/ 1383 h 10000"/>
                <a:gd name="connsiteX187" fmla="*/ 6362 w 9897"/>
                <a:gd name="connsiteY187" fmla="*/ 1486 h 10000"/>
                <a:gd name="connsiteX188" fmla="*/ 6543 w 9897"/>
                <a:gd name="connsiteY188" fmla="*/ 1507 h 10000"/>
                <a:gd name="connsiteX189" fmla="*/ 6695 w 9897"/>
                <a:gd name="connsiteY189" fmla="*/ 1455 h 10000"/>
                <a:gd name="connsiteX190" fmla="*/ 6623 w 9897"/>
                <a:gd name="connsiteY190" fmla="*/ 1362 h 10000"/>
                <a:gd name="connsiteX191" fmla="*/ 6717 w 9897"/>
                <a:gd name="connsiteY191" fmla="*/ 1084 h 10000"/>
                <a:gd name="connsiteX192" fmla="*/ 6984 w 9897"/>
                <a:gd name="connsiteY192" fmla="*/ 1207 h 10000"/>
                <a:gd name="connsiteX193" fmla="*/ 7255 w 9897"/>
                <a:gd name="connsiteY193" fmla="*/ 1331 h 10000"/>
                <a:gd name="connsiteX194" fmla="*/ 7278 w 9897"/>
                <a:gd name="connsiteY194" fmla="*/ 1362 h 10000"/>
                <a:gd name="connsiteX195" fmla="*/ 7514 w 9897"/>
                <a:gd name="connsiteY195" fmla="*/ 1611 h 10000"/>
                <a:gd name="connsiteX196" fmla="*/ 7695 w 9897"/>
                <a:gd name="connsiteY196" fmla="*/ 1507 h 10000"/>
                <a:gd name="connsiteX197" fmla="*/ 7920 w 9897"/>
                <a:gd name="connsiteY197" fmla="*/ 1538 h 10000"/>
                <a:gd name="connsiteX198" fmla="*/ 7998 w 9897"/>
                <a:gd name="connsiteY198" fmla="*/ 1611 h 10000"/>
                <a:gd name="connsiteX199" fmla="*/ 8282 w 9897"/>
                <a:gd name="connsiteY199" fmla="*/ 1930 h 10000"/>
                <a:gd name="connsiteX200" fmla="*/ 8599 w 9897"/>
                <a:gd name="connsiteY200" fmla="*/ 1879 h 10000"/>
                <a:gd name="connsiteX201" fmla="*/ 8710 w 9897"/>
                <a:gd name="connsiteY201" fmla="*/ 2033 h 10000"/>
                <a:gd name="connsiteX202" fmla="*/ 8869 w 9897"/>
                <a:gd name="connsiteY202" fmla="*/ 2157 h 10000"/>
                <a:gd name="connsiteX203" fmla="*/ 8898 w 9897"/>
                <a:gd name="connsiteY203" fmla="*/ 2105 h 10000"/>
                <a:gd name="connsiteX204" fmla="*/ 8876 w 9897"/>
                <a:gd name="connsiteY204" fmla="*/ 2074 h 10000"/>
                <a:gd name="connsiteX205" fmla="*/ 8757 w 9897"/>
                <a:gd name="connsiteY205" fmla="*/ 1930 h 10000"/>
                <a:gd name="connsiteX206" fmla="*/ 8842 w 9897"/>
                <a:gd name="connsiteY206" fmla="*/ 1755 h 10000"/>
                <a:gd name="connsiteX207" fmla="*/ 9049 w 9897"/>
                <a:gd name="connsiteY207" fmla="*/ 1910 h 10000"/>
                <a:gd name="connsiteX208" fmla="*/ 9349 w 9897"/>
                <a:gd name="connsiteY208" fmla="*/ 1982 h 10000"/>
                <a:gd name="connsiteX209" fmla="*/ 9617 w 9897"/>
                <a:gd name="connsiteY209" fmla="*/ 2260 h 10000"/>
                <a:gd name="connsiteX210" fmla="*/ 9761 w 9897"/>
                <a:gd name="connsiteY210" fmla="*/ 2332 h 10000"/>
                <a:gd name="connsiteX211" fmla="*/ 9872 w 9897"/>
                <a:gd name="connsiteY211" fmla="*/ 2446 h 10000"/>
                <a:gd name="connsiteX212" fmla="*/ 9891 w 9897"/>
                <a:gd name="connsiteY212" fmla="*/ 2787 h 10000"/>
                <a:gd name="connsiteX213" fmla="*/ 9783 w 9897"/>
                <a:gd name="connsiteY213" fmla="*/ 2725 h 10000"/>
                <a:gd name="connsiteX0" fmla="*/ 1700 w 10000"/>
                <a:gd name="connsiteY0" fmla="*/ 7183 h 10000"/>
                <a:gd name="connsiteX1" fmla="*/ 1746 w 10000"/>
                <a:gd name="connsiteY1" fmla="*/ 7430 h 10000"/>
                <a:gd name="connsiteX2" fmla="*/ 1693 w 10000"/>
                <a:gd name="connsiteY2" fmla="*/ 7430 h 10000"/>
                <a:gd name="connsiteX3" fmla="*/ 1637 w 10000"/>
                <a:gd name="connsiteY3" fmla="*/ 7255 h 10000"/>
                <a:gd name="connsiteX4" fmla="*/ 1596 w 10000"/>
                <a:gd name="connsiteY4" fmla="*/ 7430 h 10000"/>
                <a:gd name="connsiteX5" fmla="*/ 1604 w 10000"/>
                <a:gd name="connsiteY5" fmla="*/ 7854 h 10000"/>
                <a:gd name="connsiteX6" fmla="*/ 1693 w 10000"/>
                <a:gd name="connsiteY6" fmla="*/ 8070 h 10000"/>
                <a:gd name="connsiteX7" fmla="*/ 1739 w 10000"/>
                <a:gd name="connsiteY7" fmla="*/ 8019 h 10000"/>
                <a:gd name="connsiteX8" fmla="*/ 1838 w 10000"/>
                <a:gd name="connsiteY8" fmla="*/ 8493 h 10000"/>
                <a:gd name="connsiteX9" fmla="*/ 1700 w 10000"/>
                <a:gd name="connsiteY9" fmla="*/ 8669 h 10000"/>
                <a:gd name="connsiteX10" fmla="*/ 1683 w 10000"/>
                <a:gd name="connsiteY10" fmla="*/ 9009 h 10000"/>
                <a:gd name="connsiteX11" fmla="*/ 1756 w 10000"/>
                <a:gd name="connsiteY11" fmla="*/ 9236 h 10000"/>
                <a:gd name="connsiteX12" fmla="*/ 1756 w 10000"/>
                <a:gd name="connsiteY12" fmla="*/ 9484 h 10000"/>
                <a:gd name="connsiteX13" fmla="*/ 1867 w 10000"/>
                <a:gd name="connsiteY13" fmla="*/ 9835 h 10000"/>
                <a:gd name="connsiteX14" fmla="*/ 1798 w 10000"/>
                <a:gd name="connsiteY14" fmla="*/ 10000 h 10000"/>
                <a:gd name="connsiteX15" fmla="*/ 1693 w 10000"/>
                <a:gd name="connsiteY15" fmla="*/ 9753 h 10000"/>
                <a:gd name="connsiteX16" fmla="*/ 1547 w 10000"/>
                <a:gd name="connsiteY16" fmla="*/ 9505 h 10000"/>
                <a:gd name="connsiteX17" fmla="*/ 1484 w 10000"/>
                <a:gd name="connsiteY17" fmla="*/ 9588 h 10000"/>
                <a:gd name="connsiteX18" fmla="*/ 1380 w 10000"/>
                <a:gd name="connsiteY18" fmla="*/ 9380 h 10000"/>
                <a:gd name="connsiteX19" fmla="*/ 1158 w 10000"/>
                <a:gd name="connsiteY19" fmla="*/ 9339 h 10000"/>
                <a:gd name="connsiteX20" fmla="*/ 895 w 10000"/>
                <a:gd name="connsiteY20" fmla="*/ 8813 h 10000"/>
                <a:gd name="connsiteX21" fmla="*/ 965 w 10000"/>
                <a:gd name="connsiteY21" fmla="*/ 8721 h 10000"/>
                <a:gd name="connsiteX22" fmla="*/ 1014 w 10000"/>
                <a:gd name="connsiteY22" fmla="*/ 8493 h 10000"/>
                <a:gd name="connsiteX23" fmla="*/ 959 w 10000"/>
                <a:gd name="connsiteY23" fmla="*/ 8390 h 10000"/>
                <a:gd name="connsiteX24" fmla="*/ 1077 w 10000"/>
                <a:gd name="connsiteY24" fmla="*/ 8245 h 10000"/>
                <a:gd name="connsiteX25" fmla="*/ 998 w 10000"/>
                <a:gd name="connsiteY25" fmla="*/ 8194 h 10000"/>
                <a:gd name="connsiteX26" fmla="*/ 1011 w 10000"/>
                <a:gd name="connsiteY26" fmla="*/ 8091 h 10000"/>
                <a:gd name="connsiteX27" fmla="*/ 1061 w 10000"/>
                <a:gd name="connsiteY27" fmla="*/ 8111 h 10000"/>
                <a:gd name="connsiteX28" fmla="*/ 1119 w 10000"/>
                <a:gd name="connsiteY28" fmla="*/ 8019 h 10000"/>
                <a:gd name="connsiteX29" fmla="*/ 1090 w 10000"/>
                <a:gd name="connsiteY29" fmla="*/ 7864 h 10000"/>
                <a:gd name="connsiteX30" fmla="*/ 1101 w 10000"/>
                <a:gd name="connsiteY30" fmla="*/ 7503 h 10000"/>
                <a:gd name="connsiteX31" fmla="*/ 981 w 10000"/>
                <a:gd name="connsiteY31" fmla="*/ 7440 h 10000"/>
                <a:gd name="connsiteX32" fmla="*/ 877 w 10000"/>
                <a:gd name="connsiteY32" fmla="*/ 7286 h 10000"/>
                <a:gd name="connsiteX33" fmla="*/ 739 w 10000"/>
                <a:gd name="connsiteY33" fmla="*/ 7275 h 10000"/>
                <a:gd name="connsiteX34" fmla="*/ 721 w 10000"/>
                <a:gd name="connsiteY34" fmla="*/ 7090 h 10000"/>
                <a:gd name="connsiteX35" fmla="*/ 629 w 10000"/>
                <a:gd name="connsiteY35" fmla="*/ 6945 h 10000"/>
                <a:gd name="connsiteX36" fmla="*/ 649 w 10000"/>
                <a:gd name="connsiteY36" fmla="*/ 6822 h 10000"/>
                <a:gd name="connsiteX37" fmla="*/ 593 w 10000"/>
                <a:gd name="connsiteY37" fmla="*/ 6698 h 10000"/>
                <a:gd name="connsiteX38" fmla="*/ 483 w 10000"/>
                <a:gd name="connsiteY38" fmla="*/ 6698 h 10000"/>
                <a:gd name="connsiteX39" fmla="*/ 449 w 10000"/>
                <a:gd name="connsiteY39" fmla="*/ 6791 h 10000"/>
                <a:gd name="connsiteX40" fmla="*/ 422 w 10000"/>
                <a:gd name="connsiteY40" fmla="*/ 6750 h 10000"/>
                <a:gd name="connsiteX41" fmla="*/ 398 w 10000"/>
                <a:gd name="connsiteY41" fmla="*/ 6439 h 10000"/>
                <a:gd name="connsiteX42" fmla="*/ 443 w 10000"/>
                <a:gd name="connsiteY42" fmla="*/ 6470 h 10000"/>
                <a:gd name="connsiteX43" fmla="*/ 492 w 10000"/>
                <a:gd name="connsiteY43" fmla="*/ 6347 h 10000"/>
                <a:gd name="connsiteX44" fmla="*/ 422 w 10000"/>
                <a:gd name="connsiteY44" fmla="*/ 6233 h 10000"/>
                <a:gd name="connsiteX45" fmla="*/ 332 w 10000"/>
                <a:gd name="connsiteY45" fmla="*/ 6017 h 10000"/>
                <a:gd name="connsiteX46" fmla="*/ 353 w 10000"/>
                <a:gd name="connsiteY46" fmla="*/ 5821 h 10000"/>
                <a:gd name="connsiteX47" fmla="*/ 289 w 10000"/>
                <a:gd name="connsiteY47" fmla="*/ 5697 h 10000"/>
                <a:gd name="connsiteX48" fmla="*/ 238 w 10000"/>
                <a:gd name="connsiteY48" fmla="*/ 5728 h 10000"/>
                <a:gd name="connsiteX49" fmla="*/ 213 w 10000"/>
                <a:gd name="connsiteY49" fmla="*/ 5604 h 10000"/>
                <a:gd name="connsiteX50" fmla="*/ 173 w 10000"/>
                <a:gd name="connsiteY50" fmla="*/ 5645 h 10000"/>
                <a:gd name="connsiteX51" fmla="*/ 123 w 10000"/>
                <a:gd name="connsiteY51" fmla="*/ 5604 h 10000"/>
                <a:gd name="connsiteX52" fmla="*/ 73 w 10000"/>
                <a:gd name="connsiteY52" fmla="*/ 5181 h 10000"/>
                <a:gd name="connsiteX53" fmla="*/ 91 w 10000"/>
                <a:gd name="connsiteY53" fmla="*/ 5057 h 10000"/>
                <a:gd name="connsiteX54" fmla="*/ 42 w 10000"/>
                <a:gd name="connsiteY54" fmla="*/ 4892 h 10000"/>
                <a:gd name="connsiteX55" fmla="*/ 70 w 10000"/>
                <a:gd name="connsiteY55" fmla="*/ 4655 h 10000"/>
                <a:gd name="connsiteX56" fmla="*/ 222 w 10000"/>
                <a:gd name="connsiteY56" fmla="*/ 4510 h 10000"/>
                <a:gd name="connsiteX57" fmla="*/ 136 w 10000"/>
                <a:gd name="connsiteY57" fmla="*/ 4406 h 10000"/>
                <a:gd name="connsiteX58" fmla="*/ 88 w 10000"/>
                <a:gd name="connsiteY58" fmla="*/ 4283 h 10000"/>
                <a:gd name="connsiteX59" fmla="*/ 216 w 10000"/>
                <a:gd name="connsiteY59" fmla="*/ 3912 h 10000"/>
                <a:gd name="connsiteX60" fmla="*/ 264 w 10000"/>
                <a:gd name="connsiteY60" fmla="*/ 3664 h 10000"/>
                <a:gd name="connsiteX61" fmla="*/ 160 w 10000"/>
                <a:gd name="connsiteY61" fmla="*/ 3488 h 10000"/>
                <a:gd name="connsiteX62" fmla="*/ 200 w 10000"/>
                <a:gd name="connsiteY62" fmla="*/ 3344 h 10000"/>
                <a:gd name="connsiteX63" fmla="*/ 119 w 10000"/>
                <a:gd name="connsiteY63" fmla="*/ 3148 h 10000"/>
                <a:gd name="connsiteX64" fmla="*/ 119 w 10000"/>
                <a:gd name="connsiteY64" fmla="*/ 2972 h 10000"/>
                <a:gd name="connsiteX65" fmla="*/ 64 w 10000"/>
                <a:gd name="connsiteY65" fmla="*/ 2622 h 10000"/>
                <a:gd name="connsiteX66" fmla="*/ 104 w 10000"/>
                <a:gd name="connsiteY66" fmla="*/ 2404 h 10000"/>
                <a:gd name="connsiteX67" fmla="*/ 39 w 10000"/>
                <a:gd name="connsiteY67" fmla="*/ 2301 h 10000"/>
                <a:gd name="connsiteX68" fmla="*/ 0 w 10000"/>
                <a:gd name="connsiteY68" fmla="*/ 2178 h 10000"/>
                <a:gd name="connsiteX69" fmla="*/ 57 w 10000"/>
                <a:gd name="connsiteY69" fmla="*/ 1951 h 10000"/>
                <a:gd name="connsiteX70" fmla="*/ 126 w 10000"/>
                <a:gd name="connsiteY70" fmla="*/ 1910 h 10000"/>
                <a:gd name="connsiteX71" fmla="*/ 206 w 10000"/>
                <a:gd name="connsiteY71" fmla="*/ 1858 h 10000"/>
                <a:gd name="connsiteX72" fmla="*/ 326 w 10000"/>
                <a:gd name="connsiteY72" fmla="*/ 1951 h 10000"/>
                <a:gd name="connsiteX73" fmla="*/ 508 w 10000"/>
                <a:gd name="connsiteY73" fmla="*/ 2054 h 10000"/>
                <a:gd name="connsiteX74" fmla="*/ 667 w 10000"/>
                <a:gd name="connsiteY74" fmla="*/ 2229 h 10000"/>
                <a:gd name="connsiteX75" fmla="*/ 798 w 10000"/>
                <a:gd name="connsiteY75" fmla="*/ 2373 h 10000"/>
                <a:gd name="connsiteX76" fmla="*/ 765 w 10000"/>
                <a:gd name="connsiteY76" fmla="*/ 2777 h 10000"/>
                <a:gd name="connsiteX77" fmla="*/ 382 w 10000"/>
                <a:gd name="connsiteY77" fmla="*/ 2673 h 10000"/>
                <a:gd name="connsiteX78" fmla="*/ 257 w 10000"/>
                <a:gd name="connsiteY78" fmla="*/ 2550 h 10000"/>
                <a:gd name="connsiteX79" fmla="*/ 303 w 10000"/>
                <a:gd name="connsiteY79" fmla="*/ 2622 h 10000"/>
                <a:gd name="connsiteX80" fmla="*/ 350 w 10000"/>
                <a:gd name="connsiteY80" fmla="*/ 2797 h 10000"/>
                <a:gd name="connsiteX81" fmla="*/ 422 w 10000"/>
                <a:gd name="connsiteY81" fmla="*/ 2921 h 10000"/>
                <a:gd name="connsiteX82" fmla="*/ 440 w 10000"/>
                <a:gd name="connsiteY82" fmla="*/ 3189 h 10000"/>
                <a:gd name="connsiteX83" fmla="*/ 535 w 10000"/>
                <a:gd name="connsiteY83" fmla="*/ 3313 h 10000"/>
                <a:gd name="connsiteX84" fmla="*/ 615 w 10000"/>
                <a:gd name="connsiteY84" fmla="*/ 3436 h 10000"/>
                <a:gd name="connsiteX85" fmla="*/ 639 w 10000"/>
                <a:gd name="connsiteY85" fmla="*/ 3467 h 10000"/>
                <a:gd name="connsiteX86" fmla="*/ 686 w 10000"/>
                <a:gd name="connsiteY86" fmla="*/ 3436 h 10000"/>
                <a:gd name="connsiteX87" fmla="*/ 667 w 10000"/>
                <a:gd name="connsiteY87" fmla="*/ 3364 h 10000"/>
                <a:gd name="connsiteX88" fmla="*/ 575 w 10000"/>
                <a:gd name="connsiteY88" fmla="*/ 3189 h 10000"/>
                <a:gd name="connsiteX89" fmla="*/ 846 w 10000"/>
                <a:gd name="connsiteY89" fmla="*/ 3344 h 10000"/>
                <a:gd name="connsiteX90" fmla="*/ 855 w 10000"/>
                <a:gd name="connsiteY90" fmla="*/ 3271 h 10000"/>
                <a:gd name="connsiteX91" fmla="*/ 829 w 10000"/>
                <a:gd name="connsiteY91" fmla="*/ 3220 h 10000"/>
                <a:gd name="connsiteX92" fmla="*/ 782 w 10000"/>
                <a:gd name="connsiteY92" fmla="*/ 2993 h 10000"/>
                <a:gd name="connsiteX93" fmla="*/ 917 w 10000"/>
                <a:gd name="connsiteY93" fmla="*/ 2777 h 10000"/>
                <a:gd name="connsiteX94" fmla="*/ 1022 w 10000"/>
                <a:gd name="connsiteY94" fmla="*/ 2921 h 10000"/>
                <a:gd name="connsiteX95" fmla="*/ 1055 w 10000"/>
                <a:gd name="connsiteY95" fmla="*/ 2725 h 10000"/>
                <a:gd name="connsiteX96" fmla="*/ 1005 w 10000"/>
                <a:gd name="connsiteY96" fmla="*/ 2653 h 10000"/>
                <a:gd name="connsiteX97" fmla="*/ 987 w 10000"/>
                <a:gd name="connsiteY97" fmla="*/ 2281 h 10000"/>
                <a:gd name="connsiteX98" fmla="*/ 965 w 10000"/>
                <a:gd name="connsiteY98" fmla="*/ 2229 h 10000"/>
                <a:gd name="connsiteX99" fmla="*/ 1093 w 10000"/>
                <a:gd name="connsiteY99" fmla="*/ 2250 h 10000"/>
                <a:gd name="connsiteX100" fmla="*/ 1147 w 10000"/>
                <a:gd name="connsiteY100" fmla="*/ 2404 h 10000"/>
                <a:gd name="connsiteX101" fmla="*/ 1077 w 10000"/>
                <a:gd name="connsiteY101" fmla="*/ 2529 h 10000"/>
                <a:gd name="connsiteX102" fmla="*/ 1197 w 10000"/>
                <a:gd name="connsiteY102" fmla="*/ 2694 h 10000"/>
                <a:gd name="connsiteX103" fmla="*/ 1294 w 10000"/>
                <a:gd name="connsiteY103" fmla="*/ 2529 h 10000"/>
                <a:gd name="connsiteX104" fmla="*/ 1412 w 10000"/>
                <a:gd name="connsiteY104" fmla="*/ 2301 h 10000"/>
                <a:gd name="connsiteX105" fmla="*/ 1541 w 10000"/>
                <a:gd name="connsiteY105" fmla="*/ 2157 h 10000"/>
                <a:gd name="connsiteX106" fmla="*/ 1579 w 10000"/>
                <a:gd name="connsiteY106" fmla="*/ 2250 h 10000"/>
                <a:gd name="connsiteX107" fmla="*/ 1906 w 10000"/>
                <a:gd name="connsiteY107" fmla="*/ 2054 h 10000"/>
                <a:gd name="connsiteX108" fmla="*/ 1974 w 10000"/>
                <a:gd name="connsiteY108" fmla="*/ 2250 h 10000"/>
                <a:gd name="connsiteX109" fmla="*/ 1964 w 10000"/>
                <a:gd name="connsiteY109" fmla="*/ 2002 h 10000"/>
                <a:gd name="connsiteX110" fmla="*/ 1876 w 10000"/>
                <a:gd name="connsiteY110" fmla="*/ 1786 h 10000"/>
                <a:gd name="connsiteX111" fmla="*/ 1861 w 10000"/>
                <a:gd name="connsiteY111" fmla="*/ 1703 h 10000"/>
                <a:gd name="connsiteX112" fmla="*/ 1924 w 10000"/>
                <a:gd name="connsiteY112" fmla="*/ 1786 h 10000"/>
                <a:gd name="connsiteX113" fmla="*/ 2146 w 10000"/>
                <a:gd name="connsiteY113" fmla="*/ 1951 h 10000"/>
                <a:gd name="connsiteX114" fmla="*/ 2396 w 10000"/>
                <a:gd name="connsiteY114" fmla="*/ 2126 h 10000"/>
                <a:gd name="connsiteX115" fmla="*/ 2516 w 10000"/>
                <a:gd name="connsiteY115" fmla="*/ 2250 h 10000"/>
                <a:gd name="connsiteX116" fmla="*/ 2555 w 10000"/>
                <a:gd name="connsiteY116" fmla="*/ 2074 h 10000"/>
                <a:gd name="connsiteX117" fmla="*/ 2499 w 10000"/>
                <a:gd name="connsiteY117" fmla="*/ 2033 h 10000"/>
                <a:gd name="connsiteX118" fmla="*/ 2426 w 10000"/>
                <a:gd name="connsiteY118" fmla="*/ 1930 h 10000"/>
                <a:gd name="connsiteX119" fmla="*/ 2378 w 10000"/>
                <a:gd name="connsiteY119" fmla="*/ 1734 h 10000"/>
                <a:gd name="connsiteX120" fmla="*/ 2307 w 10000"/>
                <a:gd name="connsiteY120" fmla="*/ 1486 h 10000"/>
                <a:gd name="connsiteX121" fmla="*/ 2332 w 10000"/>
                <a:gd name="connsiteY121" fmla="*/ 1434 h 10000"/>
                <a:gd name="connsiteX122" fmla="*/ 2355 w 10000"/>
                <a:gd name="connsiteY122" fmla="*/ 1455 h 10000"/>
                <a:gd name="connsiteX123" fmla="*/ 2419 w 10000"/>
                <a:gd name="connsiteY123" fmla="*/ 1115 h 10000"/>
                <a:gd name="connsiteX124" fmla="*/ 2579 w 10000"/>
                <a:gd name="connsiteY124" fmla="*/ 1135 h 10000"/>
                <a:gd name="connsiteX125" fmla="*/ 2626 w 10000"/>
                <a:gd name="connsiteY125" fmla="*/ 1311 h 10000"/>
                <a:gd name="connsiteX126" fmla="*/ 2658 w 10000"/>
                <a:gd name="connsiteY126" fmla="*/ 1538 h 10000"/>
                <a:gd name="connsiteX127" fmla="*/ 2716 w 10000"/>
                <a:gd name="connsiteY127" fmla="*/ 1734 h 10000"/>
                <a:gd name="connsiteX128" fmla="*/ 2818 w 10000"/>
                <a:gd name="connsiteY128" fmla="*/ 2157 h 10000"/>
                <a:gd name="connsiteX129" fmla="*/ 2619 w 10000"/>
                <a:gd name="connsiteY129" fmla="*/ 2673 h 10000"/>
                <a:gd name="connsiteX130" fmla="*/ 2699 w 10000"/>
                <a:gd name="connsiteY130" fmla="*/ 2746 h 10000"/>
                <a:gd name="connsiteX131" fmla="*/ 2803 w 10000"/>
                <a:gd name="connsiteY131" fmla="*/ 2818 h 10000"/>
                <a:gd name="connsiteX132" fmla="*/ 2938 w 10000"/>
                <a:gd name="connsiteY132" fmla="*/ 2622 h 10000"/>
                <a:gd name="connsiteX133" fmla="*/ 2944 w 10000"/>
                <a:gd name="connsiteY133" fmla="*/ 2404 h 10000"/>
                <a:gd name="connsiteX134" fmla="*/ 2899 w 10000"/>
                <a:gd name="connsiteY134" fmla="*/ 2301 h 10000"/>
                <a:gd name="connsiteX135" fmla="*/ 3080 w 10000"/>
                <a:gd name="connsiteY135" fmla="*/ 2250 h 10000"/>
                <a:gd name="connsiteX136" fmla="*/ 3156 w 10000"/>
                <a:gd name="connsiteY136" fmla="*/ 2497 h 10000"/>
                <a:gd name="connsiteX137" fmla="*/ 3156 w 10000"/>
                <a:gd name="connsiteY137" fmla="*/ 2425 h 10000"/>
                <a:gd name="connsiteX138" fmla="*/ 3137 w 10000"/>
                <a:gd name="connsiteY138" fmla="*/ 2353 h 10000"/>
                <a:gd name="connsiteX139" fmla="*/ 3131 w 10000"/>
                <a:gd name="connsiteY139" fmla="*/ 2178 h 10000"/>
                <a:gd name="connsiteX140" fmla="*/ 2955 w 10000"/>
                <a:gd name="connsiteY140" fmla="*/ 1930 h 10000"/>
                <a:gd name="connsiteX141" fmla="*/ 2818 w 10000"/>
                <a:gd name="connsiteY141" fmla="*/ 2002 h 10000"/>
                <a:gd name="connsiteX142" fmla="*/ 2760 w 10000"/>
                <a:gd name="connsiteY142" fmla="*/ 1683 h 10000"/>
                <a:gd name="connsiteX143" fmla="*/ 2705 w 10000"/>
                <a:gd name="connsiteY143" fmla="*/ 1507 h 10000"/>
                <a:gd name="connsiteX144" fmla="*/ 2760 w 10000"/>
                <a:gd name="connsiteY144" fmla="*/ 1331 h 10000"/>
                <a:gd name="connsiteX145" fmla="*/ 2754 w 10000"/>
                <a:gd name="connsiteY145" fmla="*/ 1166 h 10000"/>
                <a:gd name="connsiteX146" fmla="*/ 2731 w 10000"/>
                <a:gd name="connsiteY146" fmla="*/ 1115 h 10000"/>
                <a:gd name="connsiteX147" fmla="*/ 2772 w 10000"/>
                <a:gd name="connsiteY147" fmla="*/ 1115 h 10000"/>
                <a:gd name="connsiteX148" fmla="*/ 2818 w 10000"/>
                <a:gd name="connsiteY148" fmla="*/ 1455 h 10000"/>
                <a:gd name="connsiteX149" fmla="*/ 3051 w 10000"/>
                <a:gd name="connsiteY149" fmla="*/ 1662 h 10000"/>
                <a:gd name="connsiteX150" fmla="*/ 2874 w 10000"/>
                <a:gd name="connsiteY150" fmla="*/ 1383 h 10000"/>
                <a:gd name="connsiteX151" fmla="*/ 3218 w 10000"/>
                <a:gd name="connsiteY151" fmla="*/ 1383 h 10000"/>
                <a:gd name="connsiteX152" fmla="*/ 3274 w 10000"/>
                <a:gd name="connsiteY152" fmla="*/ 1362 h 10000"/>
                <a:gd name="connsiteX153" fmla="*/ 3057 w 10000"/>
                <a:gd name="connsiteY153" fmla="*/ 1115 h 10000"/>
                <a:gd name="connsiteX154" fmla="*/ 3114 w 10000"/>
                <a:gd name="connsiteY154" fmla="*/ 888 h 10000"/>
                <a:gd name="connsiteX155" fmla="*/ 3354 w 10000"/>
                <a:gd name="connsiteY155" fmla="*/ 888 h 10000"/>
                <a:gd name="connsiteX156" fmla="*/ 3331 w 10000"/>
                <a:gd name="connsiteY156" fmla="*/ 713 h 10000"/>
                <a:gd name="connsiteX157" fmla="*/ 3410 w 10000"/>
                <a:gd name="connsiteY157" fmla="*/ 589 h 10000"/>
                <a:gd name="connsiteX158" fmla="*/ 3458 w 10000"/>
                <a:gd name="connsiteY158" fmla="*/ 548 h 10000"/>
                <a:gd name="connsiteX159" fmla="*/ 3635 w 10000"/>
                <a:gd name="connsiteY159" fmla="*/ 423 h 10000"/>
                <a:gd name="connsiteX160" fmla="*/ 3680 w 10000"/>
                <a:gd name="connsiteY160" fmla="*/ 371 h 10000"/>
                <a:gd name="connsiteX161" fmla="*/ 3673 w 10000"/>
                <a:gd name="connsiteY161" fmla="*/ 444 h 10000"/>
                <a:gd name="connsiteX162" fmla="*/ 3863 w 10000"/>
                <a:gd name="connsiteY162" fmla="*/ 371 h 10000"/>
                <a:gd name="connsiteX163" fmla="*/ 4016 w 10000"/>
                <a:gd name="connsiteY163" fmla="*/ 248 h 10000"/>
                <a:gd name="connsiteX164" fmla="*/ 4040 w 10000"/>
                <a:gd name="connsiteY164" fmla="*/ 0 h 10000"/>
                <a:gd name="connsiteX165" fmla="*/ 4208 w 10000"/>
                <a:gd name="connsiteY165" fmla="*/ 21 h 10000"/>
                <a:gd name="connsiteX166" fmla="*/ 4198 w 10000"/>
                <a:gd name="connsiteY166" fmla="*/ 93 h 10000"/>
                <a:gd name="connsiteX167" fmla="*/ 4208 w 10000"/>
                <a:gd name="connsiteY167" fmla="*/ 176 h 10000"/>
                <a:gd name="connsiteX168" fmla="*/ 4311 w 10000"/>
                <a:gd name="connsiteY168" fmla="*/ 248 h 10000"/>
                <a:gd name="connsiteX169" fmla="*/ 4622 w 10000"/>
                <a:gd name="connsiteY169" fmla="*/ 268 h 10000"/>
                <a:gd name="connsiteX170" fmla="*/ 4790 w 10000"/>
                <a:gd name="connsiteY170" fmla="*/ 392 h 10000"/>
                <a:gd name="connsiteX171" fmla="*/ 4734 w 10000"/>
                <a:gd name="connsiteY171" fmla="*/ 795 h 10000"/>
                <a:gd name="connsiteX172" fmla="*/ 4672 w 10000"/>
                <a:gd name="connsiteY172" fmla="*/ 919 h 10000"/>
                <a:gd name="connsiteX173" fmla="*/ 4597 w 10000"/>
                <a:gd name="connsiteY173" fmla="*/ 1043 h 10000"/>
                <a:gd name="connsiteX174" fmla="*/ 4614 w 10000"/>
                <a:gd name="connsiteY174" fmla="*/ 1115 h 10000"/>
                <a:gd name="connsiteX175" fmla="*/ 4837 w 10000"/>
                <a:gd name="connsiteY175" fmla="*/ 919 h 10000"/>
                <a:gd name="connsiteX176" fmla="*/ 5340 w 10000"/>
                <a:gd name="connsiteY176" fmla="*/ 991 h 10000"/>
                <a:gd name="connsiteX177" fmla="*/ 5391 w 10000"/>
                <a:gd name="connsiteY177" fmla="*/ 1063 h 10000"/>
                <a:gd name="connsiteX178" fmla="*/ 5501 w 10000"/>
                <a:gd name="connsiteY178" fmla="*/ 1187 h 10000"/>
                <a:gd name="connsiteX179" fmla="*/ 5654 w 10000"/>
                <a:gd name="connsiteY179" fmla="*/ 919 h 10000"/>
                <a:gd name="connsiteX180" fmla="*/ 5887 w 10000"/>
                <a:gd name="connsiteY180" fmla="*/ 1063 h 10000"/>
                <a:gd name="connsiteX181" fmla="*/ 5955 w 10000"/>
                <a:gd name="connsiteY181" fmla="*/ 1115 h 10000"/>
                <a:gd name="connsiteX182" fmla="*/ 6013 w 10000"/>
                <a:gd name="connsiteY182" fmla="*/ 1166 h 10000"/>
                <a:gd name="connsiteX183" fmla="*/ 6236 w 10000"/>
                <a:gd name="connsiteY183" fmla="*/ 1631 h 10000"/>
                <a:gd name="connsiteX184" fmla="*/ 6316 w 10000"/>
                <a:gd name="connsiteY184" fmla="*/ 1611 h 10000"/>
                <a:gd name="connsiteX185" fmla="*/ 6307 w 10000"/>
                <a:gd name="connsiteY185" fmla="*/ 1507 h 10000"/>
                <a:gd name="connsiteX186" fmla="*/ 6316 w 10000"/>
                <a:gd name="connsiteY186" fmla="*/ 1383 h 10000"/>
                <a:gd name="connsiteX187" fmla="*/ 6428 w 10000"/>
                <a:gd name="connsiteY187" fmla="*/ 1486 h 10000"/>
                <a:gd name="connsiteX188" fmla="*/ 6611 w 10000"/>
                <a:gd name="connsiteY188" fmla="*/ 1507 h 10000"/>
                <a:gd name="connsiteX189" fmla="*/ 6765 w 10000"/>
                <a:gd name="connsiteY189" fmla="*/ 1455 h 10000"/>
                <a:gd name="connsiteX190" fmla="*/ 6692 w 10000"/>
                <a:gd name="connsiteY190" fmla="*/ 1362 h 10000"/>
                <a:gd name="connsiteX191" fmla="*/ 6787 w 10000"/>
                <a:gd name="connsiteY191" fmla="*/ 1084 h 10000"/>
                <a:gd name="connsiteX192" fmla="*/ 7057 w 10000"/>
                <a:gd name="connsiteY192" fmla="*/ 1207 h 10000"/>
                <a:gd name="connsiteX193" fmla="*/ 7331 w 10000"/>
                <a:gd name="connsiteY193" fmla="*/ 1331 h 10000"/>
                <a:gd name="connsiteX194" fmla="*/ 7354 w 10000"/>
                <a:gd name="connsiteY194" fmla="*/ 1362 h 10000"/>
                <a:gd name="connsiteX195" fmla="*/ 7592 w 10000"/>
                <a:gd name="connsiteY195" fmla="*/ 1611 h 10000"/>
                <a:gd name="connsiteX196" fmla="*/ 7775 w 10000"/>
                <a:gd name="connsiteY196" fmla="*/ 1507 h 10000"/>
                <a:gd name="connsiteX197" fmla="*/ 8002 w 10000"/>
                <a:gd name="connsiteY197" fmla="*/ 1538 h 10000"/>
                <a:gd name="connsiteX198" fmla="*/ 8081 w 10000"/>
                <a:gd name="connsiteY198" fmla="*/ 1611 h 10000"/>
                <a:gd name="connsiteX199" fmla="*/ 8368 w 10000"/>
                <a:gd name="connsiteY199" fmla="*/ 1930 h 10000"/>
                <a:gd name="connsiteX200" fmla="*/ 8688 w 10000"/>
                <a:gd name="connsiteY200" fmla="*/ 1879 h 10000"/>
                <a:gd name="connsiteX201" fmla="*/ 8801 w 10000"/>
                <a:gd name="connsiteY201" fmla="*/ 2033 h 10000"/>
                <a:gd name="connsiteX202" fmla="*/ 8961 w 10000"/>
                <a:gd name="connsiteY202" fmla="*/ 2157 h 10000"/>
                <a:gd name="connsiteX203" fmla="*/ 8991 w 10000"/>
                <a:gd name="connsiteY203" fmla="*/ 2105 h 10000"/>
                <a:gd name="connsiteX204" fmla="*/ 8968 w 10000"/>
                <a:gd name="connsiteY204" fmla="*/ 2074 h 10000"/>
                <a:gd name="connsiteX205" fmla="*/ 8848 w 10000"/>
                <a:gd name="connsiteY205" fmla="*/ 1930 h 10000"/>
                <a:gd name="connsiteX206" fmla="*/ 8934 w 10000"/>
                <a:gd name="connsiteY206" fmla="*/ 1755 h 10000"/>
                <a:gd name="connsiteX207" fmla="*/ 9143 w 10000"/>
                <a:gd name="connsiteY207" fmla="*/ 1910 h 10000"/>
                <a:gd name="connsiteX208" fmla="*/ 9446 w 10000"/>
                <a:gd name="connsiteY208" fmla="*/ 1982 h 10000"/>
                <a:gd name="connsiteX209" fmla="*/ 9717 w 10000"/>
                <a:gd name="connsiteY209" fmla="*/ 2260 h 10000"/>
                <a:gd name="connsiteX210" fmla="*/ 9863 w 10000"/>
                <a:gd name="connsiteY210" fmla="*/ 2332 h 10000"/>
                <a:gd name="connsiteX211" fmla="*/ 9975 w 10000"/>
                <a:gd name="connsiteY211" fmla="*/ 2446 h 10000"/>
                <a:gd name="connsiteX212" fmla="*/ 9994 w 10000"/>
                <a:gd name="connsiteY212" fmla="*/ 2787 h 10000"/>
                <a:gd name="connsiteX0" fmla="*/ 1700 w 9975"/>
                <a:gd name="connsiteY0" fmla="*/ 7183 h 10000"/>
                <a:gd name="connsiteX1" fmla="*/ 1746 w 9975"/>
                <a:gd name="connsiteY1" fmla="*/ 7430 h 10000"/>
                <a:gd name="connsiteX2" fmla="*/ 1693 w 9975"/>
                <a:gd name="connsiteY2" fmla="*/ 7430 h 10000"/>
                <a:gd name="connsiteX3" fmla="*/ 1637 w 9975"/>
                <a:gd name="connsiteY3" fmla="*/ 7255 h 10000"/>
                <a:gd name="connsiteX4" fmla="*/ 1596 w 9975"/>
                <a:gd name="connsiteY4" fmla="*/ 7430 h 10000"/>
                <a:gd name="connsiteX5" fmla="*/ 1604 w 9975"/>
                <a:gd name="connsiteY5" fmla="*/ 7854 h 10000"/>
                <a:gd name="connsiteX6" fmla="*/ 1693 w 9975"/>
                <a:gd name="connsiteY6" fmla="*/ 8070 h 10000"/>
                <a:gd name="connsiteX7" fmla="*/ 1739 w 9975"/>
                <a:gd name="connsiteY7" fmla="*/ 8019 h 10000"/>
                <a:gd name="connsiteX8" fmla="*/ 1838 w 9975"/>
                <a:gd name="connsiteY8" fmla="*/ 8493 h 10000"/>
                <a:gd name="connsiteX9" fmla="*/ 1700 w 9975"/>
                <a:gd name="connsiteY9" fmla="*/ 8669 h 10000"/>
                <a:gd name="connsiteX10" fmla="*/ 1683 w 9975"/>
                <a:gd name="connsiteY10" fmla="*/ 9009 h 10000"/>
                <a:gd name="connsiteX11" fmla="*/ 1756 w 9975"/>
                <a:gd name="connsiteY11" fmla="*/ 9236 h 10000"/>
                <a:gd name="connsiteX12" fmla="*/ 1756 w 9975"/>
                <a:gd name="connsiteY12" fmla="*/ 9484 h 10000"/>
                <a:gd name="connsiteX13" fmla="*/ 1867 w 9975"/>
                <a:gd name="connsiteY13" fmla="*/ 9835 h 10000"/>
                <a:gd name="connsiteX14" fmla="*/ 1798 w 9975"/>
                <a:gd name="connsiteY14" fmla="*/ 10000 h 10000"/>
                <a:gd name="connsiteX15" fmla="*/ 1693 w 9975"/>
                <a:gd name="connsiteY15" fmla="*/ 9753 h 10000"/>
                <a:gd name="connsiteX16" fmla="*/ 1547 w 9975"/>
                <a:gd name="connsiteY16" fmla="*/ 9505 h 10000"/>
                <a:gd name="connsiteX17" fmla="*/ 1484 w 9975"/>
                <a:gd name="connsiteY17" fmla="*/ 9588 h 10000"/>
                <a:gd name="connsiteX18" fmla="*/ 1380 w 9975"/>
                <a:gd name="connsiteY18" fmla="*/ 9380 h 10000"/>
                <a:gd name="connsiteX19" fmla="*/ 1158 w 9975"/>
                <a:gd name="connsiteY19" fmla="*/ 9339 h 10000"/>
                <a:gd name="connsiteX20" fmla="*/ 895 w 9975"/>
                <a:gd name="connsiteY20" fmla="*/ 8813 h 10000"/>
                <a:gd name="connsiteX21" fmla="*/ 965 w 9975"/>
                <a:gd name="connsiteY21" fmla="*/ 8721 h 10000"/>
                <a:gd name="connsiteX22" fmla="*/ 1014 w 9975"/>
                <a:gd name="connsiteY22" fmla="*/ 8493 h 10000"/>
                <a:gd name="connsiteX23" fmla="*/ 959 w 9975"/>
                <a:gd name="connsiteY23" fmla="*/ 8390 h 10000"/>
                <a:gd name="connsiteX24" fmla="*/ 1077 w 9975"/>
                <a:gd name="connsiteY24" fmla="*/ 8245 h 10000"/>
                <a:gd name="connsiteX25" fmla="*/ 998 w 9975"/>
                <a:gd name="connsiteY25" fmla="*/ 8194 h 10000"/>
                <a:gd name="connsiteX26" fmla="*/ 1011 w 9975"/>
                <a:gd name="connsiteY26" fmla="*/ 8091 h 10000"/>
                <a:gd name="connsiteX27" fmla="*/ 1061 w 9975"/>
                <a:gd name="connsiteY27" fmla="*/ 8111 h 10000"/>
                <a:gd name="connsiteX28" fmla="*/ 1119 w 9975"/>
                <a:gd name="connsiteY28" fmla="*/ 8019 h 10000"/>
                <a:gd name="connsiteX29" fmla="*/ 1090 w 9975"/>
                <a:gd name="connsiteY29" fmla="*/ 7864 h 10000"/>
                <a:gd name="connsiteX30" fmla="*/ 1101 w 9975"/>
                <a:gd name="connsiteY30" fmla="*/ 7503 h 10000"/>
                <a:gd name="connsiteX31" fmla="*/ 981 w 9975"/>
                <a:gd name="connsiteY31" fmla="*/ 7440 h 10000"/>
                <a:gd name="connsiteX32" fmla="*/ 877 w 9975"/>
                <a:gd name="connsiteY32" fmla="*/ 7286 h 10000"/>
                <a:gd name="connsiteX33" fmla="*/ 739 w 9975"/>
                <a:gd name="connsiteY33" fmla="*/ 7275 h 10000"/>
                <a:gd name="connsiteX34" fmla="*/ 721 w 9975"/>
                <a:gd name="connsiteY34" fmla="*/ 7090 h 10000"/>
                <a:gd name="connsiteX35" fmla="*/ 629 w 9975"/>
                <a:gd name="connsiteY35" fmla="*/ 6945 h 10000"/>
                <a:gd name="connsiteX36" fmla="*/ 649 w 9975"/>
                <a:gd name="connsiteY36" fmla="*/ 6822 h 10000"/>
                <a:gd name="connsiteX37" fmla="*/ 593 w 9975"/>
                <a:gd name="connsiteY37" fmla="*/ 6698 h 10000"/>
                <a:gd name="connsiteX38" fmla="*/ 483 w 9975"/>
                <a:gd name="connsiteY38" fmla="*/ 6698 h 10000"/>
                <a:gd name="connsiteX39" fmla="*/ 449 w 9975"/>
                <a:gd name="connsiteY39" fmla="*/ 6791 h 10000"/>
                <a:gd name="connsiteX40" fmla="*/ 422 w 9975"/>
                <a:gd name="connsiteY40" fmla="*/ 6750 h 10000"/>
                <a:gd name="connsiteX41" fmla="*/ 398 w 9975"/>
                <a:gd name="connsiteY41" fmla="*/ 6439 h 10000"/>
                <a:gd name="connsiteX42" fmla="*/ 443 w 9975"/>
                <a:gd name="connsiteY42" fmla="*/ 6470 h 10000"/>
                <a:gd name="connsiteX43" fmla="*/ 492 w 9975"/>
                <a:gd name="connsiteY43" fmla="*/ 6347 h 10000"/>
                <a:gd name="connsiteX44" fmla="*/ 422 w 9975"/>
                <a:gd name="connsiteY44" fmla="*/ 6233 h 10000"/>
                <a:gd name="connsiteX45" fmla="*/ 332 w 9975"/>
                <a:gd name="connsiteY45" fmla="*/ 6017 h 10000"/>
                <a:gd name="connsiteX46" fmla="*/ 353 w 9975"/>
                <a:gd name="connsiteY46" fmla="*/ 5821 h 10000"/>
                <a:gd name="connsiteX47" fmla="*/ 289 w 9975"/>
                <a:gd name="connsiteY47" fmla="*/ 5697 h 10000"/>
                <a:gd name="connsiteX48" fmla="*/ 238 w 9975"/>
                <a:gd name="connsiteY48" fmla="*/ 5728 h 10000"/>
                <a:gd name="connsiteX49" fmla="*/ 213 w 9975"/>
                <a:gd name="connsiteY49" fmla="*/ 5604 h 10000"/>
                <a:gd name="connsiteX50" fmla="*/ 173 w 9975"/>
                <a:gd name="connsiteY50" fmla="*/ 5645 h 10000"/>
                <a:gd name="connsiteX51" fmla="*/ 123 w 9975"/>
                <a:gd name="connsiteY51" fmla="*/ 5604 h 10000"/>
                <a:gd name="connsiteX52" fmla="*/ 73 w 9975"/>
                <a:gd name="connsiteY52" fmla="*/ 5181 h 10000"/>
                <a:gd name="connsiteX53" fmla="*/ 91 w 9975"/>
                <a:gd name="connsiteY53" fmla="*/ 5057 h 10000"/>
                <a:gd name="connsiteX54" fmla="*/ 42 w 9975"/>
                <a:gd name="connsiteY54" fmla="*/ 4892 h 10000"/>
                <a:gd name="connsiteX55" fmla="*/ 70 w 9975"/>
                <a:gd name="connsiteY55" fmla="*/ 4655 h 10000"/>
                <a:gd name="connsiteX56" fmla="*/ 222 w 9975"/>
                <a:gd name="connsiteY56" fmla="*/ 4510 h 10000"/>
                <a:gd name="connsiteX57" fmla="*/ 136 w 9975"/>
                <a:gd name="connsiteY57" fmla="*/ 4406 h 10000"/>
                <a:gd name="connsiteX58" fmla="*/ 88 w 9975"/>
                <a:gd name="connsiteY58" fmla="*/ 4283 h 10000"/>
                <a:gd name="connsiteX59" fmla="*/ 216 w 9975"/>
                <a:gd name="connsiteY59" fmla="*/ 3912 h 10000"/>
                <a:gd name="connsiteX60" fmla="*/ 264 w 9975"/>
                <a:gd name="connsiteY60" fmla="*/ 3664 h 10000"/>
                <a:gd name="connsiteX61" fmla="*/ 160 w 9975"/>
                <a:gd name="connsiteY61" fmla="*/ 3488 h 10000"/>
                <a:gd name="connsiteX62" fmla="*/ 200 w 9975"/>
                <a:gd name="connsiteY62" fmla="*/ 3344 h 10000"/>
                <a:gd name="connsiteX63" fmla="*/ 119 w 9975"/>
                <a:gd name="connsiteY63" fmla="*/ 3148 h 10000"/>
                <a:gd name="connsiteX64" fmla="*/ 119 w 9975"/>
                <a:gd name="connsiteY64" fmla="*/ 2972 h 10000"/>
                <a:gd name="connsiteX65" fmla="*/ 64 w 9975"/>
                <a:gd name="connsiteY65" fmla="*/ 2622 h 10000"/>
                <a:gd name="connsiteX66" fmla="*/ 104 w 9975"/>
                <a:gd name="connsiteY66" fmla="*/ 2404 h 10000"/>
                <a:gd name="connsiteX67" fmla="*/ 39 w 9975"/>
                <a:gd name="connsiteY67" fmla="*/ 2301 h 10000"/>
                <a:gd name="connsiteX68" fmla="*/ 0 w 9975"/>
                <a:gd name="connsiteY68" fmla="*/ 2178 h 10000"/>
                <a:gd name="connsiteX69" fmla="*/ 57 w 9975"/>
                <a:gd name="connsiteY69" fmla="*/ 1951 h 10000"/>
                <a:gd name="connsiteX70" fmla="*/ 126 w 9975"/>
                <a:gd name="connsiteY70" fmla="*/ 1910 h 10000"/>
                <a:gd name="connsiteX71" fmla="*/ 206 w 9975"/>
                <a:gd name="connsiteY71" fmla="*/ 1858 h 10000"/>
                <a:gd name="connsiteX72" fmla="*/ 326 w 9975"/>
                <a:gd name="connsiteY72" fmla="*/ 1951 h 10000"/>
                <a:gd name="connsiteX73" fmla="*/ 508 w 9975"/>
                <a:gd name="connsiteY73" fmla="*/ 2054 h 10000"/>
                <a:gd name="connsiteX74" fmla="*/ 667 w 9975"/>
                <a:gd name="connsiteY74" fmla="*/ 2229 h 10000"/>
                <a:gd name="connsiteX75" fmla="*/ 798 w 9975"/>
                <a:gd name="connsiteY75" fmla="*/ 2373 h 10000"/>
                <a:gd name="connsiteX76" fmla="*/ 765 w 9975"/>
                <a:gd name="connsiteY76" fmla="*/ 2777 h 10000"/>
                <a:gd name="connsiteX77" fmla="*/ 382 w 9975"/>
                <a:gd name="connsiteY77" fmla="*/ 2673 h 10000"/>
                <a:gd name="connsiteX78" fmla="*/ 257 w 9975"/>
                <a:gd name="connsiteY78" fmla="*/ 2550 h 10000"/>
                <a:gd name="connsiteX79" fmla="*/ 303 w 9975"/>
                <a:gd name="connsiteY79" fmla="*/ 2622 h 10000"/>
                <a:gd name="connsiteX80" fmla="*/ 350 w 9975"/>
                <a:gd name="connsiteY80" fmla="*/ 2797 h 10000"/>
                <a:gd name="connsiteX81" fmla="*/ 422 w 9975"/>
                <a:gd name="connsiteY81" fmla="*/ 2921 h 10000"/>
                <a:gd name="connsiteX82" fmla="*/ 440 w 9975"/>
                <a:gd name="connsiteY82" fmla="*/ 3189 h 10000"/>
                <a:gd name="connsiteX83" fmla="*/ 535 w 9975"/>
                <a:gd name="connsiteY83" fmla="*/ 3313 h 10000"/>
                <a:gd name="connsiteX84" fmla="*/ 615 w 9975"/>
                <a:gd name="connsiteY84" fmla="*/ 3436 h 10000"/>
                <a:gd name="connsiteX85" fmla="*/ 639 w 9975"/>
                <a:gd name="connsiteY85" fmla="*/ 3467 h 10000"/>
                <a:gd name="connsiteX86" fmla="*/ 686 w 9975"/>
                <a:gd name="connsiteY86" fmla="*/ 3436 h 10000"/>
                <a:gd name="connsiteX87" fmla="*/ 667 w 9975"/>
                <a:gd name="connsiteY87" fmla="*/ 3364 h 10000"/>
                <a:gd name="connsiteX88" fmla="*/ 575 w 9975"/>
                <a:gd name="connsiteY88" fmla="*/ 3189 h 10000"/>
                <a:gd name="connsiteX89" fmla="*/ 846 w 9975"/>
                <a:gd name="connsiteY89" fmla="*/ 3344 h 10000"/>
                <a:gd name="connsiteX90" fmla="*/ 855 w 9975"/>
                <a:gd name="connsiteY90" fmla="*/ 3271 h 10000"/>
                <a:gd name="connsiteX91" fmla="*/ 829 w 9975"/>
                <a:gd name="connsiteY91" fmla="*/ 3220 h 10000"/>
                <a:gd name="connsiteX92" fmla="*/ 782 w 9975"/>
                <a:gd name="connsiteY92" fmla="*/ 2993 h 10000"/>
                <a:gd name="connsiteX93" fmla="*/ 917 w 9975"/>
                <a:gd name="connsiteY93" fmla="*/ 2777 h 10000"/>
                <a:gd name="connsiteX94" fmla="*/ 1022 w 9975"/>
                <a:gd name="connsiteY94" fmla="*/ 2921 h 10000"/>
                <a:gd name="connsiteX95" fmla="*/ 1055 w 9975"/>
                <a:gd name="connsiteY95" fmla="*/ 2725 h 10000"/>
                <a:gd name="connsiteX96" fmla="*/ 1005 w 9975"/>
                <a:gd name="connsiteY96" fmla="*/ 2653 h 10000"/>
                <a:gd name="connsiteX97" fmla="*/ 987 w 9975"/>
                <a:gd name="connsiteY97" fmla="*/ 2281 h 10000"/>
                <a:gd name="connsiteX98" fmla="*/ 965 w 9975"/>
                <a:gd name="connsiteY98" fmla="*/ 2229 h 10000"/>
                <a:gd name="connsiteX99" fmla="*/ 1093 w 9975"/>
                <a:gd name="connsiteY99" fmla="*/ 2250 h 10000"/>
                <a:gd name="connsiteX100" fmla="*/ 1147 w 9975"/>
                <a:gd name="connsiteY100" fmla="*/ 2404 h 10000"/>
                <a:gd name="connsiteX101" fmla="*/ 1077 w 9975"/>
                <a:gd name="connsiteY101" fmla="*/ 2529 h 10000"/>
                <a:gd name="connsiteX102" fmla="*/ 1197 w 9975"/>
                <a:gd name="connsiteY102" fmla="*/ 2694 h 10000"/>
                <a:gd name="connsiteX103" fmla="*/ 1294 w 9975"/>
                <a:gd name="connsiteY103" fmla="*/ 2529 h 10000"/>
                <a:gd name="connsiteX104" fmla="*/ 1412 w 9975"/>
                <a:gd name="connsiteY104" fmla="*/ 2301 h 10000"/>
                <a:gd name="connsiteX105" fmla="*/ 1541 w 9975"/>
                <a:gd name="connsiteY105" fmla="*/ 2157 h 10000"/>
                <a:gd name="connsiteX106" fmla="*/ 1579 w 9975"/>
                <a:gd name="connsiteY106" fmla="*/ 2250 h 10000"/>
                <a:gd name="connsiteX107" fmla="*/ 1906 w 9975"/>
                <a:gd name="connsiteY107" fmla="*/ 2054 h 10000"/>
                <a:gd name="connsiteX108" fmla="*/ 1974 w 9975"/>
                <a:gd name="connsiteY108" fmla="*/ 2250 h 10000"/>
                <a:gd name="connsiteX109" fmla="*/ 1964 w 9975"/>
                <a:gd name="connsiteY109" fmla="*/ 2002 h 10000"/>
                <a:gd name="connsiteX110" fmla="*/ 1876 w 9975"/>
                <a:gd name="connsiteY110" fmla="*/ 1786 h 10000"/>
                <a:gd name="connsiteX111" fmla="*/ 1861 w 9975"/>
                <a:gd name="connsiteY111" fmla="*/ 1703 h 10000"/>
                <a:gd name="connsiteX112" fmla="*/ 1924 w 9975"/>
                <a:gd name="connsiteY112" fmla="*/ 1786 h 10000"/>
                <a:gd name="connsiteX113" fmla="*/ 2146 w 9975"/>
                <a:gd name="connsiteY113" fmla="*/ 1951 h 10000"/>
                <a:gd name="connsiteX114" fmla="*/ 2396 w 9975"/>
                <a:gd name="connsiteY114" fmla="*/ 2126 h 10000"/>
                <a:gd name="connsiteX115" fmla="*/ 2516 w 9975"/>
                <a:gd name="connsiteY115" fmla="*/ 2250 h 10000"/>
                <a:gd name="connsiteX116" fmla="*/ 2555 w 9975"/>
                <a:gd name="connsiteY116" fmla="*/ 2074 h 10000"/>
                <a:gd name="connsiteX117" fmla="*/ 2499 w 9975"/>
                <a:gd name="connsiteY117" fmla="*/ 2033 h 10000"/>
                <a:gd name="connsiteX118" fmla="*/ 2426 w 9975"/>
                <a:gd name="connsiteY118" fmla="*/ 1930 h 10000"/>
                <a:gd name="connsiteX119" fmla="*/ 2378 w 9975"/>
                <a:gd name="connsiteY119" fmla="*/ 1734 h 10000"/>
                <a:gd name="connsiteX120" fmla="*/ 2307 w 9975"/>
                <a:gd name="connsiteY120" fmla="*/ 1486 h 10000"/>
                <a:gd name="connsiteX121" fmla="*/ 2332 w 9975"/>
                <a:gd name="connsiteY121" fmla="*/ 1434 h 10000"/>
                <a:gd name="connsiteX122" fmla="*/ 2355 w 9975"/>
                <a:gd name="connsiteY122" fmla="*/ 1455 h 10000"/>
                <a:gd name="connsiteX123" fmla="*/ 2419 w 9975"/>
                <a:gd name="connsiteY123" fmla="*/ 1115 h 10000"/>
                <a:gd name="connsiteX124" fmla="*/ 2579 w 9975"/>
                <a:gd name="connsiteY124" fmla="*/ 1135 h 10000"/>
                <a:gd name="connsiteX125" fmla="*/ 2626 w 9975"/>
                <a:gd name="connsiteY125" fmla="*/ 1311 h 10000"/>
                <a:gd name="connsiteX126" fmla="*/ 2658 w 9975"/>
                <a:gd name="connsiteY126" fmla="*/ 1538 h 10000"/>
                <a:gd name="connsiteX127" fmla="*/ 2716 w 9975"/>
                <a:gd name="connsiteY127" fmla="*/ 1734 h 10000"/>
                <a:gd name="connsiteX128" fmla="*/ 2818 w 9975"/>
                <a:gd name="connsiteY128" fmla="*/ 2157 h 10000"/>
                <a:gd name="connsiteX129" fmla="*/ 2619 w 9975"/>
                <a:gd name="connsiteY129" fmla="*/ 2673 h 10000"/>
                <a:gd name="connsiteX130" fmla="*/ 2699 w 9975"/>
                <a:gd name="connsiteY130" fmla="*/ 2746 h 10000"/>
                <a:gd name="connsiteX131" fmla="*/ 2803 w 9975"/>
                <a:gd name="connsiteY131" fmla="*/ 2818 h 10000"/>
                <a:gd name="connsiteX132" fmla="*/ 2938 w 9975"/>
                <a:gd name="connsiteY132" fmla="*/ 2622 h 10000"/>
                <a:gd name="connsiteX133" fmla="*/ 2944 w 9975"/>
                <a:gd name="connsiteY133" fmla="*/ 2404 h 10000"/>
                <a:gd name="connsiteX134" fmla="*/ 2899 w 9975"/>
                <a:gd name="connsiteY134" fmla="*/ 2301 h 10000"/>
                <a:gd name="connsiteX135" fmla="*/ 3080 w 9975"/>
                <a:gd name="connsiteY135" fmla="*/ 2250 h 10000"/>
                <a:gd name="connsiteX136" fmla="*/ 3156 w 9975"/>
                <a:gd name="connsiteY136" fmla="*/ 2497 h 10000"/>
                <a:gd name="connsiteX137" fmla="*/ 3156 w 9975"/>
                <a:gd name="connsiteY137" fmla="*/ 2425 h 10000"/>
                <a:gd name="connsiteX138" fmla="*/ 3137 w 9975"/>
                <a:gd name="connsiteY138" fmla="*/ 2353 h 10000"/>
                <a:gd name="connsiteX139" fmla="*/ 3131 w 9975"/>
                <a:gd name="connsiteY139" fmla="*/ 2178 h 10000"/>
                <a:gd name="connsiteX140" fmla="*/ 2955 w 9975"/>
                <a:gd name="connsiteY140" fmla="*/ 1930 h 10000"/>
                <a:gd name="connsiteX141" fmla="*/ 2818 w 9975"/>
                <a:gd name="connsiteY141" fmla="*/ 2002 h 10000"/>
                <a:gd name="connsiteX142" fmla="*/ 2760 w 9975"/>
                <a:gd name="connsiteY142" fmla="*/ 1683 h 10000"/>
                <a:gd name="connsiteX143" fmla="*/ 2705 w 9975"/>
                <a:gd name="connsiteY143" fmla="*/ 1507 h 10000"/>
                <a:gd name="connsiteX144" fmla="*/ 2760 w 9975"/>
                <a:gd name="connsiteY144" fmla="*/ 1331 h 10000"/>
                <a:gd name="connsiteX145" fmla="*/ 2754 w 9975"/>
                <a:gd name="connsiteY145" fmla="*/ 1166 h 10000"/>
                <a:gd name="connsiteX146" fmla="*/ 2731 w 9975"/>
                <a:gd name="connsiteY146" fmla="*/ 1115 h 10000"/>
                <a:gd name="connsiteX147" fmla="*/ 2772 w 9975"/>
                <a:gd name="connsiteY147" fmla="*/ 1115 h 10000"/>
                <a:gd name="connsiteX148" fmla="*/ 2818 w 9975"/>
                <a:gd name="connsiteY148" fmla="*/ 1455 h 10000"/>
                <a:gd name="connsiteX149" fmla="*/ 3051 w 9975"/>
                <a:gd name="connsiteY149" fmla="*/ 1662 h 10000"/>
                <a:gd name="connsiteX150" fmla="*/ 2874 w 9975"/>
                <a:gd name="connsiteY150" fmla="*/ 1383 h 10000"/>
                <a:gd name="connsiteX151" fmla="*/ 3218 w 9975"/>
                <a:gd name="connsiteY151" fmla="*/ 1383 h 10000"/>
                <a:gd name="connsiteX152" fmla="*/ 3274 w 9975"/>
                <a:gd name="connsiteY152" fmla="*/ 1362 h 10000"/>
                <a:gd name="connsiteX153" fmla="*/ 3057 w 9975"/>
                <a:gd name="connsiteY153" fmla="*/ 1115 h 10000"/>
                <a:gd name="connsiteX154" fmla="*/ 3114 w 9975"/>
                <a:gd name="connsiteY154" fmla="*/ 888 h 10000"/>
                <a:gd name="connsiteX155" fmla="*/ 3354 w 9975"/>
                <a:gd name="connsiteY155" fmla="*/ 888 h 10000"/>
                <a:gd name="connsiteX156" fmla="*/ 3331 w 9975"/>
                <a:gd name="connsiteY156" fmla="*/ 713 h 10000"/>
                <a:gd name="connsiteX157" fmla="*/ 3410 w 9975"/>
                <a:gd name="connsiteY157" fmla="*/ 589 h 10000"/>
                <a:gd name="connsiteX158" fmla="*/ 3458 w 9975"/>
                <a:gd name="connsiteY158" fmla="*/ 548 h 10000"/>
                <a:gd name="connsiteX159" fmla="*/ 3635 w 9975"/>
                <a:gd name="connsiteY159" fmla="*/ 423 h 10000"/>
                <a:gd name="connsiteX160" fmla="*/ 3680 w 9975"/>
                <a:gd name="connsiteY160" fmla="*/ 371 h 10000"/>
                <a:gd name="connsiteX161" fmla="*/ 3673 w 9975"/>
                <a:gd name="connsiteY161" fmla="*/ 444 h 10000"/>
                <a:gd name="connsiteX162" fmla="*/ 3863 w 9975"/>
                <a:gd name="connsiteY162" fmla="*/ 371 h 10000"/>
                <a:gd name="connsiteX163" fmla="*/ 4016 w 9975"/>
                <a:gd name="connsiteY163" fmla="*/ 248 h 10000"/>
                <a:gd name="connsiteX164" fmla="*/ 4040 w 9975"/>
                <a:gd name="connsiteY164" fmla="*/ 0 h 10000"/>
                <a:gd name="connsiteX165" fmla="*/ 4208 w 9975"/>
                <a:gd name="connsiteY165" fmla="*/ 21 h 10000"/>
                <a:gd name="connsiteX166" fmla="*/ 4198 w 9975"/>
                <a:gd name="connsiteY166" fmla="*/ 93 h 10000"/>
                <a:gd name="connsiteX167" fmla="*/ 4208 w 9975"/>
                <a:gd name="connsiteY167" fmla="*/ 176 h 10000"/>
                <a:gd name="connsiteX168" fmla="*/ 4311 w 9975"/>
                <a:gd name="connsiteY168" fmla="*/ 248 h 10000"/>
                <a:gd name="connsiteX169" fmla="*/ 4622 w 9975"/>
                <a:gd name="connsiteY169" fmla="*/ 268 h 10000"/>
                <a:gd name="connsiteX170" fmla="*/ 4790 w 9975"/>
                <a:gd name="connsiteY170" fmla="*/ 392 h 10000"/>
                <a:gd name="connsiteX171" fmla="*/ 4734 w 9975"/>
                <a:gd name="connsiteY171" fmla="*/ 795 h 10000"/>
                <a:gd name="connsiteX172" fmla="*/ 4672 w 9975"/>
                <a:gd name="connsiteY172" fmla="*/ 919 h 10000"/>
                <a:gd name="connsiteX173" fmla="*/ 4597 w 9975"/>
                <a:gd name="connsiteY173" fmla="*/ 1043 h 10000"/>
                <a:gd name="connsiteX174" fmla="*/ 4614 w 9975"/>
                <a:gd name="connsiteY174" fmla="*/ 1115 h 10000"/>
                <a:gd name="connsiteX175" fmla="*/ 4837 w 9975"/>
                <a:gd name="connsiteY175" fmla="*/ 919 h 10000"/>
                <a:gd name="connsiteX176" fmla="*/ 5340 w 9975"/>
                <a:gd name="connsiteY176" fmla="*/ 991 h 10000"/>
                <a:gd name="connsiteX177" fmla="*/ 5391 w 9975"/>
                <a:gd name="connsiteY177" fmla="*/ 1063 h 10000"/>
                <a:gd name="connsiteX178" fmla="*/ 5501 w 9975"/>
                <a:gd name="connsiteY178" fmla="*/ 1187 h 10000"/>
                <a:gd name="connsiteX179" fmla="*/ 5654 w 9975"/>
                <a:gd name="connsiteY179" fmla="*/ 919 h 10000"/>
                <a:gd name="connsiteX180" fmla="*/ 5887 w 9975"/>
                <a:gd name="connsiteY180" fmla="*/ 1063 h 10000"/>
                <a:gd name="connsiteX181" fmla="*/ 5955 w 9975"/>
                <a:gd name="connsiteY181" fmla="*/ 1115 h 10000"/>
                <a:gd name="connsiteX182" fmla="*/ 6013 w 9975"/>
                <a:gd name="connsiteY182" fmla="*/ 1166 h 10000"/>
                <a:gd name="connsiteX183" fmla="*/ 6236 w 9975"/>
                <a:gd name="connsiteY183" fmla="*/ 1631 h 10000"/>
                <a:gd name="connsiteX184" fmla="*/ 6316 w 9975"/>
                <a:gd name="connsiteY184" fmla="*/ 1611 h 10000"/>
                <a:gd name="connsiteX185" fmla="*/ 6307 w 9975"/>
                <a:gd name="connsiteY185" fmla="*/ 1507 h 10000"/>
                <a:gd name="connsiteX186" fmla="*/ 6316 w 9975"/>
                <a:gd name="connsiteY186" fmla="*/ 1383 h 10000"/>
                <a:gd name="connsiteX187" fmla="*/ 6428 w 9975"/>
                <a:gd name="connsiteY187" fmla="*/ 1486 h 10000"/>
                <a:gd name="connsiteX188" fmla="*/ 6611 w 9975"/>
                <a:gd name="connsiteY188" fmla="*/ 1507 h 10000"/>
                <a:gd name="connsiteX189" fmla="*/ 6765 w 9975"/>
                <a:gd name="connsiteY189" fmla="*/ 1455 h 10000"/>
                <a:gd name="connsiteX190" fmla="*/ 6692 w 9975"/>
                <a:gd name="connsiteY190" fmla="*/ 1362 h 10000"/>
                <a:gd name="connsiteX191" fmla="*/ 6787 w 9975"/>
                <a:gd name="connsiteY191" fmla="*/ 1084 h 10000"/>
                <a:gd name="connsiteX192" fmla="*/ 7057 w 9975"/>
                <a:gd name="connsiteY192" fmla="*/ 1207 h 10000"/>
                <a:gd name="connsiteX193" fmla="*/ 7331 w 9975"/>
                <a:gd name="connsiteY193" fmla="*/ 1331 h 10000"/>
                <a:gd name="connsiteX194" fmla="*/ 7354 w 9975"/>
                <a:gd name="connsiteY194" fmla="*/ 1362 h 10000"/>
                <a:gd name="connsiteX195" fmla="*/ 7592 w 9975"/>
                <a:gd name="connsiteY195" fmla="*/ 1611 h 10000"/>
                <a:gd name="connsiteX196" fmla="*/ 7775 w 9975"/>
                <a:gd name="connsiteY196" fmla="*/ 1507 h 10000"/>
                <a:gd name="connsiteX197" fmla="*/ 8002 w 9975"/>
                <a:gd name="connsiteY197" fmla="*/ 1538 h 10000"/>
                <a:gd name="connsiteX198" fmla="*/ 8081 w 9975"/>
                <a:gd name="connsiteY198" fmla="*/ 1611 h 10000"/>
                <a:gd name="connsiteX199" fmla="*/ 8368 w 9975"/>
                <a:gd name="connsiteY199" fmla="*/ 1930 h 10000"/>
                <a:gd name="connsiteX200" fmla="*/ 8688 w 9975"/>
                <a:gd name="connsiteY200" fmla="*/ 1879 h 10000"/>
                <a:gd name="connsiteX201" fmla="*/ 8801 w 9975"/>
                <a:gd name="connsiteY201" fmla="*/ 2033 h 10000"/>
                <a:gd name="connsiteX202" fmla="*/ 8961 w 9975"/>
                <a:gd name="connsiteY202" fmla="*/ 2157 h 10000"/>
                <a:gd name="connsiteX203" fmla="*/ 8991 w 9975"/>
                <a:gd name="connsiteY203" fmla="*/ 2105 h 10000"/>
                <a:gd name="connsiteX204" fmla="*/ 8968 w 9975"/>
                <a:gd name="connsiteY204" fmla="*/ 2074 h 10000"/>
                <a:gd name="connsiteX205" fmla="*/ 8848 w 9975"/>
                <a:gd name="connsiteY205" fmla="*/ 1930 h 10000"/>
                <a:gd name="connsiteX206" fmla="*/ 8934 w 9975"/>
                <a:gd name="connsiteY206" fmla="*/ 1755 h 10000"/>
                <a:gd name="connsiteX207" fmla="*/ 9143 w 9975"/>
                <a:gd name="connsiteY207" fmla="*/ 1910 h 10000"/>
                <a:gd name="connsiteX208" fmla="*/ 9446 w 9975"/>
                <a:gd name="connsiteY208" fmla="*/ 1982 h 10000"/>
                <a:gd name="connsiteX209" fmla="*/ 9717 w 9975"/>
                <a:gd name="connsiteY209" fmla="*/ 2260 h 10000"/>
                <a:gd name="connsiteX210" fmla="*/ 9863 w 9975"/>
                <a:gd name="connsiteY210" fmla="*/ 2332 h 10000"/>
                <a:gd name="connsiteX211" fmla="*/ 9975 w 9975"/>
                <a:gd name="connsiteY211" fmla="*/ 2446 h 10000"/>
                <a:gd name="connsiteX0" fmla="*/ 1704 w 9888"/>
                <a:gd name="connsiteY0" fmla="*/ 7183 h 10000"/>
                <a:gd name="connsiteX1" fmla="*/ 1750 w 9888"/>
                <a:gd name="connsiteY1" fmla="*/ 7430 h 10000"/>
                <a:gd name="connsiteX2" fmla="*/ 1697 w 9888"/>
                <a:gd name="connsiteY2" fmla="*/ 7430 h 10000"/>
                <a:gd name="connsiteX3" fmla="*/ 1641 w 9888"/>
                <a:gd name="connsiteY3" fmla="*/ 7255 h 10000"/>
                <a:gd name="connsiteX4" fmla="*/ 1600 w 9888"/>
                <a:gd name="connsiteY4" fmla="*/ 7430 h 10000"/>
                <a:gd name="connsiteX5" fmla="*/ 1608 w 9888"/>
                <a:gd name="connsiteY5" fmla="*/ 7854 h 10000"/>
                <a:gd name="connsiteX6" fmla="*/ 1697 w 9888"/>
                <a:gd name="connsiteY6" fmla="*/ 8070 h 10000"/>
                <a:gd name="connsiteX7" fmla="*/ 1743 w 9888"/>
                <a:gd name="connsiteY7" fmla="*/ 8019 h 10000"/>
                <a:gd name="connsiteX8" fmla="*/ 1843 w 9888"/>
                <a:gd name="connsiteY8" fmla="*/ 8493 h 10000"/>
                <a:gd name="connsiteX9" fmla="*/ 1704 w 9888"/>
                <a:gd name="connsiteY9" fmla="*/ 8669 h 10000"/>
                <a:gd name="connsiteX10" fmla="*/ 1687 w 9888"/>
                <a:gd name="connsiteY10" fmla="*/ 9009 h 10000"/>
                <a:gd name="connsiteX11" fmla="*/ 1760 w 9888"/>
                <a:gd name="connsiteY11" fmla="*/ 9236 h 10000"/>
                <a:gd name="connsiteX12" fmla="*/ 1760 w 9888"/>
                <a:gd name="connsiteY12" fmla="*/ 9484 h 10000"/>
                <a:gd name="connsiteX13" fmla="*/ 1872 w 9888"/>
                <a:gd name="connsiteY13" fmla="*/ 9835 h 10000"/>
                <a:gd name="connsiteX14" fmla="*/ 1803 w 9888"/>
                <a:gd name="connsiteY14" fmla="*/ 10000 h 10000"/>
                <a:gd name="connsiteX15" fmla="*/ 1697 w 9888"/>
                <a:gd name="connsiteY15" fmla="*/ 9753 h 10000"/>
                <a:gd name="connsiteX16" fmla="*/ 1551 w 9888"/>
                <a:gd name="connsiteY16" fmla="*/ 9505 h 10000"/>
                <a:gd name="connsiteX17" fmla="*/ 1488 w 9888"/>
                <a:gd name="connsiteY17" fmla="*/ 9588 h 10000"/>
                <a:gd name="connsiteX18" fmla="*/ 1383 w 9888"/>
                <a:gd name="connsiteY18" fmla="*/ 9380 h 10000"/>
                <a:gd name="connsiteX19" fmla="*/ 1161 w 9888"/>
                <a:gd name="connsiteY19" fmla="*/ 9339 h 10000"/>
                <a:gd name="connsiteX20" fmla="*/ 897 w 9888"/>
                <a:gd name="connsiteY20" fmla="*/ 8813 h 10000"/>
                <a:gd name="connsiteX21" fmla="*/ 967 w 9888"/>
                <a:gd name="connsiteY21" fmla="*/ 8721 h 10000"/>
                <a:gd name="connsiteX22" fmla="*/ 1017 w 9888"/>
                <a:gd name="connsiteY22" fmla="*/ 8493 h 10000"/>
                <a:gd name="connsiteX23" fmla="*/ 961 w 9888"/>
                <a:gd name="connsiteY23" fmla="*/ 8390 h 10000"/>
                <a:gd name="connsiteX24" fmla="*/ 1080 w 9888"/>
                <a:gd name="connsiteY24" fmla="*/ 8245 h 10000"/>
                <a:gd name="connsiteX25" fmla="*/ 1001 w 9888"/>
                <a:gd name="connsiteY25" fmla="*/ 8194 h 10000"/>
                <a:gd name="connsiteX26" fmla="*/ 1014 w 9888"/>
                <a:gd name="connsiteY26" fmla="*/ 8091 h 10000"/>
                <a:gd name="connsiteX27" fmla="*/ 1064 w 9888"/>
                <a:gd name="connsiteY27" fmla="*/ 8111 h 10000"/>
                <a:gd name="connsiteX28" fmla="*/ 1122 w 9888"/>
                <a:gd name="connsiteY28" fmla="*/ 8019 h 10000"/>
                <a:gd name="connsiteX29" fmla="*/ 1093 w 9888"/>
                <a:gd name="connsiteY29" fmla="*/ 7864 h 10000"/>
                <a:gd name="connsiteX30" fmla="*/ 1104 w 9888"/>
                <a:gd name="connsiteY30" fmla="*/ 7503 h 10000"/>
                <a:gd name="connsiteX31" fmla="*/ 983 w 9888"/>
                <a:gd name="connsiteY31" fmla="*/ 7440 h 10000"/>
                <a:gd name="connsiteX32" fmla="*/ 879 w 9888"/>
                <a:gd name="connsiteY32" fmla="*/ 7286 h 10000"/>
                <a:gd name="connsiteX33" fmla="*/ 741 w 9888"/>
                <a:gd name="connsiteY33" fmla="*/ 7275 h 10000"/>
                <a:gd name="connsiteX34" fmla="*/ 723 w 9888"/>
                <a:gd name="connsiteY34" fmla="*/ 7090 h 10000"/>
                <a:gd name="connsiteX35" fmla="*/ 631 w 9888"/>
                <a:gd name="connsiteY35" fmla="*/ 6945 h 10000"/>
                <a:gd name="connsiteX36" fmla="*/ 651 w 9888"/>
                <a:gd name="connsiteY36" fmla="*/ 6822 h 10000"/>
                <a:gd name="connsiteX37" fmla="*/ 594 w 9888"/>
                <a:gd name="connsiteY37" fmla="*/ 6698 h 10000"/>
                <a:gd name="connsiteX38" fmla="*/ 484 w 9888"/>
                <a:gd name="connsiteY38" fmla="*/ 6698 h 10000"/>
                <a:gd name="connsiteX39" fmla="*/ 450 w 9888"/>
                <a:gd name="connsiteY39" fmla="*/ 6791 h 10000"/>
                <a:gd name="connsiteX40" fmla="*/ 423 w 9888"/>
                <a:gd name="connsiteY40" fmla="*/ 6750 h 10000"/>
                <a:gd name="connsiteX41" fmla="*/ 399 w 9888"/>
                <a:gd name="connsiteY41" fmla="*/ 6439 h 10000"/>
                <a:gd name="connsiteX42" fmla="*/ 444 w 9888"/>
                <a:gd name="connsiteY42" fmla="*/ 6470 h 10000"/>
                <a:gd name="connsiteX43" fmla="*/ 493 w 9888"/>
                <a:gd name="connsiteY43" fmla="*/ 6347 h 10000"/>
                <a:gd name="connsiteX44" fmla="*/ 423 w 9888"/>
                <a:gd name="connsiteY44" fmla="*/ 6233 h 10000"/>
                <a:gd name="connsiteX45" fmla="*/ 333 w 9888"/>
                <a:gd name="connsiteY45" fmla="*/ 6017 h 10000"/>
                <a:gd name="connsiteX46" fmla="*/ 354 w 9888"/>
                <a:gd name="connsiteY46" fmla="*/ 5821 h 10000"/>
                <a:gd name="connsiteX47" fmla="*/ 290 w 9888"/>
                <a:gd name="connsiteY47" fmla="*/ 5697 h 10000"/>
                <a:gd name="connsiteX48" fmla="*/ 239 w 9888"/>
                <a:gd name="connsiteY48" fmla="*/ 5728 h 10000"/>
                <a:gd name="connsiteX49" fmla="*/ 214 w 9888"/>
                <a:gd name="connsiteY49" fmla="*/ 5604 h 10000"/>
                <a:gd name="connsiteX50" fmla="*/ 173 w 9888"/>
                <a:gd name="connsiteY50" fmla="*/ 5645 h 10000"/>
                <a:gd name="connsiteX51" fmla="*/ 123 w 9888"/>
                <a:gd name="connsiteY51" fmla="*/ 5604 h 10000"/>
                <a:gd name="connsiteX52" fmla="*/ 73 w 9888"/>
                <a:gd name="connsiteY52" fmla="*/ 5181 h 10000"/>
                <a:gd name="connsiteX53" fmla="*/ 91 w 9888"/>
                <a:gd name="connsiteY53" fmla="*/ 5057 h 10000"/>
                <a:gd name="connsiteX54" fmla="*/ 42 w 9888"/>
                <a:gd name="connsiteY54" fmla="*/ 4892 h 10000"/>
                <a:gd name="connsiteX55" fmla="*/ 70 w 9888"/>
                <a:gd name="connsiteY55" fmla="*/ 4655 h 10000"/>
                <a:gd name="connsiteX56" fmla="*/ 223 w 9888"/>
                <a:gd name="connsiteY56" fmla="*/ 4510 h 10000"/>
                <a:gd name="connsiteX57" fmla="*/ 136 w 9888"/>
                <a:gd name="connsiteY57" fmla="*/ 4406 h 10000"/>
                <a:gd name="connsiteX58" fmla="*/ 88 w 9888"/>
                <a:gd name="connsiteY58" fmla="*/ 4283 h 10000"/>
                <a:gd name="connsiteX59" fmla="*/ 217 w 9888"/>
                <a:gd name="connsiteY59" fmla="*/ 3912 h 10000"/>
                <a:gd name="connsiteX60" fmla="*/ 265 w 9888"/>
                <a:gd name="connsiteY60" fmla="*/ 3664 h 10000"/>
                <a:gd name="connsiteX61" fmla="*/ 160 w 9888"/>
                <a:gd name="connsiteY61" fmla="*/ 3488 h 10000"/>
                <a:gd name="connsiteX62" fmla="*/ 201 w 9888"/>
                <a:gd name="connsiteY62" fmla="*/ 3344 h 10000"/>
                <a:gd name="connsiteX63" fmla="*/ 119 w 9888"/>
                <a:gd name="connsiteY63" fmla="*/ 3148 h 10000"/>
                <a:gd name="connsiteX64" fmla="*/ 119 w 9888"/>
                <a:gd name="connsiteY64" fmla="*/ 2972 h 10000"/>
                <a:gd name="connsiteX65" fmla="*/ 64 w 9888"/>
                <a:gd name="connsiteY65" fmla="*/ 2622 h 10000"/>
                <a:gd name="connsiteX66" fmla="*/ 104 w 9888"/>
                <a:gd name="connsiteY66" fmla="*/ 2404 h 10000"/>
                <a:gd name="connsiteX67" fmla="*/ 39 w 9888"/>
                <a:gd name="connsiteY67" fmla="*/ 2301 h 10000"/>
                <a:gd name="connsiteX68" fmla="*/ 0 w 9888"/>
                <a:gd name="connsiteY68" fmla="*/ 2178 h 10000"/>
                <a:gd name="connsiteX69" fmla="*/ 57 w 9888"/>
                <a:gd name="connsiteY69" fmla="*/ 1951 h 10000"/>
                <a:gd name="connsiteX70" fmla="*/ 126 w 9888"/>
                <a:gd name="connsiteY70" fmla="*/ 1910 h 10000"/>
                <a:gd name="connsiteX71" fmla="*/ 207 w 9888"/>
                <a:gd name="connsiteY71" fmla="*/ 1858 h 10000"/>
                <a:gd name="connsiteX72" fmla="*/ 327 w 9888"/>
                <a:gd name="connsiteY72" fmla="*/ 1951 h 10000"/>
                <a:gd name="connsiteX73" fmla="*/ 509 w 9888"/>
                <a:gd name="connsiteY73" fmla="*/ 2054 h 10000"/>
                <a:gd name="connsiteX74" fmla="*/ 669 w 9888"/>
                <a:gd name="connsiteY74" fmla="*/ 2229 h 10000"/>
                <a:gd name="connsiteX75" fmla="*/ 800 w 9888"/>
                <a:gd name="connsiteY75" fmla="*/ 2373 h 10000"/>
                <a:gd name="connsiteX76" fmla="*/ 767 w 9888"/>
                <a:gd name="connsiteY76" fmla="*/ 2777 h 10000"/>
                <a:gd name="connsiteX77" fmla="*/ 383 w 9888"/>
                <a:gd name="connsiteY77" fmla="*/ 2673 h 10000"/>
                <a:gd name="connsiteX78" fmla="*/ 258 w 9888"/>
                <a:gd name="connsiteY78" fmla="*/ 2550 h 10000"/>
                <a:gd name="connsiteX79" fmla="*/ 304 w 9888"/>
                <a:gd name="connsiteY79" fmla="*/ 2622 h 10000"/>
                <a:gd name="connsiteX80" fmla="*/ 351 w 9888"/>
                <a:gd name="connsiteY80" fmla="*/ 2797 h 10000"/>
                <a:gd name="connsiteX81" fmla="*/ 423 w 9888"/>
                <a:gd name="connsiteY81" fmla="*/ 2921 h 10000"/>
                <a:gd name="connsiteX82" fmla="*/ 441 w 9888"/>
                <a:gd name="connsiteY82" fmla="*/ 3189 h 10000"/>
                <a:gd name="connsiteX83" fmla="*/ 536 w 9888"/>
                <a:gd name="connsiteY83" fmla="*/ 3313 h 10000"/>
                <a:gd name="connsiteX84" fmla="*/ 617 w 9888"/>
                <a:gd name="connsiteY84" fmla="*/ 3436 h 10000"/>
                <a:gd name="connsiteX85" fmla="*/ 641 w 9888"/>
                <a:gd name="connsiteY85" fmla="*/ 3467 h 10000"/>
                <a:gd name="connsiteX86" fmla="*/ 688 w 9888"/>
                <a:gd name="connsiteY86" fmla="*/ 3436 h 10000"/>
                <a:gd name="connsiteX87" fmla="*/ 669 w 9888"/>
                <a:gd name="connsiteY87" fmla="*/ 3364 h 10000"/>
                <a:gd name="connsiteX88" fmla="*/ 576 w 9888"/>
                <a:gd name="connsiteY88" fmla="*/ 3189 h 10000"/>
                <a:gd name="connsiteX89" fmla="*/ 848 w 9888"/>
                <a:gd name="connsiteY89" fmla="*/ 3344 h 10000"/>
                <a:gd name="connsiteX90" fmla="*/ 857 w 9888"/>
                <a:gd name="connsiteY90" fmla="*/ 3271 h 10000"/>
                <a:gd name="connsiteX91" fmla="*/ 831 w 9888"/>
                <a:gd name="connsiteY91" fmla="*/ 3220 h 10000"/>
                <a:gd name="connsiteX92" fmla="*/ 784 w 9888"/>
                <a:gd name="connsiteY92" fmla="*/ 2993 h 10000"/>
                <a:gd name="connsiteX93" fmla="*/ 919 w 9888"/>
                <a:gd name="connsiteY93" fmla="*/ 2777 h 10000"/>
                <a:gd name="connsiteX94" fmla="*/ 1025 w 9888"/>
                <a:gd name="connsiteY94" fmla="*/ 2921 h 10000"/>
                <a:gd name="connsiteX95" fmla="*/ 1058 w 9888"/>
                <a:gd name="connsiteY95" fmla="*/ 2725 h 10000"/>
                <a:gd name="connsiteX96" fmla="*/ 1008 w 9888"/>
                <a:gd name="connsiteY96" fmla="*/ 2653 h 10000"/>
                <a:gd name="connsiteX97" fmla="*/ 989 w 9888"/>
                <a:gd name="connsiteY97" fmla="*/ 2281 h 10000"/>
                <a:gd name="connsiteX98" fmla="*/ 967 w 9888"/>
                <a:gd name="connsiteY98" fmla="*/ 2229 h 10000"/>
                <a:gd name="connsiteX99" fmla="*/ 1096 w 9888"/>
                <a:gd name="connsiteY99" fmla="*/ 2250 h 10000"/>
                <a:gd name="connsiteX100" fmla="*/ 1150 w 9888"/>
                <a:gd name="connsiteY100" fmla="*/ 2404 h 10000"/>
                <a:gd name="connsiteX101" fmla="*/ 1080 w 9888"/>
                <a:gd name="connsiteY101" fmla="*/ 2529 h 10000"/>
                <a:gd name="connsiteX102" fmla="*/ 1200 w 9888"/>
                <a:gd name="connsiteY102" fmla="*/ 2694 h 10000"/>
                <a:gd name="connsiteX103" fmla="*/ 1297 w 9888"/>
                <a:gd name="connsiteY103" fmla="*/ 2529 h 10000"/>
                <a:gd name="connsiteX104" fmla="*/ 1416 w 9888"/>
                <a:gd name="connsiteY104" fmla="*/ 2301 h 10000"/>
                <a:gd name="connsiteX105" fmla="*/ 1545 w 9888"/>
                <a:gd name="connsiteY105" fmla="*/ 2157 h 10000"/>
                <a:gd name="connsiteX106" fmla="*/ 1583 w 9888"/>
                <a:gd name="connsiteY106" fmla="*/ 2250 h 10000"/>
                <a:gd name="connsiteX107" fmla="*/ 1911 w 9888"/>
                <a:gd name="connsiteY107" fmla="*/ 2054 h 10000"/>
                <a:gd name="connsiteX108" fmla="*/ 1979 w 9888"/>
                <a:gd name="connsiteY108" fmla="*/ 2250 h 10000"/>
                <a:gd name="connsiteX109" fmla="*/ 1969 w 9888"/>
                <a:gd name="connsiteY109" fmla="*/ 2002 h 10000"/>
                <a:gd name="connsiteX110" fmla="*/ 1881 w 9888"/>
                <a:gd name="connsiteY110" fmla="*/ 1786 h 10000"/>
                <a:gd name="connsiteX111" fmla="*/ 1866 w 9888"/>
                <a:gd name="connsiteY111" fmla="*/ 1703 h 10000"/>
                <a:gd name="connsiteX112" fmla="*/ 1929 w 9888"/>
                <a:gd name="connsiteY112" fmla="*/ 1786 h 10000"/>
                <a:gd name="connsiteX113" fmla="*/ 2151 w 9888"/>
                <a:gd name="connsiteY113" fmla="*/ 1951 h 10000"/>
                <a:gd name="connsiteX114" fmla="*/ 2402 w 9888"/>
                <a:gd name="connsiteY114" fmla="*/ 2126 h 10000"/>
                <a:gd name="connsiteX115" fmla="*/ 2522 w 9888"/>
                <a:gd name="connsiteY115" fmla="*/ 2250 h 10000"/>
                <a:gd name="connsiteX116" fmla="*/ 2561 w 9888"/>
                <a:gd name="connsiteY116" fmla="*/ 2074 h 10000"/>
                <a:gd name="connsiteX117" fmla="*/ 2505 w 9888"/>
                <a:gd name="connsiteY117" fmla="*/ 2033 h 10000"/>
                <a:gd name="connsiteX118" fmla="*/ 2432 w 9888"/>
                <a:gd name="connsiteY118" fmla="*/ 1930 h 10000"/>
                <a:gd name="connsiteX119" fmla="*/ 2384 w 9888"/>
                <a:gd name="connsiteY119" fmla="*/ 1734 h 10000"/>
                <a:gd name="connsiteX120" fmla="*/ 2313 w 9888"/>
                <a:gd name="connsiteY120" fmla="*/ 1486 h 10000"/>
                <a:gd name="connsiteX121" fmla="*/ 2338 w 9888"/>
                <a:gd name="connsiteY121" fmla="*/ 1434 h 10000"/>
                <a:gd name="connsiteX122" fmla="*/ 2361 w 9888"/>
                <a:gd name="connsiteY122" fmla="*/ 1455 h 10000"/>
                <a:gd name="connsiteX123" fmla="*/ 2425 w 9888"/>
                <a:gd name="connsiteY123" fmla="*/ 1115 h 10000"/>
                <a:gd name="connsiteX124" fmla="*/ 2585 w 9888"/>
                <a:gd name="connsiteY124" fmla="*/ 1135 h 10000"/>
                <a:gd name="connsiteX125" fmla="*/ 2633 w 9888"/>
                <a:gd name="connsiteY125" fmla="*/ 1311 h 10000"/>
                <a:gd name="connsiteX126" fmla="*/ 2665 w 9888"/>
                <a:gd name="connsiteY126" fmla="*/ 1538 h 10000"/>
                <a:gd name="connsiteX127" fmla="*/ 2723 w 9888"/>
                <a:gd name="connsiteY127" fmla="*/ 1734 h 10000"/>
                <a:gd name="connsiteX128" fmla="*/ 2825 w 9888"/>
                <a:gd name="connsiteY128" fmla="*/ 2157 h 10000"/>
                <a:gd name="connsiteX129" fmla="*/ 2626 w 9888"/>
                <a:gd name="connsiteY129" fmla="*/ 2673 h 10000"/>
                <a:gd name="connsiteX130" fmla="*/ 2706 w 9888"/>
                <a:gd name="connsiteY130" fmla="*/ 2746 h 10000"/>
                <a:gd name="connsiteX131" fmla="*/ 2810 w 9888"/>
                <a:gd name="connsiteY131" fmla="*/ 2818 h 10000"/>
                <a:gd name="connsiteX132" fmla="*/ 2945 w 9888"/>
                <a:gd name="connsiteY132" fmla="*/ 2622 h 10000"/>
                <a:gd name="connsiteX133" fmla="*/ 2951 w 9888"/>
                <a:gd name="connsiteY133" fmla="*/ 2404 h 10000"/>
                <a:gd name="connsiteX134" fmla="*/ 2906 w 9888"/>
                <a:gd name="connsiteY134" fmla="*/ 2301 h 10000"/>
                <a:gd name="connsiteX135" fmla="*/ 3088 w 9888"/>
                <a:gd name="connsiteY135" fmla="*/ 2250 h 10000"/>
                <a:gd name="connsiteX136" fmla="*/ 3164 w 9888"/>
                <a:gd name="connsiteY136" fmla="*/ 2497 h 10000"/>
                <a:gd name="connsiteX137" fmla="*/ 3164 w 9888"/>
                <a:gd name="connsiteY137" fmla="*/ 2425 h 10000"/>
                <a:gd name="connsiteX138" fmla="*/ 3145 w 9888"/>
                <a:gd name="connsiteY138" fmla="*/ 2353 h 10000"/>
                <a:gd name="connsiteX139" fmla="*/ 3139 w 9888"/>
                <a:gd name="connsiteY139" fmla="*/ 2178 h 10000"/>
                <a:gd name="connsiteX140" fmla="*/ 2962 w 9888"/>
                <a:gd name="connsiteY140" fmla="*/ 1930 h 10000"/>
                <a:gd name="connsiteX141" fmla="*/ 2825 w 9888"/>
                <a:gd name="connsiteY141" fmla="*/ 2002 h 10000"/>
                <a:gd name="connsiteX142" fmla="*/ 2767 w 9888"/>
                <a:gd name="connsiteY142" fmla="*/ 1683 h 10000"/>
                <a:gd name="connsiteX143" fmla="*/ 2712 w 9888"/>
                <a:gd name="connsiteY143" fmla="*/ 1507 h 10000"/>
                <a:gd name="connsiteX144" fmla="*/ 2767 w 9888"/>
                <a:gd name="connsiteY144" fmla="*/ 1331 h 10000"/>
                <a:gd name="connsiteX145" fmla="*/ 2761 w 9888"/>
                <a:gd name="connsiteY145" fmla="*/ 1166 h 10000"/>
                <a:gd name="connsiteX146" fmla="*/ 2738 w 9888"/>
                <a:gd name="connsiteY146" fmla="*/ 1115 h 10000"/>
                <a:gd name="connsiteX147" fmla="*/ 2779 w 9888"/>
                <a:gd name="connsiteY147" fmla="*/ 1115 h 10000"/>
                <a:gd name="connsiteX148" fmla="*/ 2825 w 9888"/>
                <a:gd name="connsiteY148" fmla="*/ 1455 h 10000"/>
                <a:gd name="connsiteX149" fmla="*/ 3059 w 9888"/>
                <a:gd name="connsiteY149" fmla="*/ 1662 h 10000"/>
                <a:gd name="connsiteX150" fmla="*/ 2881 w 9888"/>
                <a:gd name="connsiteY150" fmla="*/ 1383 h 10000"/>
                <a:gd name="connsiteX151" fmla="*/ 3226 w 9888"/>
                <a:gd name="connsiteY151" fmla="*/ 1383 h 10000"/>
                <a:gd name="connsiteX152" fmla="*/ 3282 w 9888"/>
                <a:gd name="connsiteY152" fmla="*/ 1362 h 10000"/>
                <a:gd name="connsiteX153" fmla="*/ 3065 w 9888"/>
                <a:gd name="connsiteY153" fmla="*/ 1115 h 10000"/>
                <a:gd name="connsiteX154" fmla="*/ 3122 w 9888"/>
                <a:gd name="connsiteY154" fmla="*/ 888 h 10000"/>
                <a:gd name="connsiteX155" fmla="*/ 3362 w 9888"/>
                <a:gd name="connsiteY155" fmla="*/ 888 h 10000"/>
                <a:gd name="connsiteX156" fmla="*/ 3339 w 9888"/>
                <a:gd name="connsiteY156" fmla="*/ 713 h 10000"/>
                <a:gd name="connsiteX157" fmla="*/ 3419 w 9888"/>
                <a:gd name="connsiteY157" fmla="*/ 589 h 10000"/>
                <a:gd name="connsiteX158" fmla="*/ 3467 w 9888"/>
                <a:gd name="connsiteY158" fmla="*/ 548 h 10000"/>
                <a:gd name="connsiteX159" fmla="*/ 3644 w 9888"/>
                <a:gd name="connsiteY159" fmla="*/ 423 h 10000"/>
                <a:gd name="connsiteX160" fmla="*/ 3689 w 9888"/>
                <a:gd name="connsiteY160" fmla="*/ 371 h 10000"/>
                <a:gd name="connsiteX161" fmla="*/ 3682 w 9888"/>
                <a:gd name="connsiteY161" fmla="*/ 444 h 10000"/>
                <a:gd name="connsiteX162" fmla="*/ 3873 w 9888"/>
                <a:gd name="connsiteY162" fmla="*/ 371 h 10000"/>
                <a:gd name="connsiteX163" fmla="*/ 4026 w 9888"/>
                <a:gd name="connsiteY163" fmla="*/ 248 h 10000"/>
                <a:gd name="connsiteX164" fmla="*/ 4050 w 9888"/>
                <a:gd name="connsiteY164" fmla="*/ 0 h 10000"/>
                <a:gd name="connsiteX165" fmla="*/ 4219 w 9888"/>
                <a:gd name="connsiteY165" fmla="*/ 21 h 10000"/>
                <a:gd name="connsiteX166" fmla="*/ 4209 w 9888"/>
                <a:gd name="connsiteY166" fmla="*/ 93 h 10000"/>
                <a:gd name="connsiteX167" fmla="*/ 4219 w 9888"/>
                <a:gd name="connsiteY167" fmla="*/ 176 h 10000"/>
                <a:gd name="connsiteX168" fmla="*/ 4322 w 9888"/>
                <a:gd name="connsiteY168" fmla="*/ 248 h 10000"/>
                <a:gd name="connsiteX169" fmla="*/ 4634 w 9888"/>
                <a:gd name="connsiteY169" fmla="*/ 268 h 10000"/>
                <a:gd name="connsiteX170" fmla="*/ 4802 w 9888"/>
                <a:gd name="connsiteY170" fmla="*/ 392 h 10000"/>
                <a:gd name="connsiteX171" fmla="*/ 4746 w 9888"/>
                <a:gd name="connsiteY171" fmla="*/ 795 h 10000"/>
                <a:gd name="connsiteX172" fmla="*/ 4684 w 9888"/>
                <a:gd name="connsiteY172" fmla="*/ 919 h 10000"/>
                <a:gd name="connsiteX173" fmla="*/ 4609 w 9888"/>
                <a:gd name="connsiteY173" fmla="*/ 1043 h 10000"/>
                <a:gd name="connsiteX174" fmla="*/ 4626 w 9888"/>
                <a:gd name="connsiteY174" fmla="*/ 1115 h 10000"/>
                <a:gd name="connsiteX175" fmla="*/ 4849 w 9888"/>
                <a:gd name="connsiteY175" fmla="*/ 919 h 10000"/>
                <a:gd name="connsiteX176" fmla="*/ 5353 w 9888"/>
                <a:gd name="connsiteY176" fmla="*/ 991 h 10000"/>
                <a:gd name="connsiteX177" fmla="*/ 5405 w 9888"/>
                <a:gd name="connsiteY177" fmla="*/ 1063 h 10000"/>
                <a:gd name="connsiteX178" fmla="*/ 5515 w 9888"/>
                <a:gd name="connsiteY178" fmla="*/ 1187 h 10000"/>
                <a:gd name="connsiteX179" fmla="*/ 5668 w 9888"/>
                <a:gd name="connsiteY179" fmla="*/ 919 h 10000"/>
                <a:gd name="connsiteX180" fmla="*/ 5902 w 9888"/>
                <a:gd name="connsiteY180" fmla="*/ 1063 h 10000"/>
                <a:gd name="connsiteX181" fmla="*/ 5970 w 9888"/>
                <a:gd name="connsiteY181" fmla="*/ 1115 h 10000"/>
                <a:gd name="connsiteX182" fmla="*/ 6028 w 9888"/>
                <a:gd name="connsiteY182" fmla="*/ 1166 h 10000"/>
                <a:gd name="connsiteX183" fmla="*/ 6252 w 9888"/>
                <a:gd name="connsiteY183" fmla="*/ 1631 h 10000"/>
                <a:gd name="connsiteX184" fmla="*/ 6332 w 9888"/>
                <a:gd name="connsiteY184" fmla="*/ 1611 h 10000"/>
                <a:gd name="connsiteX185" fmla="*/ 6323 w 9888"/>
                <a:gd name="connsiteY185" fmla="*/ 1507 h 10000"/>
                <a:gd name="connsiteX186" fmla="*/ 6332 w 9888"/>
                <a:gd name="connsiteY186" fmla="*/ 1383 h 10000"/>
                <a:gd name="connsiteX187" fmla="*/ 6444 w 9888"/>
                <a:gd name="connsiteY187" fmla="*/ 1486 h 10000"/>
                <a:gd name="connsiteX188" fmla="*/ 6628 w 9888"/>
                <a:gd name="connsiteY188" fmla="*/ 1507 h 10000"/>
                <a:gd name="connsiteX189" fmla="*/ 6782 w 9888"/>
                <a:gd name="connsiteY189" fmla="*/ 1455 h 10000"/>
                <a:gd name="connsiteX190" fmla="*/ 6709 w 9888"/>
                <a:gd name="connsiteY190" fmla="*/ 1362 h 10000"/>
                <a:gd name="connsiteX191" fmla="*/ 6804 w 9888"/>
                <a:gd name="connsiteY191" fmla="*/ 1084 h 10000"/>
                <a:gd name="connsiteX192" fmla="*/ 7075 w 9888"/>
                <a:gd name="connsiteY192" fmla="*/ 1207 h 10000"/>
                <a:gd name="connsiteX193" fmla="*/ 7349 w 9888"/>
                <a:gd name="connsiteY193" fmla="*/ 1331 h 10000"/>
                <a:gd name="connsiteX194" fmla="*/ 7372 w 9888"/>
                <a:gd name="connsiteY194" fmla="*/ 1362 h 10000"/>
                <a:gd name="connsiteX195" fmla="*/ 7611 w 9888"/>
                <a:gd name="connsiteY195" fmla="*/ 1611 h 10000"/>
                <a:gd name="connsiteX196" fmla="*/ 7794 w 9888"/>
                <a:gd name="connsiteY196" fmla="*/ 1507 h 10000"/>
                <a:gd name="connsiteX197" fmla="*/ 8022 w 9888"/>
                <a:gd name="connsiteY197" fmla="*/ 1538 h 10000"/>
                <a:gd name="connsiteX198" fmla="*/ 8101 w 9888"/>
                <a:gd name="connsiteY198" fmla="*/ 1611 h 10000"/>
                <a:gd name="connsiteX199" fmla="*/ 8389 w 9888"/>
                <a:gd name="connsiteY199" fmla="*/ 1930 h 10000"/>
                <a:gd name="connsiteX200" fmla="*/ 8710 w 9888"/>
                <a:gd name="connsiteY200" fmla="*/ 1879 h 10000"/>
                <a:gd name="connsiteX201" fmla="*/ 8823 w 9888"/>
                <a:gd name="connsiteY201" fmla="*/ 2033 h 10000"/>
                <a:gd name="connsiteX202" fmla="*/ 8983 w 9888"/>
                <a:gd name="connsiteY202" fmla="*/ 2157 h 10000"/>
                <a:gd name="connsiteX203" fmla="*/ 9014 w 9888"/>
                <a:gd name="connsiteY203" fmla="*/ 2105 h 10000"/>
                <a:gd name="connsiteX204" fmla="*/ 8990 w 9888"/>
                <a:gd name="connsiteY204" fmla="*/ 2074 h 10000"/>
                <a:gd name="connsiteX205" fmla="*/ 8870 w 9888"/>
                <a:gd name="connsiteY205" fmla="*/ 1930 h 10000"/>
                <a:gd name="connsiteX206" fmla="*/ 8956 w 9888"/>
                <a:gd name="connsiteY206" fmla="*/ 1755 h 10000"/>
                <a:gd name="connsiteX207" fmla="*/ 9166 w 9888"/>
                <a:gd name="connsiteY207" fmla="*/ 1910 h 10000"/>
                <a:gd name="connsiteX208" fmla="*/ 9470 w 9888"/>
                <a:gd name="connsiteY208" fmla="*/ 1982 h 10000"/>
                <a:gd name="connsiteX209" fmla="*/ 9741 w 9888"/>
                <a:gd name="connsiteY209" fmla="*/ 2260 h 10000"/>
                <a:gd name="connsiteX210" fmla="*/ 9888 w 9888"/>
                <a:gd name="connsiteY210" fmla="*/ 2332 h 10000"/>
                <a:gd name="connsiteX0" fmla="*/ 1723 w 9851"/>
                <a:gd name="connsiteY0" fmla="*/ 7183 h 10000"/>
                <a:gd name="connsiteX1" fmla="*/ 1770 w 9851"/>
                <a:gd name="connsiteY1" fmla="*/ 7430 h 10000"/>
                <a:gd name="connsiteX2" fmla="*/ 1716 w 9851"/>
                <a:gd name="connsiteY2" fmla="*/ 7430 h 10000"/>
                <a:gd name="connsiteX3" fmla="*/ 1660 w 9851"/>
                <a:gd name="connsiteY3" fmla="*/ 7255 h 10000"/>
                <a:gd name="connsiteX4" fmla="*/ 1618 w 9851"/>
                <a:gd name="connsiteY4" fmla="*/ 7430 h 10000"/>
                <a:gd name="connsiteX5" fmla="*/ 1626 w 9851"/>
                <a:gd name="connsiteY5" fmla="*/ 7854 h 10000"/>
                <a:gd name="connsiteX6" fmla="*/ 1716 w 9851"/>
                <a:gd name="connsiteY6" fmla="*/ 8070 h 10000"/>
                <a:gd name="connsiteX7" fmla="*/ 1763 w 9851"/>
                <a:gd name="connsiteY7" fmla="*/ 8019 h 10000"/>
                <a:gd name="connsiteX8" fmla="*/ 1864 w 9851"/>
                <a:gd name="connsiteY8" fmla="*/ 8493 h 10000"/>
                <a:gd name="connsiteX9" fmla="*/ 1723 w 9851"/>
                <a:gd name="connsiteY9" fmla="*/ 8669 h 10000"/>
                <a:gd name="connsiteX10" fmla="*/ 1706 w 9851"/>
                <a:gd name="connsiteY10" fmla="*/ 9009 h 10000"/>
                <a:gd name="connsiteX11" fmla="*/ 1780 w 9851"/>
                <a:gd name="connsiteY11" fmla="*/ 9236 h 10000"/>
                <a:gd name="connsiteX12" fmla="*/ 1780 w 9851"/>
                <a:gd name="connsiteY12" fmla="*/ 9484 h 10000"/>
                <a:gd name="connsiteX13" fmla="*/ 1893 w 9851"/>
                <a:gd name="connsiteY13" fmla="*/ 9835 h 10000"/>
                <a:gd name="connsiteX14" fmla="*/ 1823 w 9851"/>
                <a:gd name="connsiteY14" fmla="*/ 10000 h 10000"/>
                <a:gd name="connsiteX15" fmla="*/ 1716 w 9851"/>
                <a:gd name="connsiteY15" fmla="*/ 9753 h 10000"/>
                <a:gd name="connsiteX16" fmla="*/ 1569 w 9851"/>
                <a:gd name="connsiteY16" fmla="*/ 9505 h 10000"/>
                <a:gd name="connsiteX17" fmla="*/ 1505 w 9851"/>
                <a:gd name="connsiteY17" fmla="*/ 9588 h 10000"/>
                <a:gd name="connsiteX18" fmla="*/ 1399 w 9851"/>
                <a:gd name="connsiteY18" fmla="*/ 9380 h 10000"/>
                <a:gd name="connsiteX19" fmla="*/ 1174 w 9851"/>
                <a:gd name="connsiteY19" fmla="*/ 9339 h 10000"/>
                <a:gd name="connsiteX20" fmla="*/ 907 w 9851"/>
                <a:gd name="connsiteY20" fmla="*/ 8813 h 10000"/>
                <a:gd name="connsiteX21" fmla="*/ 978 w 9851"/>
                <a:gd name="connsiteY21" fmla="*/ 8721 h 10000"/>
                <a:gd name="connsiteX22" fmla="*/ 1029 w 9851"/>
                <a:gd name="connsiteY22" fmla="*/ 8493 h 10000"/>
                <a:gd name="connsiteX23" fmla="*/ 972 w 9851"/>
                <a:gd name="connsiteY23" fmla="*/ 8390 h 10000"/>
                <a:gd name="connsiteX24" fmla="*/ 1092 w 9851"/>
                <a:gd name="connsiteY24" fmla="*/ 8245 h 10000"/>
                <a:gd name="connsiteX25" fmla="*/ 1012 w 9851"/>
                <a:gd name="connsiteY25" fmla="*/ 8194 h 10000"/>
                <a:gd name="connsiteX26" fmla="*/ 1025 w 9851"/>
                <a:gd name="connsiteY26" fmla="*/ 8091 h 10000"/>
                <a:gd name="connsiteX27" fmla="*/ 1076 w 9851"/>
                <a:gd name="connsiteY27" fmla="*/ 8111 h 10000"/>
                <a:gd name="connsiteX28" fmla="*/ 1135 w 9851"/>
                <a:gd name="connsiteY28" fmla="*/ 8019 h 10000"/>
                <a:gd name="connsiteX29" fmla="*/ 1105 w 9851"/>
                <a:gd name="connsiteY29" fmla="*/ 7864 h 10000"/>
                <a:gd name="connsiteX30" fmla="*/ 1117 w 9851"/>
                <a:gd name="connsiteY30" fmla="*/ 7503 h 10000"/>
                <a:gd name="connsiteX31" fmla="*/ 994 w 9851"/>
                <a:gd name="connsiteY31" fmla="*/ 7440 h 10000"/>
                <a:gd name="connsiteX32" fmla="*/ 889 w 9851"/>
                <a:gd name="connsiteY32" fmla="*/ 7286 h 10000"/>
                <a:gd name="connsiteX33" fmla="*/ 749 w 9851"/>
                <a:gd name="connsiteY33" fmla="*/ 7275 h 10000"/>
                <a:gd name="connsiteX34" fmla="*/ 731 w 9851"/>
                <a:gd name="connsiteY34" fmla="*/ 7090 h 10000"/>
                <a:gd name="connsiteX35" fmla="*/ 638 w 9851"/>
                <a:gd name="connsiteY35" fmla="*/ 6945 h 10000"/>
                <a:gd name="connsiteX36" fmla="*/ 658 w 9851"/>
                <a:gd name="connsiteY36" fmla="*/ 6822 h 10000"/>
                <a:gd name="connsiteX37" fmla="*/ 601 w 9851"/>
                <a:gd name="connsiteY37" fmla="*/ 6698 h 10000"/>
                <a:gd name="connsiteX38" fmla="*/ 489 w 9851"/>
                <a:gd name="connsiteY38" fmla="*/ 6698 h 10000"/>
                <a:gd name="connsiteX39" fmla="*/ 455 w 9851"/>
                <a:gd name="connsiteY39" fmla="*/ 6791 h 10000"/>
                <a:gd name="connsiteX40" fmla="*/ 428 w 9851"/>
                <a:gd name="connsiteY40" fmla="*/ 6750 h 10000"/>
                <a:gd name="connsiteX41" fmla="*/ 404 w 9851"/>
                <a:gd name="connsiteY41" fmla="*/ 6439 h 10000"/>
                <a:gd name="connsiteX42" fmla="*/ 449 w 9851"/>
                <a:gd name="connsiteY42" fmla="*/ 6470 h 10000"/>
                <a:gd name="connsiteX43" fmla="*/ 499 w 9851"/>
                <a:gd name="connsiteY43" fmla="*/ 6347 h 10000"/>
                <a:gd name="connsiteX44" fmla="*/ 428 w 9851"/>
                <a:gd name="connsiteY44" fmla="*/ 6233 h 10000"/>
                <a:gd name="connsiteX45" fmla="*/ 337 w 9851"/>
                <a:gd name="connsiteY45" fmla="*/ 6017 h 10000"/>
                <a:gd name="connsiteX46" fmla="*/ 358 w 9851"/>
                <a:gd name="connsiteY46" fmla="*/ 5821 h 10000"/>
                <a:gd name="connsiteX47" fmla="*/ 293 w 9851"/>
                <a:gd name="connsiteY47" fmla="*/ 5697 h 10000"/>
                <a:gd name="connsiteX48" fmla="*/ 242 w 9851"/>
                <a:gd name="connsiteY48" fmla="*/ 5728 h 10000"/>
                <a:gd name="connsiteX49" fmla="*/ 216 w 9851"/>
                <a:gd name="connsiteY49" fmla="*/ 5604 h 10000"/>
                <a:gd name="connsiteX50" fmla="*/ 175 w 9851"/>
                <a:gd name="connsiteY50" fmla="*/ 5645 h 10000"/>
                <a:gd name="connsiteX51" fmla="*/ 124 w 9851"/>
                <a:gd name="connsiteY51" fmla="*/ 5604 h 10000"/>
                <a:gd name="connsiteX52" fmla="*/ 74 w 9851"/>
                <a:gd name="connsiteY52" fmla="*/ 5181 h 10000"/>
                <a:gd name="connsiteX53" fmla="*/ 92 w 9851"/>
                <a:gd name="connsiteY53" fmla="*/ 5057 h 10000"/>
                <a:gd name="connsiteX54" fmla="*/ 42 w 9851"/>
                <a:gd name="connsiteY54" fmla="*/ 4892 h 10000"/>
                <a:gd name="connsiteX55" fmla="*/ 71 w 9851"/>
                <a:gd name="connsiteY55" fmla="*/ 4655 h 10000"/>
                <a:gd name="connsiteX56" fmla="*/ 226 w 9851"/>
                <a:gd name="connsiteY56" fmla="*/ 4510 h 10000"/>
                <a:gd name="connsiteX57" fmla="*/ 138 w 9851"/>
                <a:gd name="connsiteY57" fmla="*/ 4406 h 10000"/>
                <a:gd name="connsiteX58" fmla="*/ 89 w 9851"/>
                <a:gd name="connsiteY58" fmla="*/ 4283 h 10000"/>
                <a:gd name="connsiteX59" fmla="*/ 219 w 9851"/>
                <a:gd name="connsiteY59" fmla="*/ 3912 h 10000"/>
                <a:gd name="connsiteX60" fmla="*/ 268 w 9851"/>
                <a:gd name="connsiteY60" fmla="*/ 3664 h 10000"/>
                <a:gd name="connsiteX61" fmla="*/ 162 w 9851"/>
                <a:gd name="connsiteY61" fmla="*/ 3488 h 10000"/>
                <a:gd name="connsiteX62" fmla="*/ 203 w 9851"/>
                <a:gd name="connsiteY62" fmla="*/ 3344 h 10000"/>
                <a:gd name="connsiteX63" fmla="*/ 120 w 9851"/>
                <a:gd name="connsiteY63" fmla="*/ 3148 h 10000"/>
                <a:gd name="connsiteX64" fmla="*/ 120 w 9851"/>
                <a:gd name="connsiteY64" fmla="*/ 2972 h 10000"/>
                <a:gd name="connsiteX65" fmla="*/ 65 w 9851"/>
                <a:gd name="connsiteY65" fmla="*/ 2622 h 10000"/>
                <a:gd name="connsiteX66" fmla="*/ 105 w 9851"/>
                <a:gd name="connsiteY66" fmla="*/ 2404 h 10000"/>
                <a:gd name="connsiteX67" fmla="*/ 39 w 9851"/>
                <a:gd name="connsiteY67" fmla="*/ 2301 h 10000"/>
                <a:gd name="connsiteX68" fmla="*/ 0 w 9851"/>
                <a:gd name="connsiteY68" fmla="*/ 2178 h 10000"/>
                <a:gd name="connsiteX69" fmla="*/ 58 w 9851"/>
                <a:gd name="connsiteY69" fmla="*/ 1951 h 10000"/>
                <a:gd name="connsiteX70" fmla="*/ 127 w 9851"/>
                <a:gd name="connsiteY70" fmla="*/ 1910 h 10000"/>
                <a:gd name="connsiteX71" fmla="*/ 209 w 9851"/>
                <a:gd name="connsiteY71" fmla="*/ 1858 h 10000"/>
                <a:gd name="connsiteX72" fmla="*/ 331 w 9851"/>
                <a:gd name="connsiteY72" fmla="*/ 1951 h 10000"/>
                <a:gd name="connsiteX73" fmla="*/ 515 w 9851"/>
                <a:gd name="connsiteY73" fmla="*/ 2054 h 10000"/>
                <a:gd name="connsiteX74" fmla="*/ 677 w 9851"/>
                <a:gd name="connsiteY74" fmla="*/ 2229 h 10000"/>
                <a:gd name="connsiteX75" fmla="*/ 809 w 9851"/>
                <a:gd name="connsiteY75" fmla="*/ 2373 h 10000"/>
                <a:gd name="connsiteX76" fmla="*/ 776 w 9851"/>
                <a:gd name="connsiteY76" fmla="*/ 2777 h 10000"/>
                <a:gd name="connsiteX77" fmla="*/ 387 w 9851"/>
                <a:gd name="connsiteY77" fmla="*/ 2673 h 10000"/>
                <a:gd name="connsiteX78" fmla="*/ 261 w 9851"/>
                <a:gd name="connsiteY78" fmla="*/ 2550 h 10000"/>
                <a:gd name="connsiteX79" fmla="*/ 307 w 9851"/>
                <a:gd name="connsiteY79" fmla="*/ 2622 h 10000"/>
                <a:gd name="connsiteX80" fmla="*/ 355 w 9851"/>
                <a:gd name="connsiteY80" fmla="*/ 2797 h 10000"/>
                <a:gd name="connsiteX81" fmla="*/ 428 w 9851"/>
                <a:gd name="connsiteY81" fmla="*/ 2921 h 10000"/>
                <a:gd name="connsiteX82" fmla="*/ 446 w 9851"/>
                <a:gd name="connsiteY82" fmla="*/ 3189 h 10000"/>
                <a:gd name="connsiteX83" fmla="*/ 542 w 9851"/>
                <a:gd name="connsiteY83" fmla="*/ 3313 h 10000"/>
                <a:gd name="connsiteX84" fmla="*/ 624 w 9851"/>
                <a:gd name="connsiteY84" fmla="*/ 3436 h 10000"/>
                <a:gd name="connsiteX85" fmla="*/ 648 w 9851"/>
                <a:gd name="connsiteY85" fmla="*/ 3467 h 10000"/>
                <a:gd name="connsiteX86" fmla="*/ 696 w 9851"/>
                <a:gd name="connsiteY86" fmla="*/ 3436 h 10000"/>
                <a:gd name="connsiteX87" fmla="*/ 677 w 9851"/>
                <a:gd name="connsiteY87" fmla="*/ 3364 h 10000"/>
                <a:gd name="connsiteX88" fmla="*/ 583 w 9851"/>
                <a:gd name="connsiteY88" fmla="*/ 3189 h 10000"/>
                <a:gd name="connsiteX89" fmla="*/ 858 w 9851"/>
                <a:gd name="connsiteY89" fmla="*/ 3344 h 10000"/>
                <a:gd name="connsiteX90" fmla="*/ 867 w 9851"/>
                <a:gd name="connsiteY90" fmla="*/ 3271 h 10000"/>
                <a:gd name="connsiteX91" fmla="*/ 840 w 9851"/>
                <a:gd name="connsiteY91" fmla="*/ 3220 h 10000"/>
                <a:gd name="connsiteX92" fmla="*/ 793 w 9851"/>
                <a:gd name="connsiteY92" fmla="*/ 2993 h 10000"/>
                <a:gd name="connsiteX93" fmla="*/ 929 w 9851"/>
                <a:gd name="connsiteY93" fmla="*/ 2777 h 10000"/>
                <a:gd name="connsiteX94" fmla="*/ 1037 w 9851"/>
                <a:gd name="connsiteY94" fmla="*/ 2921 h 10000"/>
                <a:gd name="connsiteX95" fmla="*/ 1070 w 9851"/>
                <a:gd name="connsiteY95" fmla="*/ 2725 h 10000"/>
                <a:gd name="connsiteX96" fmla="*/ 1019 w 9851"/>
                <a:gd name="connsiteY96" fmla="*/ 2653 h 10000"/>
                <a:gd name="connsiteX97" fmla="*/ 1000 w 9851"/>
                <a:gd name="connsiteY97" fmla="*/ 2281 h 10000"/>
                <a:gd name="connsiteX98" fmla="*/ 978 w 9851"/>
                <a:gd name="connsiteY98" fmla="*/ 2229 h 10000"/>
                <a:gd name="connsiteX99" fmla="*/ 1108 w 9851"/>
                <a:gd name="connsiteY99" fmla="*/ 2250 h 10000"/>
                <a:gd name="connsiteX100" fmla="*/ 1163 w 9851"/>
                <a:gd name="connsiteY100" fmla="*/ 2404 h 10000"/>
                <a:gd name="connsiteX101" fmla="*/ 1092 w 9851"/>
                <a:gd name="connsiteY101" fmla="*/ 2529 h 10000"/>
                <a:gd name="connsiteX102" fmla="*/ 1214 w 9851"/>
                <a:gd name="connsiteY102" fmla="*/ 2694 h 10000"/>
                <a:gd name="connsiteX103" fmla="*/ 1312 w 9851"/>
                <a:gd name="connsiteY103" fmla="*/ 2529 h 10000"/>
                <a:gd name="connsiteX104" fmla="*/ 1432 w 9851"/>
                <a:gd name="connsiteY104" fmla="*/ 2301 h 10000"/>
                <a:gd name="connsiteX105" fmla="*/ 1563 w 9851"/>
                <a:gd name="connsiteY105" fmla="*/ 2157 h 10000"/>
                <a:gd name="connsiteX106" fmla="*/ 1601 w 9851"/>
                <a:gd name="connsiteY106" fmla="*/ 2250 h 10000"/>
                <a:gd name="connsiteX107" fmla="*/ 1933 w 9851"/>
                <a:gd name="connsiteY107" fmla="*/ 2054 h 10000"/>
                <a:gd name="connsiteX108" fmla="*/ 2001 w 9851"/>
                <a:gd name="connsiteY108" fmla="*/ 2250 h 10000"/>
                <a:gd name="connsiteX109" fmla="*/ 1991 w 9851"/>
                <a:gd name="connsiteY109" fmla="*/ 2002 h 10000"/>
                <a:gd name="connsiteX110" fmla="*/ 1902 w 9851"/>
                <a:gd name="connsiteY110" fmla="*/ 1786 h 10000"/>
                <a:gd name="connsiteX111" fmla="*/ 1887 w 9851"/>
                <a:gd name="connsiteY111" fmla="*/ 1703 h 10000"/>
                <a:gd name="connsiteX112" fmla="*/ 1951 w 9851"/>
                <a:gd name="connsiteY112" fmla="*/ 1786 h 10000"/>
                <a:gd name="connsiteX113" fmla="*/ 2175 w 9851"/>
                <a:gd name="connsiteY113" fmla="*/ 1951 h 10000"/>
                <a:gd name="connsiteX114" fmla="*/ 2429 w 9851"/>
                <a:gd name="connsiteY114" fmla="*/ 2126 h 10000"/>
                <a:gd name="connsiteX115" fmla="*/ 2551 w 9851"/>
                <a:gd name="connsiteY115" fmla="*/ 2250 h 10000"/>
                <a:gd name="connsiteX116" fmla="*/ 2590 w 9851"/>
                <a:gd name="connsiteY116" fmla="*/ 2074 h 10000"/>
                <a:gd name="connsiteX117" fmla="*/ 2533 w 9851"/>
                <a:gd name="connsiteY117" fmla="*/ 2033 h 10000"/>
                <a:gd name="connsiteX118" fmla="*/ 2460 w 9851"/>
                <a:gd name="connsiteY118" fmla="*/ 1930 h 10000"/>
                <a:gd name="connsiteX119" fmla="*/ 2411 w 9851"/>
                <a:gd name="connsiteY119" fmla="*/ 1734 h 10000"/>
                <a:gd name="connsiteX120" fmla="*/ 2339 w 9851"/>
                <a:gd name="connsiteY120" fmla="*/ 1486 h 10000"/>
                <a:gd name="connsiteX121" fmla="*/ 2364 w 9851"/>
                <a:gd name="connsiteY121" fmla="*/ 1434 h 10000"/>
                <a:gd name="connsiteX122" fmla="*/ 2388 w 9851"/>
                <a:gd name="connsiteY122" fmla="*/ 1455 h 10000"/>
                <a:gd name="connsiteX123" fmla="*/ 2452 w 9851"/>
                <a:gd name="connsiteY123" fmla="*/ 1115 h 10000"/>
                <a:gd name="connsiteX124" fmla="*/ 2614 w 9851"/>
                <a:gd name="connsiteY124" fmla="*/ 1135 h 10000"/>
                <a:gd name="connsiteX125" fmla="*/ 2663 w 9851"/>
                <a:gd name="connsiteY125" fmla="*/ 1311 h 10000"/>
                <a:gd name="connsiteX126" fmla="*/ 2695 w 9851"/>
                <a:gd name="connsiteY126" fmla="*/ 1538 h 10000"/>
                <a:gd name="connsiteX127" fmla="*/ 2754 w 9851"/>
                <a:gd name="connsiteY127" fmla="*/ 1734 h 10000"/>
                <a:gd name="connsiteX128" fmla="*/ 2857 w 9851"/>
                <a:gd name="connsiteY128" fmla="*/ 2157 h 10000"/>
                <a:gd name="connsiteX129" fmla="*/ 2656 w 9851"/>
                <a:gd name="connsiteY129" fmla="*/ 2673 h 10000"/>
                <a:gd name="connsiteX130" fmla="*/ 2737 w 9851"/>
                <a:gd name="connsiteY130" fmla="*/ 2746 h 10000"/>
                <a:gd name="connsiteX131" fmla="*/ 2842 w 9851"/>
                <a:gd name="connsiteY131" fmla="*/ 2818 h 10000"/>
                <a:gd name="connsiteX132" fmla="*/ 2978 w 9851"/>
                <a:gd name="connsiteY132" fmla="*/ 2622 h 10000"/>
                <a:gd name="connsiteX133" fmla="*/ 2984 w 9851"/>
                <a:gd name="connsiteY133" fmla="*/ 2404 h 10000"/>
                <a:gd name="connsiteX134" fmla="*/ 2939 w 9851"/>
                <a:gd name="connsiteY134" fmla="*/ 2301 h 10000"/>
                <a:gd name="connsiteX135" fmla="*/ 3123 w 9851"/>
                <a:gd name="connsiteY135" fmla="*/ 2250 h 10000"/>
                <a:gd name="connsiteX136" fmla="*/ 3200 w 9851"/>
                <a:gd name="connsiteY136" fmla="*/ 2497 h 10000"/>
                <a:gd name="connsiteX137" fmla="*/ 3200 w 9851"/>
                <a:gd name="connsiteY137" fmla="*/ 2425 h 10000"/>
                <a:gd name="connsiteX138" fmla="*/ 3181 w 9851"/>
                <a:gd name="connsiteY138" fmla="*/ 2353 h 10000"/>
                <a:gd name="connsiteX139" fmla="*/ 3175 w 9851"/>
                <a:gd name="connsiteY139" fmla="*/ 2178 h 10000"/>
                <a:gd name="connsiteX140" fmla="*/ 2996 w 9851"/>
                <a:gd name="connsiteY140" fmla="*/ 1930 h 10000"/>
                <a:gd name="connsiteX141" fmla="*/ 2857 w 9851"/>
                <a:gd name="connsiteY141" fmla="*/ 2002 h 10000"/>
                <a:gd name="connsiteX142" fmla="*/ 2798 w 9851"/>
                <a:gd name="connsiteY142" fmla="*/ 1683 h 10000"/>
                <a:gd name="connsiteX143" fmla="*/ 2743 w 9851"/>
                <a:gd name="connsiteY143" fmla="*/ 1507 h 10000"/>
                <a:gd name="connsiteX144" fmla="*/ 2798 w 9851"/>
                <a:gd name="connsiteY144" fmla="*/ 1331 h 10000"/>
                <a:gd name="connsiteX145" fmla="*/ 2792 w 9851"/>
                <a:gd name="connsiteY145" fmla="*/ 1166 h 10000"/>
                <a:gd name="connsiteX146" fmla="*/ 2769 w 9851"/>
                <a:gd name="connsiteY146" fmla="*/ 1115 h 10000"/>
                <a:gd name="connsiteX147" fmla="*/ 2810 w 9851"/>
                <a:gd name="connsiteY147" fmla="*/ 1115 h 10000"/>
                <a:gd name="connsiteX148" fmla="*/ 2857 w 9851"/>
                <a:gd name="connsiteY148" fmla="*/ 1455 h 10000"/>
                <a:gd name="connsiteX149" fmla="*/ 3094 w 9851"/>
                <a:gd name="connsiteY149" fmla="*/ 1662 h 10000"/>
                <a:gd name="connsiteX150" fmla="*/ 2914 w 9851"/>
                <a:gd name="connsiteY150" fmla="*/ 1383 h 10000"/>
                <a:gd name="connsiteX151" fmla="*/ 3263 w 9851"/>
                <a:gd name="connsiteY151" fmla="*/ 1383 h 10000"/>
                <a:gd name="connsiteX152" fmla="*/ 3319 w 9851"/>
                <a:gd name="connsiteY152" fmla="*/ 1362 h 10000"/>
                <a:gd name="connsiteX153" fmla="*/ 3100 w 9851"/>
                <a:gd name="connsiteY153" fmla="*/ 1115 h 10000"/>
                <a:gd name="connsiteX154" fmla="*/ 3157 w 9851"/>
                <a:gd name="connsiteY154" fmla="*/ 888 h 10000"/>
                <a:gd name="connsiteX155" fmla="*/ 3400 w 9851"/>
                <a:gd name="connsiteY155" fmla="*/ 888 h 10000"/>
                <a:gd name="connsiteX156" fmla="*/ 3377 w 9851"/>
                <a:gd name="connsiteY156" fmla="*/ 713 h 10000"/>
                <a:gd name="connsiteX157" fmla="*/ 3458 w 9851"/>
                <a:gd name="connsiteY157" fmla="*/ 589 h 10000"/>
                <a:gd name="connsiteX158" fmla="*/ 3506 w 9851"/>
                <a:gd name="connsiteY158" fmla="*/ 548 h 10000"/>
                <a:gd name="connsiteX159" fmla="*/ 3685 w 9851"/>
                <a:gd name="connsiteY159" fmla="*/ 423 h 10000"/>
                <a:gd name="connsiteX160" fmla="*/ 3731 w 9851"/>
                <a:gd name="connsiteY160" fmla="*/ 371 h 10000"/>
                <a:gd name="connsiteX161" fmla="*/ 3724 w 9851"/>
                <a:gd name="connsiteY161" fmla="*/ 444 h 10000"/>
                <a:gd name="connsiteX162" fmla="*/ 3917 w 9851"/>
                <a:gd name="connsiteY162" fmla="*/ 371 h 10000"/>
                <a:gd name="connsiteX163" fmla="*/ 4072 w 9851"/>
                <a:gd name="connsiteY163" fmla="*/ 248 h 10000"/>
                <a:gd name="connsiteX164" fmla="*/ 4096 w 9851"/>
                <a:gd name="connsiteY164" fmla="*/ 0 h 10000"/>
                <a:gd name="connsiteX165" fmla="*/ 4267 w 9851"/>
                <a:gd name="connsiteY165" fmla="*/ 21 h 10000"/>
                <a:gd name="connsiteX166" fmla="*/ 4257 w 9851"/>
                <a:gd name="connsiteY166" fmla="*/ 93 h 10000"/>
                <a:gd name="connsiteX167" fmla="*/ 4267 w 9851"/>
                <a:gd name="connsiteY167" fmla="*/ 176 h 10000"/>
                <a:gd name="connsiteX168" fmla="*/ 4371 w 9851"/>
                <a:gd name="connsiteY168" fmla="*/ 248 h 10000"/>
                <a:gd name="connsiteX169" fmla="*/ 4686 w 9851"/>
                <a:gd name="connsiteY169" fmla="*/ 268 h 10000"/>
                <a:gd name="connsiteX170" fmla="*/ 4856 w 9851"/>
                <a:gd name="connsiteY170" fmla="*/ 392 h 10000"/>
                <a:gd name="connsiteX171" fmla="*/ 4800 w 9851"/>
                <a:gd name="connsiteY171" fmla="*/ 795 h 10000"/>
                <a:gd name="connsiteX172" fmla="*/ 4737 w 9851"/>
                <a:gd name="connsiteY172" fmla="*/ 919 h 10000"/>
                <a:gd name="connsiteX173" fmla="*/ 4661 w 9851"/>
                <a:gd name="connsiteY173" fmla="*/ 1043 h 10000"/>
                <a:gd name="connsiteX174" fmla="*/ 4678 w 9851"/>
                <a:gd name="connsiteY174" fmla="*/ 1115 h 10000"/>
                <a:gd name="connsiteX175" fmla="*/ 4904 w 9851"/>
                <a:gd name="connsiteY175" fmla="*/ 919 h 10000"/>
                <a:gd name="connsiteX176" fmla="*/ 5414 w 9851"/>
                <a:gd name="connsiteY176" fmla="*/ 991 h 10000"/>
                <a:gd name="connsiteX177" fmla="*/ 5466 w 9851"/>
                <a:gd name="connsiteY177" fmla="*/ 1063 h 10000"/>
                <a:gd name="connsiteX178" fmla="*/ 5577 w 9851"/>
                <a:gd name="connsiteY178" fmla="*/ 1187 h 10000"/>
                <a:gd name="connsiteX179" fmla="*/ 5732 w 9851"/>
                <a:gd name="connsiteY179" fmla="*/ 919 h 10000"/>
                <a:gd name="connsiteX180" fmla="*/ 5969 w 9851"/>
                <a:gd name="connsiteY180" fmla="*/ 1063 h 10000"/>
                <a:gd name="connsiteX181" fmla="*/ 6038 w 9851"/>
                <a:gd name="connsiteY181" fmla="*/ 1115 h 10000"/>
                <a:gd name="connsiteX182" fmla="*/ 6096 w 9851"/>
                <a:gd name="connsiteY182" fmla="*/ 1166 h 10000"/>
                <a:gd name="connsiteX183" fmla="*/ 6323 w 9851"/>
                <a:gd name="connsiteY183" fmla="*/ 1631 h 10000"/>
                <a:gd name="connsiteX184" fmla="*/ 6404 w 9851"/>
                <a:gd name="connsiteY184" fmla="*/ 1611 h 10000"/>
                <a:gd name="connsiteX185" fmla="*/ 6395 w 9851"/>
                <a:gd name="connsiteY185" fmla="*/ 1507 h 10000"/>
                <a:gd name="connsiteX186" fmla="*/ 6404 w 9851"/>
                <a:gd name="connsiteY186" fmla="*/ 1383 h 10000"/>
                <a:gd name="connsiteX187" fmla="*/ 6517 w 9851"/>
                <a:gd name="connsiteY187" fmla="*/ 1486 h 10000"/>
                <a:gd name="connsiteX188" fmla="*/ 6703 w 9851"/>
                <a:gd name="connsiteY188" fmla="*/ 1507 h 10000"/>
                <a:gd name="connsiteX189" fmla="*/ 6859 w 9851"/>
                <a:gd name="connsiteY189" fmla="*/ 1455 h 10000"/>
                <a:gd name="connsiteX190" fmla="*/ 6785 w 9851"/>
                <a:gd name="connsiteY190" fmla="*/ 1362 h 10000"/>
                <a:gd name="connsiteX191" fmla="*/ 6881 w 9851"/>
                <a:gd name="connsiteY191" fmla="*/ 1084 h 10000"/>
                <a:gd name="connsiteX192" fmla="*/ 7155 w 9851"/>
                <a:gd name="connsiteY192" fmla="*/ 1207 h 10000"/>
                <a:gd name="connsiteX193" fmla="*/ 7432 w 9851"/>
                <a:gd name="connsiteY193" fmla="*/ 1331 h 10000"/>
                <a:gd name="connsiteX194" fmla="*/ 7456 w 9851"/>
                <a:gd name="connsiteY194" fmla="*/ 1362 h 10000"/>
                <a:gd name="connsiteX195" fmla="*/ 7697 w 9851"/>
                <a:gd name="connsiteY195" fmla="*/ 1611 h 10000"/>
                <a:gd name="connsiteX196" fmla="*/ 7882 w 9851"/>
                <a:gd name="connsiteY196" fmla="*/ 1507 h 10000"/>
                <a:gd name="connsiteX197" fmla="*/ 8113 w 9851"/>
                <a:gd name="connsiteY197" fmla="*/ 1538 h 10000"/>
                <a:gd name="connsiteX198" fmla="*/ 8193 w 9851"/>
                <a:gd name="connsiteY198" fmla="*/ 1611 h 10000"/>
                <a:gd name="connsiteX199" fmla="*/ 8484 w 9851"/>
                <a:gd name="connsiteY199" fmla="*/ 1930 h 10000"/>
                <a:gd name="connsiteX200" fmla="*/ 8809 w 9851"/>
                <a:gd name="connsiteY200" fmla="*/ 1879 h 10000"/>
                <a:gd name="connsiteX201" fmla="*/ 8923 w 9851"/>
                <a:gd name="connsiteY201" fmla="*/ 2033 h 10000"/>
                <a:gd name="connsiteX202" fmla="*/ 9085 w 9851"/>
                <a:gd name="connsiteY202" fmla="*/ 2157 h 10000"/>
                <a:gd name="connsiteX203" fmla="*/ 9116 w 9851"/>
                <a:gd name="connsiteY203" fmla="*/ 2105 h 10000"/>
                <a:gd name="connsiteX204" fmla="*/ 9092 w 9851"/>
                <a:gd name="connsiteY204" fmla="*/ 2074 h 10000"/>
                <a:gd name="connsiteX205" fmla="*/ 8970 w 9851"/>
                <a:gd name="connsiteY205" fmla="*/ 1930 h 10000"/>
                <a:gd name="connsiteX206" fmla="*/ 9057 w 9851"/>
                <a:gd name="connsiteY206" fmla="*/ 1755 h 10000"/>
                <a:gd name="connsiteX207" fmla="*/ 9270 w 9851"/>
                <a:gd name="connsiteY207" fmla="*/ 1910 h 10000"/>
                <a:gd name="connsiteX208" fmla="*/ 9577 w 9851"/>
                <a:gd name="connsiteY208" fmla="*/ 1982 h 10000"/>
                <a:gd name="connsiteX209" fmla="*/ 9851 w 9851"/>
                <a:gd name="connsiteY209" fmla="*/ 2260 h 10000"/>
                <a:gd name="connsiteX0" fmla="*/ 1749 w 9722"/>
                <a:gd name="connsiteY0" fmla="*/ 7183 h 10000"/>
                <a:gd name="connsiteX1" fmla="*/ 1797 w 9722"/>
                <a:gd name="connsiteY1" fmla="*/ 7430 h 10000"/>
                <a:gd name="connsiteX2" fmla="*/ 1742 w 9722"/>
                <a:gd name="connsiteY2" fmla="*/ 7430 h 10000"/>
                <a:gd name="connsiteX3" fmla="*/ 1685 w 9722"/>
                <a:gd name="connsiteY3" fmla="*/ 7255 h 10000"/>
                <a:gd name="connsiteX4" fmla="*/ 1642 w 9722"/>
                <a:gd name="connsiteY4" fmla="*/ 7430 h 10000"/>
                <a:gd name="connsiteX5" fmla="*/ 1651 w 9722"/>
                <a:gd name="connsiteY5" fmla="*/ 7854 h 10000"/>
                <a:gd name="connsiteX6" fmla="*/ 1742 w 9722"/>
                <a:gd name="connsiteY6" fmla="*/ 8070 h 10000"/>
                <a:gd name="connsiteX7" fmla="*/ 1790 w 9722"/>
                <a:gd name="connsiteY7" fmla="*/ 8019 h 10000"/>
                <a:gd name="connsiteX8" fmla="*/ 1892 w 9722"/>
                <a:gd name="connsiteY8" fmla="*/ 8493 h 10000"/>
                <a:gd name="connsiteX9" fmla="*/ 1749 w 9722"/>
                <a:gd name="connsiteY9" fmla="*/ 8669 h 10000"/>
                <a:gd name="connsiteX10" fmla="*/ 1732 w 9722"/>
                <a:gd name="connsiteY10" fmla="*/ 9009 h 10000"/>
                <a:gd name="connsiteX11" fmla="*/ 1807 w 9722"/>
                <a:gd name="connsiteY11" fmla="*/ 9236 h 10000"/>
                <a:gd name="connsiteX12" fmla="*/ 1807 w 9722"/>
                <a:gd name="connsiteY12" fmla="*/ 9484 h 10000"/>
                <a:gd name="connsiteX13" fmla="*/ 1922 w 9722"/>
                <a:gd name="connsiteY13" fmla="*/ 9835 h 10000"/>
                <a:gd name="connsiteX14" fmla="*/ 1851 w 9722"/>
                <a:gd name="connsiteY14" fmla="*/ 10000 h 10000"/>
                <a:gd name="connsiteX15" fmla="*/ 1742 w 9722"/>
                <a:gd name="connsiteY15" fmla="*/ 9753 h 10000"/>
                <a:gd name="connsiteX16" fmla="*/ 1593 w 9722"/>
                <a:gd name="connsiteY16" fmla="*/ 9505 h 10000"/>
                <a:gd name="connsiteX17" fmla="*/ 1528 w 9722"/>
                <a:gd name="connsiteY17" fmla="*/ 9588 h 10000"/>
                <a:gd name="connsiteX18" fmla="*/ 1420 w 9722"/>
                <a:gd name="connsiteY18" fmla="*/ 9380 h 10000"/>
                <a:gd name="connsiteX19" fmla="*/ 1192 w 9722"/>
                <a:gd name="connsiteY19" fmla="*/ 9339 h 10000"/>
                <a:gd name="connsiteX20" fmla="*/ 921 w 9722"/>
                <a:gd name="connsiteY20" fmla="*/ 8813 h 10000"/>
                <a:gd name="connsiteX21" fmla="*/ 993 w 9722"/>
                <a:gd name="connsiteY21" fmla="*/ 8721 h 10000"/>
                <a:gd name="connsiteX22" fmla="*/ 1045 w 9722"/>
                <a:gd name="connsiteY22" fmla="*/ 8493 h 10000"/>
                <a:gd name="connsiteX23" fmla="*/ 987 w 9722"/>
                <a:gd name="connsiteY23" fmla="*/ 8390 h 10000"/>
                <a:gd name="connsiteX24" fmla="*/ 1109 w 9722"/>
                <a:gd name="connsiteY24" fmla="*/ 8245 h 10000"/>
                <a:gd name="connsiteX25" fmla="*/ 1027 w 9722"/>
                <a:gd name="connsiteY25" fmla="*/ 8194 h 10000"/>
                <a:gd name="connsiteX26" fmla="*/ 1041 w 9722"/>
                <a:gd name="connsiteY26" fmla="*/ 8091 h 10000"/>
                <a:gd name="connsiteX27" fmla="*/ 1092 w 9722"/>
                <a:gd name="connsiteY27" fmla="*/ 8111 h 10000"/>
                <a:gd name="connsiteX28" fmla="*/ 1152 w 9722"/>
                <a:gd name="connsiteY28" fmla="*/ 8019 h 10000"/>
                <a:gd name="connsiteX29" fmla="*/ 1122 w 9722"/>
                <a:gd name="connsiteY29" fmla="*/ 7864 h 10000"/>
                <a:gd name="connsiteX30" fmla="*/ 1134 w 9722"/>
                <a:gd name="connsiteY30" fmla="*/ 7503 h 10000"/>
                <a:gd name="connsiteX31" fmla="*/ 1009 w 9722"/>
                <a:gd name="connsiteY31" fmla="*/ 7440 h 10000"/>
                <a:gd name="connsiteX32" fmla="*/ 902 w 9722"/>
                <a:gd name="connsiteY32" fmla="*/ 7286 h 10000"/>
                <a:gd name="connsiteX33" fmla="*/ 760 w 9722"/>
                <a:gd name="connsiteY33" fmla="*/ 7275 h 10000"/>
                <a:gd name="connsiteX34" fmla="*/ 742 w 9722"/>
                <a:gd name="connsiteY34" fmla="*/ 7090 h 10000"/>
                <a:gd name="connsiteX35" fmla="*/ 648 w 9722"/>
                <a:gd name="connsiteY35" fmla="*/ 6945 h 10000"/>
                <a:gd name="connsiteX36" fmla="*/ 668 w 9722"/>
                <a:gd name="connsiteY36" fmla="*/ 6822 h 10000"/>
                <a:gd name="connsiteX37" fmla="*/ 610 w 9722"/>
                <a:gd name="connsiteY37" fmla="*/ 6698 h 10000"/>
                <a:gd name="connsiteX38" fmla="*/ 496 w 9722"/>
                <a:gd name="connsiteY38" fmla="*/ 6698 h 10000"/>
                <a:gd name="connsiteX39" fmla="*/ 462 w 9722"/>
                <a:gd name="connsiteY39" fmla="*/ 6791 h 10000"/>
                <a:gd name="connsiteX40" fmla="*/ 434 w 9722"/>
                <a:gd name="connsiteY40" fmla="*/ 6750 h 10000"/>
                <a:gd name="connsiteX41" fmla="*/ 410 w 9722"/>
                <a:gd name="connsiteY41" fmla="*/ 6439 h 10000"/>
                <a:gd name="connsiteX42" fmla="*/ 456 w 9722"/>
                <a:gd name="connsiteY42" fmla="*/ 6470 h 10000"/>
                <a:gd name="connsiteX43" fmla="*/ 507 w 9722"/>
                <a:gd name="connsiteY43" fmla="*/ 6347 h 10000"/>
                <a:gd name="connsiteX44" fmla="*/ 434 w 9722"/>
                <a:gd name="connsiteY44" fmla="*/ 6233 h 10000"/>
                <a:gd name="connsiteX45" fmla="*/ 342 w 9722"/>
                <a:gd name="connsiteY45" fmla="*/ 6017 h 10000"/>
                <a:gd name="connsiteX46" fmla="*/ 363 w 9722"/>
                <a:gd name="connsiteY46" fmla="*/ 5821 h 10000"/>
                <a:gd name="connsiteX47" fmla="*/ 297 w 9722"/>
                <a:gd name="connsiteY47" fmla="*/ 5697 h 10000"/>
                <a:gd name="connsiteX48" fmla="*/ 246 w 9722"/>
                <a:gd name="connsiteY48" fmla="*/ 5728 h 10000"/>
                <a:gd name="connsiteX49" fmla="*/ 219 w 9722"/>
                <a:gd name="connsiteY49" fmla="*/ 5604 h 10000"/>
                <a:gd name="connsiteX50" fmla="*/ 178 w 9722"/>
                <a:gd name="connsiteY50" fmla="*/ 5645 h 10000"/>
                <a:gd name="connsiteX51" fmla="*/ 126 w 9722"/>
                <a:gd name="connsiteY51" fmla="*/ 5604 h 10000"/>
                <a:gd name="connsiteX52" fmla="*/ 75 w 9722"/>
                <a:gd name="connsiteY52" fmla="*/ 5181 h 10000"/>
                <a:gd name="connsiteX53" fmla="*/ 93 w 9722"/>
                <a:gd name="connsiteY53" fmla="*/ 5057 h 10000"/>
                <a:gd name="connsiteX54" fmla="*/ 43 w 9722"/>
                <a:gd name="connsiteY54" fmla="*/ 4892 h 10000"/>
                <a:gd name="connsiteX55" fmla="*/ 72 w 9722"/>
                <a:gd name="connsiteY55" fmla="*/ 4655 h 10000"/>
                <a:gd name="connsiteX56" fmla="*/ 229 w 9722"/>
                <a:gd name="connsiteY56" fmla="*/ 4510 h 10000"/>
                <a:gd name="connsiteX57" fmla="*/ 140 w 9722"/>
                <a:gd name="connsiteY57" fmla="*/ 4406 h 10000"/>
                <a:gd name="connsiteX58" fmla="*/ 90 w 9722"/>
                <a:gd name="connsiteY58" fmla="*/ 4283 h 10000"/>
                <a:gd name="connsiteX59" fmla="*/ 222 w 9722"/>
                <a:gd name="connsiteY59" fmla="*/ 3912 h 10000"/>
                <a:gd name="connsiteX60" fmla="*/ 272 w 9722"/>
                <a:gd name="connsiteY60" fmla="*/ 3664 h 10000"/>
                <a:gd name="connsiteX61" fmla="*/ 164 w 9722"/>
                <a:gd name="connsiteY61" fmla="*/ 3488 h 10000"/>
                <a:gd name="connsiteX62" fmla="*/ 206 w 9722"/>
                <a:gd name="connsiteY62" fmla="*/ 3344 h 10000"/>
                <a:gd name="connsiteX63" fmla="*/ 122 w 9722"/>
                <a:gd name="connsiteY63" fmla="*/ 3148 h 10000"/>
                <a:gd name="connsiteX64" fmla="*/ 122 w 9722"/>
                <a:gd name="connsiteY64" fmla="*/ 2972 h 10000"/>
                <a:gd name="connsiteX65" fmla="*/ 66 w 9722"/>
                <a:gd name="connsiteY65" fmla="*/ 2622 h 10000"/>
                <a:gd name="connsiteX66" fmla="*/ 107 w 9722"/>
                <a:gd name="connsiteY66" fmla="*/ 2404 h 10000"/>
                <a:gd name="connsiteX67" fmla="*/ 40 w 9722"/>
                <a:gd name="connsiteY67" fmla="*/ 2301 h 10000"/>
                <a:gd name="connsiteX68" fmla="*/ 0 w 9722"/>
                <a:gd name="connsiteY68" fmla="*/ 2178 h 10000"/>
                <a:gd name="connsiteX69" fmla="*/ 59 w 9722"/>
                <a:gd name="connsiteY69" fmla="*/ 1951 h 10000"/>
                <a:gd name="connsiteX70" fmla="*/ 129 w 9722"/>
                <a:gd name="connsiteY70" fmla="*/ 1910 h 10000"/>
                <a:gd name="connsiteX71" fmla="*/ 212 w 9722"/>
                <a:gd name="connsiteY71" fmla="*/ 1858 h 10000"/>
                <a:gd name="connsiteX72" fmla="*/ 336 w 9722"/>
                <a:gd name="connsiteY72" fmla="*/ 1951 h 10000"/>
                <a:gd name="connsiteX73" fmla="*/ 523 w 9722"/>
                <a:gd name="connsiteY73" fmla="*/ 2054 h 10000"/>
                <a:gd name="connsiteX74" fmla="*/ 687 w 9722"/>
                <a:gd name="connsiteY74" fmla="*/ 2229 h 10000"/>
                <a:gd name="connsiteX75" fmla="*/ 821 w 9722"/>
                <a:gd name="connsiteY75" fmla="*/ 2373 h 10000"/>
                <a:gd name="connsiteX76" fmla="*/ 788 w 9722"/>
                <a:gd name="connsiteY76" fmla="*/ 2777 h 10000"/>
                <a:gd name="connsiteX77" fmla="*/ 393 w 9722"/>
                <a:gd name="connsiteY77" fmla="*/ 2673 h 10000"/>
                <a:gd name="connsiteX78" fmla="*/ 265 w 9722"/>
                <a:gd name="connsiteY78" fmla="*/ 2550 h 10000"/>
                <a:gd name="connsiteX79" fmla="*/ 312 w 9722"/>
                <a:gd name="connsiteY79" fmla="*/ 2622 h 10000"/>
                <a:gd name="connsiteX80" fmla="*/ 360 w 9722"/>
                <a:gd name="connsiteY80" fmla="*/ 2797 h 10000"/>
                <a:gd name="connsiteX81" fmla="*/ 434 w 9722"/>
                <a:gd name="connsiteY81" fmla="*/ 2921 h 10000"/>
                <a:gd name="connsiteX82" fmla="*/ 453 w 9722"/>
                <a:gd name="connsiteY82" fmla="*/ 3189 h 10000"/>
                <a:gd name="connsiteX83" fmla="*/ 550 w 9722"/>
                <a:gd name="connsiteY83" fmla="*/ 3313 h 10000"/>
                <a:gd name="connsiteX84" fmla="*/ 633 w 9722"/>
                <a:gd name="connsiteY84" fmla="*/ 3436 h 10000"/>
                <a:gd name="connsiteX85" fmla="*/ 658 w 9722"/>
                <a:gd name="connsiteY85" fmla="*/ 3467 h 10000"/>
                <a:gd name="connsiteX86" fmla="*/ 707 w 9722"/>
                <a:gd name="connsiteY86" fmla="*/ 3436 h 10000"/>
                <a:gd name="connsiteX87" fmla="*/ 687 w 9722"/>
                <a:gd name="connsiteY87" fmla="*/ 3364 h 10000"/>
                <a:gd name="connsiteX88" fmla="*/ 592 w 9722"/>
                <a:gd name="connsiteY88" fmla="*/ 3189 h 10000"/>
                <a:gd name="connsiteX89" fmla="*/ 871 w 9722"/>
                <a:gd name="connsiteY89" fmla="*/ 3344 h 10000"/>
                <a:gd name="connsiteX90" fmla="*/ 880 w 9722"/>
                <a:gd name="connsiteY90" fmla="*/ 3271 h 10000"/>
                <a:gd name="connsiteX91" fmla="*/ 853 w 9722"/>
                <a:gd name="connsiteY91" fmla="*/ 3220 h 10000"/>
                <a:gd name="connsiteX92" fmla="*/ 805 w 9722"/>
                <a:gd name="connsiteY92" fmla="*/ 2993 h 10000"/>
                <a:gd name="connsiteX93" fmla="*/ 943 w 9722"/>
                <a:gd name="connsiteY93" fmla="*/ 2777 h 10000"/>
                <a:gd name="connsiteX94" fmla="*/ 1053 w 9722"/>
                <a:gd name="connsiteY94" fmla="*/ 2921 h 10000"/>
                <a:gd name="connsiteX95" fmla="*/ 1086 w 9722"/>
                <a:gd name="connsiteY95" fmla="*/ 2725 h 10000"/>
                <a:gd name="connsiteX96" fmla="*/ 1034 w 9722"/>
                <a:gd name="connsiteY96" fmla="*/ 2653 h 10000"/>
                <a:gd name="connsiteX97" fmla="*/ 1015 w 9722"/>
                <a:gd name="connsiteY97" fmla="*/ 2281 h 10000"/>
                <a:gd name="connsiteX98" fmla="*/ 993 w 9722"/>
                <a:gd name="connsiteY98" fmla="*/ 2229 h 10000"/>
                <a:gd name="connsiteX99" fmla="*/ 1125 w 9722"/>
                <a:gd name="connsiteY99" fmla="*/ 2250 h 10000"/>
                <a:gd name="connsiteX100" fmla="*/ 1181 w 9722"/>
                <a:gd name="connsiteY100" fmla="*/ 2404 h 10000"/>
                <a:gd name="connsiteX101" fmla="*/ 1109 w 9722"/>
                <a:gd name="connsiteY101" fmla="*/ 2529 h 10000"/>
                <a:gd name="connsiteX102" fmla="*/ 1232 w 9722"/>
                <a:gd name="connsiteY102" fmla="*/ 2694 h 10000"/>
                <a:gd name="connsiteX103" fmla="*/ 1332 w 9722"/>
                <a:gd name="connsiteY103" fmla="*/ 2529 h 10000"/>
                <a:gd name="connsiteX104" fmla="*/ 1454 w 9722"/>
                <a:gd name="connsiteY104" fmla="*/ 2301 h 10000"/>
                <a:gd name="connsiteX105" fmla="*/ 1587 w 9722"/>
                <a:gd name="connsiteY105" fmla="*/ 2157 h 10000"/>
                <a:gd name="connsiteX106" fmla="*/ 1625 w 9722"/>
                <a:gd name="connsiteY106" fmla="*/ 2250 h 10000"/>
                <a:gd name="connsiteX107" fmla="*/ 1962 w 9722"/>
                <a:gd name="connsiteY107" fmla="*/ 2054 h 10000"/>
                <a:gd name="connsiteX108" fmla="*/ 2031 w 9722"/>
                <a:gd name="connsiteY108" fmla="*/ 2250 h 10000"/>
                <a:gd name="connsiteX109" fmla="*/ 2021 w 9722"/>
                <a:gd name="connsiteY109" fmla="*/ 2002 h 10000"/>
                <a:gd name="connsiteX110" fmla="*/ 1931 w 9722"/>
                <a:gd name="connsiteY110" fmla="*/ 1786 h 10000"/>
                <a:gd name="connsiteX111" fmla="*/ 1916 w 9722"/>
                <a:gd name="connsiteY111" fmla="*/ 1703 h 10000"/>
                <a:gd name="connsiteX112" fmla="*/ 1981 w 9722"/>
                <a:gd name="connsiteY112" fmla="*/ 1786 h 10000"/>
                <a:gd name="connsiteX113" fmla="*/ 2208 w 9722"/>
                <a:gd name="connsiteY113" fmla="*/ 1951 h 10000"/>
                <a:gd name="connsiteX114" fmla="*/ 2466 w 9722"/>
                <a:gd name="connsiteY114" fmla="*/ 2126 h 10000"/>
                <a:gd name="connsiteX115" fmla="*/ 2590 w 9722"/>
                <a:gd name="connsiteY115" fmla="*/ 2250 h 10000"/>
                <a:gd name="connsiteX116" fmla="*/ 2629 w 9722"/>
                <a:gd name="connsiteY116" fmla="*/ 2074 h 10000"/>
                <a:gd name="connsiteX117" fmla="*/ 2571 w 9722"/>
                <a:gd name="connsiteY117" fmla="*/ 2033 h 10000"/>
                <a:gd name="connsiteX118" fmla="*/ 2497 w 9722"/>
                <a:gd name="connsiteY118" fmla="*/ 1930 h 10000"/>
                <a:gd name="connsiteX119" fmla="*/ 2447 w 9722"/>
                <a:gd name="connsiteY119" fmla="*/ 1734 h 10000"/>
                <a:gd name="connsiteX120" fmla="*/ 2374 w 9722"/>
                <a:gd name="connsiteY120" fmla="*/ 1486 h 10000"/>
                <a:gd name="connsiteX121" fmla="*/ 2400 w 9722"/>
                <a:gd name="connsiteY121" fmla="*/ 1434 h 10000"/>
                <a:gd name="connsiteX122" fmla="*/ 2424 w 9722"/>
                <a:gd name="connsiteY122" fmla="*/ 1455 h 10000"/>
                <a:gd name="connsiteX123" fmla="*/ 2489 w 9722"/>
                <a:gd name="connsiteY123" fmla="*/ 1115 h 10000"/>
                <a:gd name="connsiteX124" fmla="*/ 2654 w 9722"/>
                <a:gd name="connsiteY124" fmla="*/ 1135 h 10000"/>
                <a:gd name="connsiteX125" fmla="*/ 2703 w 9722"/>
                <a:gd name="connsiteY125" fmla="*/ 1311 h 10000"/>
                <a:gd name="connsiteX126" fmla="*/ 2736 w 9722"/>
                <a:gd name="connsiteY126" fmla="*/ 1538 h 10000"/>
                <a:gd name="connsiteX127" fmla="*/ 2796 w 9722"/>
                <a:gd name="connsiteY127" fmla="*/ 1734 h 10000"/>
                <a:gd name="connsiteX128" fmla="*/ 2900 w 9722"/>
                <a:gd name="connsiteY128" fmla="*/ 2157 h 10000"/>
                <a:gd name="connsiteX129" fmla="*/ 2696 w 9722"/>
                <a:gd name="connsiteY129" fmla="*/ 2673 h 10000"/>
                <a:gd name="connsiteX130" fmla="*/ 2778 w 9722"/>
                <a:gd name="connsiteY130" fmla="*/ 2746 h 10000"/>
                <a:gd name="connsiteX131" fmla="*/ 2885 w 9722"/>
                <a:gd name="connsiteY131" fmla="*/ 2818 h 10000"/>
                <a:gd name="connsiteX132" fmla="*/ 3023 w 9722"/>
                <a:gd name="connsiteY132" fmla="*/ 2622 h 10000"/>
                <a:gd name="connsiteX133" fmla="*/ 3029 w 9722"/>
                <a:gd name="connsiteY133" fmla="*/ 2404 h 10000"/>
                <a:gd name="connsiteX134" fmla="*/ 2983 w 9722"/>
                <a:gd name="connsiteY134" fmla="*/ 2301 h 10000"/>
                <a:gd name="connsiteX135" fmla="*/ 3170 w 9722"/>
                <a:gd name="connsiteY135" fmla="*/ 2250 h 10000"/>
                <a:gd name="connsiteX136" fmla="*/ 3248 w 9722"/>
                <a:gd name="connsiteY136" fmla="*/ 2497 h 10000"/>
                <a:gd name="connsiteX137" fmla="*/ 3248 w 9722"/>
                <a:gd name="connsiteY137" fmla="*/ 2425 h 10000"/>
                <a:gd name="connsiteX138" fmla="*/ 3229 w 9722"/>
                <a:gd name="connsiteY138" fmla="*/ 2353 h 10000"/>
                <a:gd name="connsiteX139" fmla="*/ 3223 w 9722"/>
                <a:gd name="connsiteY139" fmla="*/ 2178 h 10000"/>
                <a:gd name="connsiteX140" fmla="*/ 3041 w 9722"/>
                <a:gd name="connsiteY140" fmla="*/ 1930 h 10000"/>
                <a:gd name="connsiteX141" fmla="*/ 2900 w 9722"/>
                <a:gd name="connsiteY141" fmla="*/ 2002 h 10000"/>
                <a:gd name="connsiteX142" fmla="*/ 2840 w 9722"/>
                <a:gd name="connsiteY142" fmla="*/ 1683 h 10000"/>
                <a:gd name="connsiteX143" fmla="*/ 2784 w 9722"/>
                <a:gd name="connsiteY143" fmla="*/ 1507 h 10000"/>
                <a:gd name="connsiteX144" fmla="*/ 2840 w 9722"/>
                <a:gd name="connsiteY144" fmla="*/ 1331 h 10000"/>
                <a:gd name="connsiteX145" fmla="*/ 2834 w 9722"/>
                <a:gd name="connsiteY145" fmla="*/ 1166 h 10000"/>
                <a:gd name="connsiteX146" fmla="*/ 2811 w 9722"/>
                <a:gd name="connsiteY146" fmla="*/ 1115 h 10000"/>
                <a:gd name="connsiteX147" fmla="*/ 2853 w 9722"/>
                <a:gd name="connsiteY147" fmla="*/ 1115 h 10000"/>
                <a:gd name="connsiteX148" fmla="*/ 2900 w 9722"/>
                <a:gd name="connsiteY148" fmla="*/ 1455 h 10000"/>
                <a:gd name="connsiteX149" fmla="*/ 3141 w 9722"/>
                <a:gd name="connsiteY149" fmla="*/ 1662 h 10000"/>
                <a:gd name="connsiteX150" fmla="*/ 2958 w 9722"/>
                <a:gd name="connsiteY150" fmla="*/ 1383 h 10000"/>
                <a:gd name="connsiteX151" fmla="*/ 3312 w 9722"/>
                <a:gd name="connsiteY151" fmla="*/ 1383 h 10000"/>
                <a:gd name="connsiteX152" fmla="*/ 3369 w 9722"/>
                <a:gd name="connsiteY152" fmla="*/ 1362 h 10000"/>
                <a:gd name="connsiteX153" fmla="*/ 3147 w 9722"/>
                <a:gd name="connsiteY153" fmla="*/ 1115 h 10000"/>
                <a:gd name="connsiteX154" fmla="*/ 3205 w 9722"/>
                <a:gd name="connsiteY154" fmla="*/ 888 h 10000"/>
                <a:gd name="connsiteX155" fmla="*/ 3451 w 9722"/>
                <a:gd name="connsiteY155" fmla="*/ 888 h 10000"/>
                <a:gd name="connsiteX156" fmla="*/ 3428 w 9722"/>
                <a:gd name="connsiteY156" fmla="*/ 713 h 10000"/>
                <a:gd name="connsiteX157" fmla="*/ 3510 w 9722"/>
                <a:gd name="connsiteY157" fmla="*/ 589 h 10000"/>
                <a:gd name="connsiteX158" fmla="*/ 3559 w 9722"/>
                <a:gd name="connsiteY158" fmla="*/ 548 h 10000"/>
                <a:gd name="connsiteX159" fmla="*/ 3741 w 9722"/>
                <a:gd name="connsiteY159" fmla="*/ 423 h 10000"/>
                <a:gd name="connsiteX160" fmla="*/ 3787 w 9722"/>
                <a:gd name="connsiteY160" fmla="*/ 371 h 10000"/>
                <a:gd name="connsiteX161" fmla="*/ 3780 w 9722"/>
                <a:gd name="connsiteY161" fmla="*/ 444 h 10000"/>
                <a:gd name="connsiteX162" fmla="*/ 3976 w 9722"/>
                <a:gd name="connsiteY162" fmla="*/ 371 h 10000"/>
                <a:gd name="connsiteX163" fmla="*/ 4134 w 9722"/>
                <a:gd name="connsiteY163" fmla="*/ 248 h 10000"/>
                <a:gd name="connsiteX164" fmla="*/ 4158 w 9722"/>
                <a:gd name="connsiteY164" fmla="*/ 0 h 10000"/>
                <a:gd name="connsiteX165" fmla="*/ 4332 w 9722"/>
                <a:gd name="connsiteY165" fmla="*/ 21 h 10000"/>
                <a:gd name="connsiteX166" fmla="*/ 4321 w 9722"/>
                <a:gd name="connsiteY166" fmla="*/ 93 h 10000"/>
                <a:gd name="connsiteX167" fmla="*/ 4332 w 9722"/>
                <a:gd name="connsiteY167" fmla="*/ 176 h 10000"/>
                <a:gd name="connsiteX168" fmla="*/ 4437 w 9722"/>
                <a:gd name="connsiteY168" fmla="*/ 248 h 10000"/>
                <a:gd name="connsiteX169" fmla="*/ 4757 w 9722"/>
                <a:gd name="connsiteY169" fmla="*/ 268 h 10000"/>
                <a:gd name="connsiteX170" fmla="*/ 4929 w 9722"/>
                <a:gd name="connsiteY170" fmla="*/ 392 h 10000"/>
                <a:gd name="connsiteX171" fmla="*/ 4873 w 9722"/>
                <a:gd name="connsiteY171" fmla="*/ 795 h 10000"/>
                <a:gd name="connsiteX172" fmla="*/ 4809 w 9722"/>
                <a:gd name="connsiteY172" fmla="*/ 919 h 10000"/>
                <a:gd name="connsiteX173" fmla="*/ 4731 w 9722"/>
                <a:gd name="connsiteY173" fmla="*/ 1043 h 10000"/>
                <a:gd name="connsiteX174" fmla="*/ 4749 w 9722"/>
                <a:gd name="connsiteY174" fmla="*/ 1115 h 10000"/>
                <a:gd name="connsiteX175" fmla="*/ 4978 w 9722"/>
                <a:gd name="connsiteY175" fmla="*/ 919 h 10000"/>
                <a:gd name="connsiteX176" fmla="*/ 5496 w 9722"/>
                <a:gd name="connsiteY176" fmla="*/ 991 h 10000"/>
                <a:gd name="connsiteX177" fmla="*/ 5549 w 9722"/>
                <a:gd name="connsiteY177" fmla="*/ 1063 h 10000"/>
                <a:gd name="connsiteX178" fmla="*/ 5661 w 9722"/>
                <a:gd name="connsiteY178" fmla="*/ 1187 h 10000"/>
                <a:gd name="connsiteX179" fmla="*/ 5819 w 9722"/>
                <a:gd name="connsiteY179" fmla="*/ 919 h 10000"/>
                <a:gd name="connsiteX180" fmla="*/ 6059 w 9722"/>
                <a:gd name="connsiteY180" fmla="*/ 1063 h 10000"/>
                <a:gd name="connsiteX181" fmla="*/ 6129 w 9722"/>
                <a:gd name="connsiteY181" fmla="*/ 1115 h 10000"/>
                <a:gd name="connsiteX182" fmla="*/ 6188 w 9722"/>
                <a:gd name="connsiteY182" fmla="*/ 1166 h 10000"/>
                <a:gd name="connsiteX183" fmla="*/ 6419 w 9722"/>
                <a:gd name="connsiteY183" fmla="*/ 1631 h 10000"/>
                <a:gd name="connsiteX184" fmla="*/ 6501 w 9722"/>
                <a:gd name="connsiteY184" fmla="*/ 1611 h 10000"/>
                <a:gd name="connsiteX185" fmla="*/ 6492 w 9722"/>
                <a:gd name="connsiteY185" fmla="*/ 1507 h 10000"/>
                <a:gd name="connsiteX186" fmla="*/ 6501 w 9722"/>
                <a:gd name="connsiteY186" fmla="*/ 1383 h 10000"/>
                <a:gd name="connsiteX187" fmla="*/ 6616 w 9722"/>
                <a:gd name="connsiteY187" fmla="*/ 1486 h 10000"/>
                <a:gd name="connsiteX188" fmla="*/ 6804 w 9722"/>
                <a:gd name="connsiteY188" fmla="*/ 1507 h 10000"/>
                <a:gd name="connsiteX189" fmla="*/ 6963 w 9722"/>
                <a:gd name="connsiteY189" fmla="*/ 1455 h 10000"/>
                <a:gd name="connsiteX190" fmla="*/ 6888 w 9722"/>
                <a:gd name="connsiteY190" fmla="*/ 1362 h 10000"/>
                <a:gd name="connsiteX191" fmla="*/ 6985 w 9722"/>
                <a:gd name="connsiteY191" fmla="*/ 1084 h 10000"/>
                <a:gd name="connsiteX192" fmla="*/ 7263 w 9722"/>
                <a:gd name="connsiteY192" fmla="*/ 1207 h 10000"/>
                <a:gd name="connsiteX193" fmla="*/ 7544 w 9722"/>
                <a:gd name="connsiteY193" fmla="*/ 1331 h 10000"/>
                <a:gd name="connsiteX194" fmla="*/ 7569 w 9722"/>
                <a:gd name="connsiteY194" fmla="*/ 1362 h 10000"/>
                <a:gd name="connsiteX195" fmla="*/ 7813 w 9722"/>
                <a:gd name="connsiteY195" fmla="*/ 1611 h 10000"/>
                <a:gd name="connsiteX196" fmla="*/ 8001 w 9722"/>
                <a:gd name="connsiteY196" fmla="*/ 1507 h 10000"/>
                <a:gd name="connsiteX197" fmla="*/ 8236 w 9722"/>
                <a:gd name="connsiteY197" fmla="*/ 1538 h 10000"/>
                <a:gd name="connsiteX198" fmla="*/ 8317 w 9722"/>
                <a:gd name="connsiteY198" fmla="*/ 1611 h 10000"/>
                <a:gd name="connsiteX199" fmla="*/ 8612 w 9722"/>
                <a:gd name="connsiteY199" fmla="*/ 1930 h 10000"/>
                <a:gd name="connsiteX200" fmla="*/ 8942 w 9722"/>
                <a:gd name="connsiteY200" fmla="*/ 1879 h 10000"/>
                <a:gd name="connsiteX201" fmla="*/ 9058 w 9722"/>
                <a:gd name="connsiteY201" fmla="*/ 2033 h 10000"/>
                <a:gd name="connsiteX202" fmla="*/ 9222 w 9722"/>
                <a:gd name="connsiteY202" fmla="*/ 2157 h 10000"/>
                <a:gd name="connsiteX203" fmla="*/ 9254 w 9722"/>
                <a:gd name="connsiteY203" fmla="*/ 2105 h 10000"/>
                <a:gd name="connsiteX204" fmla="*/ 9230 w 9722"/>
                <a:gd name="connsiteY204" fmla="*/ 2074 h 10000"/>
                <a:gd name="connsiteX205" fmla="*/ 9106 w 9722"/>
                <a:gd name="connsiteY205" fmla="*/ 1930 h 10000"/>
                <a:gd name="connsiteX206" fmla="*/ 9194 w 9722"/>
                <a:gd name="connsiteY206" fmla="*/ 1755 h 10000"/>
                <a:gd name="connsiteX207" fmla="*/ 9410 w 9722"/>
                <a:gd name="connsiteY207" fmla="*/ 1910 h 10000"/>
                <a:gd name="connsiteX208" fmla="*/ 9722 w 9722"/>
                <a:gd name="connsiteY208" fmla="*/ 1982 h 10000"/>
                <a:gd name="connsiteX0" fmla="*/ 1799 w 9679"/>
                <a:gd name="connsiteY0" fmla="*/ 7183 h 10000"/>
                <a:gd name="connsiteX1" fmla="*/ 1848 w 9679"/>
                <a:gd name="connsiteY1" fmla="*/ 7430 h 10000"/>
                <a:gd name="connsiteX2" fmla="*/ 1792 w 9679"/>
                <a:gd name="connsiteY2" fmla="*/ 7430 h 10000"/>
                <a:gd name="connsiteX3" fmla="*/ 1733 w 9679"/>
                <a:gd name="connsiteY3" fmla="*/ 7255 h 10000"/>
                <a:gd name="connsiteX4" fmla="*/ 1689 w 9679"/>
                <a:gd name="connsiteY4" fmla="*/ 7430 h 10000"/>
                <a:gd name="connsiteX5" fmla="*/ 1698 w 9679"/>
                <a:gd name="connsiteY5" fmla="*/ 7854 h 10000"/>
                <a:gd name="connsiteX6" fmla="*/ 1792 w 9679"/>
                <a:gd name="connsiteY6" fmla="*/ 8070 h 10000"/>
                <a:gd name="connsiteX7" fmla="*/ 1841 w 9679"/>
                <a:gd name="connsiteY7" fmla="*/ 8019 h 10000"/>
                <a:gd name="connsiteX8" fmla="*/ 1946 w 9679"/>
                <a:gd name="connsiteY8" fmla="*/ 8493 h 10000"/>
                <a:gd name="connsiteX9" fmla="*/ 1799 w 9679"/>
                <a:gd name="connsiteY9" fmla="*/ 8669 h 10000"/>
                <a:gd name="connsiteX10" fmla="*/ 1782 w 9679"/>
                <a:gd name="connsiteY10" fmla="*/ 9009 h 10000"/>
                <a:gd name="connsiteX11" fmla="*/ 1859 w 9679"/>
                <a:gd name="connsiteY11" fmla="*/ 9236 h 10000"/>
                <a:gd name="connsiteX12" fmla="*/ 1859 w 9679"/>
                <a:gd name="connsiteY12" fmla="*/ 9484 h 10000"/>
                <a:gd name="connsiteX13" fmla="*/ 1977 w 9679"/>
                <a:gd name="connsiteY13" fmla="*/ 9835 h 10000"/>
                <a:gd name="connsiteX14" fmla="*/ 1904 w 9679"/>
                <a:gd name="connsiteY14" fmla="*/ 10000 h 10000"/>
                <a:gd name="connsiteX15" fmla="*/ 1792 w 9679"/>
                <a:gd name="connsiteY15" fmla="*/ 9753 h 10000"/>
                <a:gd name="connsiteX16" fmla="*/ 1639 w 9679"/>
                <a:gd name="connsiteY16" fmla="*/ 9505 h 10000"/>
                <a:gd name="connsiteX17" fmla="*/ 1572 w 9679"/>
                <a:gd name="connsiteY17" fmla="*/ 9588 h 10000"/>
                <a:gd name="connsiteX18" fmla="*/ 1461 w 9679"/>
                <a:gd name="connsiteY18" fmla="*/ 9380 h 10000"/>
                <a:gd name="connsiteX19" fmla="*/ 1226 w 9679"/>
                <a:gd name="connsiteY19" fmla="*/ 9339 h 10000"/>
                <a:gd name="connsiteX20" fmla="*/ 947 w 9679"/>
                <a:gd name="connsiteY20" fmla="*/ 8813 h 10000"/>
                <a:gd name="connsiteX21" fmla="*/ 1021 w 9679"/>
                <a:gd name="connsiteY21" fmla="*/ 8721 h 10000"/>
                <a:gd name="connsiteX22" fmla="*/ 1075 w 9679"/>
                <a:gd name="connsiteY22" fmla="*/ 8493 h 10000"/>
                <a:gd name="connsiteX23" fmla="*/ 1015 w 9679"/>
                <a:gd name="connsiteY23" fmla="*/ 8390 h 10000"/>
                <a:gd name="connsiteX24" fmla="*/ 1141 w 9679"/>
                <a:gd name="connsiteY24" fmla="*/ 8245 h 10000"/>
                <a:gd name="connsiteX25" fmla="*/ 1056 w 9679"/>
                <a:gd name="connsiteY25" fmla="*/ 8194 h 10000"/>
                <a:gd name="connsiteX26" fmla="*/ 1071 w 9679"/>
                <a:gd name="connsiteY26" fmla="*/ 8091 h 10000"/>
                <a:gd name="connsiteX27" fmla="*/ 1123 w 9679"/>
                <a:gd name="connsiteY27" fmla="*/ 8111 h 10000"/>
                <a:gd name="connsiteX28" fmla="*/ 1185 w 9679"/>
                <a:gd name="connsiteY28" fmla="*/ 8019 h 10000"/>
                <a:gd name="connsiteX29" fmla="*/ 1154 w 9679"/>
                <a:gd name="connsiteY29" fmla="*/ 7864 h 10000"/>
                <a:gd name="connsiteX30" fmla="*/ 1166 w 9679"/>
                <a:gd name="connsiteY30" fmla="*/ 7503 h 10000"/>
                <a:gd name="connsiteX31" fmla="*/ 1038 w 9679"/>
                <a:gd name="connsiteY31" fmla="*/ 7440 h 10000"/>
                <a:gd name="connsiteX32" fmla="*/ 928 w 9679"/>
                <a:gd name="connsiteY32" fmla="*/ 7286 h 10000"/>
                <a:gd name="connsiteX33" fmla="*/ 782 w 9679"/>
                <a:gd name="connsiteY33" fmla="*/ 7275 h 10000"/>
                <a:gd name="connsiteX34" fmla="*/ 763 w 9679"/>
                <a:gd name="connsiteY34" fmla="*/ 7090 h 10000"/>
                <a:gd name="connsiteX35" fmla="*/ 667 w 9679"/>
                <a:gd name="connsiteY35" fmla="*/ 6945 h 10000"/>
                <a:gd name="connsiteX36" fmla="*/ 687 w 9679"/>
                <a:gd name="connsiteY36" fmla="*/ 6822 h 10000"/>
                <a:gd name="connsiteX37" fmla="*/ 627 w 9679"/>
                <a:gd name="connsiteY37" fmla="*/ 6698 h 10000"/>
                <a:gd name="connsiteX38" fmla="*/ 510 w 9679"/>
                <a:gd name="connsiteY38" fmla="*/ 6698 h 10000"/>
                <a:gd name="connsiteX39" fmla="*/ 475 w 9679"/>
                <a:gd name="connsiteY39" fmla="*/ 6791 h 10000"/>
                <a:gd name="connsiteX40" fmla="*/ 446 w 9679"/>
                <a:gd name="connsiteY40" fmla="*/ 6750 h 10000"/>
                <a:gd name="connsiteX41" fmla="*/ 422 w 9679"/>
                <a:gd name="connsiteY41" fmla="*/ 6439 h 10000"/>
                <a:gd name="connsiteX42" fmla="*/ 469 w 9679"/>
                <a:gd name="connsiteY42" fmla="*/ 6470 h 10000"/>
                <a:gd name="connsiteX43" fmla="*/ 521 w 9679"/>
                <a:gd name="connsiteY43" fmla="*/ 6347 h 10000"/>
                <a:gd name="connsiteX44" fmla="*/ 446 w 9679"/>
                <a:gd name="connsiteY44" fmla="*/ 6233 h 10000"/>
                <a:gd name="connsiteX45" fmla="*/ 352 w 9679"/>
                <a:gd name="connsiteY45" fmla="*/ 6017 h 10000"/>
                <a:gd name="connsiteX46" fmla="*/ 373 w 9679"/>
                <a:gd name="connsiteY46" fmla="*/ 5821 h 10000"/>
                <a:gd name="connsiteX47" fmla="*/ 305 w 9679"/>
                <a:gd name="connsiteY47" fmla="*/ 5697 h 10000"/>
                <a:gd name="connsiteX48" fmla="*/ 253 w 9679"/>
                <a:gd name="connsiteY48" fmla="*/ 5728 h 10000"/>
                <a:gd name="connsiteX49" fmla="*/ 225 w 9679"/>
                <a:gd name="connsiteY49" fmla="*/ 5604 h 10000"/>
                <a:gd name="connsiteX50" fmla="*/ 183 w 9679"/>
                <a:gd name="connsiteY50" fmla="*/ 5645 h 10000"/>
                <a:gd name="connsiteX51" fmla="*/ 130 w 9679"/>
                <a:gd name="connsiteY51" fmla="*/ 5604 h 10000"/>
                <a:gd name="connsiteX52" fmla="*/ 77 w 9679"/>
                <a:gd name="connsiteY52" fmla="*/ 5181 h 10000"/>
                <a:gd name="connsiteX53" fmla="*/ 96 w 9679"/>
                <a:gd name="connsiteY53" fmla="*/ 5057 h 10000"/>
                <a:gd name="connsiteX54" fmla="*/ 44 w 9679"/>
                <a:gd name="connsiteY54" fmla="*/ 4892 h 10000"/>
                <a:gd name="connsiteX55" fmla="*/ 74 w 9679"/>
                <a:gd name="connsiteY55" fmla="*/ 4655 h 10000"/>
                <a:gd name="connsiteX56" fmla="*/ 236 w 9679"/>
                <a:gd name="connsiteY56" fmla="*/ 4510 h 10000"/>
                <a:gd name="connsiteX57" fmla="*/ 144 w 9679"/>
                <a:gd name="connsiteY57" fmla="*/ 4406 h 10000"/>
                <a:gd name="connsiteX58" fmla="*/ 93 w 9679"/>
                <a:gd name="connsiteY58" fmla="*/ 4283 h 10000"/>
                <a:gd name="connsiteX59" fmla="*/ 228 w 9679"/>
                <a:gd name="connsiteY59" fmla="*/ 3912 h 10000"/>
                <a:gd name="connsiteX60" fmla="*/ 280 w 9679"/>
                <a:gd name="connsiteY60" fmla="*/ 3664 h 10000"/>
                <a:gd name="connsiteX61" fmla="*/ 169 w 9679"/>
                <a:gd name="connsiteY61" fmla="*/ 3488 h 10000"/>
                <a:gd name="connsiteX62" fmla="*/ 212 w 9679"/>
                <a:gd name="connsiteY62" fmla="*/ 3344 h 10000"/>
                <a:gd name="connsiteX63" fmla="*/ 125 w 9679"/>
                <a:gd name="connsiteY63" fmla="*/ 3148 h 10000"/>
                <a:gd name="connsiteX64" fmla="*/ 125 w 9679"/>
                <a:gd name="connsiteY64" fmla="*/ 2972 h 10000"/>
                <a:gd name="connsiteX65" fmla="*/ 68 w 9679"/>
                <a:gd name="connsiteY65" fmla="*/ 2622 h 10000"/>
                <a:gd name="connsiteX66" fmla="*/ 110 w 9679"/>
                <a:gd name="connsiteY66" fmla="*/ 2404 h 10000"/>
                <a:gd name="connsiteX67" fmla="*/ 41 w 9679"/>
                <a:gd name="connsiteY67" fmla="*/ 2301 h 10000"/>
                <a:gd name="connsiteX68" fmla="*/ 0 w 9679"/>
                <a:gd name="connsiteY68" fmla="*/ 2178 h 10000"/>
                <a:gd name="connsiteX69" fmla="*/ 61 w 9679"/>
                <a:gd name="connsiteY69" fmla="*/ 1951 h 10000"/>
                <a:gd name="connsiteX70" fmla="*/ 133 w 9679"/>
                <a:gd name="connsiteY70" fmla="*/ 1910 h 10000"/>
                <a:gd name="connsiteX71" fmla="*/ 218 w 9679"/>
                <a:gd name="connsiteY71" fmla="*/ 1858 h 10000"/>
                <a:gd name="connsiteX72" fmla="*/ 346 w 9679"/>
                <a:gd name="connsiteY72" fmla="*/ 1951 h 10000"/>
                <a:gd name="connsiteX73" fmla="*/ 538 w 9679"/>
                <a:gd name="connsiteY73" fmla="*/ 2054 h 10000"/>
                <a:gd name="connsiteX74" fmla="*/ 707 w 9679"/>
                <a:gd name="connsiteY74" fmla="*/ 2229 h 10000"/>
                <a:gd name="connsiteX75" fmla="*/ 844 w 9679"/>
                <a:gd name="connsiteY75" fmla="*/ 2373 h 10000"/>
                <a:gd name="connsiteX76" fmla="*/ 811 w 9679"/>
                <a:gd name="connsiteY76" fmla="*/ 2777 h 10000"/>
                <a:gd name="connsiteX77" fmla="*/ 404 w 9679"/>
                <a:gd name="connsiteY77" fmla="*/ 2673 h 10000"/>
                <a:gd name="connsiteX78" fmla="*/ 273 w 9679"/>
                <a:gd name="connsiteY78" fmla="*/ 2550 h 10000"/>
                <a:gd name="connsiteX79" fmla="*/ 321 w 9679"/>
                <a:gd name="connsiteY79" fmla="*/ 2622 h 10000"/>
                <a:gd name="connsiteX80" fmla="*/ 370 w 9679"/>
                <a:gd name="connsiteY80" fmla="*/ 2797 h 10000"/>
                <a:gd name="connsiteX81" fmla="*/ 446 w 9679"/>
                <a:gd name="connsiteY81" fmla="*/ 2921 h 10000"/>
                <a:gd name="connsiteX82" fmla="*/ 466 w 9679"/>
                <a:gd name="connsiteY82" fmla="*/ 3189 h 10000"/>
                <a:gd name="connsiteX83" fmla="*/ 566 w 9679"/>
                <a:gd name="connsiteY83" fmla="*/ 3313 h 10000"/>
                <a:gd name="connsiteX84" fmla="*/ 651 w 9679"/>
                <a:gd name="connsiteY84" fmla="*/ 3436 h 10000"/>
                <a:gd name="connsiteX85" fmla="*/ 677 w 9679"/>
                <a:gd name="connsiteY85" fmla="*/ 3467 h 10000"/>
                <a:gd name="connsiteX86" fmla="*/ 727 w 9679"/>
                <a:gd name="connsiteY86" fmla="*/ 3436 h 10000"/>
                <a:gd name="connsiteX87" fmla="*/ 707 w 9679"/>
                <a:gd name="connsiteY87" fmla="*/ 3364 h 10000"/>
                <a:gd name="connsiteX88" fmla="*/ 609 w 9679"/>
                <a:gd name="connsiteY88" fmla="*/ 3189 h 10000"/>
                <a:gd name="connsiteX89" fmla="*/ 896 w 9679"/>
                <a:gd name="connsiteY89" fmla="*/ 3344 h 10000"/>
                <a:gd name="connsiteX90" fmla="*/ 905 w 9679"/>
                <a:gd name="connsiteY90" fmla="*/ 3271 h 10000"/>
                <a:gd name="connsiteX91" fmla="*/ 877 w 9679"/>
                <a:gd name="connsiteY91" fmla="*/ 3220 h 10000"/>
                <a:gd name="connsiteX92" fmla="*/ 828 w 9679"/>
                <a:gd name="connsiteY92" fmla="*/ 2993 h 10000"/>
                <a:gd name="connsiteX93" fmla="*/ 970 w 9679"/>
                <a:gd name="connsiteY93" fmla="*/ 2777 h 10000"/>
                <a:gd name="connsiteX94" fmla="*/ 1083 w 9679"/>
                <a:gd name="connsiteY94" fmla="*/ 2921 h 10000"/>
                <a:gd name="connsiteX95" fmla="*/ 1117 w 9679"/>
                <a:gd name="connsiteY95" fmla="*/ 2725 h 10000"/>
                <a:gd name="connsiteX96" fmla="*/ 1064 w 9679"/>
                <a:gd name="connsiteY96" fmla="*/ 2653 h 10000"/>
                <a:gd name="connsiteX97" fmla="*/ 1044 w 9679"/>
                <a:gd name="connsiteY97" fmla="*/ 2281 h 10000"/>
                <a:gd name="connsiteX98" fmla="*/ 1021 w 9679"/>
                <a:gd name="connsiteY98" fmla="*/ 2229 h 10000"/>
                <a:gd name="connsiteX99" fmla="*/ 1157 w 9679"/>
                <a:gd name="connsiteY99" fmla="*/ 2250 h 10000"/>
                <a:gd name="connsiteX100" fmla="*/ 1215 w 9679"/>
                <a:gd name="connsiteY100" fmla="*/ 2404 h 10000"/>
                <a:gd name="connsiteX101" fmla="*/ 1141 w 9679"/>
                <a:gd name="connsiteY101" fmla="*/ 2529 h 10000"/>
                <a:gd name="connsiteX102" fmla="*/ 1267 w 9679"/>
                <a:gd name="connsiteY102" fmla="*/ 2694 h 10000"/>
                <a:gd name="connsiteX103" fmla="*/ 1370 w 9679"/>
                <a:gd name="connsiteY103" fmla="*/ 2529 h 10000"/>
                <a:gd name="connsiteX104" fmla="*/ 1496 w 9679"/>
                <a:gd name="connsiteY104" fmla="*/ 2301 h 10000"/>
                <a:gd name="connsiteX105" fmla="*/ 1632 w 9679"/>
                <a:gd name="connsiteY105" fmla="*/ 2157 h 10000"/>
                <a:gd name="connsiteX106" fmla="*/ 1671 w 9679"/>
                <a:gd name="connsiteY106" fmla="*/ 2250 h 10000"/>
                <a:gd name="connsiteX107" fmla="*/ 2018 w 9679"/>
                <a:gd name="connsiteY107" fmla="*/ 2054 h 10000"/>
                <a:gd name="connsiteX108" fmla="*/ 2089 w 9679"/>
                <a:gd name="connsiteY108" fmla="*/ 2250 h 10000"/>
                <a:gd name="connsiteX109" fmla="*/ 2079 w 9679"/>
                <a:gd name="connsiteY109" fmla="*/ 2002 h 10000"/>
                <a:gd name="connsiteX110" fmla="*/ 1986 w 9679"/>
                <a:gd name="connsiteY110" fmla="*/ 1786 h 10000"/>
                <a:gd name="connsiteX111" fmla="*/ 1971 w 9679"/>
                <a:gd name="connsiteY111" fmla="*/ 1703 h 10000"/>
                <a:gd name="connsiteX112" fmla="*/ 2038 w 9679"/>
                <a:gd name="connsiteY112" fmla="*/ 1786 h 10000"/>
                <a:gd name="connsiteX113" fmla="*/ 2271 w 9679"/>
                <a:gd name="connsiteY113" fmla="*/ 1951 h 10000"/>
                <a:gd name="connsiteX114" fmla="*/ 2537 w 9679"/>
                <a:gd name="connsiteY114" fmla="*/ 2126 h 10000"/>
                <a:gd name="connsiteX115" fmla="*/ 2664 w 9679"/>
                <a:gd name="connsiteY115" fmla="*/ 2250 h 10000"/>
                <a:gd name="connsiteX116" fmla="*/ 2704 w 9679"/>
                <a:gd name="connsiteY116" fmla="*/ 2074 h 10000"/>
                <a:gd name="connsiteX117" fmla="*/ 2645 w 9679"/>
                <a:gd name="connsiteY117" fmla="*/ 2033 h 10000"/>
                <a:gd name="connsiteX118" fmla="*/ 2568 w 9679"/>
                <a:gd name="connsiteY118" fmla="*/ 1930 h 10000"/>
                <a:gd name="connsiteX119" fmla="*/ 2517 w 9679"/>
                <a:gd name="connsiteY119" fmla="*/ 1734 h 10000"/>
                <a:gd name="connsiteX120" fmla="*/ 2442 w 9679"/>
                <a:gd name="connsiteY120" fmla="*/ 1486 h 10000"/>
                <a:gd name="connsiteX121" fmla="*/ 2469 w 9679"/>
                <a:gd name="connsiteY121" fmla="*/ 1434 h 10000"/>
                <a:gd name="connsiteX122" fmla="*/ 2493 w 9679"/>
                <a:gd name="connsiteY122" fmla="*/ 1455 h 10000"/>
                <a:gd name="connsiteX123" fmla="*/ 2560 w 9679"/>
                <a:gd name="connsiteY123" fmla="*/ 1115 h 10000"/>
                <a:gd name="connsiteX124" fmla="*/ 2730 w 9679"/>
                <a:gd name="connsiteY124" fmla="*/ 1135 h 10000"/>
                <a:gd name="connsiteX125" fmla="*/ 2780 w 9679"/>
                <a:gd name="connsiteY125" fmla="*/ 1311 h 10000"/>
                <a:gd name="connsiteX126" fmla="*/ 2814 w 9679"/>
                <a:gd name="connsiteY126" fmla="*/ 1538 h 10000"/>
                <a:gd name="connsiteX127" fmla="*/ 2876 w 9679"/>
                <a:gd name="connsiteY127" fmla="*/ 1734 h 10000"/>
                <a:gd name="connsiteX128" fmla="*/ 2983 w 9679"/>
                <a:gd name="connsiteY128" fmla="*/ 2157 h 10000"/>
                <a:gd name="connsiteX129" fmla="*/ 2773 w 9679"/>
                <a:gd name="connsiteY129" fmla="*/ 2673 h 10000"/>
                <a:gd name="connsiteX130" fmla="*/ 2857 w 9679"/>
                <a:gd name="connsiteY130" fmla="*/ 2746 h 10000"/>
                <a:gd name="connsiteX131" fmla="*/ 2967 w 9679"/>
                <a:gd name="connsiteY131" fmla="*/ 2818 h 10000"/>
                <a:gd name="connsiteX132" fmla="*/ 3109 w 9679"/>
                <a:gd name="connsiteY132" fmla="*/ 2622 h 10000"/>
                <a:gd name="connsiteX133" fmla="*/ 3116 w 9679"/>
                <a:gd name="connsiteY133" fmla="*/ 2404 h 10000"/>
                <a:gd name="connsiteX134" fmla="*/ 3068 w 9679"/>
                <a:gd name="connsiteY134" fmla="*/ 2301 h 10000"/>
                <a:gd name="connsiteX135" fmla="*/ 3261 w 9679"/>
                <a:gd name="connsiteY135" fmla="*/ 2250 h 10000"/>
                <a:gd name="connsiteX136" fmla="*/ 3341 w 9679"/>
                <a:gd name="connsiteY136" fmla="*/ 2497 h 10000"/>
                <a:gd name="connsiteX137" fmla="*/ 3341 w 9679"/>
                <a:gd name="connsiteY137" fmla="*/ 2425 h 10000"/>
                <a:gd name="connsiteX138" fmla="*/ 3321 w 9679"/>
                <a:gd name="connsiteY138" fmla="*/ 2353 h 10000"/>
                <a:gd name="connsiteX139" fmla="*/ 3315 w 9679"/>
                <a:gd name="connsiteY139" fmla="*/ 2178 h 10000"/>
                <a:gd name="connsiteX140" fmla="*/ 3128 w 9679"/>
                <a:gd name="connsiteY140" fmla="*/ 1930 h 10000"/>
                <a:gd name="connsiteX141" fmla="*/ 2983 w 9679"/>
                <a:gd name="connsiteY141" fmla="*/ 2002 h 10000"/>
                <a:gd name="connsiteX142" fmla="*/ 2921 w 9679"/>
                <a:gd name="connsiteY142" fmla="*/ 1683 h 10000"/>
                <a:gd name="connsiteX143" fmla="*/ 2864 w 9679"/>
                <a:gd name="connsiteY143" fmla="*/ 1507 h 10000"/>
                <a:gd name="connsiteX144" fmla="*/ 2921 w 9679"/>
                <a:gd name="connsiteY144" fmla="*/ 1331 h 10000"/>
                <a:gd name="connsiteX145" fmla="*/ 2915 w 9679"/>
                <a:gd name="connsiteY145" fmla="*/ 1166 h 10000"/>
                <a:gd name="connsiteX146" fmla="*/ 2891 w 9679"/>
                <a:gd name="connsiteY146" fmla="*/ 1115 h 10000"/>
                <a:gd name="connsiteX147" fmla="*/ 2935 w 9679"/>
                <a:gd name="connsiteY147" fmla="*/ 1115 h 10000"/>
                <a:gd name="connsiteX148" fmla="*/ 2983 w 9679"/>
                <a:gd name="connsiteY148" fmla="*/ 1455 h 10000"/>
                <a:gd name="connsiteX149" fmla="*/ 3231 w 9679"/>
                <a:gd name="connsiteY149" fmla="*/ 1662 h 10000"/>
                <a:gd name="connsiteX150" fmla="*/ 3043 w 9679"/>
                <a:gd name="connsiteY150" fmla="*/ 1383 h 10000"/>
                <a:gd name="connsiteX151" fmla="*/ 3407 w 9679"/>
                <a:gd name="connsiteY151" fmla="*/ 1383 h 10000"/>
                <a:gd name="connsiteX152" fmla="*/ 3465 w 9679"/>
                <a:gd name="connsiteY152" fmla="*/ 1362 h 10000"/>
                <a:gd name="connsiteX153" fmla="*/ 3237 w 9679"/>
                <a:gd name="connsiteY153" fmla="*/ 1115 h 10000"/>
                <a:gd name="connsiteX154" fmla="*/ 3297 w 9679"/>
                <a:gd name="connsiteY154" fmla="*/ 888 h 10000"/>
                <a:gd name="connsiteX155" fmla="*/ 3550 w 9679"/>
                <a:gd name="connsiteY155" fmla="*/ 888 h 10000"/>
                <a:gd name="connsiteX156" fmla="*/ 3526 w 9679"/>
                <a:gd name="connsiteY156" fmla="*/ 713 h 10000"/>
                <a:gd name="connsiteX157" fmla="*/ 3610 w 9679"/>
                <a:gd name="connsiteY157" fmla="*/ 589 h 10000"/>
                <a:gd name="connsiteX158" fmla="*/ 3661 w 9679"/>
                <a:gd name="connsiteY158" fmla="*/ 548 h 10000"/>
                <a:gd name="connsiteX159" fmla="*/ 3848 w 9679"/>
                <a:gd name="connsiteY159" fmla="*/ 423 h 10000"/>
                <a:gd name="connsiteX160" fmla="*/ 3895 w 9679"/>
                <a:gd name="connsiteY160" fmla="*/ 371 h 10000"/>
                <a:gd name="connsiteX161" fmla="*/ 3888 w 9679"/>
                <a:gd name="connsiteY161" fmla="*/ 444 h 10000"/>
                <a:gd name="connsiteX162" fmla="*/ 4090 w 9679"/>
                <a:gd name="connsiteY162" fmla="*/ 371 h 10000"/>
                <a:gd name="connsiteX163" fmla="*/ 4252 w 9679"/>
                <a:gd name="connsiteY163" fmla="*/ 248 h 10000"/>
                <a:gd name="connsiteX164" fmla="*/ 4277 w 9679"/>
                <a:gd name="connsiteY164" fmla="*/ 0 h 10000"/>
                <a:gd name="connsiteX165" fmla="*/ 4456 w 9679"/>
                <a:gd name="connsiteY165" fmla="*/ 21 h 10000"/>
                <a:gd name="connsiteX166" fmla="*/ 4445 w 9679"/>
                <a:gd name="connsiteY166" fmla="*/ 93 h 10000"/>
                <a:gd name="connsiteX167" fmla="*/ 4456 w 9679"/>
                <a:gd name="connsiteY167" fmla="*/ 176 h 10000"/>
                <a:gd name="connsiteX168" fmla="*/ 4564 w 9679"/>
                <a:gd name="connsiteY168" fmla="*/ 248 h 10000"/>
                <a:gd name="connsiteX169" fmla="*/ 4893 w 9679"/>
                <a:gd name="connsiteY169" fmla="*/ 268 h 10000"/>
                <a:gd name="connsiteX170" fmla="*/ 5070 w 9679"/>
                <a:gd name="connsiteY170" fmla="*/ 392 h 10000"/>
                <a:gd name="connsiteX171" fmla="*/ 5012 w 9679"/>
                <a:gd name="connsiteY171" fmla="*/ 795 h 10000"/>
                <a:gd name="connsiteX172" fmla="*/ 4947 w 9679"/>
                <a:gd name="connsiteY172" fmla="*/ 919 h 10000"/>
                <a:gd name="connsiteX173" fmla="*/ 4866 w 9679"/>
                <a:gd name="connsiteY173" fmla="*/ 1043 h 10000"/>
                <a:gd name="connsiteX174" fmla="*/ 4885 w 9679"/>
                <a:gd name="connsiteY174" fmla="*/ 1115 h 10000"/>
                <a:gd name="connsiteX175" fmla="*/ 5120 w 9679"/>
                <a:gd name="connsiteY175" fmla="*/ 919 h 10000"/>
                <a:gd name="connsiteX176" fmla="*/ 5653 w 9679"/>
                <a:gd name="connsiteY176" fmla="*/ 991 h 10000"/>
                <a:gd name="connsiteX177" fmla="*/ 5708 w 9679"/>
                <a:gd name="connsiteY177" fmla="*/ 1063 h 10000"/>
                <a:gd name="connsiteX178" fmla="*/ 5823 w 9679"/>
                <a:gd name="connsiteY178" fmla="*/ 1187 h 10000"/>
                <a:gd name="connsiteX179" fmla="*/ 5985 w 9679"/>
                <a:gd name="connsiteY179" fmla="*/ 919 h 10000"/>
                <a:gd name="connsiteX180" fmla="*/ 6232 w 9679"/>
                <a:gd name="connsiteY180" fmla="*/ 1063 h 10000"/>
                <a:gd name="connsiteX181" fmla="*/ 6304 w 9679"/>
                <a:gd name="connsiteY181" fmla="*/ 1115 h 10000"/>
                <a:gd name="connsiteX182" fmla="*/ 6365 w 9679"/>
                <a:gd name="connsiteY182" fmla="*/ 1166 h 10000"/>
                <a:gd name="connsiteX183" fmla="*/ 6603 w 9679"/>
                <a:gd name="connsiteY183" fmla="*/ 1631 h 10000"/>
                <a:gd name="connsiteX184" fmla="*/ 6687 w 9679"/>
                <a:gd name="connsiteY184" fmla="*/ 1611 h 10000"/>
                <a:gd name="connsiteX185" fmla="*/ 6678 w 9679"/>
                <a:gd name="connsiteY185" fmla="*/ 1507 h 10000"/>
                <a:gd name="connsiteX186" fmla="*/ 6687 w 9679"/>
                <a:gd name="connsiteY186" fmla="*/ 1383 h 10000"/>
                <a:gd name="connsiteX187" fmla="*/ 6805 w 9679"/>
                <a:gd name="connsiteY187" fmla="*/ 1486 h 10000"/>
                <a:gd name="connsiteX188" fmla="*/ 6999 w 9679"/>
                <a:gd name="connsiteY188" fmla="*/ 1507 h 10000"/>
                <a:gd name="connsiteX189" fmla="*/ 7162 w 9679"/>
                <a:gd name="connsiteY189" fmla="*/ 1455 h 10000"/>
                <a:gd name="connsiteX190" fmla="*/ 7085 w 9679"/>
                <a:gd name="connsiteY190" fmla="*/ 1362 h 10000"/>
                <a:gd name="connsiteX191" fmla="*/ 7185 w 9679"/>
                <a:gd name="connsiteY191" fmla="*/ 1084 h 10000"/>
                <a:gd name="connsiteX192" fmla="*/ 7471 w 9679"/>
                <a:gd name="connsiteY192" fmla="*/ 1207 h 10000"/>
                <a:gd name="connsiteX193" fmla="*/ 7760 w 9679"/>
                <a:gd name="connsiteY193" fmla="*/ 1331 h 10000"/>
                <a:gd name="connsiteX194" fmla="*/ 7785 w 9679"/>
                <a:gd name="connsiteY194" fmla="*/ 1362 h 10000"/>
                <a:gd name="connsiteX195" fmla="*/ 8036 w 9679"/>
                <a:gd name="connsiteY195" fmla="*/ 1611 h 10000"/>
                <a:gd name="connsiteX196" fmla="*/ 8230 w 9679"/>
                <a:gd name="connsiteY196" fmla="*/ 1507 h 10000"/>
                <a:gd name="connsiteX197" fmla="*/ 8472 w 9679"/>
                <a:gd name="connsiteY197" fmla="*/ 1538 h 10000"/>
                <a:gd name="connsiteX198" fmla="*/ 8555 w 9679"/>
                <a:gd name="connsiteY198" fmla="*/ 1611 h 10000"/>
                <a:gd name="connsiteX199" fmla="*/ 8858 w 9679"/>
                <a:gd name="connsiteY199" fmla="*/ 1930 h 10000"/>
                <a:gd name="connsiteX200" fmla="*/ 9198 w 9679"/>
                <a:gd name="connsiteY200" fmla="*/ 1879 h 10000"/>
                <a:gd name="connsiteX201" fmla="*/ 9317 w 9679"/>
                <a:gd name="connsiteY201" fmla="*/ 2033 h 10000"/>
                <a:gd name="connsiteX202" fmla="*/ 9486 w 9679"/>
                <a:gd name="connsiteY202" fmla="*/ 2157 h 10000"/>
                <a:gd name="connsiteX203" fmla="*/ 9519 w 9679"/>
                <a:gd name="connsiteY203" fmla="*/ 2105 h 10000"/>
                <a:gd name="connsiteX204" fmla="*/ 9494 w 9679"/>
                <a:gd name="connsiteY204" fmla="*/ 2074 h 10000"/>
                <a:gd name="connsiteX205" fmla="*/ 9366 w 9679"/>
                <a:gd name="connsiteY205" fmla="*/ 1930 h 10000"/>
                <a:gd name="connsiteX206" fmla="*/ 9457 w 9679"/>
                <a:gd name="connsiteY206" fmla="*/ 1755 h 10000"/>
                <a:gd name="connsiteX207" fmla="*/ 9679 w 9679"/>
                <a:gd name="connsiteY207" fmla="*/ 1910 h 10000"/>
                <a:gd name="connsiteX0" fmla="*/ 1859 w 10000"/>
                <a:gd name="connsiteY0" fmla="*/ 7183 h 10000"/>
                <a:gd name="connsiteX1" fmla="*/ 1909 w 10000"/>
                <a:gd name="connsiteY1" fmla="*/ 7430 h 10000"/>
                <a:gd name="connsiteX2" fmla="*/ 1851 w 10000"/>
                <a:gd name="connsiteY2" fmla="*/ 7430 h 10000"/>
                <a:gd name="connsiteX3" fmla="*/ 1790 w 10000"/>
                <a:gd name="connsiteY3" fmla="*/ 7255 h 10000"/>
                <a:gd name="connsiteX4" fmla="*/ 1745 w 10000"/>
                <a:gd name="connsiteY4" fmla="*/ 7430 h 10000"/>
                <a:gd name="connsiteX5" fmla="*/ 1754 w 10000"/>
                <a:gd name="connsiteY5" fmla="*/ 7854 h 10000"/>
                <a:gd name="connsiteX6" fmla="*/ 1851 w 10000"/>
                <a:gd name="connsiteY6" fmla="*/ 8070 h 10000"/>
                <a:gd name="connsiteX7" fmla="*/ 1902 w 10000"/>
                <a:gd name="connsiteY7" fmla="*/ 8019 h 10000"/>
                <a:gd name="connsiteX8" fmla="*/ 2011 w 10000"/>
                <a:gd name="connsiteY8" fmla="*/ 8493 h 10000"/>
                <a:gd name="connsiteX9" fmla="*/ 1859 w 10000"/>
                <a:gd name="connsiteY9" fmla="*/ 8669 h 10000"/>
                <a:gd name="connsiteX10" fmla="*/ 1841 w 10000"/>
                <a:gd name="connsiteY10" fmla="*/ 9009 h 10000"/>
                <a:gd name="connsiteX11" fmla="*/ 1921 w 10000"/>
                <a:gd name="connsiteY11" fmla="*/ 9236 h 10000"/>
                <a:gd name="connsiteX12" fmla="*/ 1921 w 10000"/>
                <a:gd name="connsiteY12" fmla="*/ 9484 h 10000"/>
                <a:gd name="connsiteX13" fmla="*/ 2043 w 10000"/>
                <a:gd name="connsiteY13" fmla="*/ 9835 h 10000"/>
                <a:gd name="connsiteX14" fmla="*/ 1967 w 10000"/>
                <a:gd name="connsiteY14" fmla="*/ 10000 h 10000"/>
                <a:gd name="connsiteX15" fmla="*/ 1851 w 10000"/>
                <a:gd name="connsiteY15" fmla="*/ 9753 h 10000"/>
                <a:gd name="connsiteX16" fmla="*/ 1693 w 10000"/>
                <a:gd name="connsiteY16" fmla="*/ 9505 h 10000"/>
                <a:gd name="connsiteX17" fmla="*/ 1624 w 10000"/>
                <a:gd name="connsiteY17" fmla="*/ 9588 h 10000"/>
                <a:gd name="connsiteX18" fmla="*/ 1509 w 10000"/>
                <a:gd name="connsiteY18" fmla="*/ 9380 h 10000"/>
                <a:gd name="connsiteX19" fmla="*/ 1267 w 10000"/>
                <a:gd name="connsiteY19" fmla="*/ 9339 h 10000"/>
                <a:gd name="connsiteX20" fmla="*/ 978 w 10000"/>
                <a:gd name="connsiteY20" fmla="*/ 8813 h 10000"/>
                <a:gd name="connsiteX21" fmla="*/ 1055 w 10000"/>
                <a:gd name="connsiteY21" fmla="*/ 8721 h 10000"/>
                <a:gd name="connsiteX22" fmla="*/ 1111 w 10000"/>
                <a:gd name="connsiteY22" fmla="*/ 8493 h 10000"/>
                <a:gd name="connsiteX23" fmla="*/ 1049 w 10000"/>
                <a:gd name="connsiteY23" fmla="*/ 8390 h 10000"/>
                <a:gd name="connsiteX24" fmla="*/ 1179 w 10000"/>
                <a:gd name="connsiteY24" fmla="*/ 8245 h 10000"/>
                <a:gd name="connsiteX25" fmla="*/ 1091 w 10000"/>
                <a:gd name="connsiteY25" fmla="*/ 8194 h 10000"/>
                <a:gd name="connsiteX26" fmla="*/ 1107 w 10000"/>
                <a:gd name="connsiteY26" fmla="*/ 8091 h 10000"/>
                <a:gd name="connsiteX27" fmla="*/ 1160 w 10000"/>
                <a:gd name="connsiteY27" fmla="*/ 8111 h 10000"/>
                <a:gd name="connsiteX28" fmla="*/ 1224 w 10000"/>
                <a:gd name="connsiteY28" fmla="*/ 8019 h 10000"/>
                <a:gd name="connsiteX29" fmla="*/ 1192 w 10000"/>
                <a:gd name="connsiteY29" fmla="*/ 7864 h 10000"/>
                <a:gd name="connsiteX30" fmla="*/ 1205 w 10000"/>
                <a:gd name="connsiteY30" fmla="*/ 7503 h 10000"/>
                <a:gd name="connsiteX31" fmla="*/ 1072 w 10000"/>
                <a:gd name="connsiteY31" fmla="*/ 7440 h 10000"/>
                <a:gd name="connsiteX32" fmla="*/ 959 w 10000"/>
                <a:gd name="connsiteY32" fmla="*/ 7286 h 10000"/>
                <a:gd name="connsiteX33" fmla="*/ 808 w 10000"/>
                <a:gd name="connsiteY33" fmla="*/ 7275 h 10000"/>
                <a:gd name="connsiteX34" fmla="*/ 788 w 10000"/>
                <a:gd name="connsiteY34" fmla="*/ 7090 h 10000"/>
                <a:gd name="connsiteX35" fmla="*/ 689 w 10000"/>
                <a:gd name="connsiteY35" fmla="*/ 6945 h 10000"/>
                <a:gd name="connsiteX36" fmla="*/ 710 w 10000"/>
                <a:gd name="connsiteY36" fmla="*/ 6822 h 10000"/>
                <a:gd name="connsiteX37" fmla="*/ 648 w 10000"/>
                <a:gd name="connsiteY37" fmla="*/ 6698 h 10000"/>
                <a:gd name="connsiteX38" fmla="*/ 527 w 10000"/>
                <a:gd name="connsiteY38" fmla="*/ 6698 h 10000"/>
                <a:gd name="connsiteX39" fmla="*/ 491 w 10000"/>
                <a:gd name="connsiteY39" fmla="*/ 6791 h 10000"/>
                <a:gd name="connsiteX40" fmla="*/ 461 w 10000"/>
                <a:gd name="connsiteY40" fmla="*/ 6750 h 10000"/>
                <a:gd name="connsiteX41" fmla="*/ 436 w 10000"/>
                <a:gd name="connsiteY41" fmla="*/ 6439 h 10000"/>
                <a:gd name="connsiteX42" fmla="*/ 485 w 10000"/>
                <a:gd name="connsiteY42" fmla="*/ 6470 h 10000"/>
                <a:gd name="connsiteX43" fmla="*/ 538 w 10000"/>
                <a:gd name="connsiteY43" fmla="*/ 6347 h 10000"/>
                <a:gd name="connsiteX44" fmla="*/ 461 w 10000"/>
                <a:gd name="connsiteY44" fmla="*/ 6233 h 10000"/>
                <a:gd name="connsiteX45" fmla="*/ 364 w 10000"/>
                <a:gd name="connsiteY45" fmla="*/ 6017 h 10000"/>
                <a:gd name="connsiteX46" fmla="*/ 385 w 10000"/>
                <a:gd name="connsiteY46" fmla="*/ 5821 h 10000"/>
                <a:gd name="connsiteX47" fmla="*/ 315 w 10000"/>
                <a:gd name="connsiteY47" fmla="*/ 5697 h 10000"/>
                <a:gd name="connsiteX48" fmla="*/ 261 w 10000"/>
                <a:gd name="connsiteY48" fmla="*/ 5728 h 10000"/>
                <a:gd name="connsiteX49" fmla="*/ 232 w 10000"/>
                <a:gd name="connsiteY49" fmla="*/ 5604 h 10000"/>
                <a:gd name="connsiteX50" fmla="*/ 189 w 10000"/>
                <a:gd name="connsiteY50" fmla="*/ 5645 h 10000"/>
                <a:gd name="connsiteX51" fmla="*/ 134 w 10000"/>
                <a:gd name="connsiteY51" fmla="*/ 5604 h 10000"/>
                <a:gd name="connsiteX52" fmla="*/ 80 w 10000"/>
                <a:gd name="connsiteY52" fmla="*/ 5181 h 10000"/>
                <a:gd name="connsiteX53" fmla="*/ 99 w 10000"/>
                <a:gd name="connsiteY53" fmla="*/ 5057 h 10000"/>
                <a:gd name="connsiteX54" fmla="*/ 45 w 10000"/>
                <a:gd name="connsiteY54" fmla="*/ 4892 h 10000"/>
                <a:gd name="connsiteX55" fmla="*/ 76 w 10000"/>
                <a:gd name="connsiteY55" fmla="*/ 4655 h 10000"/>
                <a:gd name="connsiteX56" fmla="*/ 244 w 10000"/>
                <a:gd name="connsiteY56" fmla="*/ 4510 h 10000"/>
                <a:gd name="connsiteX57" fmla="*/ 149 w 10000"/>
                <a:gd name="connsiteY57" fmla="*/ 4406 h 10000"/>
                <a:gd name="connsiteX58" fmla="*/ 96 w 10000"/>
                <a:gd name="connsiteY58" fmla="*/ 4283 h 10000"/>
                <a:gd name="connsiteX59" fmla="*/ 236 w 10000"/>
                <a:gd name="connsiteY59" fmla="*/ 3912 h 10000"/>
                <a:gd name="connsiteX60" fmla="*/ 289 w 10000"/>
                <a:gd name="connsiteY60" fmla="*/ 3664 h 10000"/>
                <a:gd name="connsiteX61" fmla="*/ 175 w 10000"/>
                <a:gd name="connsiteY61" fmla="*/ 3488 h 10000"/>
                <a:gd name="connsiteX62" fmla="*/ 219 w 10000"/>
                <a:gd name="connsiteY62" fmla="*/ 3344 h 10000"/>
                <a:gd name="connsiteX63" fmla="*/ 129 w 10000"/>
                <a:gd name="connsiteY63" fmla="*/ 3148 h 10000"/>
                <a:gd name="connsiteX64" fmla="*/ 129 w 10000"/>
                <a:gd name="connsiteY64" fmla="*/ 2972 h 10000"/>
                <a:gd name="connsiteX65" fmla="*/ 70 w 10000"/>
                <a:gd name="connsiteY65" fmla="*/ 2622 h 10000"/>
                <a:gd name="connsiteX66" fmla="*/ 114 w 10000"/>
                <a:gd name="connsiteY66" fmla="*/ 2404 h 10000"/>
                <a:gd name="connsiteX67" fmla="*/ 42 w 10000"/>
                <a:gd name="connsiteY67" fmla="*/ 2301 h 10000"/>
                <a:gd name="connsiteX68" fmla="*/ 0 w 10000"/>
                <a:gd name="connsiteY68" fmla="*/ 2178 h 10000"/>
                <a:gd name="connsiteX69" fmla="*/ 63 w 10000"/>
                <a:gd name="connsiteY69" fmla="*/ 1951 h 10000"/>
                <a:gd name="connsiteX70" fmla="*/ 137 w 10000"/>
                <a:gd name="connsiteY70" fmla="*/ 1910 h 10000"/>
                <a:gd name="connsiteX71" fmla="*/ 225 w 10000"/>
                <a:gd name="connsiteY71" fmla="*/ 1858 h 10000"/>
                <a:gd name="connsiteX72" fmla="*/ 357 w 10000"/>
                <a:gd name="connsiteY72" fmla="*/ 1951 h 10000"/>
                <a:gd name="connsiteX73" fmla="*/ 556 w 10000"/>
                <a:gd name="connsiteY73" fmla="*/ 2054 h 10000"/>
                <a:gd name="connsiteX74" fmla="*/ 730 w 10000"/>
                <a:gd name="connsiteY74" fmla="*/ 2229 h 10000"/>
                <a:gd name="connsiteX75" fmla="*/ 872 w 10000"/>
                <a:gd name="connsiteY75" fmla="*/ 2373 h 10000"/>
                <a:gd name="connsiteX76" fmla="*/ 838 w 10000"/>
                <a:gd name="connsiteY76" fmla="*/ 2777 h 10000"/>
                <a:gd name="connsiteX77" fmla="*/ 417 w 10000"/>
                <a:gd name="connsiteY77" fmla="*/ 2673 h 10000"/>
                <a:gd name="connsiteX78" fmla="*/ 282 w 10000"/>
                <a:gd name="connsiteY78" fmla="*/ 2550 h 10000"/>
                <a:gd name="connsiteX79" fmla="*/ 332 w 10000"/>
                <a:gd name="connsiteY79" fmla="*/ 2622 h 10000"/>
                <a:gd name="connsiteX80" fmla="*/ 382 w 10000"/>
                <a:gd name="connsiteY80" fmla="*/ 2797 h 10000"/>
                <a:gd name="connsiteX81" fmla="*/ 461 w 10000"/>
                <a:gd name="connsiteY81" fmla="*/ 2921 h 10000"/>
                <a:gd name="connsiteX82" fmla="*/ 481 w 10000"/>
                <a:gd name="connsiteY82" fmla="*/ 3189 h 10000"/>
                <a:gd name="connsiteX83" fmla="*/ 585 w 10000"/>
                <a:gd name="connsiteY83" fmla="*/ 3313 h 10000"/>
                <a:gd name="connsiteX84" fmla="*/ 673 w 10000"/>
                <a:gd name="connsiteY84" fmla="*/ 3436 h 10000"/>
                <a:gd name="connsiteX85" fmla="*/ 699 w 10000"/>
                <a:gd name="connsiteY85" fmla="*/ 3467 h 10000"/>
                <a:gd name="connsiteX86" fmla="*/ 751 w 10000"/>
                <a:gd name="connsiteY86" fmla="*/ 3436 h 10000"/>
                <a:gd name="connsiteX87" fmla="*/ 730 w 10000"/>
                <a:gd name="connsiteY87" fmla="*/ 3364 h 10000"/>
                <a:gd name="connsiteX88" fmla="*/ 629 w 10000"/>
                <a:gd name="connsiteY88" fmla="*/ 3189 h 10000"/>
                <a:gd name="connsiteX89" fmla="*/ 926 w 10000"/>
                <a:gd name="connsiteY89" fmla="*/ 3344 h 10000"/>
                <a:gd name="connsiteX90" fmla="*/ 935 w 10000"/>
                <a:gd name="connsiteY90" fmla="*/ 3271 h 10000"/>
                <a:gd name="connsiteX91" fmla="*/ 906 w 10000"/>
                <a:gd name="connsiteY91" fmla="*/ 3220 h 10000"/>
                <a:gd name="connsiteX92" fmla="*/ 855 w 10000"/>
                <a:gd name="connsiteY92" fmla="*/ 2993 h 10000"/>
                <a:gd name="connsiteX93" fmla="*/ 1002 w 10000"/>
                <a:gd name="connsiteY93" fmla="*/ 2777 h 10000"/>
                <a:gd name="connsiteX94" fmla="*/ 1119 w 10000"/>
                <a:gd name="connsiteY94" fmla="*/ 2921 h 10000"/>
                <a:gd name="connsiteX95" fmla="*/ 1154 w 10000"/>
                <a:gd name="connsiteY95" fmla="*/ 2725 h 10000"/>
                <a:gd name="connsiteX96" fmla="*/ 1099 w 10000"/>
                <a:gd name="connsiteY96" fmla="*/ 2653 h 10000"/>
                <a:gd name="connsiteX97" fmla="*/ 1079 w 10000"/>
                <a:gd name="connsiteY97" fmla="*/ 2281 h 10000"/>
                <a:gd name="connsiteX98" fmla="*/ 1055 w 10000"/>
                <a:gd name="connsiteY98" fmla="*/ 2229 h 10000"/>
                <a:gd name="connsiteX99" fmla="*/ 1195 w 10000"/>
                <a:gd name="connsiteY99" fmla="*/ 2250 h 10000"/>
                <a:gd name="connsiteX100" fmla="*/ 1255 w 10000"/>
                <a:gd name="connsiteY100" fmla="*/ 2404 h 10000"/>
                <a:gd name="connsiteX101" fmla="*/ 1179 w 10000"/>
                <a:gd name="connsiteY101" fmla="*/ 2529 h 10000"/>
                <a:gd name="connsiteX102" fmla="*/ 1309 w 10000"/>
                <a:gd name="connsiteY102" fmla="*/ 2694 h 10000"/>
                <a:gd name="connsiteX103" fmla="*/ 1415 w 10000"/>
                <a:gd name="connsiteY103" fmla="*/ 2529 h 10000"/>
                <a:gd name="connsiteX104" fmla="*/ 1546 w 10000"/>
                <a:gd name="connsiteY104" fmla="*/ 2301 h 10000"/>
                <a:gd name="connsiteX105" fmla="*/ 1686 w 10000"/>
                <a:gd name="connsiteY105" fmla="*/ 2157 h 10000"/>
                <a:gd name="connsiteX106" fmla="*/ 1726 w 10000"/>
                <a:gd name="connsiteY106" fmla="*/ 2250 h 10000"/>
                <a:gd name="connsiteX107" fmla="*/ 2085 w 10000"/>
                <a:gd name="connsiteY107" fmla="*/ 2054 h 10000"/>
                <a:gd name="connsiteX108" fmla="*/ 2158 w 10000"/>
                <a:gd name="connsiteY108" fmla="*/ 2250 h 10000"/>
                <a:gd name="connsiteX109" fmla="*/ 2148 w 10000"/>
                <a:gd name="connsiteY109" fmla="*/ 2002 h 10000"/>
                <a:gd name="connsiteX110" fmla="*/ 2052 w 10000"/>
                <a:gd name="connsiteY110" fmla="*/ 1786 h 10000"/>
                <a:gd name="connsiteX111" fmla="*/ 2036 w 10000"/>
                <a:gd name="connsiteY111" fmla="*/ 1703 h 10000"/>
                <a:gd name="connsiteX112" fmla="*/ 2106 w 10000"/>
                <a:gd name="connsiteY112" fmla="*/ 1786 h 10000"/>
                <a:gd name="connsiteX113" fmla="*/ 2346 w 10000"/>
                <a:gd name="connsiteY113" fmla="*/ 1951 h 10000"/>
                <a:gd name="connsiteX114" fmla="*/ 2621 w 10000"/>
                <a:gd name="connsiteY114" fmla="*/ 2126 h 10000"/>
                <a:gd name="connsiteX115" fmla="*/ 2752 w 10000"/>
                <a:gd name="connsiteY115" fmla="*/ 2250 h 10000"/>
                <a:gd name="connsiteX116" fmla="*/ 2794 w 10000"/>
                <a:gd name="connsiteY116" fmla="*/ 2074 h 10000"/>
                <a:gd name="connsiteX117" fmla="*/ 2733 w 10000"/>
                <a:gd name="connsiteY117" fmla="*/ 2033 h 10000"/>
                <a:gd name="connsiteX118" fmla="*/ 2653 w 10000"/>
                <a:gd name="connsiteY118" fmla="*/ 1930 h 10000"/>
                <a:gd name="connsiteX119" fmla="*/ 2600 w 10000"/>
                <a:gd name="connsiteY119" fmla="*/ 1734 h 10000"/>
                <a:gd name="connsiteX120" fmla="*/ 2523 w 10000"/>
                <a:gd name="connsiteY120" fmla="*/ 1486 h 10000"/>
                <a:gd name="connsiteX121" fmla="*/ 2551 w 10000"/>
                <a:gd name="connsiteY121" fmla="*/ 1434 h 10000"/>
                <a:gd name="connsiteX122" fmla="*/ 2576 w 10000"/>
                <a:gd name="connsiteY122" fmla="*/ 1455 h 10000"/>
                <a:gd name="connsiteX123" fmla="*/ 2645 w 10000"/>
                <a:gd name="connsiteY123" fmla="*/ 1115 h 10000"/>
                <a:gd name="connsiteX124" fmla="*/ 2821 w 10000"/>
                <a:gd name="connsiteY124" fmla="*/ 1135 h 10000"/>
                <a:gd name="connsiteX125" fmla="*/ 2872 w 10000"/>
                <a:gd name="connsiteY125" fmla="*/ 1311 h 10000"/>
                <a:gd name="connsiteX126" fmla="*/ 2907 w 10000"/>
                <a:gd name="connsiteY126" fmla="*/ 1538 h 10000"/>
                <a:gd name="connsiteX127" fmla="*/ 2971 w 10000"/>
                <a:gd name="connsiteY127" fmla="*/ 1734 h 10000"/>
                <a:gd name="connsiteX128" fmla="*/ 3082 w 10000"/>
                <a:gd name="connsiteY128" fmla="*/ 2157 h 10000"/>
                <a:gd name="connsiteX129" fmla="*/ 2865 w 10000"/>
                <a:gd name="connsiteY129" fmla="*/ 2673 h 10000"/>
                <a:gd name="connsiteX130" fmla="*/ 2952 w 10000"/>
                <a:gd name="connsiteY130" fmla="*/ 2746 h 10000"/>
                <a:gd name="connsiteX131" fmla="*/ 3065 w 10000"/>
                <a:gd name="connsiteY131" fmla="*/ 2818 h 10000"/>
                <a:gd name="connsiteX132" fmla="*/ 3212 w 10000"/>
                <a:gd name="connsiteY132" fmla="*/ 2622 h 10000"/>
                <a:gd name="connsiteX133" fmla="*/ 3219 w 10000"/>
                <a:gd name="connsiteY133" fmla="*/ 2404 h 10000"/>
                <a:gd name="connsiteX134" fmla="*/ 3170 w 10000"/>
                <a:gd name="connsiteY134" fmla="*/ 2301 h 10000"/>
                <a:gd name="connsiteX135" fmla="*/ 3369 w 10000"/>
                <a:gd name="connsiteY135" fmla="*/ 2250 h 10000"/>
                <a:gd name="connsiteX136" fmla="*/ 3452 w 10000"/>
                <a:gd name="connsiteY136" fmla="*/ 2497 h 10000"/>
                <a:gd name="connsiteX137" fmla="*/ 3452 w 10000"/>
                <a:gd name="connsiteY137" fmla="*/ 2425 h 10000"/>
                <a:gd name="connsiteX138" fmla="*/ 3431 w 10000"/>
                <a:gd name="connsiteY138" fmla="*/ 2353 h 10000"/>
                <a:gd name="connsiteX139" fmla="*/ 3425 w 10000"/>
                <a:gd name="connsiteY139" fmla="*/ 2178 h 10000"/>
                <a:gd name="connsiteX140" fmla="*/ 3232 w 10000"/>
                <a:gd name="connsiteY140" fmla="*/ 1930 h 10000"/>
                <a:gd name="connsiteX141" fmla="*/ 3082 w 10000"/>
                <a:gd name="connsiteY141" fmla="*/ 2002 h 10000"/>
                <a:gd name="connsiteX142" fmla="*/ 3018 w 10000"/>
                <a:gd name="connsiteY142" fmla="*/ 1683 h 10000"/>
                <a:gd name="connsiteX143" fmla="*/ 2959 w 10000"/>
                <a:gd name="connsiteY143" fmla="*/ 1507 h 10000"/>
                <a:gd name="connsiteX144" fmla="*/ 3018 w 10000"/>
                <a:gd name="connsiteY144" fmla="*/ 1331 h 10000"/>
                <a:gd name="connsiteX145" fmla="*/ 3012 w 10000"/>
                <a:gd name="connsiteY145" fmla="*/ 1166 h 10000"/>
                <a:gd name="connsiteX146" fmla="*/ 2987 w 10000"/>
                <a:gd name="connsiteY146" fmla="*/ 1115 h 10000"/>
                <a:gd name="connsiteX147" fmla="*/ 3032 w 10000"/>
                <a:gd name="connsiteY147" fmla="*/ 1115 h 10000"/>
                <a:gd name="connsiteX148" fmla="*/ 3082 w 10000"/>
                <a:gd name="connsiteY148" fmla="*/ 1455 h 10000"/>
                <a:gd name="connsiteX149" fmla="*/ 3338 w 10000"/>
                <a:gd name="connsiteY149" fmla="*/ 1662 h 10000"/>
                <a:gd name="connsiteX150" fmla="*/ 3144 w 10000"/>
                <a:gd name="connsiteY150" fmla="*/ 1383 h 10000"/>
                <a:gd name="connsiteX151" fmla="*/ 3520 w 10000"/>
                <a:gd name="connsiteY151" fmla="*/ 1383 h 10000"/>
                <a:gd name="connsiteX152" fmla="*/ 3580 w 10000"/>
                <a:gd name="connsiteY152" fmla="*/ 1362 h 10000"/>
                <a:gd name="connsiteX153" fmla="*/ 3344 w 10000"/>
                <a:gd name="connsiteY153" fmla="*/ 1115 h 10000"/>
                <a:gd name="connsiteX154" fmla="*/ 3406 w 10000"/>
                <a:gd name="connsiteY154" fmla="*/ 888 h 10000"/>
                <a:gd name="connsiteX155" fmla="*/ 3668 w 10000"/>
                <a:gd name="connsiteY155" fmla="*/ 888 h 10000"/>
                <a:gd name="connsiteX156" fmla="*/ 3643 w 10000"/>
                <a:gd name="connsiteY156" fmla="*/ 713 h 10000"/>
                <a:gd name="connsiteX157" fmla="*/ 3730 w 10000"/>
                <a:gd name="connsiteY157" fmla="*/ 589 h 10000"/>
                <a:gd name="connsiteX158" fmla="*/ 3782 w 10000"/>
                <a:gd name="connsiteY158" fmla="*/ 548 h 10000"/>
                <a:gd name="connsiteX159" fmla="*/ 3976 w 10000"/>
                <a:gd name="connsiteY159" fmla="*/ 423 h 10000"/>
                <a:gd name="connsiteX160" fmla="*/ 4024 w 10000"/>
                <a:gd name="connsiteY160" fmla="*/ 371 h 10000"/>
                <a:gd name="connsiteX161" fmla="*/ 4017 w 10000"/>
                <a:gd name="connsiteY161" fmla="*/ 444 h 10000"/>
                <a:gd name="connsiteX162" fmla="*/ 4226 w 10000"/>
                <a:gd name="connsiteY162" fmla="*/ 371 h 10000"/>
                <a:gd name="connsiteX163" fmla="*/ 4393 w 10000"/>
                <a:gd name="connsiteY163" fmla="*/ 248 h 10000"/>
                <a:gd name="connsiteX164" fmla="*/ 4419 w 10000"/>
                <a:gd name="connsiteY164" fmla="*/ 0 h 10000"/>
                <a:gd name="connsiteX165" fmla="*/ 4604 w 10000"/>
                <a:gd name="connsiteY165" fmla="*/ 21 h 10000"/>
                <a:gd name="connsiteX166" fmla="*/ 4592 w 10000"/>
                <a:gd name="connsiteY166" fmla="*/ 93 h 10000"/>
                <a:gd name="connsiteX167" fmla="*/ 4604 w 10000"/>
                <a:gd name="connsiteY167" fmla="*/ 176 h 10000"/>
                <a:gd name="connsiteX168" fmla="*/ 4715 w 10000"/>
                <a:gd name="connsiteY168" fmla="*/ 248 h 10000"/>
                <a:gd name="connsiteX169" fmla="*/ 5055 w 10000"/>
                <a:gd name="connsiteY169" fmla="*/ 268 h 10000"/>
                <a:gd name="connsiteX170" fmla="*/ 5238 w 10000"/>
                <a:gd name="connsiteY170" fmla="*/ 392 h 10000"/>
                <a:gd name="connsiteX171" fmla="*/ 5178 w 10000"/>
                <a:gd name="connsiteY171" fmla="*/ 795 h 10000"/>
                <a:gd name="connsiteX172" fmla="*/ 5111 w 10000"/>
                <a:gd name="connsiteY172" fmla="*/ 919 h 10000"/>
                <a:gd name="connsiteX173" fmla="*/ 5027 w 10000"/>
                <a:gd name="connsiteY173" fmla="*/ 1043 h 10000"/>
                <a:gd name="connsiteX174" fmla="*/ 5047 w 10000"/>
                <a:gd name="connsiteY174" fmla="*/ 1115 h 10000"/>
                <a:gd name="connsiteX175" fmla="*/ 5290 w 10000"/>
                <a:gd name="connsiteY175" fmla="*/ 919 h 10000"/>
                <a:gd name="connsiteX176" fmla="*/ 5840 w 10000"/>
                <a:gd name="connsiteY176" fmla="*/ 991 h 10000"/>
                <a:gd name="connsiteX177" fmla="*/ 5897 w 10000"/>
                <a:gd name="connsiteY177" fmla="*/ 1063 h 10000"/>
                <a:gd name="connsiteX178" fmla="*/ 6016 w 10000"/>
                <a:gd name="connsiteY178" fmla="*/ 1187 h 10000"/>
                <a:gd name="connsiteX179" fmla="*/ 6183 w 10000"/>
                <a:gd name="connsiteY179" fmla="*/ 919 h 10000"/>
                <a:gd name="connsiteX180" fmla="*/ 6439 w 10000"/>
                <a:gd name="connsiteY180" fmla="*/ 1063 h 10000"/>
                <a:gd name="connsiteX181" fmla="*/ 6513 w 10000"/>
                <a:gd name="connsiteY181" fmla="*/ 1115 h 10000"/>
                <a:gd name="connsiteX182" fmla="*/ 6576 w 10000"/>
                <a:gd name="connsiteY182" fmla="*/ 1166 h 10000"/>
                <a:gd name="connsiteX183" fmla="*/ 6822 w 10000"/>
                <a:gd name="connsiteY183" fmla="*/ 1631 h 10000"/>
                <a:gd name="connsiteX184" fmla="*/ 6909 w 10000"/>
                <a:gd name="connsiteY184" fmla="*/ 1611 h 10000"/>
                <a:gd name="connsiteX185" fmla="*/ 6899 w 10000"/>
                <a:gd name="connsiteY185" fmla="*/ 1507 h 10000"/>
                <a:gd name="connsiteX186" fmla="*/ 6909 w 10000"/>
                <a:gd name="connsiteY186" fmla="*/ 1383 h 10000"/>
                <a:gd name="connsiteX187" fmla="*/ 7031 w 10000"/>
                <a:gd name="connsiteY187" fmla="*/ 1486 h 10000"/>
                <a:gd name="connsiteX188" fmla="*/ 7231 w 10000"/>
                <a:gd name="connsiteY188" fmla="*/ 1507 h 10000"/>
                <a:gd name="connsiteX189" fmla="*/ 7400 w 10000"/>
                <a:gd name="connsiteY189" fmla="*/ 1455 h 10000"/>
                <a:gd name="connsiteX190" fmla="*/ 7320 w 10000"/>
                <a:gd name="connsiteY190" fmla="*/ 1362 h 10000"/>
                <a:gd name="connsiteX191" fmla="*/ 7423 w 10000"/>
                <a:gd name="connsiteY191" fmla="*/ 1084 h 10000"/>
                <a:gd name="connsiteX192" fmla="*/ 7719 w 10000"/>
                <a:gd name="connsiteY192" fmla="*/ 1207 h 10000"/>
                <a:gd name="connsiteX193" fmla="*/ 8017 w 10000"/>
                <a:gd name="connsiteY193" fmla="*/ 1331 h 10000"/>
                <a:gd name="connsiteX194" fmla="*/ 8043 w 10000"/>
                <a:gd name="connsiteY194" fmla="*/ 1362 h 10000"/>
                <a:gd name="connsiteX195" fmla="*/ 8303 w 10000"/>
                <a:gd name="connsiteY195" fmla="*/ 1611 h 10000"/>
                <a:gd name="connsiteX196" fmla="*/ 8503 w 10000"/>
                <a:gd name="connsiteY196" fmla="*/ 1507 h 10000"/>
                <a:gd name="connsiteX197" fmla="*/ 8753 w 10000"/>
                <a:gd name="connsiteY197" fmla="*/ 1538 h 10000"/>
                <a:gd name="connsiteX198" fmla="*/ 8839 w 10000"/>
                <a:gd name="connsiteY198" fmla="*/ 1611 h 10000"/>
                <a:gd name="connsiteX199" fmla="*/ 9152 w 10000"/>
                <a:gd name="connsiteY199" fmla="*/ 1930 h 10000"/>
                <a:gd name="connsiteX200" fmla="*/ 9503 w 10000"/>
                <a:gd name="connsiteY200" fmla="*/ 1879 h 10000"/>
                <a:gd name="connsiteX201" fmla="*/ 9626 w 10000"/>
                <a:gd name="connsiteY201" fmla="*/ 2033 h 10000"/>
                <a:gd name="connsiteX202" fmla="*/ 9801 w 10000"/>
                <a:gd name="connsiteY202" fmla="*/ 2157 h 10000"/>
                <a:gd name="connsiteX203" fmla="*/ 9835 w 10000"/>
                <a:gd name="connsiteY203" fmla="*/ 2105 h 10000"/>
                <a:gd name="connsiteX204" fmla="*/ 9809 w 10000"/>
                <a:gd name="connsiteY204" fmla="*/ 2074 h 10000"/>
                <a:gd name="connsiteX205" fmla="*/ 9677 w 10000"/>
                <a:gd name="connsiteY205" fmla="*/ 1930 h 10000"/>
                <a:gd name="connsiteX206" fmla="*/ 10000 w 10000"/>
                <a:gd name="connsiteY206" fmla="*/ 1910 h 10000"/>
                <a:gd name="connsiteX0" fmla="*/ 1859 w 10000"/>
                <a:gd name="connsiteY0" fmla="*/ 7183 h 10000"/>
                <a:gd name="connsiteX1" fmla="*/ 1909 w 10000"/>
                <a:gd name="connsiteY1" fmla="*/ 7430 h 10000"/>
                <a:gd name="connsiteX2" fmla="*/ 1851 w 10000"/>
                <a:gd name="connsiteY2" fmla="*/ 7430 h 10000"/>
                <a:gd name="connsiteX3" fmla="*/ 1790 w 10000"/>
                <a:gd name="connsiteY3" fmla="*/ 7255 h 10000"/>
                <a:gd name="connsiteX4" fmla="*/ 1745 w 10000"/>
                <a:gd name="connsiteY4" fmla="*/ 7430 h 10000"/>
                <a:gd name="connsiteX5" fmla="*/ 1754 w 10000"/>
                <a:gd name="connsiteY5" fmla="*/ 7854 h 10000"/>
                <a:gd name="connsiteX6" fmla="*/ 1851 w 10000"/>
                <a:gd name="connsiteY6" fmla="*/ 8070 h 10000"/>
                <a:gd name="connsiteX7" fmla="*/ 1902 w 10000"/>
                <a:gd name="connsiteY7" fmla="*/ 8019 h 10000"/>
                <a:gd name="connsiteX8" fmla="*/ 2011 w 10000"/>
                <a:gd name="connsiteY8" fmla="*/ 8493 h 10000"/>
                <a:gd name="connsiteX9" fmla="*/ 1859 w 10000"/>
                <a:gd name="connsiteY9" fmla="*/ 8669 h 10000"/>
                <a:gd name="connsiteX10" fmla="*/ 1841 w 10000"/>
                <a:gd name="connsiteY10" fmla="*/ 9009 h 10000"/>
                <a:gd name="connsiteX11" fmla="*/ 1921 w 10000"/>
                <a:gd name="connsiteY11" fmla="*/ 9236 h 10000"/>
                <a:gd name="connsiteX12" fmla="*/ 1921 w 10000"/>
                <a:gd name="connsiteY12" fmla="*/ 9484 h 10000"/>
                <a:gd name="connsiteX13" fmla="*/ 2043 w 10000"/>
                <a:gd name="connsiteY13" fmla="*/ 9835 h 10000"/>
                <a:gd name="connsiteX14" fmla="*/ 1967 w 10000"/>
                <a:gd name="connsiteY14" fmla="*/ 10000 h 10000"/>
                <a:gd name="connsiteX15" fmla="*/ 1851 w 10000"/>
                <a:gd name="connsiteY15" fmla="*/ 9753 h 10000"/>
                <a:gd name="connsiteX16" fmla="*/ 1693 w 10000"/>
                <a:gd name="connsiteY16" fmla="*/ 9505 h 10000"/>
                <a:gd name="connsiteX17" fmla="*/ 1624 w 10000"/>
                <a:gd name="connsiteY17" fmla="*/ 9588 h 10000"/>
                <a:gd name="connsiteX18" fmla="*/ 1509 w 10000"/>
                <a:gd name="connsiteY18" fmla="*/ 9380 h 10000"/>
                <a:gd name="connsiteX19" fmla="*/ 1267 w 10000"/>
                <a:gd name="connsiteY19" fmla="*/ 9339 h 10000"/>
                <a:gd name="connsiteX20" fmla="*/ 978 w 10000"/>
                <a:gd name="connsiteY20" fmla="*/ 8813 h 10000"/>
                <a:gd name="connsiteX21" fmla="*/ 1055 w 10000"/>
                <a:gd name="connsiteY21" fmla="*/ 8721 h 10000"/>
                <a:gd name="connsiteX22" fmla="*/ 1111 w 10000"/>
                <a:gd name="connsiteY22" fmla="*/ 8493 h 10000"/>
                <a:gd name="connsiteX23" fmla="*/ 1049 w 10000"/>
                <a:gd name="connsiteY23" fmla="*/ 8390 h 10000"/>
                <a:gd name="connsiteX24" fmla="*/ 1179 w 10000"/>
                <a:gd name="connsiteY24" fmla="*/ 8245 h 10000"/>
                <a:gd name="connsiteX25" fmla="*/ 1091 w 10000"/>
                <a:gd name="connsiteY25" fmla="*/ 8194 h 10000"/>
                <a:gd name="connsiteX26" fmla="*/ 1107 w 10000"/>
                <a:gd name="connsiteY26" fmla="*/ 8091 h 10000"/>
                <a:gd name="connsiteX27" fmla="*/ 1160 w 10000"/>
                <a:gd name="connsiteY27" fmla="*/ 8111 h 10000"/>
                <a:gd name="connsiteX28" fmla="*/ 1224 w 10000"/>
                <a:gd name="connsiteY28" fmla="*/ 8019 h 10000"/>
                <a:gd name="connsiteX29" fmla="*/ 1192 w 10000"/>
                <a:gd name="connsiteY29" fmla="*/ 7864 h 10000"/>
                <a:gd name="connsiteX30" fmla="*/ 1205 w 10000"/>
                <a:gd name="connsiteY30" fmla="*/ 7503 h 10000"/>
                <a:gd name="connsiteX31" fmla="*/ 1072 w 10000"/>
                <a:gd name="connsiteY31" fmla="*/ 7440 h 10000"/>
                <a:gd name="connsiteX32" fmla="*/ 959 w 10000"/>
                <a:gd name="connsiteY32" fmla="*/ 7286 h 10000"/>
                <a:gd name="connsiteX33" fmla="*/ 808 w 10000"/>
                <a:gd name="connsiteY33" fmla="*/ 7275 h 10000"/>
                <a:gd name="connsiteX34" fmla="*/ 788 w 10000"/>
                <a:gd name="connsiteY34" fmla="*/ 7090 h 10000"/>
                <a:gd name="connsiteX35" fmla="*/ 689 w 10000"/>
                <a:gd name="connsiteY35" fmla="*/ 6945 h 10000"/>
                <a:gd name="connsiteX36" fmla="*/ 710 w 10000"/>
                <a:gd name="connsiteY36" fmla="*/ 6822 h 10000"/>
                <a:gd name="connsiteX37" fmla="*/ 648 w 10000"/>
                <a:gd name="connsiteY37" fmla="*/ 6698 h 10000"/>
                <a:gd name="connsiteX38" fmla="*/ 527 w 10000"/>
                <a:gd name="connsiteY38" fmla="*/ 6698 h 10000"/>
                <a:gd name="connsiteX39" fmla="*/ 491 w 10000"/>
                <a:gd name="connsiteY39" fmla="*/ 6791 h 10000"/>
                <a:gd name="connsiteX40" fmla="*/ 461 w 10000"/>
                <a:gd name="connsiteY40" fmla="*/ 6750 h 10000"/>
                <a:gd name="connsiteX41" fmla="*/ 436 w 10000"/>
                <a:gd name="connsiteY41" fmla="*/ 6439 h 10000"/>
                <a:gd name="connsiteX42" fmla="*/ 485 w 10000"/>
                <a:gd name="connsiteY42" fmla="*/ 6470 h 10000"/>
                <a:gd name="connsiteX43" fmla="*/ 538 w 10000"/>
                <a:gd name="connsiteY43" fmla="*/ 6347 h 10000"/>
                <a:gd name="connsiteX44" fmla="*/ 461 w 10000"/>
                <a:gd name="connsiteY44" fmla="*/ 6233 h 10000"/>
                <a:gd name="connsiteX45" fmla="*/ 364 w 10000"/>
                <a:gd name="connsiteY45" fmla="*/ 6017 h 10000"/>
                <a:gd name="connsiteX46" fmla="*/ 385 w 10000"/>
                <a:gd name="connsiteY46" fmla="*/ 5821 h 10000"/>
                <a:gd name="connsiteX47" fmla="*/ 315 w 10000"/>
                <a:gd name="connsiteY47" fmla="*/ 5697 h 10000"/>
                <a:gd name="connsiteX48" fmla="*/ 261 w 10000"/>
                <a:gd name="connsiteY48" fmla="*/ 5728 h 10000"/>
                <a:gd name="connsiteX49" fmla="*/ 232 w 10000"/>
                <a:gd name="connsiteY49" fmla="*/ 5604 h 10000"/>
                <a:gd name="connsiteX50" fmla="*/ 189 w 10000"/>
                <a:gd name="connsiteY50" fmla="*/ 5645 h 10000"/>
                <a:gd name="connsiteX51" fmla="*/ 134 w 10000"/>
                <a:gd name="connsiteY51" fmla="*/ 5604 h 10000"/>
                <a:gd name="connsiteX52" fmla="*/ 80 w 10000"/>
                <a:gd name="connsiteY52" fmla="*/ 5181 h 10000"/>
                <a:gd name="connsiteX53" fmla="*/ 99 w 10000"/>
                <a:gd name="connsiteY53" fmla="*/ 5057 h 10000"/>
                <a:gd name="connsiteX54" fmla="*/ 45 w 10000"/>
                <a:gd name="connsiteY54" fmla="*/ 4892 h 10000"/>
                <a:gd name="connsiteX55" fmla="*/ 76 w 10000"/>
                <a:gd name="connsiteY55" fmla="*/ 4655 h 10000"/>
                <a:gd name="connsiteX56" fmla="*/ 244 w 10000"/>
                <a:gd name="connsiteY56" fmla="*/ 4510 h 10000"/>
                <a:gd name="connsiteX57" fmla="*/ 149 w 10000"/>
                <a:gd name="connsiteY57" fmla="*/ 4406 h 10000"/>
                <a:gd name="connsiteX58" fmla="*/ 96 w 10000"/>
                <a:gd name="connsiteY58" fmla="*/ 4283 h 10000"/>
                <a:gd name="connsiteX59" fmla="*/ 236 w 10000"/>
                <a:gd name="connsiteY59" fmla="*/ 3912 h 10000"/>
                <a:gd name="connsiteX60" fmla="*/ 289 w 10000"/>
                <a:gd name="connsiteY60" fmla="*/ 3664 h 10000"/>
                <a:gd name="connsiteX61" fmla="*/ 175 w 10000"/>
                <a:gd name="connsiteY61" fmla="*/ 3488 h 10000"/>
                <a:gd name="connsiteX62" fmla="*/ 219 w 10000"/>
                <a:gd name="connsiteY62" fmla="*/ 3344 h 10000"/>
                <a:gd name="connsiteX63" fmla="*/ 129 w 10000"/>
                <a:gd name="connsiteY63" fmla="*/ 3148 h 10000"/>
                <a:gd name="connsiteX64" fmla="*/ 129 w 10000"/>
                <a:gd name="connsiteY64" fmla="*/ 2972 h 10000"/>
                <a:gd name="connsiteX65" fmla="*/ 70 w 10000"/>
                <a:gd name="connsiteY65" fmla="*/ 2622 h 10000"/>
                <a:gd name="connsiteX66" fmla="*/ 114 w 10000"/>
                <a:gd name="connsiteY66" fmla="*/ 2404 h 10000"/>
                <a:gd name="connsiteX67" fmla="*/ 42 w 10000"/>
                <a:gd name="connsiteY67" fmla="*/ 2301 h 10000"/>
                <a:gd name="connsiteX68" fmla="*/ 0 w 10000"/>
                <a:gd name="connsiteY68" fmla="*/ 2178 h 10000"/>
                <a:gd name="connsiteX69" fmla="*/ 63 w 10000"/>
                <a:gd name="connsiteY69" fmla="*/ 1951 h 10000"/>
                <a:gd name="connsiteX70" fmla="*/ 137 w 10000"/>
                <a:gd name="connsiteY70" fmla="*/ 1910 h 10000"/>
                <a:gd name="connsiteX71" fmla="*/ 225 w 10000"/>
                <a:gd name="connsiteY71" fmla="*/ 1858 h 10000"/>
                <a:gd name="connsiteX72" fmla="*/ 357 w 10000"/>
                <a:gd name="connsiteY72" fmla="*/ 1951 h 10000"/>
                <a:gd name="connsiteX73" fmla="*/ 556 w 10000"/>
                <a:gd name="connsiteY73" fmla="*/ 2054 h 10000"/>
                <a:gd name="connsiteX74" fmla="*/ 730 w 10000"/>
                <a:gd name="connsiteY74" fmla="*/ 2229 h 10000"/>
                <a:gd name="connsiteX75" fmla="*/ 872 w 10000"/>
                <a:gd name="connsiteY75" fmla="*/ 2373 h 10000"/>
                <a:gd name="connsiteX76" fmla="*/ 838 w 10000"/>
                <a:gd name="connsiteY76" fmla="*/ 2777 h 10000"/>
                <a:gd name="connsiteX77" fmla="*/ 417 w 10000"/>
                <a:gd name="connsiteY77" fmla="*/ 2673 h 10000"/>
                <a:gd name="connsiteX78" fmla="*/ 282 w 10000"/>
                <a:gd name="connsiteY78" fmla="*/ 2550 h 10000"/>
                <a:gd name="connsiteX79" fmla="*/ 332 w 10000"/>
                <a:gd name="connsiteY79" fmla="*/ 2622 h 10000"/>
                <a:gd name="connsiteX80" fmla="*/ 382 w 10000"/>
                <a:gd name="connsiteY80" fmla="*/ 2797 h 10000"/>
                <a:gd name="connsiteX81" fmla="*/ 461 w 10000"/>
                <a:gd name="connsiteY81" fmla="*/ 2921 h 10000"/>
                <a:gd name="connsiteX82" fmla="*/ 481 w 10000"/>
                <a:gd name="connsiteY82" fmla="*/ 3189 h 10000"/>
                <a:gd name="connsiteX83" fmla="*/ 585 w 10000"/>
                <a:gd name="connsiteY83" fmla="*/ 3313 h 10000"/>
                <a:gd name="connsiteX84" fmla="*/ 673 w 10000"/>
                <a:gd name="connsiteY84" fmla="*/ 3436 h 10000"/>
                <a:gd name="connsiteX85" fmla="*/ 699 w 10000"/>
                <a:gd name="connsiteY85" fmla="*/ 3467 h 10000"/>
                <a:gd name="connsiteX86" fmla="*/ 751 w 10000"/>
                <a:gd name="connsiteY86" fmla="*/ 3436 h 10000"/>
                <a:gd name="connsiteX87" fmla="*/ 730 w 10000"/>
                <a:gd name="connsiteY87" fmla="*/ 3364 h 10000"/>
                <a:gd name="connsiteX88" fmla="*/ 629 w 10000"/>
                <a:gd name="connsiteY88" fmla="*/ 3189 h 10000"/>
                <a:gd name="connsiteX89" fmla="*/ 926 w 10000"/>
                <a:gd name="connsiteY89" fmla="*/ 3344 h 10000"/>
                <a:gd name="connsiteX90" fmla="*/ 935 w 10000"/>
                <a:gd name="connsiteY90" fmla="*/ 3271 h 10000"/>
                <a:gd name="connsiteX91" fmla="*/ 906 w 10000"/>
                <a:gd name="connsiteY91" fmla="*/ 3220 h 10000"/>
                <a:gd name="connsiteX92" fmla="*/ 855 w 10000"/>
                <a:gd name="connsiteY92" fmla="*/ 2993 h 10000"/>
                <a:gd name="connsiteX93" fmla="*/ 1002 w 10000"/>
                <a:gd name="connsiteY93" fmla="*/ 2777 h 10000"/>
                <a:gd name="connsiteX94" fmla="*/ 1119 w 10000"/>
                <a:gd name="connsiteY94" fmla="*/ 2921 h 10000"/>
                <a:gd name="connsiteX95" fmla="*/ 1154 w 10000"/>
                <a:gd name="connsiteY95" fmla="*/ 2725 h 10000"/>
                <a:gd name="connsiteX96" fmla="*/ 1099 w 10000"/>
                <a:gd name="connsiteY96" fmla="*/ 2653 h 10000"/>
                <a:gd name="connsiteX97" fmla="*/ 1079 w 10000"/>
                <a:gd name="connsiteY97" fmla="*/ 2281 h 10000"/>
                <a:gd name="connsiteX98" fmla="*/ 1055 w 10000"/>
                <a:gd name="connsiteY98" fmla="*/ 2229 h 10000"/>
                <a:gd name="connsiteX99" fmla="*/ 1195 w 10000"/>
                <a:gd name="connsiteY99" fmla="*/ 2250 h 10000"/>
                <a:gd name="connsiteX100" fmla="*/ 1255 w 10000"/>
                <a:gd name="connsiteY100" fmla="*/ 2404 h 10000"/>
                <a:gd name="connsiteX101" fmla="*/ 1179 w 10000"/>
                <a:gd name="connsiteY101" fmla="*/ 2529 h 10000"/>
                <a:gd name="connsiteX102" fmla="*/ 1309 w 10000"/>
                <a:gd name="connsiteY102" fmla="*/ 2694 h 10000"/>
                <a:gd name="connsiteX103" fmla="*/ 1415 w 10000"/>
                <a:gd name="connsiteY103" fmla="*/ 2529 h 10000"/>
                <a:gd name="connsiteX104" fmla="*/ 1546 w 10000"/>
                <a:gd name="connsiteY104" fmla="*/ 2301 h 10000"/>
                <a:gd name="connsiteX105" fmla="*/ 1686 w 10000"/>
                <a:gd name="connsiteY105" fmla="*/ 2157 h 10000"/>
                <a:gd name="connsiteX106" fmla="*/ 1726 w 10000"/>
                <a:gd name="connsiteY106" fmla="*/ 2250 h 10000"/>
                <a:gd name="connsiteX107" fmla="*/ 2085 w 10000"/>
                <a:gd name="connsiteY107" fmla="*/ 2054 h 10000"/>
                <a:gd name="connsiteX108" fmla="*/ 2158 w 10000"/>
                <a:gd name="connsiteY108" fmla="*/ 2250 h 10000"/>
                <a:gd name="connsiteX109" fmla="*/ 2148 w 10000"/>
                <a:gd name="connsiteY109" fmla="*/ 2002 h 10000"/>
                <a:gd name="connsiteX110" fmla="*/ 2052 w 10000"/>
                <a:gd name="connsiteY110" fmla="*/ 1786 h 10000"/>
                <a:gd name="connsiteX111" fmla="*/ 2036 w 10000"/>
                <a:gd name="connsiteY111" fmla="*/ 1703 h 10000"/>
                <a:gd name="connsiteX112" fmla="*/ 2106 w 10000"/>
                <a:gd name="connsiteY112" fmla="*/ 1786 h 10000"/>
                <a:gd name="connsiteX113" fmla="*/ 2346 w 10000"/>
                <a:gd name="connsiteY113" fmla="*/ 1951 h 10000"/>
                <a:gd name="connsiteX114" fmla="*/ 2621 w 10000"/>
                <a:gd name="connsiteY114" fmla="*/ 2126 h 10000"/>
                <a:gd name="connsiteX115" fmla="*/ 2752 w 10000"/>
                <a:gd name="connsiteY115" fmla="*/ 2250 h 10000"/>
                <a:gd name="connsiteX116" fmla="*/ 2794 w 10000"/>
                <a:gd name="connsiteY116" fmla="*/ 2074 h 10000"/>
                <a:gd name="connsiteX117" fmla="*/ 2733 w 10000"/>
                <a:gd name="connsiteY117" fmla="*/ 2033 h 10000"/>
                <a:gd name="connsiteX118" fmla="*/ 2653 w 10000"/>
                <a:gd name="connsiteY118" fmla="*/ 1930 h 10000"/>
                <a:gd name="connsiteX119" fmla="*/ 2600 w 10000"/>
                <a:gd name="connsiteY119" fmla="*/ 1734 h 10000"/>
                <a:gd name="connsiteX120" fmla="*/ 2523 w 10000"/>
                <a:gd name="connsiteY120" fmla="*/ 1486 h 10000"/>
                <a:gd name="connsiteX121" fmla="*/ 2551 w 10000"/>
                <a:gd name="connsiteY121" fmla="*/ 1434 h 10000"/>
                <a:gd name="connsiteX122" fmla="*/ 2576 w 10000"/>
                <a:gd name="connsiteY122" fmla="*/ 1455 h 10000"/>
                <a:gd name="connsiteX123" fmla="*/ 2645 w 10000"/>
                <a:gd name="connsiteY123" fmla="*/ 1115 h 10000"/>
                <a:gd name="connsiteX124" fmla="*/ 2821 w 10000"/>
                <a:gd name="connsiteY124" fmla="*/ 1135 h 10000"/>
                <a:gd name="connsiteX125" fmla="*/ 2872 w 10000"/>
                <a:gd name="connsiteY125" fmla="*/ 1311 h 10000"/>
                <a:gd name="connsiteX126" fmla="*/ 2907 w 10000"/>
                <a:gd name="connsiteY126" fmla="*/ 1538 h 10000"/>
                <a:gd name="connsiteX127" fmla="*/ 2971 w 10000"/>
                <a:gd name="connsiteY127" fmla="*/ 1734 h 10000"/>
                <a:gd name="connsiteX128" fmla="*/ 3082 w 10000"/>
                <a:gd name="connsiteY128" fmla="*/ 2157 h 10000"/>
                <a:gd name="connsiteX129" fmla="*/ 2865 w 10000"/>
                <a:gd name="connsiteY129" fmla="*/ 2673 h 10000"/>
                <a:gd name="connsiteX130" fmla="*/ 2952 w 10000"/>
                <a:gd name="connsiteY130" fmla="*/ 2746 h 10000"/>
                <a:gd name="connsiteX131" fmla="*/ 3065 w 10000"/>
                <a:gd name="connsiteY131" fmla="*/ 2818 h 10000"/>
                <a:gd name="connsiteX132" fmla="*/ 3212 w 10000"/>
                <a:gd name="connsiteY132" fmla="*/ 2622 h 10000"/>
                <a:gd name="connsiteX133" fmla="*/ 3219 w 10000"/>
                <a:gd name="connsiteY133" fmla="*/ 2404 h 10000"/>
                <a:gd name="connsiteX134" fmla="*/ 3170 w 10000"/>
                <a:gd name="connsiteY134" fmla="*/ 2301 h 10000"/>
                <a:gd name="connsiteX135" fmla="*/ 3369 w 10000"/>
                <a:gd name="connsiteY135" fmla="*/ 2250 h 10000"/>
                <a:gd name="connsiteX136" fmla="*/ 3452 w 10000"/>
                <a:gd name="connsiteY136" fmla="*/ 2497 h 10000"/>
                <a:gd name="connsiteX137" fmla="*/ 3452 w 10000"/>
                <a:gd name="connsiteY137" fmla="*/ 2425 h 10000"/>
                <a:gd name="connsiteX138" fmla="*/ 3431 w 10000"/>
                <a:gd name="connsiteY138" fmla="*/ 2353 h 10000"/>
                <a:gd name="connsiteX139" fmla="*/ 3425 w 10000"/>
                <a:gd name="connsiteY139" fmla="*/ 2178 h 10000"/>
                <a:gd name="connsiteX140" fmla="*/ 3232 w 10000"/>
                <a:gd name="connsiteY140" fmla="*/ 1930 h 10000"/>
                <a:gd name="connsiteX141" fmla="*/ 3082 w 10000"/>
                <a:gd name="connsiteY141" fmla="*/ 2002 h 10000"/>
                <a:gd name="connsiteX142" fmla="*/ 3018 w 10000"/>
                <a:gd name="connsiteY142" fmla="*/ 1683 h 10000"/>
                <a:gd name="connsiteX143" fmla="*/ 2959 w 10000"/>
                <a:gd name="connsiteY143" fmla="*/ 1507 h 10000"/>
                <a:gd name="connsiteX144" fmla="*/ 3018 w 10000"/>
                <a:gd name="connsiteY144" fmla="*/ 1331 h 10000"/>
                <a:gd name="connsiteX145" fmla="*/ 3012 w 10000"/>
                <a:gd name="connsiteY145" fmla="*/ 1166 h 10000"/>
                <a:gd name="connsiteX146" fmla="*/ 2987 w 10000"/>
                <a:gd name="connsiteY146" fmla="*/ 1115 h 10000"/>
                <a:gd name="connsiteX147" fmla="*/ 3032 w 10000"/>
                <a:gd name="connsiteY147" fmla="*/ 1115 h 10000"/>
                <a:gd name="connsiteX148" fmla="*/ 3082 w 10000"/>
                <a:gd name="connsiteY148" fmla="*/ 1455 h 10000"/>
                <a:gd name="connsiteX149" fmla="*/ 3338 w 10000"/>
                <a:gd name="connsiteY149" fmla="*/ 1662 h 10000"/>
                <a:gd name="connsiteX150" fmla="*/ 3144 w 10000"/>
                <a:gd name="connsiteY150" fmla="*/ 1383 h 10000"/>
                <a:gd name="connsiteX151" fmla="*/ 3520 w 10000"/>
                <a:gd name="connsiteY151" fmla="*/ 1383 h 10000"/>
                <a:gd name="connsiteX152" fmla="*/ 3580 w 10000"/>
                <a:gd name="connsiteY152" fmla="*/ 1362 h 10000"/>
                <a:gd name="connsiteX153" fmla="*/ 3344 w 10000"/>
                <a:gd name="connsiteY153" fmla="*/ 1115 h 10000"/>
                <a:gd name="connsiteX154" fmla="*/ 3406 w 10000"/>
                <a:gd name="connsiteY154" fmla="*/ 888 h 10000"/>
                <a:gd name="connsiteX155" fmla="*/ 3668 w 10000"/>
                <a:gd name="connsiteY155" fmla="*/ 888 h 10000"/>
                <a:gd name="connsiteX156" fmla="*/ 3643 w 10000"/>
                <a:gd name="connsiteY156" fmla="*/ 713 h 10000"/>
                <a:gd name="connsiteX157" fmla="*/ 3730 w 10000"/>
                <a:gd name="connsiteY157" fmla="*/ 589 h 10000"/>
                <a:gd name="connsiteX158" fmla="*/ 3782 w 10000"/>
                <a:gd name="connsiteY158" fmla="*/ 548 h 10000"/>
                <a:gd name="connsiteX159" fmla="*/ 3976 w 10000"/>
                <a:gd name="connsiteY159" fmla="*/ 423 h 10000"/>
                <a:gd name="connsiteX160" fmla="*/ 4024 w 10000"/>
                <a:gd name="connsiteY160" fmla="*/ 371 h 10000"/>
                <a:gd name="connsiteX161" fmla="*/ 4017 w 10000"/>
                <a:gd name="connsiteY161" fmla="*/ 444 h 10000"/>
                <a:gd name="connsiteX162" fmla="*/ 4226 w 10000"/>
                <a:gd name="connsiteY162" fmla="*/ 371 h 10000"/>
                <a:gd name="connsiteX163" fmla="*/ 4393 w 10000"/>
                <a:gd name="connsiteY163" fmla="*/ 248 h 10000"/>
                <a:gd name="connsiteX164" fmla="*/ 4419 w 10000"/>
                <a:gd name="connsiteY164" fmla="*/ 0 h 10000"/>
                <a:gd name="connsiteX165" fmla="*/ 4604 w 10000"/>
                <a:gd name="connsiteY165" fmla="*/ 21 h 10000"/>
                <a:gd name="connsiteX166" fmla="*/ 4592 w 10000"/>
                <a:gd name="connsiteY166" fmla="*/ 93 h 10000"/>
                <a:gd name="connsiteX167" fmla="*/ 4604 w 10000"/>
                <a:gd name="connsiteY167" fmla="*/ 176 h 10000"/>
                <a:gd name="connsiteX168" fmla="*/ 4715 w 10000"/>
                <a:gd name="connsiteY168" fmla="*/ 248 h 10000"/>
                <a:gd name="connsiteX169" fmla="*/ 5055 w 10000"/>
                <a:gd name="connsiteY169" fmla="*/ 268 h 10000"/>
                <a:gd name="connsiteX170" fmla="*/ 5238 w 10000"/>
                <a:gd name="connsiteY170" fmla="*/ 392 h 10000"/>
                <a:gd name="connsiteX171" fmla="*/ 5178 w 10000"/>
                <a:gd name="connsiteY171" fmla="*/ 795 h 10000"/>
                <a:gd name="connsiteX172" fmla="*/ 5111 w 10000"/>
                <a:gd name="connsiteY172" fmla="*/ 919 h 10000"/>
                <a:gd name="connsiteX173" fmla="*/ 5027 w 10000"/>
                <a:gd name="connsiteY173" fmla="*/ 1043 h 10000"/>
                <a:gd name="connsiteX174" fmla="*/ 5047 w 10000"/>
                <a:gd name="connsiteY174" fmla="*/ 1115 h 10000"/>
                <a:gd name="connsiteX175" fmla="*/ 5290 w 10000"/>
                <a:gd name="connsiteY175" fmla="*/ 919 h 10000"/>
                <a:gd name="connsiteX176" fmla="*/ 5840 w 10000"/>
                <a:gd name="connsiteY176" fmla="*/ 991 h 10000"/>
                <a:gd name="connsiteX177" fmla="*/ 5897 w 10000"/>
                <a:gd name="connsiteY177" fmla="*/ 1063 h 10000"/>
                <a:gd name="connsiteX178" fmla="*/ 6016 w 10000"/>
                <a:gd name="connsiteY178" fmla="*/ 1187 h 10000"/>
                <a:gd name="connsiteX179" fmla="*/ 6183 w 10000"/>
                <a:gd name="connsiteY179" fmla="*/ 919 h 10000"/>
                <a:gd name="connsiteX180" fmla="*/ 6439 w 10000"/>
                <a:gd name="connsiteY180" fmla="*/ 1063 h 10000"/>
                <a:gd name="connsiteX181" fmla="*/ 6513 w 10000"/>
                <a:gd name="connsiteY181" fmla="*/ 1115 h 10000"/>
                <a:gd name="connsiteX182" fmla="*/ 6576 w 10000"/>
                <a:gd name="connsiteY182" fmla="*/ 1166 h 10000"/>
                <a:gd name="connsiteX183" fmla="*/ 6822 w 10000"/>
                <a:gd name="connsiteY183" fmla="*/ 1631 h 10000"/>
                <a:gd name="connsiteX184" fmla="*/ 6909 w 10000"/>
                <a:gd name="connsiteY184" fmla="*/ 1611 h 10000"/>
                <a:gd name="connsiteX185" fmla="*/ 6899 w 10000"/>
                <a:gd name="connsiteY185" fmla="*/ 1507 h 10000"/>
                <a:gd name="connsiteX186" fmla="*/ 6909 w 10000"/>
                <a:gd name="connsiteY186" fmla="*/ 1383 h 10000"/>
                <a:gd name="connsiteX187" fmla="*/ 7031 w 10000"/>
                <a:gd name="connsiteY187" fmla="*/ 1486 h 10000"/>
                <a:gd name="connsiteX188" fmla="*/ 7231 w 10000"/>
                <a:gd name="connsiteY188" fmla="*/ 1507 h 10000"/>
                <a:gd name="connsiteX189" fmla="*/ 7400 w 10000"/>
                <a:gd name="connsiteY189" fmla="*/ 1455 h 10000"/>
                <a:gd name="connsiteX190" fmla="*/ 7320 w 10000"/>
                <a:gd name="connsiteY190" fmla="*/ 1362 h 10000"/>
                <a:gd name="connsiteX191" fmla="*/ 7423 w 10000"/>
                <a:gd name="connsiteY191" fmla="*/ 1084 h 10000"/>
                <a:gd name="connsiteX192" fmla="*/ 7719 w 10000"/>
                <a:gd name="connsiteY192" fmla="*/ 1207 h 10000"/>
                <a:gd name="connsiteX193" fmla="*/ 8017 w 10000"/>
                <a:gd name="connsiteY193" fmla="*/ 1331 h 10000"/>
                <a:gd name="connsiteX194" fmla="*/ 8043 w 10000"/>
                <a:gd name="connsiteY194" fmla="*/ 1362 h 10000"/>
                <a:gd name="connsiteX195" fmla="*/ 8303 w 10000"/>
                <a:gd name="connsiteY195" fmla="*/ 1611 h 10000"/>
                <a:gd name="connsiteX196" fmla="*/ 8503 w 10000"/>
                <a:gd name="connsiteY196" fmla="*/ 1507 h 10000"/>
                <a:gd name="connsiteX197" fmla="*/ 8753 w 10000"/>
                <a:gd name="connsiteY197" fmla="*/ 1538 h 10000"/>
                <a:gd name="connsiteX198" fmla="*/ 8839 w 10000"/>
                <a:gd name="connsiteY198" fmla="*/ 1611 h 10000"/>
                <a:gd name="connsiteX199" fmla="*/ 9152 w 10000"/>
                <a:gd name="connsiteY199" fmla="*/ 1930 h 10000"/>
                <a:gd name="connsiteX200" fmla="*/ 9503 w 10000"/>
                <a:gd name="connsiteY200" fmla="*/ 1879 h 10000"/>
                <a:gd name="connsiteX201" fmla="*/ 9626 w 10000"/>
                <a:gd name="connsiteY201" fmla="*/ 2033 h 10000"/>
                <a:gd name="connsiteX202" fmla="*/ 9801 w 10000"/>
                <a:gd name="connsiteY202" fmla="*/ 2157 h 10000"/>
                <a:gd name="connsiteX203" fmla="*/ 9835 w 10000"/>
                <a:gd name="connsiteY203" fmla="*/ 2105 h 10000"/>
                <a:gd name="connsiteX204" fmla="*/ 9677 w 10000"/>
                <a:gd name="connsiteY204" fmla="*/ 1930 h 10000"/>
                <a:gd name="connsiteX205" fmla="*/ 10000 w 10000"/>
                <a:gd name="connsiteY205" fmla="*/ 1910 h 10000"/>
                <a:gd name="connsiteX0" fmla="*/ 1859 w 9835"/>
                <a:gd name="connsiteY0" fmla="*/ 7183 h 10000"/>
                <a:gd name="connsiteX1" fmla="*/ 1909 w 9835"/>
                <a:gd name="connsiteY1" fmla="*/ 7430 h 10000"/>
                <a:gd name="connsiteX2" fmla="*/ 1851 w 9835"/>
                <a:gd name="connsiteY2" fmla="*/ 7430 h 10000"/>
                <a:gd name="connsiteX3" fmla="*/ 1790 w 9835"/>
                <a:gd name="connsiteY3" fmla="*/ 7255 h 10000"/>
                <a:gd name="connsiteX4" fmla="*/ 1745 w 9835"/>
                <a:gd name="connsiteY4" fmla="*/ 7430 h 10000"/>
                <a:gd name="connsiteX5" fmla="*/ 1754 w 9835"/>
                <a:gd name="connsiteY5" fmla="*/ 7854 h 10000"/>
                <a:gd name="connsiteX6" fmla="*/ 1851 w 9835"/>
                <a:gd name="connsiteY6" fmla="*/ 8070 h 10000"/>
                <a:gd name="connsiteX7" fmla="*/ 1902 w 9835"/>
                <a:gd name="connsiteY7" fmla="*/ 8019 h 10000"/>
                <a:gd name="connsiteX8" fmla="*/ 2011 w 9835"/>
                <a:gd name="connsiteY8" fmla="*/ 8493 h 10000"/>
                <a:gd name="connsiteX9" fmla="*/ 1859 w 9835"/>
                <a:gd name="connsiteY9" fmla="*/ 8669 h 10000"/>
                <a:gd name="connsiteX10" fmla="*/ 1841 w 9835"/>
                <a:gd name="connsiteY10" fmla="*/ 9009 h 10000"/>
                <a:gd name="connsiteX11" fmla="*/ 1921 w 9835"/>
                <a:gd name="connsiteY11" fmla="*/ 9236 h 10000"/>
                <a:gd name="connsiteX12" fmla="*/ 1921 w 9835"/>
                <a:gd name="connsiteY12" fmla="*/ 9484 h 10000"/>
                <a:gd name="connsiteX13" fmla="*/ 2043 w 9835"/>
                <a:gd name="connsiteY13" fmla="*/ 9835 h 10000"/>
                <a:gd name="connsiteX14" fmla="*/ 1967 w 9835"/>
                <a:gd name="connsiteY14" fmla="*/ 10000 h 10000"/>
                <a:gd name="connsiteX15" fmla="*/ 1851 w 9835"/>
                <a:gd name="connsiteY15" fmla="*/ 9753 h 10000"/>
                <a:gd name="connsiteX16" fmla="*/ 1693 w 9835"/>
                <a:gd name="connsiteY16" fmla="*/ 9505 h 10000"/>
                <a:gd name="connsiteX17" fmla="*/ 1624 w 9835"/>
                <a:gd name="connsiteY17" fmla="*/ 9588 h 10000"/>
                <a:gd name="connsiteX18" fmla="*/ 1509 w 9835"/>
                <a:gd name="connsiteY18" fmla="*/ 9380 h 10000"/>
                <a:gd name="connsiteX19" fmla="*/ 1267 w 9835"/>
                <a:gd name="connsiteY19" fmla="*/ 9339 h 10000"/>
                <a:gd name="connsiteX20" fmla="*/ 978 w 9835"/>
                <a:gd name="connsiteY20" fmla="*/ 8813 h 10000"/>
                <a:gd name="connsiteX21" fmla="*/ 1055 w 9835"/>
                <a:gd name="connsiteY21" fmla="*/ 8721 h 10000"/>
                <a:gd name="connsiteX22" fmla="*/ 1111 w 9835"/>
                <a:gd name="connsiteY22" fmla="*/ 8493 h 10000"/>
                <a:gd name="connsiteX23" fmla="*/ 1049 w 9835"/>
                <a:gd name="connsiteY23" fmla="*/ 8390 h 10000"/>
                <a:gd name="connsiteX24" fmla="*/ 1179 w 9835"/>
                <a:gd name="connsiteY24" fmla="*/ 8245 h 10000"/>
                <a:gd name="connsiteX25" fmla="*/ 1091 w 9835"/>
                <a:gd name="connsiteY25" fmla="*/ 8194 h 10000"/>
                <a:gd name="connsiteX26" fmla="*/ 1107 w 9835"/>
                <a:gd name="connsiteY26" fmla="*/ 8091 h 10000"/>
                <a:gd name="connsiteX27" fmla="*/ 1160 w 9835"/>
                <a:gd name="connsiteY27" fmla="*/ 8111 h 10000"/>
                <a:gd name="connsiteX28" fmla="*/ 1224 w 9835"/>
                <a:gd name="connsiteY28" fmla="*/ 8019 h 10000"/>
                <a:gd name="connsiteX29" fmla="*/ 1192 w 9835"/>
                <a:gd name="connsiteY29" fmla="*/ 7864 h 10000"/>
                <a:gd name="connsiteX30" fmla="*/ 1205 w 9835"/>
                <a:gd name="connsiteY30" fmla="*/ 7503 h 10000"/>
                <a:gd name="connsiteX31" fmla="*/ 1072 w 9835"/>
                <a:gd name="connsiteY31" fmla="*/ 7440 h 10000"/>
                <a:gd name="connsiteX32" fmla="*/ 959 w 9835"/>
                <a:gd name="connsiteY32" fmla="*/ 7286 h 10000"/>
                <a:gd name="connsiteX33" fmla="*/ 808 w 9835"/>
                <a:gd name="connsiteY33" fmla="*/ 7275 h 10000"/>
                <a:gd name="connsiteX34" fmla="*/ 788 w 9835"/>
                <a:gd name="connsiteY34" fmla="*/ 7090 h 10000"/>
                <a:gd name="connsiteX35" fmla="*/ 689 w 9835"/>
                <a:gd name="connsiteY35" fmla="*/ 6945 h 10000"/>
                <a:gd name="connsiteX36" fmla="*/ 710 w 9835"/>
                <a:gd name="connsiteY36" fmla="*/ 6822 h 10000"/>
                <a:gd name="connsiteX37" fmla="*/ 648 w 9835"/>
                <a:gd name="connsiteY37" fmla="*/ 6698 h 10000"/>
                <a:gd name="connsiteX38" fmla="*/ 527 w 9835"/>
                <a:gd name="connsiteY38" fmla="*/ 6698 h 10000"/>
                <a:gd name="connsiteX39" fmla="*/ 491 w 9835"/>
                <a:gd name="connsiteY39" fmla="*/ 6791 h 10000"/>
                <a:gd name="connsiteX40" fmla="*/ 461 w 9835"/>
                <a:gd name="connsiteY40" fmla="*/ 6750 h 10000"/>
                <a:gd name="connsiteX41" fmla="*/ 436 w 9835"/>
                <a:gd name="connsiteY41" fmla="*/ 6439 h 10000"/>
                <a:gd name="connsiteX42" fmla="*/ 485 w 9835"/>
                <a:gd name="connsiteY42" fmla="*/ 6470 h 10000"/>
                <a:gd name="connsiteX43" fmla="*/ 538 w 9835"/>
                <a:gd name="connsiteY43" fmla="*/ 6347 h 10000"/>
                <a:gd name="connsiteX44" fmla="*/ 461 w 9835"/>
                <a:gd name="connsiteY44" fmla="*/ 6233 h 10000"/>
                <a:gd name="connsiteX45" fmla="*/ 364 w 9835"/>
                <a:gd name="connsiteY45" fmla="*/ 6017 h 10000"/>
                <a:gd name="connsiteX46" fmla="*/ 385 w 9835"/>
                <a:gd name="connsiteY46" fmla="*/ 5821 h 10000"/>
                <a:gd name="connsiteX47" fmla="*/ 315 w 9835"/>
                <a:gd name="connsiteY47" fmla="*/ 5697 h 10000"/>
                <a:gd name="connsiteX48" fmla="*/ 261 w 9835"/>
                <a:gd name="connsiteY48" fmla="*/ 5728 h 10000"/>
                <a:gd name="connsiteX49" fmla="*/ 232 w 9835"/>
                <a:gd name="connsiteY49" fmla="*/ 5604 h 10000"/>
                <a:gd name="connsiteX50" fmla="*/ 189 w 9835"/>
                <a:gd name="connsiteY50" fmla="*/ 5645 h 10000"/>
                <a:gd name="connsiteX51" fmla="*/ 134 w 9835"/>
                <a:gd name="connsiteY51" fmla="*/ 5604 h 10000"/>
                <a:gd name="connsiteX52" fmla="*/ 80 w 9835"/>
                <a:gd name="connsiteY52" fmla="*/ 5181 h 10000"/>
                <a:gd name="connsiteX53" fmla="*/ 99 w 9835"/>
                <a:gd name="connsiteY53" fmla="*/ 5057 h 10000"/>
                <a:gd name="connsiteX54" fmla="*/ 45 w 9835"/>
                <a:gd name="connsiteY54" fmla="*/ 4892 h 10000"/>
                <a:gd name="connsiteX55" fmla="*/ 76 w 9835"/>
                <a:gd name="connsiteY55" fmla="*/ 4655 h 10000"/>
                <a:gd name="connsiteX56" fmla="*/ 244 w 9835"/>
                <a:gd name="connsiteY56" fmla="*/ 4510 h 10000"/>
                <a:gd name="connsiteX57" fmla="*/ 149 w 9835"/>
                <a:gd name="connsiteY57" fmla="*/ 4406 h 10000"/>
                <a:gd name="connsiteX58" fmla="*/ 96 w 9835"/>
                <a:gd name="connsiteY58" fmla="*/ 4283 h 10000"/>
                <a:gd name="connsiteX59" fmla="*/ 236 w 9835"/>
                <a:gd name="connsiteY59" fmla="*/ 3912 h 10000"/>
                <a:gd name="connsiteX60" fmla="*/ 289 w 9835"/>
                <a:gd name="connsiteY60" fmla="*/ 3664 h 10000"/>
                <a:gd name="connsiteX61" fmla="*/ 175 w 9835"/>
                <a:gd name="connsiteY61" fmla="*/ 3488 h 10000"/>
                <a:gd name="connsiteX62" fmla="*/ 219 w 9835"/>
                <a:gd name="connsiteY62" fmla="*/ 3344 h 10000"/>
                <a:gd name="connsiteX63" fmla="*/ 129 w 9835"/>
                <a:gd name="connsiteY63" fmla="*/ 3148 h 10000"/>
                <a:gd name="connsiteX64" fmla="*/ 129 w 9835"/>
                <a:gd name="connsiteY64" fmla="*/ 2972 h 10000"/>
                <a:gd name="connsiteX65" fmla="*/ 70 w 9835"/>
                <a:gd name="connsiteY65" fmla="*/ 2622 h 10000"/>
                <a:gd name="connsiteX66" fmla="*/ 114 w 9835"/>
                <a:gd name="connsiteY66" fmla="*/ 2404 h 10000"/>
                <a:gd name="connsiteX67" fmla="*/ 42 w 9835"/>
                <a:gd name="connsiteY67" fmla="*/ 2301 h 10000"/>
                <a:gd name="connsiteX68" fmla="*/ 0 w 9835"/>
                <a:gd name="connsiteY68" fmla="*/ 2178 h 10000"/>
                <a:gd name="connsiteX69" fmla="*/ 63 w 9835"/>
                <a:gd name="connsiteY69" fmla="*/ 1951 h 10000"/>
                <a:gd name="connsiteX70" fmla="*/ 137 w 9835"/>
                <a:gd name="connsiteY70" fmla="*/ 1910 h 10000"/>
                <a:gd name="connsiteX71" fmla="*/ 225 w 9835"/>
                <a:gd name="connsiteY71" fmla="*/ 1858 h 10000"/>
                <a:gd name="connsiteX72" fmla="*/ 357 w 9835"/>
                <a:gd name="connsiteY72" fmla="*/ 1951 h 10000"/>
                <a:gd name="connsiteX73" fmla="*/ 556 w 9835"/>
                <a:gd name="connsiteY73" fmla="*/ 2054 h 10000"/>
                <a:gd name="connsiteX74" fmla="*/ 730 w 9835"/>
                <a:gd name="connsiteY74" fmla="*/ 2229 h 10000"/>
                <a:gd name="connsiteX75" fmla="*/ 872 w 9835"/>
                <a:gd name="connsiteY75" fmla="*/ 2373 h 10000"/>
                <a:gd name="connsiteX76" fmla="*/ 838 w 9835"/>
                <a:gd name="connsiteY76" fmla="*/ 2777 h 10000"/>
                <a:gd name="connsiteX77" fmla="*/ 417 w 9835"/>
                <a:gd name="connsiteY77" fmla="*/ 2673 h 10000"/>
                <a:gd name="connsiteX78" fmla="*/ 282 w 9835"/>
                <a:gd name="connsiteY78" fmla="*/ 2550 h 10000"/>
                <a:gd name="connsiteX79" fmla="*/ 332 w 9835"/>
                <a:gd name="connsiteY79" fmla="*/ 2622 h 10000"/>
                <a:gd name="connsiteX80" fmla="*/ 382 w 9835"/>
                <a:gd name="connsiteY80" fmla="*/ 2797 h 10000"/>
                <a:gd name="connsiteX81" fmla="*/ 461 w 9835"/>
                <a:gd name="connsiteY81" fmla="*/ 2921 h 10000"/>
                <a:gd name="connsiteX82" fmla="*/ 481 w 9835"/>
                <a:gd name="connsiteY82" fmla="*/ 3189 h 10000"/>
                <a:gd name="connsiteX83" fmla="*/ 585 w 9835"/>
                <a:gd name="connsiteY83" fmla="*/ 3313 h 10000"/>
                <a:gd name="connsiteX84" fmla="*/ 673 w 9835"/>
                <a:gd name="connsiteY84" fmla="*/ 3436 h 10000"/>
                <a:gd name="connsiteX85" fmla="*/ 699 w 9835"/>
                <a:gd name="connsiteY85" fmla="*/ 3467 h 10000"/>
                <a:gd name="connsiteX86" fmla="*/ 751 w 9835"/>
                <a:gd name="connsiteY86" fmla="*/ 3436 h 10000"/>
                <a:gd name="connsiteX87" fmla="*/ 730 w 9835"/>
                <a:gd name="connsiteY87" fmla="*/ 3364 h 10000"/>
                <a:gd name="connsiteX88" fmla="*/ 629 w 9835"/>
                <a:gd name="connsiteY88" fmla="*/ 3189 h 10000"/>
                <a:gd name="connsiteX89" fmla="*/ 926 w 9835"/>
                <a:gd name="connsiteY89" fmla="*/ 3344 h 10000"/>
                <a:gd name="connsiteX90" fmla="*/ 935 w 9835"/>
                <a:gd name="connsiteY90" fmla="*/ 3271 h 10000"/>
                <a:gd name="connsiteX91" fmla="*/ 906 w 9835"/>
                <a:gd name="connsiteY91" fmla="*/ 3220 h 10000"/>
                <a:gd name="connsiteX92" fmla="*/ 855 w 9835"/>
                <a:gd name="connsiteY92" fmla="*/ 2993 h 10000"/>
                <a:gd name="connsiteX93" fmla="*/ 1002 w 9835"/>
                <a:gd name="connsiteY93" fmla="*/ 2777 h 10000"/>
                <a:gd name="connsiteX94" fmla="*/ 1119 w 9835"/>
                <a:gd name="connsiteY94" fmla="*/ 2921 h 10000"/>
                <a:gd name="connsiteX95" fmla="*/ 1154 w 9835"/>
                <a:gd name="connsiteY95" fmla="*/ 2725 h 10000"/>
                <a:gd name="connsiteX96" fmla="*/ 1099 w 9835"/>
                <a:gd name="connsiteY96" fmla="*/ 2653 h 10000"/>
                <a:gd name="connsiteX97" fmla="*/ 1079 w 9835"/>
                <a:gd name="connsiteY97" fmla="*/ 2281 h 10000"/>
                <a:gd name="connsiteX98" fmla="*/ 1055 w 9835"/>
                <a:gd name="connsiteY98" fmla="*/ 2229 h 10000"/>
                <a:gd name="connsiteX99" fmla="*/ 1195 w 9835"/>
                <a:gd name="connsiteY99" fmla="*/ 2250 h 10000"/>
                <a:gd name="connsiteX100" fmla="*/ 1255 w 9835"/>
                <a:gd name="connsiteY100" fmla="*/ 2404 h 10000"/>
                <a:gd name="connsiteX101" fmla="*/ 1179 w 9835"/>
                <a:gd name="connsiteY101" fmla="*/ 2529 h 10000"/>
                <a:gd name="connsiteX102" fmla="*/ 1309 w 9835"/>
                <a:gd name="connsiteY102" fmla="*/ 2694 h 10000"/>
                <a:gd name="connsiteX103" fmla="*/ 1415 w 9835"/>
                <a:gd name="connsiteY103" fmla="*/ 2529 h 10000"/>
                <a:gd name="connsiteX104" fmla="*/ 1546 w 9835"/>
                <a:gd name="connsiteY104" fmla="*/ 2301 h 10000"/>
                <a:gd name="connsiteX105" fmla="*/ 1686 w 9835"/>
                <a:gd name="connsiteY105" fmla="*/ 2157 h 10000"/>
                <a:gd name="connsiteX106" fmla="*/ 1726 w 9835"/>
                <a:gd name="connsiteY106" fmla="*/ 2250 h 10000"/>
                <a:gd name="connsiteX107" fmla="*/ 2085 w 9835"/>
                <a:gd name="connsiteY107" fmla="*/ 2054 h 10000"/>
                <a:gd name="connsiteX108" fmla="*/ 2158 w 9835"/>
                <a:gd name="connsiteY108" fmla="*/ 2250 h 10000"/>
                <a:gd name="connsiteX109" fmla="*/ 2148 w 9835"/>
                <a:gd name="connsiteY109" fmla="*/ 2002 h 10000"/>
                <a:gd name="connsiteX110" fmla="*/ 2052 w 9835"/>
                <a:gd name="connsiteY110" fmla="*/ 1786 h 10000"/>
                <a:gd name="connsiteX111" fmla="*/ 2036 w 9835"/>
                <a:gd name="connsiteY111" fmla="*/ 1703 h 10000"/>
                <a:gd name="connsiteX112" fmla="*/ 2106 w 9835"/>
                <a:gd name="connsiteY112" fmla="*/ 1786 h 10000"/>
                <a:gd name="connsiteX113" fmla="*/ 2346 w 9835"/>
                <a:gd name="connsiteY113" fmla="*/ 1951 h 10000"/>
                <a:gd name="connsiteX114" fmla="*/ 2621 w 9835"/>
                <a:gd name="connsiteY114" fmla="*/ 2126 h 10000"/>
                <a:gd name="connsiteX115" fmla="*/ 2752 w 9835"/>
                <a:gd name="connsiteY115" fmla="*/ 2250 h 10000"/>
                <a:gd name="connsiteX116" fmla="*/ 2794 w 9835"/>
                <a:gd name="connsiteY116" fmla="*/ 2074 h 10000"/>
                <a:gd name="connsiteX117" fmla="*/ 2733 w 9835"/>
                <a:gd name="connsiteY117" fmla="*/ 2033 h 10000"/>
                <a:gd name="connsiteX118" fmla="*/ 2653 w 9835"/>
                <a:gd name="connsiteY118" fmla="*/ 1930 h 10000"/>
                <a:gd name="connsiteX119" fmla="*/ 2600 w 9835"/>
                <a:gd name="connsiteY119" fmla="*/ 1734 h 10000"/>
                <a:gd name="connsiteX120" fmla="*/ 2523 w 9835"/>
                <a:gd name="connsiteY120" fmla="*/ 1486 h 10000"/>
                <a:gd name="connsiteX121" fmla="*/ 2551 w 9835"/>
                <a:gd name="connsiteY121" fmla="*/ 1434 h 10000"/>
                <a:gd name="connsiteX122" fmla="*/ 2576 w 9835"/>
                <a:gd name="connsiteY122" fmla="*/ 1455 h 10000"/>
                <a:gd name="connsiteX123" fmla="*/ 2645 w 9835"/>
                <a:gd name="connsiteY123" fmla="*/ 1115 h 10000"/>
                <a:gd name="connsiteX124" fmla="*/ 2821 w 9835"/>
                <a:gd name="connsiteY124" fmla="*/ 1135 h 10000"/>
                <a:gd name="connsiteX125" fmla="*/ 2872 w 9835"/>
                <a:gd name="connsiteY125" fmla="*/ 1311 h 10000"/>
                <a:gd name="connsiteX126" fmla="*/ 2907 w 9835"/>
                <a:gd name="connsiteY126" fmla="*/ 1538 h 10000"/>
                <a:gd name="connsiteX127" fmla="*/ 2971 w 9835"/>
                <a:gd name="connsiteY127" fmla="*/ 1734 h 10000"/>
                <a:gd name="connsiteX128" fmla="*/ 3082 w 9835"/>
                <a:gd name="connsiteY128" fmla="*/ 2157 h 10000"/>
                <a:gd name="connsiteX129" fmla="*/ 2865 w 9835"/>
                <a:gd name="connsiteY129" fmla="*/ 2673 h 10000"/>
                <a:gd name="connsiteX130" fmla="*/ 2952 w 9835"/>
                <a:gd name="connsiteY130" fmla="*/ 2746 h 10000"/>
                <a:gd name="connsiteX131" fmla="*/ 3065 w 9835"/>
                <a:gd name="connsiteY131" fmla="*/ 2818 h 10000"/>
                <a:gd name="connsiteX132" fmla="*/ 3212 w 9835"/>
                <a:gd name="connsiteY132" fmla="*/ 2622 h 10000"/>
                <a:gd name="connsiteX133" fmla="*/ 3219 w 9835"/>
                <a:gd name="connsiteY133" fmla="*/ 2404 h 10000"/>
                <a:gd name="connsiteX134" fmla="*/ 3170 w 9835"/>
                <a:gd name="connsiteY134" fmla="*/ 2301 h 10000"/>
                <a:gd name="connsiteX135" fmla="*/ 3369 w 9835"/>
                <a:gd name="connsiteY135" fmla="*/ 2250 h 10000"/>
                <a:gd name="connsiteX136" fmla="*/ 3452 w 9835"/>
                <a:gd name="connsiteY136" fmla="*/ 2497 h 10000"/>
                <a:gd name="connsiteX137" fmla="*/ 3452 w 9835"/>
                <a:gd name="connsiteY137" fmla="*/ 2425 h 10000"/>
                <a:gd name="connsiteX138" fmla="*/ 3431 w 9835"/>
                <a:gd name="connsiteY138" fmla="*/ 2353 h 10000"/>
                <a:gd name="connsiteX139" fmla="*/ 3425 w 9835"/>
                <a:gd name="connsiteY139" fmla="*/ 2178 h 10000"/>
                <a:gd name="connsiteX140" fmla="*/ 3232 w 9835"/>
                <a:gd name="connsiteY140" fmla="*/ 1930 h 10000"/>
                <a:gd name="connsiteX141" fmla="*/ 3082 w 9835"/>
                <a:gd name="connsiteY141" fmla="*/ 2002 h 10000"/>
                <a:gd name="connsiteX142" fmla="*/ 3018 w 9835"/>
                <a:gd name="connsiteY142" fmla="*/ 1683 h 10000"/>
                <a:gd name="connsiteX143" fmla="*/ 2959 w 9835"/>
                <a:gd name="connsiteY143" fmla="*/ 1507 h 10000"/>
                <a:gd name="connsiteX144" fmla="*/ 3018 w 9835"/>
                <a:gd name="connsiteY144" fmla="*/ 1331 h 10000"/>
                <a:gd name="connsiteX145" fmla="*/ 3012 w 9835"/>
                <a:gd name="connsiteY145" fmla="*/ 1166 h 10000"/>
                <a:gd name="connsiteX146" fmla="*/ 2987 w 9835"/>
                <a:gd name="connsiteY146" fmla="*/ 1115 h 10000"/>
                <a:gd name="connsiteX147" fmla="*/ 3032 w 9835"/>
                <a:gd name="connsiteY147" fmla="*/ 1115 h 10000"/>
                <a:gd name="connsiteX148" fmla="*/ 3082 w 9835"/>
                <a:gd name="connsiteY148" fmla="*/ 1455 h 10000"/>
                <a:gd name="connsiteX149" fmla="*/ 3338 w 9835"/>
                <a:gd name="connsiteY149" fmla="*/ 1662 h 10000"/>
                <a:gd name="connsiteX150" fmla="*/ 3144 w 9835"/>
                <a:gd name="connsiteY150" fmla="*/ 1383 h 10000"/>
                <a:gd name="connsiteX151" fmla="*/ 3520 w 9835"/>
                <a:gd name="connsiteY151" fmla="*/ 1383 h 10000"/>
                <a:gd name="connsiteX152" fmla="*/ 3580 w 9835"/>
                <a:gd name="connsiteY152" fmla="*/ 1362 h 10000"/>
                <a:gd name="connsiteX153" fmla="*/ 3344 w 9835"/>
                <a:gd name="connsiteY153" fmla="*/ 1115 h 10000"/>
                <a:gd name="connsiteX154" fmla="*/ 3406 w 9835"/>
                <a:gd name="connsiteY154" fmla="*/ 888 h 10000"/>
                <a:gd name="connsiteX155" fmla="*/ 3668 w 9835"/>
                <a:gd name="connsiteY155" fmla="*/ 888 h 10000"/>
                <a:gd name="connsiteX156" fmla="*/ 3643 w 9835"/>
                <a:gd name="connsiteY156" fmla="*/ 713 h 10000"/>
                <a:gd name="connsiteX157" fmla="*/ 3730 w 9835"/>
                <a:gd name="connsiteY157" fmla="*/ 589 h 10000"/>
                <a:gd name="connsiteX158" fmla="*/ 3782 w 9835"/>
                <a:gd name="connsiteY158" fmla="*/ 548 h 10000"/>
                <a:gd name="connsiteX159" fmla="*/ 3976 w 9835"/>
                <a:gd name="connsiteY159" fmla="*/ 423 h 10000"/>
                <a:gd name="connsiteX160" fmla="*/ 4024 w 9835"/>
                <a:gd name="connsiteY160" fmla="*/ 371 h 10000"/>
                <a:gd name="connsiteX161" fmla="*/ 4017 w 9835"/>
                <a:gd name="connsiteY161" fmla="*/ 444 h 10000"/>
                <a:gd name="connsiteX162" fmla="*/ 4226 w 9835"/>
                <a:gd name="connsiteY162" fmla="*/ 371 h 10000"/>
                <a:gd name="connsiteX163" fmla="*/ 4393 w 9835"/>
                <a:gd name="connsiteY163" fmla="*/ 248 h 10000"/>
                <a:gd name="connsiteX164" fmla="*/ 4419 w 9835"/>
                <a:gd name="connsiteY164" fmla="*/ 0 h 10000"/>
                <a:gd name="connsiteX165" fmla="*/ 4604 w 9835"/>
                <a:gd name="connsiteY165" fmla="*/ 21 h 10000"/>
                <a:gd name="connsiteX166" fmla="*/ 4592 w 9835"/>
                <a:gd name="connsiteY166" fmla="*/ 93 h 10000"/>
                <a:gd name="connsiteX167" fmla="*/ 4604 w 9835"/>
                <a:gd name="connsiteY167" fmla="*/ 176 h 10000"/>
                <a:gd name="connsiteX168" fmla="*/ 4715 w 9835"/>
                <a:gd name="connsiteY168" fmla="*/ 248 h 10000"/>
                <a:gd name="connsiteX169" fmla="*/ 5055 w 9835"/>
                <a:gd name="connsiteY169" fmla="*/ 268 h 10000"/>
                <a:gd name="connsiteX170" fmla="*/ 5238 w 9835"/>
                <a:gd name="connsiteY170" fmla="*/ 392 h 10000"/>
                <a:gd name="connsiteX171" fmla="*/ 5178 w 9835"/>
                <a:gd name="connsiteY171" fmla="*/ 795 h 10000"/>
                <a:gd name="connsiteX172" fmla="*/ 5111 w 9835"/>
                <a:gd name="connsiteY172" fmla="*/ 919 h 10000"/>
                <a:gd name="connsiteX173" fmla="*/ 5027 w 9835"/>
                <a:gd name="connsiteY173" fmla="*/ 1043 h 10000"/>
                <a:gd name="connsiteX174" fmla="*/ 5047 w 9835"/>
                <a:gd name="connsiteY174" fmla="*/ 1115 h 10000"/>
                <a:gd name="connsiteX175" fmla="*/ 5290 w 9835"/>
                <a:gd name="connsiteY175" fmla="*/ 919 h 10000"/>
                <a:gd name="connsiteX176" fmla="*/ 5840 w 9835"/>
                <a:gd name="connsiteY176" fmla="*/ 991 h 10000"/>
                <a:gd name="connsiteX177" fmla="*/ 5897 w 9835"/>
                <a:gd name="connsiteY177" fmla="*/ 1063 h 10000"/>
                <a:gd name="connsiteX178" fmla="*/ 6016 w 9835"/>
                <a:gd name="connsiteY178" fmla="*/ 1187 h 10000"/>
                <a:gd name="connsiteX179" fmla="*/ 6183 w 9835"/>
                <a:gd name="connsiteY179" fmla="*/ 919 h 10000"/>
                <a:gd name="connsiteX180" fmla="*/ 6439 w 9835"/>
                <a:gd name="connsiteY180" fmla="*/ 1063 h 10000"/>
                <a:gd name="connsiteX181" fmla="*/ 6513 w 9835"/>
                <a:gd name="connsiteY181" fmla="*/ 1115 h 10000"/>
                <a:gd name="connsiteX182" fmla="*/ 6576 w 9835"/>
                <a:gd name="connsiteY182" fmla="*/ 1166 h 10000"/>
                <a:gd name="connsiteX183" fmla="*/ 6822 w 9835"/>
                <a:gd name="connsiteY183" fmla="*/ 1631 h 10000"/>
                <a:gd name="connsiteX184" fmla="*/ 6909 w 9835"/>
                <a:gd name="connsiteY184" fmla="*/ 1611 h 10000"/>
                <a:gd name="connsiteX185" fmla="*/ 6899 w 9835"/>
                <a:gd name="connsiteY185" fmla="*/ 1507 h 10000"/>
                <a:gd name="connsiteX186" fmla="*/ 6909 w 9835"/>
                <a:gd name="connsiteY186" fmla="*/ 1383 h 10000"/>
                <a:gd name="connsiteX187" fmla="*/ 7031 w 9835"/>
                <a:gd name="connsiteY187" fmla="*/ 1486 h 10000"/>
                <a:gd name="connsiteX188" fmla="*/ 7231 w 9835"/>
                <a:gd name="connsiteY188" fmla="*/ 1507 h 10000"/>
                <a:gd name="connsiteX189" fmla="*/ 7400 w 9835"/>
                <a:gd name="connsiteY189" fmla="*/ 1455 h 10000"/>
                <a:gd name="connsiteX190" fmla="*/ 7320 w 9835"/>
                <a:gd name="connsiteY190" fmla="*/ 1362 h 10000"/>
                <a:gd name="connsiteX191" fmla="*/ 7423 w 9835"/>
                <a:gd name="connsiteY191" fmla="*/ 1084 h 10000"/>
                <a:gd name="connsiteX192" fmla="*/ 7719 w 9835"/>
                <a:gd name="connsiteY192" fmla="*/ 1207 h 10000"/>
                <a:gd name="connsiteX193" fmla="*/ 8017 w 9835"/>
                <a:gd name="connsiteY193" fmla="*/ 1331 h 10000"/>
                <a:gd name="connsiteX194" fmla="*/ 8043 w 9835"/>
                <a:gd name="connsiteY194" fmla="*/ 1362 h 10000"/>
                <a:gd name="connsiteX195" fmla="*/ 8303 w 9835"/>
                <a:gd name="connsiteY195" fmla="*/ 1611 h 10000"/>
                <a:gd name="connsiteX196" fmla="*/ 8503 w 9835"/>
                <a:gd name="connsiteY196" fmla="*/ 1507 h 10000"/>
                <a:gd name="connsiteX197" fmla="*/ 8753 w 9835"/>
                <a:gd name="connsiteY197" fmla="*/ 1538 h 10000"/>
                <a:gd name="connsiteX198" fmla="*/ 8839 w 9835"/>
                <a:gd name="connsiteY198" fmla="*/ 1611 h 10000"/>
                <a:gd name="connsiteX199" fmla="*/ 9152 w 9835"/>
                <a:gd name="connsiteY199" fmla="*/ 1930 h 10000"/>
                <a:gd name="connsiteX200" fmla="*/ 9503 w 9835"/>
                <a:gd name="connsiteY200" fmla="*/ 1879 h 10000"/>
                <a:gd name="connsiteX201" fmla="*/ 9626 w 9835"/>
                <a:gd name="connsiteY201" fmla="*/ 2033 h 10000"/>
                <a:gd name="connsiteX202" fmla="*/ 9801 w 9835"/>
                <a:gd name="connsiteY202" fmla="*/ 2157 h 10000"/>
                <a:gd name="connsiteX203" fmla="*/ 9835 w 9835"/>
                <a:gd name="connsiteY203" fmla="*/ 2105 h 10000"/>
                <a:gd name="connsiteX204" fmla="*/ 9677 w 9835"/>
                <a:gd name="connsiteY204" fmla="*/ 1930 h 10000"/>
                <a:gd name="connsiteX0" fmla="*/ 1890 w 9965"/>
                <a:gd name="connsiteY0" fmla="*/ 7183 h 10000"/>
                <a:gd name="connsiteX1" fmla="*/ 1941 w 9965"/>
                <a:gd name="connsiteY1" fmla="*/ 7430 h 10000"/>
                <a:gd name="connsiteX2" fmla="*/ 1882 w 9965"/>
                <a:gd name="connsiteY2" fmla="*/ 7430 h 10000"/>
                <a:gd name="connsiteX3" fmla="*/ 1820 w 9965"/>
                <a:gd name="connsiteY3" fmla="*/ 7255 h 10000"/>
                <a:gd name="connsiteX4" fmla="*/ 1774 w 9965"/>
                <a:gd name="connsiteY4" fmla="*/ 7430 h 10000"/>
                <a:gd name="connsiteX5" fmla="*/ 1783 w 9965"/>
                <a:gd name="connsiteY5" fmla="*/ 7854 h 10000"/>
                <a:gd name="connsiteX6" fmla="*/ 1882 w 9965"/>
                <a:gd name="connsiteY6" fmla="*/ 8070 h 10000"/>
                <a:gd name="connsiteX7" fmla="*/ 1934 w 9965"/>
                <a:gd name="connsiteY7" fmla="*/ 8019 h 10000"/>
                <a:gd name="connsiteX8" fmla="*/ 2045 w 9965"/>
                <a:gd name="connsiteY8" fmla="*/ 8493 h 10000"/>
                <a:gd name="connsiteX9" fmla="*/ 1890 w 9965"/>
                <a:gd name="connsiteY9" fmla="*/ 8669 h 10000"/>
                <a:gd name="connsiteX10" fmla="*/ 1872 w 9965"/>
                <a:gd name="connsiteY10" fmla="*/ 9009 h 10000"/>
                <a:gd name="connsiteX11" fmla="*/ 1953 w 9965"/>
                <a:gd name="connsiteY11" fmla="*/ 9236 h 10000"/>
                <a:gd name="connsiteX12" fmla="*/ 1953 w 9965"/>
                <a:gd name="connsiteY12" fmla="*/ 9484 h 10000"/>
                <a:gd name="connsiteX13" fmla="*/ 2077 w 9965"/>
                <a:gd name="connsiteY13" fmla="*/ 9835 h 10000"/>
                <a:gd name="connsiteX14" fmla="*/ 2000 w 9965"/>
                <a:gd name="connsiteY14" fmla="*/ 10000 h 10000"/>
                <a:gd name="connsiteX15" fmla="*/ 1882 w 9965"/>
                <a:gd name="connsiteY15" fmla="*/ 9753 h 10000"/>
                <a:gd name="connsiteX16" fmla="*/ 1721 w 9965"/>
                <a:gd name="connsiteY16" fmla="*/ 9505 h 10000"/>
                <a:gd name="connsiteX17" fmla="*/ 1651 w 9965"/>
                <a:gd name="connsiteY17" fmla="*/ 9588 h 10000"/>
                <a:gd name="connsiteX18" fmla="*/ 1534 w 9965"/>
                <a:gd name="connsiteY18" fmla="*/ 9380 h 10000"/>
                <a:gd name="connsiteX19" fmla="*/ 1288 w 9965"/>
                <a:gd name="connsiteY19" fmla="*/ 9339 h 10000"/>
                <a:gd name="connsiteX20" fmla="*/ 994 w 9965"/>
                <a:gd name="connsiteY20" fmla="*/ 8813 h 10000"/>
                <a:gd name="connsiteX21" fmla="*/ 1073 w 9965"/>
                <a:gd name="connsiteY21" fmla="*/ 8721 h 10000"/>
                <a:gd name="connsiteX22" fmla="*/ 1130 w 9965"/>
                <a:gd name="connsiteY22" fmla="*/ 8493 h 10000"/>
                <a:gd name="connsiteX23" fmla="*/ 1067 w 9965"/>
                <a:gd name="connsiteY23" fmla="*/ 8390 h 10000"/>
                <a:gd name="connsiteX24" fmla="*/ 1199 w 9965"/>
                <a:gd name="connsiteY24" fmla="*/ 8245 h 10000"/>
                <a:gd name="connsiteX25" fmla="*/ 1109 w 9965"/>
                <a:gd name="connsiteY25" fmla="*/ 8194 h 10000"/>
                <a:gd name="connsiteX26" fmla="*/ 1126 w 9965"/>
                <a:gd name="connsiteY26" fmla="*/ 8091 h 10000"/>
                <a:gd name="connsiteX27" fmla="*/ 1179 w 9965"/>
                <a:gd name="connsiteY27" fmla="*/ 8111 h 10000"/>
                <a:gd name="connsiteX28" fmla="*/ 1245 w 9965"/>
                <a:gd name="connsiteY28" fmla="*/ 8019 h 10000"/>
                <a:gd name="connsiteX29" fmla="*/ 1212 w 9965"/>
                <a:gd name="connsiteY29" fmla="*/ 7864 h 10000"/>
                <a:gd name="connsiteX30" fmla="*/ 1225 w 9965"/>
                <a:gd name="connsiteY30" fmla="*/ 7503 h 10000"/>
                <a:gd name="connsiteX31" fmla="*/ 1090 w 9965"/>
                <a:gd name="connsiteY31" fmla="*/ 7440 h 10000"/>
                <a:gd name="connsiteX32" fmla="*/ 975 w 9965"/>
                <a:gd name="connsiteY32" fmla="*/ 7286 h 10000"/>
                <a:gd name="connsiteX33" fmla="*/ 822 w 9965"/>
                <a:gd name="connsiteY33" fmla="*/ 7275 h 10000"/>
                <a:gd name="connsiteX34" fmla="*/ 801 w 9965"/>
                <a:gd name="connsiteY34" fmla="*/ 7090 h 10000"/>
                <a:gd name="connsiteX35" fmla="*/ 701 w 9965"/>
                <a:gd name="connsiteY35" fmla="*/ 6945 h 10000"/>
                <a:gd name="connsiteX36" fmla="*/ 722 w 9965"/>
                <a:gd name="connsiteY36" fmla="*/ 6822 h 10000"/>
                <a:gd name="connsiteX37" fmla="*/ 659 w 9965"/>
                <a:gd name="connsiteY37" fmla="*/ 6698 h 10000"/>
                <a:gd name="connsiteX38" fmla="*/ 536 w 9965"/>
                <a:gd name="connsiteY38" fmla="*/ 6698 h 10000"/>
                <a:gd name="connsiteX39" fmla="*/ 499 w 9965"/>
                <a:gd name="connsiteY39" fmla="*/ 6791 h 10000"/>
                <a:gd name="connsiteX40" fmla="*/ 469 w 9965"/>
                <a:gd name="connsiteY40" fmla="*/ 6750 h 10000"/>
                <a:gd name="connsiteX41" fmla="*/ 443 w 9965"/>
                <a:gd name="connsiteY41" fmla="*/ 6439 h 10000"/>
                <a:gd name="connsiteX42" fmla="*/ 493 w 9965"/>
                <a:gd name="connsiteY42" fmla="*/ 6470 h 10000"/>
                <a:gd name="connsiteX43" fmla="*/ 547 w 9965"/>
                <a:gd name="connsiteY43" fmla="*/ 6347 h 10000"/>
                <a:gd name="connsiteX44" fmla="*/ 469 w 9965"/>
                <a:gd name="connsiteY44" fmla="*/ 6233 h 10000"/>
                <a:gd name="connsiteX45" fmla="*/ 370 w 9965"/>
                <a:gd name="connsiteY45" fmla="*/ 6017 h 10000"/>
                <a:gd name="connsiteX46" fmla="*/ 391 w 9965"/>
                <a:gd name="connsiteY46" fmla="*/ 5821 h 10000"/>
                <a:gd name="connsiteX47" fmla="*/ 320 w 9965"/>
                <a:gd name="connsiteY47" fmla="*/ 5697 h 10000"/>
                <a:gd name="connsiteX48" fmla="*/ 265 w 9965"/>
                <a:gd name="connsiteY48" fmla="*/ 5728 h 10000"/>
                <a:gd name="connsiteX49" fmla="*/ 236 w 9965"/>
                <a:gd name="connsiteY49" fmla="*/ 5604 h 10000"/>
                <a:gd name="connsiteX50" fmla="*/ 192 w 9965"/>
                <a:gd name="connsiteY50" fmla="*/ 5645 h 10000"/>
                <a:gd name="connsiteX51" fmla="*/ 136 w 9965"/>
                <a:gd name="connsiteY51" fmla="*/ 5604 h 10000"/>
                <a:gd name="connsiteX52" fmla="*/ 81 w 9965"/>
                <a:gd name="connsiteY52" fmla="*/ 5181 h 10000"/>
                <a:gd name="connsiteX53" fmla="*/ 101 w 9965"/>
                <a:gd name="connsiteY53" fmla="*/ 5057 h 10000"/>
                <a:gd name="connsiteX54" fmla="*/ 46 w 9965"/>
                <a:gd name="connsiteY54" fmla="*/ 4892 h 10000"/>
                <a:gd name="connsiteX55" fmla="*/ 77 w 9965"/>
                <a:gd name="connsiteY55" fmla="*/ 4655 h 10000"/>
                <a:gd name="connsiteX56" fmla="*/ 248 w 9965"/>
                <a:gd name="connsiteY56" fmla="*/ 4510 h 10000"/>
                <a:gd name="connsiteX57" fmla="*/ 151 w 9965"/>
                <a:gd name="connsiteY57" fmla="*/ 4406 h 10000"/>
                <a:gd name="connsiteX58" fmla="*/ 98 w 9965"/>
                <a:gd name="connsiteY58" fmla="*/ 4283 h 10000"/>
                <a:gd name="connsiteX59" fmla="*/ 240 w 9965"/>
                <a:gd name="connsiteY59" fmla="*/ 3912 h 10000"/>
                <a:gd name="connsiteX60" fmla="*/ 294 w 9965"/>
                <a:gd name="connsiteY60" fmla="*/ 3664 h 10000"/>
                <a:gd name="connsiteX61" fmla="*/ 178 w 9965"/>
                <a:gd name="connsiteY61" fmla="*/ 3488 h 10000"/>
                <a:gd name="connsiteX62" fmla="*/ 223 w 9965"/>
                <a:gd name="connsiteY62" fmla="*/ 3344 h 10000"/>
                <a:gd name="connsiteX63" fmla="*/ 131 w 9965"/>
                <a:gd name="connsiteY63" fmla="*/ 3148 h 10000"/>
                <a:gd name="connsiteX64" fmla="*/ 131 w 9965"/>
                <a:gd name="connsiteY64" fmla="*/ 2972 h 10000"/>
                <a:gd name="connsiteX65" fmla="*/ 71 w 9965"/>
                <a:gd name="connsiteY65" fmla="*/ 2622 h 10000"/>
                <a:gd name="connsiteX66" fmla="*/ 116 w 9965"/>
                <a:gd name="connsiteY66" fmla="*/ 2404 h 10000"/>
                <a:gd name="connsiteX67" fmla="*/ 43 w 9965"/>
                <a:gd name="connsiteY67" fmla="*/ 2301 h 10000"/>
                <a:gd name="connsiteX68" fmla="*/ 0 w 9965"/>
                <a:gd name="connsiteY68" fmla="*/ 2178 h 10000"/>
                <a:gd name="connsiteX69" fmla="*/ 64 w 9965"/>
                <a:gd name="connsiteY69" fmla="*/ 1951 h 10000"/>
                <a:gd name="connsiteX70" fmla="*/ 139 w 9965"/>
                <a:gd name="connsiteY70" fmla="*/ 1910 h 10000"/>
                <a:gd name="connsiteX71" fmla="*/ 229 w 9965"/>
                <a:gd name="connsiteY71" fmla="*/ 1858 h 10000"/>
                <a:gd name="connsiteX72" fmla="*/ 363 w 9965"/>
                <a:gd name="connsiteY72" fmla="*/ 1951 h 10000"/>
                <a:gd name="connsiteX73" fmla="*/ 565 w 9965"/>
                <a:gd name="connsiteY73" fmla="*/ 2054 h 10000"/>
                <a:gd name="connsiteX74" fmla="*/ 742 w 9965"/>
                <a:gd name="connsiteY74" fmla="*/ 2229 h 10000"/>
                <a:gd name="connsiteX75" fmla="*/ 887 w 9965"/>
                <a:gd name="connsiteY75" fmla="*/ 2373 h 10000"/>
                <a:gd name="connsiteX76" fmla="*/ 852 w 9965"/>
                <a:gd name="connsiteY76" fmla="*/ 2777 h 10000"/>
                <a:gd name="connsiteX77" fmla="*/ 424 w 9965"/>
                <a:gd name="connsiteY77" fmla="*/ 2673 h 10000"/>
                <a:gd name="connsiteX78" fmla="*/ 287 w 9965"/>
                <a:gd name="connsiteY78" fmla="*/ 2550 h 10000"/>
                <a:gd name="connsiteX79" fmla="*/ 338 w 9965"/>
                <a:gd name="connsiteY79" fmla="*/ 2622 h 10000"/>
                <a:gd name="connsiteX80" fmla="*/ 388 w 9965"/>
                <a:gd name="connsiteY80" fmla="*/ 2797 h 10000"/>
                <a:gd name="connsiteX81" fmla="*/ 469 w 9965"/>
                <a:gd name="connsiteY81" fmla="*/ 2921 h 10000"/>
                <a:gd name="connsiteX82" fmla="*/ 489 w 9965"/>
                <a:gd name="connsiteY82" fmla="*/ 3189 h 10000"/>
                <a:gd name="connsiteX83" fmla="*/ 595 w 9965"/>
                <a:gd name="connsiteY83" fmla="*/ 3313 h 10000"/>
                <a:gd name="connsiteX84" fmla="*/ 684 w 9965"/>
                <a:gd name="connsiteY84" fmla="*/ 3436 h 10000"/>
                <a:gd name="connsiteX85" fmla="*/ 711 w 9965"/>
                <a:gd name="connsiteY85" fmla="*/ 3467 h 10000"/>
                <a:gd name="connsiteX86" fmla="*/ 764 w 9965"/>
                <a:gd name="connsiteY86" fmla="*/ 3436 h 10000"/>
                <a:gd name="connsiteX87" fmla="*/ 742 w 9965"/>
                <a:gd name="connsiteY87" fmla="*/ 3364 h 10000"/>
                <a:gd name="connsiteX88" fmla="*/ 640 w 9965"/>
                <a:gd name="connsiteY88" fmla="*/ 3189 h 10000"/>
                <a:gd name="connsiteX89" fmla="*/ 942 w 9965"/>
                <a:gd name="connsiteY89" fmla="*/ 3344 h 10000"/>
                <a:gd name="connsiteX90" fmla="*/ 951 w 9965"/>
                <a:gd name="connsiteY90" fmla="*/ 3271 h 10000"/>
                <a:gd name="connsiteX91" fmla="*/ 921 w 9965"/>
                <a:gd name="connsiteY91" fmla="*/ 3220 h 10000"/>
                <a:gd name="connsiteX92" fmla="*/ 869 w 9965"/>
                <a:gd name="connsiteY92" fmla="*/ 2993 h 10000"/>
                <a:gd name="connsiteX93" fmla="*/ 1019 w 9965"/>
                <a:gd name="connsiteY93" fmla="*/ 2777 h 10000"/>
                <a:gd name="connsiteX94" fmla="*/ 1138 w 9965"/>
                <a:gd name="connsiteY94" fmla="*/ 2921 h 10000"/>
                <a:gd name="connsiteX95" fmla="*/ 1173 w 9965"/>
                <a:gd name="connsiteY95" fmla="*/ 2725 h 10000"/>
                <a:gd name="connsiteX96" fmla="*/ 1117 w 9965"/>
                <a:gd name="connsiteY96" fmla="*/ 2653 h 10000"/>
                <a:gd name="connsiteX97" fmla="*/ 1097 w 9965"/>
                <a:gd name="connsiteY97" fmla="*/ 2281 h 10000"/>
                <a:gd name="connsiteX98" fmla="*/ 1073 w 9965"/>
                <a:gd name="connsiteY98" fmla="*/ 2229 h 10000"/>
                <a:gd name="connsiteX99" fmla="*/ 1215 w 9965"/>
                <a:gd name="connsiteY99" fmla="*/ 2250 h 10000"/>
                <a:gd name="connsiteX100" fmla="*/ 1276 w 9965"/>
                <a:gd name="connsiteY100" fmla="*/ 2404 h 10000"/>
                <a:gd name="connsiteX101" fmla="*/ 1199 w 9965"/>
                <a:gd name="connsiteY101" fmla="*/ 2529 h 10000"/>
                <a:gd name="connsiteX102" fmla="*/ 1331 w 9965"/>
                <a:gd name="connsiteY102" fmla="*/ 2694 h 10000"/>
                <a:gd name="connsiteX103" fmla="*/ 1439 w 9965"/>
                <a:gd name="connsiteY103" fmla="*/ 2529 h 10000"/>
                <a:gd name="connsiteX104" fmla="*/ 1572 w 9965"/>
                <a:gd name="connsiteY104" fmla="*/ 2301 h 10000"/>
                <a:gd name="connsiteX105" fmla="*/ 1714 w 9965"/>
                <a:gd name="connsiteY105" fmla="*/ 2157 h 10000"/>
                <a:gd name="connsiteX106" fmla="*/ 1755 w 9965"/>
                <a:gd name="connsiteY106" fmla="*/ 2250 h 10000"/>
                <a:gd name="connsiteX107" fmla="*/ 2120 w 9965"/>
                <a:gd name="connsiteY107" fmla="*/ 2054 h 10000"/>
                <a:gd name="connsiteX108" fmla="*/ 2194 w 9965"/>
                <a:gd name="connsiteY108" fmla="*/ 2250 h 10000"/>
                <a:gd name="connsiteX109" fmla="*/ 2184 w 9965"/>
                <a:gd name="connsiteY109" fmla="*/ 2002 h 10000"/>
                <a:gd name="connsiteX110" fmla="*/ 2086 w 9965"/>
                <a:gd name="connsiteY110" fmla="*/ 1786 h 10000"/>
                <a:gd name="connsiteX111" fmla="*/ 2070 w 9965"/>
                <a:gd name="connsiteY111" fmla="*/ 1703 h 10000"/>
                <a:gd name="connsiteX112" fmla="*/ 2141 w 9965"/>
                <a:gd name="connsiteY112" fmla="*/ 1786 h 10000"/>
                <a:gd name="connsiteX113" fmla="*/ 2385 w 9965"/>
                <a:gd name="connsiteY113" fmla="*/ 1951 h 10000"/>
                <a:gd name="connsiteX114" fmla="*/ 2665 w 9965"/>
                <a:gd name="connsiteY114" fmla="*/ 2126 h 10000"/>
                <a:gd name="connsiteX115" fmla="*/ 2798 w 9965"/>
                <a:gd name="connsiteY115" fmla="*/ 2250 h 10000"/>
                <a:gd name="connsiteX116" fmla="*/ 2841 w 9965"/>
                <a:gd name="connsiteY116" fmla="*/ 2074 h 10000"/>
                <a:gd name="connsiteX117" fmla="*/ 2779 w 9965"/>
                <a:gd name="connsiteY117" fmla="*/ 2033 h 10000"/>
                <a:gd name="connsiteX118" fmla="*/ 2698 w 9965"/>
                <a:gd name="connsiteY118" fmla="*/ 1930 h 10000"/>
                <a:gd name="connsiteX119" fmla="*/ 2644 w 9965"/>
                <a:gd name="connsiteY119" fmla="*/ 1734 h 10000"/>
                <a:gd name="connsiteX120" fmla="*/ 2565 w 9965"/>
                <a:gd name="connsiteY120" fmla="*/ 1486 h 10000"/>
                <a:gd name="connsiteX121" fmla="*/ 2594 w 9965"/>
                <a:gd name="connsiteY121" fmla="*/ 1434 h 10000"/>
                <a:gd name="connsiteX122" fmla="*/ 2619 w 9965"/>
                <a:gd name="connsiteY122" fmla="*/ 1455 h 10000"/>
                <a:gd name="connsiteX123" fmla="*/ 2689 w 9965"/>
                <a:gd name="connsiteY123" fmla="*/ 1115 h 10000"/>
                <a:gd name="connsiteX124" fmla="*/ 2868 w 9965"/>
                <a:gd name="connsiteY124" fmla="*/ 1135 h 10000"/>
                <a:gd name="connsiteX125" fmla="*/ 2920 w 9965"/>
                <a:gd name="connsiteY125" fmla="*/ 1311 h 10000"/>
                <a:gd name="connsiteX126" fmla="*/ 2956 w 9965"/>
                <a:gd name="connsiteY126" fmla="*/ 1538 h 10000"/>
                <a:gd name="connsiteX127" fmla="*/ 3021 w 9965"/>
                <a:gd name="connsiteY127" fmla="*/ 1734 h 10000"/>
                <a:gd name="connsiteX128" fmla="*/ 3134 w 9965"/>
                <a:gd name="connsiteY128" fmla="*/ 2157 h 10000"/>
                <a:gd name="connsiteX129" fmla="*/ 2913 w 9965"/>
                <a:gd name="connsiteY129" fmla="*/ 2673 h 10000"/>
                <a:gd name="connsiteX130" fmla="*/ 3002 w 9965"/>
                <a:gd name="connsiteY130" fmla="*/ 2746 h 10000"/>
                <a:gd name="connsiteX131" fmla="*/ 3116 w 9965"/>
                <a:gd name="connsiteY131" fmla="*/ 2818 h 10000"/>
                <a:gd name="connsiteX132" fmla="*/ 3266 w 9965"/>
                <a:gd name="connsiteY132" fmla="*/ 2622 h 10000"/>
                <a:gd name="connsiteX133" fmla="*/ 3273 w 9965"/>
                <a:gd name="connsiteY133" fmla="*/ 2404 h 10000"/>
                <a:gd name="connsiteX134" fmla="*/ 3223 w 9965"/>
                <a:gd name="connsiteY134" fmla="*/ 2301 h 10000"/>
                <a:gd name="connsiteX135" fmla="*/ 3426 w 9965"/>
                <a:gd name="connsiteY135" fmla="*/ 2250 h 10000"/>
                <a:gd name="connsiteX136" fmla="*/ 3510 w 9965"/>
                <a:gd name="connsiteY136" fmla="*/ 2497 h 10000"/>
                <a:gd name="connsiteX137" fmla="*/ 3510 w 9965"/>
                <a:gd name="connsiteY137" fmla="*/ 2425 h 10000"/>
                <a:gd name="connsiteX138" fmla="*/ 3489 w 9965"/>
                <a:gd name="connsiteY138" fmla="*/ 2353 h 10000"/>
                <a:gd name="connsiteX139" fmla="*/ 3482 w 9965"/>
                <a:gd name="connsiteY139" fmla="*/ 2178 h 10000"/>
                <a:gd name="connsiteX140" fmla="*/ 3286 w 9965"/>
                <a:gd name="connsiteY140" fmla="*/ 1930 h 10000"/>
                <a:gd name="connsiteX141" fmla="*/ 3134 w 9965"/>
                <a:gd name="connsiteY141" fmla="*/ 2002 h 10000"/>
                <a:gd name="connsiteX142" fmla="*/ 3069 w 9965"/>
                <a:gd name="connsiteY142" fmla="*/ 1683 h 10000"/>
                <a:gd name="connsiteX143" fmla="*/ 3009 w 9965"/>
                <a:gd name="connsiteY143" fmla="*/ 1507 h 10000"/>
                <a:gd name="connsiteX144" fmla="*/ 3069 w 9965"/>
                <a:gd name="connsiteY144" fmla="*/ 1331 h 10000"/>
                <a:gd name="connsiteX145" fmla="*/ 3063 w 9965"/>
                <a:gd name="connsiteY145" fmla="*/ 1166 h 10000"/>
                <a:gd name="connsiteX146" fmla="*/ 3037 w 9965"/>
                <a:gd name="connsiteY146" fmla="*/ 1115 h 10000"/>
                <a:gd name="connsiteX147" fmla="*/ 3083 w 9965"/>
                <a:gd name="connsiteY147" fmla="*/ 1115 h 10000"/>
                <a:gd name="connsiteX148" fmla="*/ 3134 w 9965"/>
                <a:gd name="connsiteY148" fmla="*/ 1455 h 10000"/>
                <a:gd name="connsiteX149" fmla="*/ 3394 w 9965"/>
                <a:gd name="connsiteY149" fmla="*/ 1662 h 10000"/>
                <a:gd name="connsiteX150" fmla="*/ 3197 w 9965"/>
                <a:gd name="connsiteY150" fmla="*/ 1383 h 10000"/>
                <a:gd name="connsiteX151" fmla="*/ 3579 w 9965"/>
                <a:gd name="connsiteY151" fmla="*/ 1383 h 10000"/>
                <a:gd name="connsiteX152" fmla="*/ 3640 w 9965"/>
                <a:gd name="connsiteY152" fmla="*/ 1362 h 10000"/>
                <a:gd name="connsiteX153" fmla="*/ 3400 w 9965"/>
                <a:gd name="connsiteY153" fmla="*/ 1115 h 10000"/>
                <a:gd name="connsiteX154" fmla="*/ 3463 w 9965"/>
                <a:gd name="connsiteY154" fmla="*/ 888 h 10000"/>
                <a:gd name="connsiteX155" fmla="*/ 3730 w 9965"/>
                <a:gd name="connsiteY155" fmla="*/ 888 h 10000"/>
                <a:gd name="connsiteX156" fmla="*/ 3704 w 9965"/>
                <a:gd name="connsiteY156" fmla="*/ 713 h 10000"/>
                <a:gd name="connsiteX157" fmla="*/ 3793 w 9965"/>
                <a:gd name="connsiteY157" fmla="*/ 589 h 10000"/>
                <a:gd name="connsiteX158" fmla="*/ 3845 w 9965"/>
                <a:gd name="connsiteY158" fmla="*/ 548 h 10000"/>
                <a:gd name="connsiteX159" fmla="*/ 4043 w 9965"/>
                <a:gd name="connsiteY159" fmla="*/ 423 h 10000"/>
                <a:gd name="connsiteX160" fmla="*/ 4092 w 9965"/>
                <a:gd name="connsiteY160" fmla="*/ 371 h 10000"/>
                <a:gd name="connsiteX161" fmla="*/ 4084 w 9965"/>
                <a:gd name="connsiteY161" fmla="*/ 444 h 10000"/>
                <a:gd name="connsiteX162" fmla="*/ 4297 w 9965"/>
                <a:gd name="connsiteY162" fmla="*/ 371 h 10000"/>
                <a:gd name="connsiteX163" fmla="*/ 4467 w 9965"/>
                <a:gd name="connsiteY163" fmla="*/ 248 h 10000"/>
                <a:gd name="connsiteX164" fmla="*/ 4493 w 9965"/>
                <a:gd name="connsiteY164" fmla="*/ 0 h 10000"/>
                <a:gd name="connsiteX165" fmla="*/ 4681 w 9965"/>
                <a:gd name="connsiteY165" fmla="*/ 21 h 10000"/>
                <a:gd name="connsiteX166" fmla="*/ 4669 w 9965"/>
                <a:gd name="connsiteY166" fmla="*/ 93 h 10000"/>
                <a:gd name="connsiteX167" fmla="*/ 4681 w 9965"/>
                <a:gd name="connsiteY167" fmla="*/ 176 h 10000"/>
                <a:gd name="connsiteX168" fmla="*/ 4794 w 9965"/>
                <a:gd name="connsiteY168" fmla="*/ 248 h 10000"/>
                <a:gd name="connsiteX169" fmla="*/ 5140 w 9965"/>
                <a:gd name="connsiteY169" fmla="*/ 268 h 10000"/>
                <a:gd name="connsiteX170" fmla="*/ 5326 w 9965"/>
                <a:gd name="connsiteY170" fmla="*/ 392 h 10000"/>
                <a:gd name="connsiteX171" fmla="*/ 5265 w 9965"/>
                <a:gd name="connsiteY171" fmla="*/ 795 h 10000"/>
                <a:gd name="connsiteX172" fmla="*/ 5197 w 9965"/>
                <a:gd name="connsiteY172" fmla="*/ 919 h 10000"/>
                <a:gd name="connsiteX173" fmla="*/ 5111 w 9965"/>
                <a:gd name="connsiteY173" fmla="*/ 1043 h 10000"/>
                <a:gd name="connsiteX174" fmla="*/ 5132 w 9965"/>
                <a:gd name="connsiteY174" fmla="*/ 1115 h 10000"/>
                <a:gd name="connsiteX175" fmla="*/ 5379 w 9965"/>
                <a:gd name="connsiteY175" fmla="*/ 919 h 10000"/>
                <a:gd name="connsiteX176" fmla="*/ 5938 w 9965"/>
                <a:gd name="connsiteY176" fmla="*/ 991 h 10000"/>
                <a:gd name="connsiteX177" fmla="*/ 5996 w 9965"/>
                <a:gd name="connsiteY177" fmla="*/ 1063 h 10000"/>
                <a:gd name="connsiteX178" fmla="*/ 6117 w 9965"/>
                <a:gd name="connsiteY178" fmla="*/ 1187 h 10000"/>
                <a:gd name="connsiteX179" fmla="*/ 6287 w 9965"/>
                <a:gd name="connsiteY179" fmla="*/ 919 h 10000"/>
                <a:gd name="connsiteX180" fmla="*/ 6547 w 9965"/>
                <a:gd name="connsiteY180" fmla="*/ 1063 h 10000"/>
                <a:gd name="connsiteX181" fmla="*/ 6622 w 9965"/>
                <a:gd name="connsiteY181" fmla="*/ 1115 h 10000"/>
                <a:gd name="connsiteX182" fmla="*/ 6686 w 9965"/>
                <a:gd name="connsiteY182" fmla="*/ 1166 h 10000"/>
                <a:gd name="connsiteX183" fmla="*/ 6936 w 9965"/>
                <a:gd name="connsiteY183" fmla="*/ 1631 h 10000"/>
                <a:gd name="connsiteX184" fmla="*/ 7025 w 9965"/>
                <a:gd name="connsiteY184" fmla="*/ 1611 h 10000"/>
                <a:gd name="connsiteX185" fmla="*/ 7015 w 9965"/>
                <a:gd name="connsiteY185" fmla="*/ 1507 h 10000"/>
                <a:gd name="connsiteX186" fmla="*/ 7025 w 9965"/>
                <a:gd name="connsiteY186" fmla="*/ 1383 h 10000"/>
                <a:gd name="connsiteX187" fmla="*/ 7149 w 9965"/>
                <a:gd name="connsiteY187" fmla="*/ 1486 h 10000"/>
                <a:gd name="connsiteX188" fmla="*/ 7352 w 9965"/>
                <a:gd name="connsiteY188" fmla="*/ 1507 h 10000"/>
                <a:gd name="connsiteX189" fmla="*/ 7524 w 9965"/>
                <a:gd name="connsiteY189" fmla="*/ 1455 h 10000"/>
                <a:gd name="connsiteX190" fmla="*/ 7443 w 9965"/>
                <a:gd name="connsiteY190" fmla="*/ 1362 h 10000"/>
                <a:gd name="connsiteX191" fmla="*/ 7548 w 9965"/>
                <a:gd name="connsiteY191" fmla="*/ 1084 h 10000"/>
                <a:gd name="connsiteX192" fmla="*/ 7849 w 9965"/>
                <a:gd name="connsiteY192" fmla="*/ 1207 h 10000"/>
                <a:gd name="connsiteX193" fmla="*/ 8151 w 9965"/>
                <a:gd name="connsiteY193" fmla="*/ 1331 h 10000"/>
                <a:gd name="connsiteX194" fmla="*/ 8178 w 9965"/>
                <a:gd name="connsiteY194" fmla="*/ 1362 h 10000"/>
                <a:gd name="connsiteX195" fmla="*/ 8442 w 9965"/>
                <a:gd name="connsiteY195" fmla="*/ 1611 h 10000"/>
                <a:gd name="connsiteX196" fmla="*/ 8646 w 9965"/>
                <a:gd name="connsiteY196" fmla="*/ 1507 h 10000"/>
                <a:gd name="connsiteX197" fmla="*/ 8900 w 9965"/>
                <a:gd name="connsiteY197" fmla="*/ 1538 h 10000"/>
                <a:gd name="connsiteX198" fmla="*/ 8987 w 9965"/>
                <a:gd name="connsiteY198" fmla="*/ 1611 h 10000"/>
                <a:gd name="connsiteX199" fmla="*/ 9306 w 9965"/>
                <a:gd name="connsiteY199" fmla="*/ 1930 h 10000"/>
                <a:gd name="connsiteX200" fmla="*/ 9662 w 9965"/>
                <a:gd name="connsiteY200" fmla="*/ 1879 h 10000"/>
                <a:gd name="connsiteX201" fmla="*/ 9787 w 9965"/>
                <a:gd name="connsiteY201" fmla="*/ 2033 h 10000"/>
                <a:gd name="connsiteX202" fmla="*/ 9965 w 9965"/>
                <a:gd name="connsiteY202" fmla="*/ 2157 h 10000"/>
                <a:gd name="connsiteX203" fmla="*/ 9839 w 9965"/>
                <a:gd name="connsiteY203" fmla="*/ 1930 h 10000"/>
                <a:gd name="connsiteX0" fmla="*/ 1897 w 9874"/>
                <a:gd name="connsiteY0" fmla="*/ 7183 h 10000"/>
                <a:gd name="connsiteX1" fmla="*/ 1948 w 9874"/>
                <a:gd name="connsiteY1" fmla="*/ 7430 h 10000"/>
                <a:gd name="connsiteX2" fmla="*/ 1889 w 9874"/>
                <a:gd name="connsiteY2" fmla="*/ 7430 h 10000"/>
                <a:gd name="connsiteX3" fmla="*/ 1826 w 9874"/>
                <a:gd name="connsiteY3" fmla="*/ 7255 h 10000"/>
                <a:gd name="connsiteX4" fmla="*/ 1780 w 9874"/>
                <a:gd name="connsiteY4" fmla="*/ 7430 h 10000"/>
                <a:gd name="connsiteX5" fmla="*/ 1789 w 9874"/>
                <a:gd name="connsiteY5" fmla="*/ 7854 h 10000"/>
                <a:gd name="connsiteX6" fmla="*/ 1889 w 9874"/>
                <a:gd name="connsiteY6" fmla="*/ 8070 h 10000"/>
                <a:gd name="connsiteX7" fmla="*/ 1941 w 9874"/>
                <a:gd name="connsiteY7" fmla="*/ 8019 h 10000"/>
                <a:gd name="connsiteX8" fmla="*/ 2052 w 9874"/>
                <a:gd name="connsiteY8" fmla="*/ 8493 h 10000"/>
                <a:gd name="connsiteX9" fmla="*/ 1897 w 9874"/>
                <a:gd name="connsiteY9" fmla="*/ 8669 h 10000"/>
                <a:gd name="connsiteX10" fmla="*/ 1879 w 9874"/>
                <a:gd name="connsiteY10" fmla="*/ 9009 h 10000"/>
                <a:gd name="connsiteX11" fmla="*/ 1960 w 9874"/>
                <a:gd name="connsiteY11" fmla="*/ 9236 h 10000"/>
                <a:gd name="connsiteX12" fmla="*/ 1960 w 9874"/>
                <a:gd name="connsiteY12" fmla="*/ 9484 h 10000"/>
                <a:gd name="connsiteX13" fmla="*/ 2084 w 9874"/>
                <a:gd name="connsiteY13" fmla="*/ 9835 h 10000"/>
                <a:gd name="connsiteX14" fmla="*/ 2007 w 9874"/>
                <a:gd name="connsiteY14" fmla="*/ 10000 h 10000"/>
                <a:gd name="connsiteX15" fmla="*/ 1889 w 9874"/>
                <a:gd name="connsiteY15" fmla="*/ 9753 h 10000"/>
                <a:gd name="connsiteX16" fmla="*/ 1727 w 9874"/>
                <a:gd name="connsiteY16" fmla="*/ 9505 h 10000"/>
                <a:gd name="connsiteX17" fmla="*/ 1657 w 9874"/>
                <a:gd name="connsiteY17" fmla="*/ 9588 h 10000"/>
                <a:gd name="connsiteX18" fmla="*/ 1539 w 9874"/>
                <a:gd name="connsiteY18" fmla="*/ 9380 h 10000"/>
                <a:gd name="connsiteX19" fmla="*/ 1293 w 9874"/>
                <a:gd name="connsiteY19" fmla="*/ 9339 h 10000"/>
                <a:gd name="connsiteX20" fmla="*/ 997 w 9874"/>
                <a:gd name="connsiteY20" fmla="*/ 8813 h 10000"/>
                <a:gd name="connsiteX21" fmla="*/ 1077 w 9874"/>
                <a:gd name="connsiteY21" fmla="*/ 8721 h 10000"/>
                <a:gd name="connsiteX22" fmla="*/ 1134 w 9874"/>
                <a:gd name="connsiteY22" fmla="*/ 8493 h 10000"/>
                <a:gd name="connsiteX23" fmla="*/ 1071 w 9874"/>
                <a:gd name="connsiteY23" fmla="*/ 8390 h 10000"/>
                <a:gd name="connsiteX24" fmla="*/ 1203 w 9874"/>
                <a:gd name="connsiteY24" fmla="*/ 8245 h 10000"/>
                <a:gd name="connsiteX25" fmla="*/ 1113 w 9874"/>
                <a:gd name="connsiteY25" fmla="*/ 8194 h 10000"/>
                <a:gd name="connsiteX26" fmla="*/ 1130 w 9874"/>
                <a:gd name="connsiteY26" fmla="*/ 8091 h 10000"/>
                <a:gd name="connsiteX27" fmla="*/ 1183 w 9874"/>
                <a:gd name="connsiteY27" fmla="*/ 8111 h 10000"/>
                <a:gd name="connsiteX28" fmla="*/ 1249 w 9874"/>
                <a:gd name="connsiteY28" fmla="*/ 8019 h 10000"/>
                <a:gd name="connsiteX29" fmla="*/ 1216 w 9874"/>
                <a:gd name="connsiteY29" fmla="*/ 7864 h 10000"/>
                <a:gd name="connsiteX30" fmla="*/ 1229 w 9874"/>
                <a:gd name="connsiteY30" fmla="*/ 7503 h 10000"/>
                <a:gd name="connsiteX31" fmla="*/ 1094 w 9874"/>
                <a:gd name="connsiteY31" fmla="*/ 7440 h 10000"/>
                <a:gd name="connsiteX32" fmla="*/ 978 w 9874"/>
                <a:gd name="connsiteY32" fmla="*/ 7286 h 10000"/>
                <a:gd name="connsiteX33" fmla="*/ 825 w 9874"/>
                <a:gd name="connsiteY33" fmla="*/ 7275 h 10000"/>
                <a:gd name="connsiteX34" fmla="*/ 804 w 9874"/>
                <a:gd name="connsiteY34" fmla="*/ 7090 h 10000"/>
                <a:gd name="connsiteX35" fmla="*/ 703 w 9874"/>
                <a:gd name="connsiteY35" fmla="*/ 6945 h 10000"/>
                <a:gd name="connsiteX36" fmla="*/ 725 w 9874"/>
                <a:gd name="connsiteY36" fmla="*/ 6822 h 10000"/>
                <a:gd name="connsiteX37" fmla="*/ 661 w 9874"/>
                <a:gd name="connsiteY37" fmla="*/ 6698 h 10000"/>
                <a:gd name="connsiteX38" fmla="*/ 538 w 9874"/>
                <a:gd name="connsiteY38" fmla="*/ 6698 h 10000"/>
                <a:gd name="connsiteX39" fmla="*/ 501 w 9874"/>
                <a:gd name="connsiteY39" fmla="*/ 6791 h 10000"/>
                <a:gd name="connsiteX40" fmla="*/ 471 w 9874"/>
                <a:gd name="connsiteY40" fmla="*/ 6750 h 10000"/>
                <a:gd name="connsiteX41" fmla="*/ 445 w 9874"/>
                <a:gd name="connsiteY41" fmla="*/ 6439 h 10000"/>
                <a:gd name="connsiteX42" fmla="*/ 495 w 9874"/>
                <a:gd name="connsiteY42" fmla="*/ 6470 h 10000"/>
                <a:gd name="connsiteX43" fmla="*/ 549 w 9874"/>
                <a:gd name="connsiteY43" fmla="*/ 6347 h 10000"/>
                <a:gd name="connsiteX44" fmla="*/ 471 w 9874"/>
                <a:gd name="connsiteY44" fmla="*/ 6233 h 10000"/>
                <a:gd name="connsiteX45" fmla="*/ 371 w 9874"/>
                <a:gd name="connsiteY45" fmla="*/ 6017 h 10000"/>
                <a:gd name="connsiteX46" fmla="*/ 392 w 9874"/>
                <a:gd name="connsiteY46" fmla="*/ 5821 h 10000"/>
                <a:gd name="connsiteX47" fmla="*/ 321 w 9874"/>
                <a:gd name="connsiteY47" fmla="*/ 5697 h 10000"/>
                <a:gd name="connsiteX48" fmla="*/ 266 w 9874"/>
                <a:gd name="connsiteY48" fmla="*/ 5728 h 10000"/>
                <a:gd name="connsiteX49" fmla="*/ 237 w 9874"/>
                <a:gd name="connsiteY49" fmla="*/ 5604 h 10000"/>
                <a:gd name="connsiteX50" fmla="*/ 193 w 9874"/>
                <a:gd name="connsiteY50" fmla="*/ 5645 h 10000"/>
                <a:gd name="connsiteX51" fmla="*/ 136 w 9874"/>
                <a:gd name="connsiteY51" fmla="*/ 5604 h 10000"/>
                <a:gd name="connsiteX52" fmla="*/ 81 w 9874"/>
                <a:gd name="connsiteY52" fmla="*/ 5181 h 10000"/>
                <a:gd name="connsiteX53" fmla="*/ 101 w 9874"/>
                <a:gd name="connsiteY53" fmla="*/ 5057 h 10000"/>
                <a:gd name="connsiteX54" fmla="*/ 46 w 9874"/>
                <a:gd name="connsiteY54" fmla="*/ 4892 h 10000"/>
                <a:gd name="connsiteX55" fmla="*/ 77 w 9874"/>
                <a:gd name="connsiteY55" fmla="*/ 4655 h 10000"/>
                <a:gd name="connsiteX56" fmla="*/ 249 w 9874"/>
                <a:gd name="connsiteY56" fmla="*/ 4510 h 10000"/>
                <a:gd name="connsiteX57" fmla="*/ 152 w 9874"/>
                <a:gd name="connsiteY57" fmla="*/ 4406 h 10000"/>
                <a:gd name="connsiteX58" fmla="*/ 98 w 9874"/>
                <a:gd name="connsiteY58" fmla="*/ 4283 h 10000"/>
                <a:gd name="connsiteX59" fmla="*/ 241 w 9874"/>
                <a:gd name="connsiteY59" fmla="*/ 3912 h 10000"/>
                <a:gd name="connsiteX60" fmla="*/ 295 w 9874"/>
                <a:gd name="connsiteY60" fmla="*/ 3664 h 10000"/>
                <a:gd name="connsiteX61" fmla="*/ 179 w 9874"/>
                <a:gd name="connsiteY61" fmla="*/ 3488 h 10000"/>
                <a:gd name="connsiteX62" fmla="*/ 224 w 9874"/>
                <a:gd name="connsiteY62" fmla="*/ 3344 h 10000"/>
                <a:gd name="connsiteX63" fmla="*/ 131 w 9874"/>
                <a:gd name="connsiteY63" fmla="*/ 3148 h 10000"/>
                <a:gd name="connsiteX64" fmla="*/ 131 w 9874"/>
                <a:gd name="connsiteY64" fmla="*/ 2972 h 10000"/>
                <a:gd name="connsiteX65" fmla="*/ 71 w 9874"/>
                <a:gd name="connsiteY65" fmla="*/ 2622 h 10000"/>
                <a:gd name="connsiteX66" fmla="*/ 116 w 9874"/>
                <a:gd name="connsiteY66" fmla="*/ 2404 h 10000"/>
                <a:gd name="connsiteX67" fmla="*/ 43 w 9874"/>
                <a:gd name="connsiteY67" fmla="*/ 2301 h 10000"/>
                <a:gd name="connsiteX68" fmla="*/ 0 w 9874"/>
                <a:gd name="connsiteY68" fmla="*/ 2178 h 10000"/>
                <a:gd name="connsiteX69" fmla="*/ 64 w 9874"/>
                <a:gd name="connsiteY69" fmla="*/ 1951 h 10000"/>
                <a:gd name="connsiteX70" fmla="*/ 139 w 9874"/>
                <a:gd name="connsiteY70" fmla="*/ 1910 h 10000"/>
                <a:gd name="connsiteX71" fmla="*/ 230 w 9874"/>
                <a:gd name="connsiteY71" fmla="*/ 1858 h 10000"/>
                <a:gd name="connsiteX72" fmla="*/ 364 w 9874"/>
                <a:gd name="connsiteY72" fmla="*/ 1951 h 10000"/>
                <a:gd name="connsiteX73" fmla="*/ 567 w 9874"/>
                <a:gd name="connsiteY73" fmla="*/ 2054 h 10000"/>
                <a:gd name="connsiteX74" fmla="*/ 745 w 9874"/>
                <a:gd name="connsiteY74" fmla="*/ 2229 h 10000"/>
                <a:gd name="connsiteX75" fmla="*/ 890 w 9874"/>
                <a:gd name="connsiteY75" fmla="*/ 2373 h 10000"/>
                <a:gd name="connsiteX76" fmla="*/ 855 w 9874"/>
                <a:gd name="connsiteY76" fmla="*/ 2777 h 10000"/>
                <a:gd name="connsiteX77" fmla="*/ 425 w 9874"/>
                <a:gd name="connsiteY77" fmla="*/ 2673 h 10000"/>
                <a:gd name="connsiteX78" fmla="*/ 288 w 9874"/>
                <a:gd name="connsiteY78" fmla="*/ 2550 h 10000"/>
                <a:gd name="connsiteX79" fmla="*/ 339 w 9874"/>
                <a:gd name="connsiteY79" fmla="*/ 2622 h 10000"/>
                <a:gd name="connsiteX80" fmla="*/ 389 w 9874"/>
                <a:gd name="connsiteY80" fmla="*/ 2797 h 10000"/>
                <a:gd name="connsiteX81" fmla="*/ 471 w 9874"/>
                <a:gd name="connsiteY81" fmla="*/ 2921 h 10000"/>
                <a:gd name="connsiteX82" fmla="*/ 491 w 9874"/>
                <a:gd name="connsiteY82" fmla="*/ 3189 h 10000"/>
                <a:gd name="connsiteX83" fmla="*/ 597 w 9874"/>
                <a:gd name="connsiteY83" fmla="*/ 3313 h 10000"/>
                <a:gd name="connsiteX84" fmla="*/ 686 w 9874"/>
                <a:gd name="connsiteY84" fmla="*/ 3436 h 10000"/>
                <a:gd name="connsiteX85" fmla="*/ 713 w 9874"/>
                <a:gd name="connsiteY85" fmla="*/ 3467 h 10000"/>
                <a:gd name="connsiteX86" fmla="*/ 767 w 9874"/>
                <a:gd name="connsiteY86" fmla="*/ 3436 h 10000"/>
                <a:gd name="connsiteX87" fmla="*/ 745 w 9874"/>
                <a:gd name="connsiteY87" fmla="*/ 3364 h 10000"/>
                <a:gd name="connsiteX88" fmla="*/ 642 w 9874"/>
                <a:gd name="connsiteY88" fmla="*/ 3189 h 10000"/>
                <a:gd name="connsiteX89" fmla="*/ 945 w 9874"/>
                <a:gd name="connsiteY89" fmla="*/ 3344 h 10000"/>
                <a:gd name="connsiteX90" fmla="*/ 954 w 9874"/>
                <a:gd name="connsiteY90" fmla="*/ 3271 h 10000"/>
                <a:gd name="connsiteX91" fmla="*/ 924 w 9874"/>
                <a:gd name="connsiteY91" fmla="*/ 3220 h 10000"/>
                <a:gd name="connsiteX92" fmla="*/ 872 w 9874"/>
                <a:gd name="connsiteY92" fmla="*/ 2993 h 10000"/>
                <a:gd name="connsiteX93" fmla="*/ 1023 w 9874"/>
                <a:gd name="connsiteY93" fmla="*/ 2777 h 10000"/>
                <a:gd name="connsiteX94" fmla="*/ 1142 w 9874"/>
                <a:gd name="connsiteY94" fmla="*/ 2921 h 10000"/>
                <a:gd name="connsiteX95" fmla="*/ 1177 w 9874"/>
                <a:gd name="connsiteY95" fmla="*/ 2725 h 10000"/>
                <a:gd name="connsiteX96" fmla="*/ 1121 w 9874"/>
                <a:gd name="connsiteY96" fmla="*/ 2653 h 10000"/>
                <a:gd name="connsiteX97" fmla="*/ 1101 w 9874"/>
                <a:gd name="connsiteY97" fmla="*/ 2281 h 10000"/>
                <a:gd name="connsiteX98" fmla="*/ 1077 w 9874"/>
                <a:gd name="connsiteY98" fmla="*/ 2229 h 10000"/>
                <a:gd name="connsiteX99" fmla="*/ 1219 w 9874"/>
                <a:gd name="connsiteY99" fmla="*/ 2250 h 10000"/>
                <a:gd name="connsiteX100" fmla="*/ 1280 w 9874"/>
                <a:gd name="connsiteY100" fmla="*/ 2404 h 10000"/>
                <a:gd name="connsiteX101" fmla="*/ 1203 w 9874"/>
                <a:gd name="connsiteY101" fmla="*/ 2529 h 10000"/>
                <a:gd name="connsiteX102" fmla="*/ 1336 w 9874"/>
                <a:gd name="connsiteY102" fmla="*/ 2694 h 10000"/>
                <a:gd name="connsiteX103" fmla="*/ 1444 w 9874"/>
                <a:gd name="connsiteY103" fmla="*/ 2529 h 10000"/>
                <a:gd name="connsiteX104" fmla="*/ 1578 w 9874"/>
                <a:gd name="connsiteY104" fmla="*/ 2301 h 10000"/>
                <a:gd name="connsiteX105" fmla="*/ 1720 w 9874"/>
                <a:gd name="connsiteY105" fmla="*/ 2157 h 10000"/>
                <a:gd name="connsiteX106" fmla="*/ 1761 w 9874"/>
                <a:gd name="connsiteY106" fmla="*/ 2250 h 10000"/>
                <a:gd name="connsiteX107" fmla="*/ 2127 w 9874"/>
                <a:gd name="connsiteY107" fmla="*/ 2054 h 10000"/>
                <a:gd name="connsiteX108" fmla="*/ 2202 w 9874"/>
                <a:gd name="connsiteY108" fmla="*/ 2250 h 10000"/>
                <a:gd name="connsiteX109" fmla="*/ 2192 w 9874"/>
                <a:gd name="connsiteY109" fmla="*/ 2002 h 10000"/>
                <a:gd name="connsiteX110" fmla="*/ 2093 w 9874"/>
                <a:gd name="connsiteY110" fmla="*/ 1786 h 10000"/>
                <a:gd name="connsiteX111" fmla="*/ 2077 w 9874"/>
                <a:gd name="connsiteY111" fmla="*/ 1703 h 10000"/>
                <a:gd name="connsiteX112" fmla="*/ 2149 w 9874"/>
                <a:gd name="connsiteY112" fmla="*/ 1786 h 10000"/>
                <a:gd name="connsiteX113" fmla="*/ 2393 w 9874"/>
                <a:gd name="connsiteY113" fmla="*/ 1951 h 10000"/>
                <a:gd name="connsiteX114" fmla="*/ 2674 w 9874"/>
                <a:gd name="connsiteY114" fmla="*/ 2126 h 10000"/>
                <a:gd name="connsiteX115" fmla="*/ 2808 w 9874"/>
                <a:gd name="connsiteY115" fmla="*/ 2250 h 10000"/>
                <a:gd name="connsiteX116" fmla="*/ 2851 w 9874"/>
                <a:gd name="connsiteY116" fmla="*/ 2074 h 10000"/>
                <a:gd name="connsiteX117" fmla="*/ 2789 w 9874"/>
                <a:gd name="connsiteY117" fmla="*/ 2033 h 10000"/>
                <a:gd name="connsiteX118" fmla="*/ 2707 w 9874"/>
                <a:gd name="connsiteY118" fmla="*/ 1930 h 10000"/>
                <a:gd name="connsiteX119" fmla="*/ 2653 w 9874"/>
                <a:gd name="connsiteY119" fmla="*/ 1734 h 10000"/>
                <a:gd name="connsiteX120" fmla="*/ 2574 w 9874"/>
                <a:gd name="connsiteY120" fmla="*/ 1486 h 10000"/>
                <a:gd name="connsiteX121" fmla="*/ 2603 w 9874"/>
                <a:gd name="connsiteY121" fmla="*/ 1434 h 10000"/>
                <a:gd name="connsiteX122" fmla="*/ 2628 w 9874"/>
                <a:gd name="connsiteY122" fmla="*/ 1455 h 10000"/>
                <a:gd name="connsiteX123" fmla="*/ 2698 w 9874"/>
                <a:gd name="connsiteY123" fmla="*/ 1115 h 10000"/>
                <a:gd name="connsiteX124" fmla="*/ 2878 w 9874"/>
                <a:gd name="connsiteY124" fmla="*/ 1135 h 10000"/>
                <a:gd name="connsiteX125" fmla="*/ 2930 w 9874"/>
                <a:gd name="connsiteY125" fmla="*/ 1311 h 10000"/>
                <a:gd name="connsiteX126" fmla="*/ 2966 w 9874"/>
                <a:gd name="connsiteY126" fmla="*/ 1538 h 10000"/>
                <a:gd name="connsiteX127" fmla="*/ 3032 w 9874"/>
                <a:gd name="connsiteY127" fmla="*/ 1734 h 10000"/>
                <a:gd name="connsiteX128" fmla="*/ 3145 w 9874"/>
                <a:gd name="connsiteY128" fmla="*/ 2157 h 10000"/>
                <a:gd name="connsiteX129" fmla="*/ 2923 w 9874"/>
                <a:gd name="connsiteY129" fmla="*/ 2673 h 10000"/>
                <a:gd name="connsiteX130" fmla="*/ 3013 w 9874"/>
                <a:gd name="connsiteY130" fmla="*/ 2746 h 10000"/>
                <a:gd name="connsiteX131" fmla="*/ 3127 w 9874"/>
                <a:gd name="connsiteY131" fmla="*/ 2818 h 10000"/>
                <a:gd name="connsiteX132" fmla="*/ 3277 w 9874"/>
                <a:gd name="connsiteY132" fmla="*/ 2622 h 10000"/>
                <a:gd name="connsiteX133" fmla="*/ 3284 w 9874"/>
                <a:gd name="connsiteY133" fmla="*/ 2404 h 10000"/>
                <a:gd name="connsiteX134" fmla="*/ 3234 w 9874"/>
                <a:gd name="connsiteY134" fmla="*/ 2301 h 10000"/>
                <a:gd name="connsiteX135" fmla="*/ 3438 w 9874"/>
                <a:gd name="connsiteY135" fmla="*/ 2250 h 10000"/>
                <a:gd name="connsiteX136" fmla="*/ 3522 w 9874"/>
                <a:gd name="connsiteY136" fmla="*/ 2497 h 10000"/>
                <a:gd name="connsiteX137" fmla="*/ 3522 w 9874"/>
                <a:gd name="connsiteY137" fmla="*/ 2425 h 10000"/>
                <a:gd name="connsiteX138" fmla="*/ 3501 w 9874"/>
                <a:gd name="connsiteY138" fmla="*/ 2353 h 10000"/>
                <a:gd name="connsiteX139" fmla="*/ 3494 w 9874"/>
                <a:gd name="connsiteY139" fmla="*/ 2178 h 10000"/>
                <a:gd name="connsiteX140" fmla="*/ 3298 w 9874"/>
                <a:gd name="connsiteY140" fmla="*/ 1930 h 10000"/>
                <a:gd name="connsiteX141" fmla="*/ 3145 w 9874"/>
                <a:gd name="connsiteY141" fmla="*/ 2002 h 10000"/>
                <a:gd name="connsiteX142" fmla="*/ 3080 w 9874"/>
                <a:gd name="connsiteY142" fmla="*/ 1683 h 10000"/>
                <a:gd name="connsiteX143" fmla="*/ 3020 w 9874"/>
                <a:gd name="connsiteY143" fmla="*/ 1507 h 10000"/>
                <a:gd name="connsiteX144" fmla="*/ 3080 w 9874"/>
                <a:gd name="connsiteY144" fmla="*/ 1331 h 10000"/>
                <a:gd name="connsiteX145" fmla="*/ 3074 w 9874"/>
                <a:gd name="connsiteY145" fmla="*/ 1166 h 10000"/>
                <a:gd name="connsiteX146" fmla="*/ 3048 w 9874"/>
                <a:gd name="connsiteY146" fmla="*/ 1115 h 10000"/>
                <a:gd name="connsiteX147" fmla="*/ 3094 w 9874"/>
                <a:gd name="connsiteY147" fmla="*/ 1115 h 10000"/>
                <a:gd name="connsiteX148" fmla="*/ 3145 w 9874"/>
                <a:gd name="connsiteY148" fmla="*/ 1455 h 10000"/>
                <a:gd name="connsiteX149" fmla="*/ 3406 w 9874"/>
                <a:gd name="connsiteY149" fmla="*/ 1662 h 10000"/>
                <a:gd name="connsiteX150" fmla="*/ 3208 w 9874"/>
                <a:gd name="connsiteY150" fmla="*/ 1383 h 10000"/>
                <a:gd name="connsiteX151" fmla="*/ 3592 w 9874"/>
                <a:gd name="connsiteY151" fmla="*/ 1383 h 10000"/>
                <a:gd name="connsiteX152" fmla="*/ 3653 w 9874"/>
                <a:gd name="connsiteY152" fmla="*/ 1362 h 10000"/>
                <a:gd name="connsiteX153" fmla="*/ 3412 w 9874"/>
                <a:gd name="connsiteY153" fmla="*/ 1115 h 10000"/>
                <a:gd name="connsiteX154" fmla="*/ 3475 w 9874"/>
                <a:gd name="connsiteY154" fmla="*/ 888 h 10000"/>
                <a:gd name="connsiteX155" fmla="*/ 3743 w 9874"/>
                <a:gd name="connsiteY155" fmla="*/ 888 h 10000"/>
                <a:gd name="connsiteX156" fmla="*/ 3717 w 9874"/>
                <a:gd name="connsiteY156" fmla="*/ 713 h 10000"/>
                <a:gd name="connsiteX157" fmla="*/ 3806 w 9874"/>
                <a:gd name="connsiteY157" fmla="*/ 589 h 10000"/>
                <a:gd name="connsiteX158" fmla="*/ 3859 w 9874"/>
                <a:gd name="connsiteY158" fmla="*/ 548 h 10000"/>
                <a:gd name="connsiteX159" fmla="*/ 4057 w 9874"/>
                <a:gd name="connsiteY159" fmla="*/ 423 h 10000"/>
                <a:gd name="connsiteX160" fmla="*/ 4106 w 9874"/>
                <a:gd name="connsiteY160" fmla="*/ 371 h 10000"/>
                <a:gd name="connsiteX161" fmla="*/ 4098 w 9874"/>
                <a:gd name="connsiteY161" fmla="*/ 444 h 10000"/>
                <a:gd name="connsiteX162" fmla="*/ 4312 w 9874"/>
                <a:gd name="connsiteY162" fmla="*/ 371 h 10000"/>
                <a:gd name="connsiteX163" fmla="*/ 4483 w 9874"/>
                <a:gd name="connsiteY163" fmla="*/ 248 h 10000"/>
                <a:gd name="connsiteX164" fmla="*/ 4509 w 9874"/>
                <a:gd name="connsiteY164" fmla="*/ 0 h 10000"/>
                <a:gd name="connsiteX165" fmla="*/ 4697 w 9874"/>
                <a:gd name="connsiteY165" fmla="*/ 21 h 10000"/>
                <a:gd name="connsiteX166" fmla="*/ 4685 w 9874"/>
                <a:gd name="connsiteY166" fmla="*/ 93 h 10000"/>
                <a:gd name="connsiteX167" fmla="*/ 4697 w 9874"/>
                <a:gd name="connsiteY167" fmla="*/ 176 h 10000"/>
                <a:gd name="connsiteX168" fmla="*/ 4811 w 9874"/>
                <a:gd name="connsiteY168" fmla="*/ 248 h 10000"/>
                <a:gd name="connsiteX169" fmla="*/ 5158 w 9874"/>
                <a:gd name="connsiteY169" fmla="*/ 268 h 10000"/>
                <a:gd name="connsiteX170" fmla="*/ 5345 w 9874"/>
                <a:gd name="connsiteY170" fmla="*/ 392 h 10000"/>
                <a:gd name="connsiteX171" fmla="*/ 5283 w 9874"/>
                <a:gd name="connsiteY171" fmla="*/ 795 h 10000"/>
                <a:gd name="connsiteX172" fmla="*/ 5215 w 9874"/>
                <a:gd name="connsiteY172" fmla="*/ 919 h 10000"/>
                <a:gd name="connsiteX173" fmla="*/ 5129 w 9874"/>
                <a:gd name="connsiteY173" fmla="*/ 1043 h 10000"/>
                <a:gd name="connsiteX174" fmla="*/ 5150 w 9874"/>
                <a:gd name="connsiteY174" fmla="*/ 1115 h 10000"/>
                <a:gd name="connsiteX175" fmla="*/ 5398 w 9874"/>
                <a:gd name="connsiteY175" fmla="*/ 919 h 10000"/>
                <a:gd name="connsiteX176" fmla="*/ 5959 w 9874"/>
                <a:gd name="connsiteY176" fmla="*/ 991 h 10000"/>
                <a:gd name="connsiteX177" fmla="*/ 6017 w 9874"/>
                <a:gd name="connsiteY177" fmla="*/ 1063 h 10000"/>
                <a:gd name="connsiteX178" fmla="*/ 6138 w 9874"/>
                <a:gd name="connsiteY178" fmla="*/ 1187 h 10000"/>
                <a:gd name="connsiteX179" fmla="*/ 6309 w 9874"/>
                <a:gd name="connsiteY179" fmla="*/ 919 h 10000"/>
                <a:gd name="connsiteX180" fmla="*/ 6570 w 9874"/>
                <a:gd name="connsiteY180" fmla="*/ 1063 h 10000"/>
                <a:gd name="connsiteX181" fmla="*/ 6645 w 9874"/>
                <a:gd name="connsiteY181" fmla="*/ 1115 h 10000"/>
                <a:gd name="connsiteX182" fmla="*/ 6709 w 9874"/>
                <a:gd name="connsiteY182" fmla="*/ 1166 h 10000"/>
                <a:gd name="connsiteX183" fmla="*/ 6960 w 9874"/>
                <a:gd name="connsiteY183" fmla="*/ 1631 h 10000"/>
                <a:gd name="connsiteX184" fmla="*/ 7050 w 9874"/>
                <a:gd name="connsiteY184" fmla="*/ 1611 h 10000"/>
                <a:gd name="connsiteX185" fmla="*/ 7040 w 9874"/>
                <a:gd name="connsiteY185" fmla="*/ 1507 h 10000"/>
                <a:gd name="connsiteX186" fmla="*/ 7050 w 9874"/>
                <a:gd name="connsiteY186" fmla="*/ 1383 h 10000"/>
                <a:gd name="connsiteX187" fmla="*/ 7174 w 9874"/>
                <a:gd name="connsiteY187" fmla="*/ 1486 h 10000"/>
                <a:gd name="connsiteX188" fmla="*/ 7378 w 9874"/>
                <a:gd name="connsiteY188" fmla="*/ 1507 h 10000"/>
                <a:gd name="connsiteX189" fmla="*/ 7550 w 9874"/>
                <a:gd name="connsiteY189" fmla="*/ 1455 h 10000"/>
                <a:gd name="connsiteX190" fmla="*/ 7469 w 9874"/>
                <a:gd name="connsiteY190" fmla="*/ 1362 h 10000"/>
                <a:gd name="connsiteX191" fmla="*/ 7575 w 9874"/>
                <a:gd name="connsiteY191" fmla="*/ 1084 h 10000"/>
                <a:gd name="connsiteX192" fmla="*/ 7877 w 9874"/>
                <a:gd name="connsiteY192" fmla="*/ 1207 h 10000"/>
                <a:gd name="connsiteX193" fmla="*/ 8180 w 9874"/>
                <a:gd name="connsiteY193" fmla="*/ 1331 h 10000"/>
                <a:gd name="connsiteX194" fmla="*/ 8207 w 9874"/>
                <a:gd name="connsiteY194" fmla="*/ 1362 h 10000"/>
                <a:gd name="connsiteX195" fmla="*/ 8472 w 9874"/>
                <a:gd name="connsiteY195" fmla="*/ 1611 h 10000"/>
                <a:gd name="connsiteX196" fmla="*/ 8676 w 9874"/>
                <a:gd name="connsiteY196" fmla="*/ 1507 h 10000"/>
                <a:gd name="connsiteX197" fmla="*/ 8931 w 9874"/>
                <a:gd name="connsiteY197" fmla="*/ 1538 h 10000"/>
                <a:gd name="connsiteX198" fmla="*/ 9019 w 9874"/>
                <a:gd name="connsiteY198" fmla="*/ 1611 h 10000"/>
                <a:gd name="connsiteX199" fmla="*/ 9339 w 9874"/>
                <a:gd name="connsiteY199" fmla="*/ 1930 h 10000"/>
                <a:gd name="connsiteX200" fmla="*/ 9696 w 9874"/>
                <a:gd name="connsiteY200" fmla="*/ 1879 h 10000"/>
                <a:gd name="connsiteX201" fmla="*/ 9821 w 9874"/>
                <a:gd name="connsiteY201" fmla="*/ 2033 h 10000"/>
                <a:gd name="connsiteX202" fmla="*/ 9874 w 9874"/>
                <a:gd name="connsiteY202" fmla="*/ 1930 h 10000"/>
                <a:gd name="connsiteX0" fmla="*/ 1921 w 9946"/>
                <a:gd name="connsiteY0" fmla="*/ 7183 h 10000"/>
                <a:gd name="connsiteX1" fmla="*/ 1973 w 9946"/>
                <a:gd name="connsiteY1" fmla="*/ 7430 h 10000"/>
                <a:gd name="connsiteX2" fmla="*/ 1913 w 9946"/>
                <a:gd name="connsiteY2" fmla="*/ 7430 h 10000"/>
                <a:gd name="connsiteX3" fmla="*/ 1849 w 9946"/>
                <a:gd name="connsiteY3" fmla="*/ 7255 h 10000"/>
                <a:gd name="connsiteX4" fmla="*/ 1803 w 9946"/>
                <a:gd name="connsiteY4" fmla="*/ 7430 h 10000"/>
                <a:gd name="connsiteX5" fmla="*/ 1812 w 9946"/>
                <a:gd name="connsiteY5" fmla="*/ 7854 h 10000"/>
                <a:gd name="connsiteX6" fmla="*/ 1913 w 9946"/>
                <a:gd name="connsiteY6" fmla="*/ 8070 h 10000"/>
                <a:gd name="connsiteX7" fmla="*/ 1966 w 9946"/>
                <a:gd name="connsiteY7" fmla="*/ 8019 h 10000"/>
                <a:gd name="connsiteX8" fmla="*/ 2078 w 9946"/>
                <a:gd name="connsiteY8" fmla="*/ 8493 h 10000"/>
                <a:gd name="connsiteX9" fmla="*/ 1921 w 9946"/>
                <a:gd name="connsiteY9" fmla="*/ 8669 h 10000"/>
                <a:gd name="connsiteX10" fmla="*/ 1903 w 9946"/>
                <a:gd name="connsiteY10" fmla="*/ 9009 h 10000"/>
                <a:gd name="connsiteX11" fmla="*/ 1985 w 9946"/>
                <a:gd name="connsiteY11" fmla="*/ 9236 h 10000"/>
                <a:gd name="connsiteX12" fmla="*/ 1985 w 9946"/>
                <a:gd name="connsiteY12" fmla="*/ 9484 h 10000"/>
                <a:gd name="connsiteX13" fmla="*/ 2111 w 9946"/>
                <a:gd name="connsiteY13" fmla="*/ 9835 h 10000"/>
                <a:gd name="connsiteX14" fmla="*/ 2033 w 9946"/>
                <a:gd name="connsiteY14" fmla="*/ 10000 h 10000"/>
                <a:gd name="connsiteX15" fmla="*/ 1913 w 9946"/>
                <a:gd name="connsiteY15" fmla="*/ 9753 h 10000"/>
                <a:gd name="connsiteX16" fmla="*/ 1749 w 9946"/>
                <a:gd name="connsiteY16" fmla="*/ 9505 h 10000"/>
                <a:gd name="connsiteX17" fmla="*/ 1678 w 9946"/>
                <a:gd name="connsiteY17" fmla="*/ 9588 h 10000"/>
                <a:gd name="connsiteX18" fmla="*/ 1559 w 9946"/>
                <a:gd name="connsiteY18" fmla="*/ 9380 h 10000"/>
                <a:gd name="connsiteX19" fmla="*/ 1309 w 9946"/>
                <a:gd name="connsiteY19" fmla="*/ 9339 h 10000"/>
                <a:gd name="connsiteX20" fmla="*/ 1010 w 9946"/>
                <a:gd name="connsiteY20" fmla="*/ 8813 h 10000"/>
                <a:gd name="connsiteX21" fmla="*/ 1091 w 9946"/>
                <a:gd name="connsiteY21" fmla="*/ 8721 h 10000"/>
                <a:gd name="connsiteX22" fmla="*/ 1148 w 9946"/>
                <a:gd name="connsiteY22" fmla="*/ 8493 h 10000"/>
                <a:gd name="connsiteX23" fmla="*/ 1085 w 9946"/>
                <a:gd name="connsiteY23" fmla="*/ 8390 h 10000"/>
                <a:gd name="connsiteX24" fmla="*/ 1218 w 9946"/>
                <a:gd name="connsiteY24" fmla="*/ 8245 h 10000"/>
                <a:gd name="connsiteX25" fmla="*/ 1127 w 9946"/>
                <a:gd name="connsiteY25" fmla="*/ 8194 h 10000"/>
                <a:gd name="connsiteX26" fmla="*/ 1144 w 9946"/>
                <a:gd name="connsiteY26" fmla="*/ 8091 h 10000"/>
                <a:gd name="connsiteX27" fmla="*/ 1198 w 9946"/>
                <a:gd name="connsiteY27" fmla="*/ 8111 h 10000"/>
                <a:gd name="connsiteX28" fmla="*/ 1265 w 9946"/>
                <a:gd name="connsiteY28" fmla="*/ 8019 h 10000"/>
                <a:gd name="connsiteX29" fmla="*/ 1232 w 9946"/>
                <a:gd name="connsiteY29" fmla="*/ 7864 h 10000"/>
                <a:gd name="connsiteX30" fmla="*/ 1245 w 9946"/>
                <a:gd name="connsiteY30" fmla="*/ 7503 h 10000"/>
                <a:gd name="connsiteX31" fmla="*/ 1108 w 9946"/>
                <a:gd name="connsiteY31" fmla="*/ 7440 h 10000"/>
                <a:gd name="connsiteX32" fmla="*/ 990 w 9946"/>
                <a:gd name="connsiteY32" fmla="*/ 7286 h 10000"/>
                <a:gd name="connsiteX33" fmla="*/ 836 w 9946"/>
                <a:gd name="connsiteY33" fmla="*/ 7275 h 10000"/>
                <a:gd name="connsiteX34" fmla="*/ 814 w 9946"/>
                <a:gd name="connsiteY34" fmla="*/ 7090 h 10000"/>
                <a:gd name="connsiteX35" fmla="*/ 712 w 9946"/>
                <a:gd name="connsiteY35" fmla="*/ 6945 h 10000"/>
                <a:gd name="connsiteX36" fmla="*/ 734 w 9946"/>
                <a:gd name="connsiteY36" fmla="*/ 6822 h 10000"/>
                <a:gd name="connsiteX37" fmla="*/ 669 w 9946"/>
                <a:gd name="connsiteY37" fmla="*/ 6698 h 10000"/>
                <a:gd name="connsiteX38" fmla="*/ 545 w 9946"/>
                <a:gd name="connsiteY38" fmla="*/ 6698 h 10000"/>
                <a:gd name="connsiteX39" fmla="*/ 507 w 9946"/>
                <a:gd name="connsiteY39" fmla="*/ 6791 h 10000"/>
                <a:gd name="connsiteX40" fmla="*/ 477 w 9946"/>
                <a:gd name="connsiteY40" fmla="*/ 6750 h 10000"/>
                <a:gd name="connsiteX41" fmla="*/ 451 w 9946"/>
                <a:gd name="connsiteY41" fmla="*/ 6439 h 10000"/>
                <a:gd name="connsiteX42" fmla="*/ 501 w 9946"/>
                <a:gd name="connsiteY42" fmla="*/ 6470 h 10000"/>
                <a:gd name="connsiteX43" fmla="*/ 556 w 9946"/>
                <a:gd name="connsiteY43" fmla="*/ 6347 h 10000"/>
                <a:gd name="connsiteX44" fmla="*/ 477 w 9946"/>
                <a:gd name="connsiteY44" fmla="*/ 6233 h 10000"/>
                <a:gd name="connsiteX45" fmla="*/ 376 w 9946"/>
                <a:gd name="connsiteY45" fmla="*/ 6017 h 10000"/>
                <a:gd name="connsiteX46" fmla="*/ 397 w 9946"/>
                <a:gd name="connsiteY46" fmla="*/ 5821 h 10000"/>
                <a:gd name="connsiteX47" fmla="*/ 325 w 9946"/>
                <a:gd name="connsiteY47" fmla="*/ 5697 h 10000"/>
                <a:gd name="connsiteX48" fmla="*/ 269 w 9946"/>
                <a:gd name="connsiteY48" fmla="*/ 5728 h 10000"/>
                <a:gd name="connsiteX49" fmla="*/ 240 w 9946"/>
                <a:gd name="connsiteY49" fmla="*/ 5604 h 10000"/>
                <a:gd name="connsiteX50" fmla="*/ 195 w 9946"/>
                <a:gd name="connsiteY50" fmla="*/ 5645 h 10000"/>
                <a:gd name="connsiteX51" fmla="*/ 138 w 9946"/>
                <a:gd name="connsiteY51" fmla="*/ 5604 h 10000"/>
                <a:gd name="connsiteX52" fmla="*/ 82 w 9946"/>
                <a:gd name="connsiteY52" fmla="*/ 5181 h 10000"/>
                <a:gd name="connsiteX53" fmla="*/ 102 w 9946"/>
                <a:gd name="connsiteY53" fmla="*/ 5057 h 10000"/>
                <a:gd name="connsiteX54" fmla="*/ 47 w 9946"/>
                <a:gd name="connsiteY54" fmla="*/ 4892 h 10000"/>
                <a:gd name="connsiteX55" fmla="*/ 78 w 9946"/>
                <a:gd name="connsiteY55" fmla="*/ 4655 h 10000"/>
                <a:gd name="connsiteX56" fmla="*/ 252 w 9946"/>
                <a:gd name="connsiteY56" fmla="*/ 4510 h 10000"/>
                <a:gd name="connsiteX57" fmla="*/ 154 w 9946"/>
                <a:gd name="connsiteY57" fmla="*/ 4406 h 10000"/>
                <a:gd name="connsiteX58" fmla="*/ 99 w 9946"/>
                <a:gd name="connsiteY58" fmla="*/ 4283 h 10000"/>
                <a:gd name="connsiteX59" fmla="*/ 244 w 9946"/>
                <a:gd name="connsiteY59" fmla="*/ 3912 h 10000"/>
                <a:gd name="connsiteX60" fmla="*/ 299 w 9946"/>
                <a:gd name="connsiteY60" fmla="*/ 3664 h 10000"/>
                <a:gd name="connsiteX61" fmla="*/ 181 w 9946"/>
                <a:gd name="connsiteY61" fmla="*/ 3488 h 10000"/>
                <a:gd name="connsiteX62" fmla="*/ 227 w 9946"/>
                <a:gd name="connsiteY62" fmla="*/ 3344 h 10000"/>
                <a:gd name="connsiteX63" fmla="*/ 133 w 9946"/>
                <a:gd name="connsiteY63" fmla="*/ 3148 h 10000"/>
                <a:gd name="connsiteX64" fmla="*/ 133 w 9946"/>
                <a:gd name="connsiteY64" fmla="*/ 2972 h 10000"/>
                <a:gd name="connsiteX65" fmla="*/ 72 w 9946"/>
                <a:gd name="connsiteY65" fmla="*/ 2622 h 10000"/>
                <a:gd name="connsiteX66" fmla="*/ 117 w 9946"/>
                <a:gd name="connsiteY66" fmla="*/ 2404 h 10000"/>
                <a:gd name="connsiteX67" fmla="*/ 44 w 9946"/>
                <a:gd name="connsiteY67" fmla="*/ 2301 h 10000"/>
                <a:gd name="connsiteX68" fmla="*/ 0 w 9946"/>
                <a:gd name="connsiteY68" fmla="*/ 2178 h 10000"/>
                <a:gd name="connsiteX69" fmla="*/ 65 w 9946"/>
                <a:gd name="connsiteY69" fmla="*/ 1951 h 10000"/>
                <a:gd name="connsiteX70" fmla="*/ 141 w 9946"/>
                <a:gd name="connsiteY70" fmla="*/ 1910 h 10000"/>
                <a:gd name="connsiteX71" fmla="*/ 233 w 9946"/>
                <a:gd name="connsiteY71" fmla="*/ 1858 h 10000"/>
                <a:gd name="connsiteX72" fmla="*/ 369 w 9946"/>
                <a:gd name="connsiteY72" fmla="*/ 1951 h 10000"/>
                <a:gd name="connsiteX73" fmla="*/ 574 w 9946"/>
                <a:gd name="connsiteY73" fmla="*/ 2054 h 10000"/>
                <a:gd name="connsiteX74" fmla="*/ 755 w 9946"/>
                <a:gd name="connsiteY74" fmla="*/ 2229 h 10000"/>
                <a:gd name="connsiteX75" fmla="*/ 901 w 9946"/>
                <a:gd name="connsiteY75" fmla="*/ 2373 h 10000"/>
                <a:gd name="connsiteX76" fmla="*/ 866 w 9946"/>
                <a:gd name="connsiteY76" fmla="*/ 2777 h 10000"/>
                <a:gd name="connsiteX77" fmla="*/ 430 w 9946"/>
                <a:gd name="connsiteY77" fmla="*/ 2673 h 10000"/>
                <a:gd name="connsiteX78" fmla="*/ 292 w 9946"/>
                <a:gd name="connsiteY78" fmla="*/ 2550 h 10000"/>
                <a:gd name="connsiteX79" fmla="*/ 343 w 9946"/>
                <a:gd name="connsiteY79" fmla="*/ 2622 h 10000"/>
                <a:gd name="connsiteX80" fmla="*/ 394 w 9946"/>
                <a:gd name="connsiteY80" fmla="*/ 2797 h 10000"/>
                <a:gd name="connsiteX81" fmla="*/ 477 w 9946"/>
                <a:gd name="connsiteY81" fmla="*/ 2921 h 10000"/>
                <a:gd name="connsiteX82" fmla="*/ 497 w 9946"/>
                <a:gd name="connsiteY82" fmla="*/ 3189 h 10000"/>
                <a:gd name="connsiteX83" fmla="*/ 605 w 9946"/>
                <a:gd name="connsiteY83" fmla="*/ 3313 h 10000"/>
                <a:gd name="connsiteX84" fmla="*/ 695 w 9946"/>
                <a:gd name="connsiteY84" fmla="*/ 3436 h 10000"/>
                <a:gd name="connsiteX85" fmla="*/ 722 w 9946"/>
                <a:gd name="connsiteY85" fmla="*/ 3467 h 10000"/>
                <a:gd name="connsiteX86" fmla="*/ 777 w 9946"/>
                <a:gd name="connsiteY86" fmla="*/ 3436 h 10000"/>
                <a:gd name="connsiteX87" fmla="*/ 755 w 9946"/>
                <a:gd name="connsiteY87" fmla="*/ 3364 h 10000"/>
                <a:gd name="connsiteX88" fmla="*/ 650 w 9946"/>
                <a:gd name="connsiteY88" fmla="*/ 3189 h 10000"/>
                <a:gd name="connsiteX89" fmla="*/ 957 w 9946"/>
                <a:gd name="connsiteY89" fmla="*/ 3344 h 10000"/>
                <a:gd name="connsiteX90" fmla="*/ 966 w 9946"/>
                <a:gd name="connsiteY90" fmla="*/ 3271 h 10000"/>
                <a:gd name="connsiteX91" fmla="*/ 936 w 9946"/>
                <a:gd name="connsiteY91" fmla="*/ 3220 h 10000"/>
                <a:gd name="connsiteX92" fmla="*/ 883 w 9946"/>
                <a:gd name="connsiteY92" fmla="*/ 2993 h 10000"/>
                <a:gd name="connsiteX93" fmla="*/ 1036 w 9946"/>
                <a:gd name="connsiteY93" fmla="*/ 2777 h 10000"/>
                <a:gd name="connsiteX94" fmla="*/ 1157 w 9946"/>
                <a:gd name="connsiteY94" fmla="*/ 2921 h 10000"/>
                <a:gd name="connsiteX95" fmla="*/ 1192 w 9946"/>
                <a:gd name="connsiteY95" fmla="*/ 2725 h 10000"/>
                <a:gd name="connsiteX96" fmla="*/ 1135 w 9946"/>
                <a:gd name="connsiteY96" fmla="*/ 2653 h 10000"/>
                <a:gd name="connsiteX97" fmla="*/ 1115 w 9946"/>
                <a:gd name="connsiteY97" fmla="*/ 2281 h 10000"/>
                <a:gd name="connsiteX98" fmla="*/ 1091 w 9946"/>
                <a:gd name="connsiteY98" fmla="*/ 2229 h 10000"/>
                <a:gd name="connsiteX99" fmla="*/ 1235 w 9946"/>
                <a:gd name="connsiteY99" fmla="*/ 2250 h 10000"/>
                <a:gd name="connsiteX100" fmla="*/ 1296 w 9946"/>
                <a:gd name="connsiteY100" fmla="*/ 2404 h 10000"/>
                <a:gd name="connsiteX101" fmla="*/ 1218 w 9946"/>
                <a:gd name="connsiteY101" fmla="*/ 2529 h 10000"/>
                <a:gd name="connsiteX102" fmla="*/ 1353 w 9946"/>
                <a:gd name="connsiteY102" fmla="*/ 2694 h 10000"/>
                <a:gd name="connsiteX103" fmla="*/ 1462 w 9946"/>
                <a:gd name="connsiteY103" fmla="*/ 2529 h 10000"/>
                <a:gd name="connsiteX104" fmla="*/ 1598 w 9946"/>
                <a:gd name="connsiteY104" fmla="*/ 2301 h 10000"/>
                <a:gd name="connsiteX105" fmla="*/ 1742 w 9946"/>
                <a:gd name="connsiteY105" fmla="*/ 2157 h 10000"/>
                <a:gd name="connsiteX106" fmla="*/ 1783 w 9946"/>
                <a:gd name="connsiteY106" fmla="*/ 2250 h 10000"/>
                <a:gd name="connsiteX107" fmla="*/ 2154 w 9946"/>
                <a:gd name="connsiteY107" fmla="*/ 2054 h 10000"/>
                <a:gd name="connsiteX108" fmla="*/ 2230 w 9946"/>
                <a:gd name="connsiteY108" fmla="*/ 2250 h 10000"/>
                <a:gd name="connsiteX109" fmla="*/ 2220 w 9946"/>
                <a:gd name="connsiteY109" fmla="*/ 2002 h 10000"/>
                <a:gd name="connsiteX110" fmla="*/ 2120 w 9946"/>
                <a:gd name="connsiteY110" fmla="*/ 1786 h 10000"/>
                <a:gd name="connsiteX111" fmla="*/ 2104 w 9946"/>
                <a:gd name="connsiteY111" fmla="*/ 1703 h 10000"/>
                <a:gd name="connsiteX112" fmla="*/ 2176 w 9946"/>
                <a:gd name="connsiteY112" fmla="*/ 1786 h 10000"/>
                <a:gd name="connsiteX113" fmla="*/ 2424 w 9946"/>
                <a:gd name="connsiteY113" fmla="*/ 1951 h 10000"/>
                <a:gd name="connsiteX114" fmla="*/ 2708 w 9946"/>
                <a:gd name="connsiteY114" fmla="*/ 2126 h 10000"/>
                <a:gd name="connsiteX115" fmla="*/ 2844 w 9946"/>
                <a:gd name="connsiteY115" fmla="*/ 2250 h 10000"/>
                <a:gd name="connsiteX116" fmla="*/ 2887 w 9946"/>
                <a:gd name="connsiteY116" fmla="*/ 2074 h 10000"/>
                <a:gd name="connsiteX117" fmla="*/ 2825 w 9946"/>
                <a:gd name="connsiteY117" fmla="*/ 2033 h 10000"/>
                <a:gd name="connsiteX118" fmla="*/ 2742 w 9946"/>
                <a:gd name="connsiteY118" fmla="*/ 1930 h 10000"/>
                <a:gd name="connsiteX119" fmla="*/ 2687 w 9946"/>
                <a:gd name="connsiteY119" fmla="*/ 1734 h 10000"/>
                <a:gd name="connsiteX120" fmla="*/ 2607 w 9946"/>
                <a:gd name="connsiteY120" fmla="*/ 1486 h 10000"/>
                <a:gd name="connsiteX121" fmla="*/ 2636 w 9946"/>
                <a:gd name="connsiteY121" fmla="*/ 1434 h 10000"/>
                <a:gd name="connsiteX122" fmla="*/ 2662 w 9946"/>
                <a:gd name="connsiteY122" fmla="*/ 1455 h 10000"/>
                <a:gd name="connsiteX123" fmla="*/ 2732 w 9946"/>
                <a:gd name="connsiteY123" fmla="*/ 1115 h 10000"/>
                <a:gd name="connsiteX124" fmla="*/ 2915 w 9946"/>
                <a:gd name="connsiteY124" fmla="*/ 1135 h 10000"/>
                <a:gd name="connsiteX125" fmla="*/ 2967 w 9946"/>
                <a:gd name="connsiteY125" fmla="*/ 1311 h 10000"/>
                <a:gd name="connsiteX126" fmla="*/ 3004 w 9946"/>
                <a:gd name="connsiteY126" fmla="*/ 1538 h 10000"/>
                <a:gd name="connsiteX127" fmla="*/ 3071 w 9946"/>
                <a:gd name="connsiteY127" fmla="*/ 1734 h 10000"/>
                <a:gd name="connsiteX128" fmla="*/ 3185 w 9946"/>
                <a:gd name="connsiteY128" fmla="*/ 2157 h 10000"/>
                <a:gd name="connsiteX129" fmla="*/ 2960 w 9946"/>
                <a:gd name="connsiteY129" fmla="*/ 2673 h 10000"/>
                <a:gd name="connsiteX130" fmla="*/ 3051 w 9946"/>
                <a:gd name="connsiteY130" fmla="*/ 2746 h 10000"/>
                <a:gd name="connsiteX131" fmla="*/ 3167 w 9946"/>
                <a:gd name="connsiteY131" fmla="*/ 2818 h 10000"/>
                <a:gd name="connsiteX132" fmla="*/ 3319 w 9946"/>
                <a:gd name="connsiteY132" fmla="*/ 2622 h 10000"/>
                <a:gd name="connsiteX133" fmla="*/ 3326 w 9946"/>
                <a:gd name="connsiteY133" fmla="*/ 2404 h 10000"/>
                <a:gd name="connsiteX134" fmla="*/ 3275 w 9946"/>
                <a:gd name="connsiteY134" fmla="*/ 2301 h 10000"/>
                <a:gd name="connsiteX135" fmla="*/ 3482 w 9946"/>
                <a:gd name="connsiteY135" fmla="*/ 2250 h 10000"/>
                <a:gd name="connsiteX136" fmla="*/ 3567 w 9946"/>
                <a:gd name="connsiteY136" fmla="*/ 2497 h 10000"/>
                <a:gd name="connsiteX137" fmla="*/ 3567 w 9946"/>
                <a:gd name="connsiteY137" fmla="*/ 2425 h 10000"/>
                <a:gd name="connsiteX138" fmla="*/ 3546 w 9946"/>
                <a:gd name="connsiteY138" fmla="*/ 2353 h 10000"/>
                <a:gd name="connsiteX139" fmla="*/ 3539 w 9946"/>
                <a:gd name="connsiteY139" fmla="*/ 2178 h 10000"/>
                <a:gd name="connsiteX140" fmla="*/ 3340 w 9946"/>
                <a:gd name="connsiteY140" fmla="*/ 1930 h 10000"/>
                <a:gd name="connsiteX141" fmla="*/ 3185 w 9946"/>
                <a:gd name="connsiteY141" fmla="*/ 2002 h 10000"/>
                <a:gd name="connsiteX142" fmla="*/ 3119 w 9946"/>
                <a:gd name="connsiteY142" fmla="*/ 1683 h 10000"/>
                <a:gd name="connsiteX143" fmla="*/ 3059 w 9946"/>
                <a:gd name="connsiteY143" fmla="*/ 1507 h 10000"/>
                <a:gd name="connsiteX144" fmla="*/ 3119 w 9946"/>
                <a:gd name="connsiteY144" fmla="*/ 1331 h 10000"/>
                <a:gd name="connsiteX145" fmla="*/ 3113 w 9946"/>
                <a:gd name="connsiteY145" fmla="*/ 1166 h 10000"/>
                <a:gd name="connsiteX146" fmla="*/ 3087 w 9946"/>
                <a:gd name="connsiteY146" fmla="*/ 1115 h 10000"/>
                <a:gd name="connsiteX147" fmla="*/ 3133 w 9946"/>
                <a:gd name="connsiteY147" fmla="*/ 1115 h 10000"/>
                <a:gd name="connsiteX148" fmla="*/ 3185 w 9946"/>
                <a:gd name="connsiteY148" fmla="*/ 1455 h 10000"/>
                <a:gd name="connsiteX149" fmla="*/ 3449 w 9946"/>
                <a:gd name="connsiteY149" fmla="*/ 1662 h 10000"/>
                <a:gd name="connsiteX150" fmla="*/ 3249 w 9946"/>
                <a:gd name="connsiteY150" fmla="*/ 1383 h 10000"/>
                <a:gd name="connsiteX151" fmla="*/ 3638 w 9946"/>
                <a:gd name="connsiteY151" fmla="*/ 1383 h 10000"/>
                <a:gd name="connsiteX152" fmla="*/ 3700 w 9946"/>
                <a:gd name="connsiteY152" fmla="*/ 1362 h 10000"/>
                <a:gd name="connsiteX153" fmla="*/ 3456 w 9946"/>
                <a:gd name="connsiteY153" fmla="*/ 1115 h 10000"/>
                <a:gd name="connsiteX154" fmla="*/ 3519 w 9946"/>
                <a:gd name="connsiteY154" fmla="*/ 888 h 10000"/>
                <a:gd name="connsiteX155" fmla="*/ 3791 w 9946"/>
                <a:gd name="connsiteY155" fmla="*/ 888 h 10000"/>
                <a:gd name="connsiteX156" fmla="*/ 3764 w 9946"/>
                <a:gd name="connsiteY156" fmla="*/ 713 h 10000"/>
                <a:gd name="connsiteX157" fmla="*/ 3855 w 9946"/>
                <a:gd name="connsiteY157" fmla="*/ 589 h 10000"/>
                <a:gd name="connsiteX158" fmla="*/ 3908 w 9946"/>
                <a:gd name="connsiteY158" fmla="*/ 548 h 10000"/>
                <a:gd name="connsiteX159" fmla="*/ 4109 w 9946"/>
                <a:gd name="connsiteY159" fmla="*/ 423 h 10000"/>
                <a:gd name="connsiteX160" fmla="*/ 4158 w 9946"/>
                <a:gd name="connsiteY160" fmla="*/ 371 h 10000"/>
                <a:gd name="connsiteX161" fmla="*/ 4150 w 9946"/>
                <a:gd name="connsiteY161" fmla="*/ 444 h 10000"/>
                <a:gd name="connsiteX162" fmla="*/ 4367 w 9946"/>
                <a:gd name="connsiteY162" fmla="*/ 371 h 10000"/>
                <a:gd name="connsiteX163" fmla="*/ 4540 w 9946"/>
                <a:gd name="connsiteY163" fmla="*/ 248 h 10000"/>
                <a:gd name="connsiteX164" fmla="*/ 4567 w 9946"/>
                <a:gd name="connsiteY164" fmla="*/ 0 h 10000"/>
                <a:gd name="connsiteX165" fmla="*/ 4757 w 9946"/>
                <a:gd name="connsiteY165" fmla="*/ 21 h 10000"/>
                <a:gd name="connsiteX166" fmla="*/ 4745 w 9946"/>
                <a:gd name="connsiteY166" fmla="*/ 93 h 10000"/>
                <a:gd name="connsiteX167" fmla="*/ 4757 w 9946"/>
                <a:gd name="connsiteY167" fmla="*/ 176 h 10000"/>
                <a:gd name="connsiteX168" fmla="*/ 4872 w 9946"/>
                <a:gd name="connsiteY168" fmla="*/ 248 h 10000"/>
                <a:gd name="connsiteX169" fmla="*/ 5224 w 9946"/>
                <a:gd name="connsiteY169" fmla="*/ 268 h 10000"/>
                <a:gd name="connsiteX170" fmla="*/ 5413 w 9946"/>
                <a:gd name="connsiteY170" fmla="*/ 392 h 10000"/>
                <a:gd name="connsiteX171" fmla="*/ 5350 w 9946"/>
                <a:gd name="connsiteY171" fmla="*/ 795 h 10000"/>
                <a:gd name="connsiteX172" fmla="*/ 5282 w 9946"/>
                <a:gd name="connsiteY172" fmla="*/ 919 h 10000"/>
                <a:gd name="connsiteX173" fmla="*/ 5194 w 9946"/>
                <a:gd name="connsiteY173" fmla="*/ 1043 h 10000"/>
                <a:gd name="connsiteX174" fmla="*/ 5216 w 9946"/>
                <a:gd name="connsiteY174" fmla="*/ 1115 h 10000"/>
                <a:gd name="connsiteX175" fmla="*/ 5467 w 9946"/>
                <a:gd name="connsiteY175" fmla="*/ 919 h 10000"/>
                <a:gd name="connsiteX176" fmla="*/ 6035 w 9946"/>
                <a:gd name="connsiteY176" fmla="*/ 991 h 10000"/>
                <a:gd name="connsiteX177" fmla="*/ 6094 w 9946"/>
                <a:gd name="connsiteY177" fmla="*/ 1063 h 10000"/>
                <a:gd name="connsiteX178" fmla="*/ 6216 w 9946"/>
                <a:gd name="connsiteY178" fmla="*/ 1187 h 10000"/>
                <a:gd name="connsiteX179" fmla="*/ 6390 w 9946"/>
                <a:gd name="connsiteY179" fmla="*/ 919 h 10000"/>
                <a:gd name="connsiteX180" fmla="*/ 6654 w 9946"/>
                <a:gd name="connsiteY180" fmla="*/ 1063 h 10000"/>
                <a:gd name="connsiteX181" fmla="*/ 6730 w 9946"/>
                <a:gd name="connsiteY181" fmla="*/ 1115 h 10000"/>
                <a:gd name="connsiteX182" fmla="*/ 6795 w 9946"/>
                <a:gd name="connsiteY182" fmla="*/ 1166 h 10000"/>
                <a:gd name="connsiteX183" fmla="*/ 7049 w 9946"/>
                <a:gd name="connsiteY183" fmla="*/ 1631 h 10000"/>
                <a:gd name="connsiteX184" fmla="*/ 7140 w 9946"/>
                <a:gd name="connsiteY184" fmla="*/ 1611 h 10000"/>
                <a:gd name="connsiteX185" fmla="*/ 7130 w 9946"/>
                <a:gd name="connsiteY185" fmla="*/ 1507 h 10000"/>
                <a:gd name="connsiteX186" fmla="*/ 7140 w 9946"/>
                <a:gd name="connsiteY186" fmla="*/ 1383 h 10000"/>
                <a:gd name="connsiteX187" fmla="*/ 7266 w 9946"/>
                <a:gd name="connsiteY187" fmla="*/ 1486 h 10000"/>
                <a:gd name="connsiteX188" fmla="*/ 7472 w 9946"/>
                <a:gd name="connsiteY188" fmla="*/ 1507 h 10000"/>
                <a:gd name="connsiteX189" fmla="*/ 7646 w 9946"/>
                <a:gd name="connsiteY189" fmla="*/ 1455 h 10000"/>
                <a:gd name="connsiteX190" fmla="*/ 7564 w 9946"/>
                <a:gd name="connsiteY190" fmla="*/ 1362 h 10000"/>
                <a:gd name="connsiteX191" fmla="*/ 7672 w 9946"/>
                <a:gd name="connsiteY191" fmla="*/ 1084 h 10000"/>
                <a:gd name="connsiteX192" fmla="*/ 7978 w 9946"/>
                <a:gd name="connsiteY192" fmla="*/ 1207 h 10000"/>
                <a:gd name="connsiteX193" fmla="*/ 8284 w 9946"/>
                <a:gd name="connsiteY193" fmla="*/ 1331 h 10000"/>
                <a:gd name="connsiteX194" fmla="*/ 8312 w 9946"/>
                <a:gd name="connsiteY194" fmla="*/ 1362 h 10000"/>
                <a:gd name="connsiteX195" fmla="*/ 8580 w 9946"/>
                <a:gd name="connsiteY195" fmla="*/ 1611 h 10000"/>
                <a:gd name="connsiteX196" fmla="*/ 8787 w 9946"/>
                <a:gd name="connsiteY196" fmla="*/ 1507 h 10000"/>
                <a:gd name="connsiteX197" fmla="*/ 9045 w 9946"/>
                <a:gd name="connsiteY197" fmla="*/ 1538 h 10000"/>
                <a:gd name="connsiteX198" fmla="*/ 9134 w 9946"/>
                <a:gd name="connsiteY198" fmla="*/ 1611 h 10000"/>
                <a:gd name="connsiteX199" fmla="*/ 9458 w 9946"/>
                <a:gd name="connsiteY199" fmla="*/ 1930 h 10000"/>
                <a:gd name="connsiteX200" fmla="*/ 9820 w 9946"/>
                <a:gd name="connsiteY200" fmla="*/ 1879 h 10000"/>
                <a:gd name="connsiteX201" fmla="*/ 9946 w 9946"/>
                <a:gd name="connsiteY201" fmla="*/ 2033 h 10000"/>
                <a:gd name="connsiteX0" fmla="*/ 1931 w 9873"/>
                <a:gd name="connsiteY0" fmla="*/ 7183 h 10000"/>
                <a:gd name="connsiteX1" fmla="*/ 1984 w 9873"/>
                <a:gd name="connsiteY1" fmla="*/ 7430 h 10000"/>
                <a:gd name="connsiteX2" fmla="*/ 1923 w 9873"/>
                <a:gd name="connsiteY2" fmla="*/ 7430 h 10000"/>
                <a:gd name="connsiteX3" fmla="*/ 1859 w 9873"/>
                <a:gd name="connsiteY3" fmla="*/ 7255 h 10000"/>
                <a:gd name="connsiteX4" fmla="*/ 1813 w 9873"/>
                <a:gd name="connsiteY4" fmla="*/ 7430 h 10000"/>
                <a:gd name="connsiteX5" fmla="*/ 1822 w 9873"/>
                <a:gd name="connsiteY5" fmla="*/ 7854 h 10000"/>
                <a:gd name="connsiteX6" fmla="*/ 1923 w 9873"/>
                <a:gd name="connsiteY6" fmla="*/ 8070 h 10000"/>
                <a:gd name="connsiteX7" fmla="*/ 1977 w 9873"/>
                <a:gd name="connsiteY7" fmla="*/ 8019 h 10000"/>
                <a:gd name="connsiteX8" fmla="*/ 2089 w 9873"/>
                <a:gd name="connsiteY8" fmla="*/ 8493 h 10000"/>
                <a:gd name="connsiteX9" fmla="*/ 1931 w 9873"/>
                <a:gd name="connsiteY9" fmla="*/ 8669 h 10000"/>
                <a:gd name="connsiteX10" fmla="*/ 1913 w 9873"/>
                <a:gd name="connsiteY10" fmla="*/ 9009 h 10000"/>
                <a:gd name="connsiteX11" fmla="*/ 1996 w 9873"/>
                <a:gd name="connsiteY11" fmla="*/ 9236 h 10000"/>
                <a:gd name="connsiteX12" fmla="*/ 1996 w 9873"/>
                <a:gd name="connsiteY12" fmla="*/ 9484 h 10000"/>
                <a:gd name="connsiteX13" fmla="*/ 2122 w 9873"/>
                <a:gd name="connsiteY13" fmla="*/ 9835 h 10000"/>
                <a:gd name="connsiteX14" fmla="*/ 2044 w 9873"/>
                <a:gd name="connsiteY14" fmla="*/ 10000 h 10000"/>
                <a:gd name="connsiteX15" fmla="*/ 1923 w 9873"/>
                <a:gd name="connsiteY15" fmla="*/ 9753 h 10000"/>
                <a:gd name="connsiteX16" fmla="*/ 1758 w 9873"/>
                <a:gd name="connsiteY16" fmla="*/ 9505 h 10000"/>
                <a:gd name="connsiteX17" fmla="*/ 1687 w 9873"/>
                <a:gd name="connsiteY17" fmla="*/ 9588 h 10000"/>
                <a:gd name="connsiteX18" fmla="*/ 1567 w 9873"/>
                <a:gd name="connsiteY18" fmla="*/ 9380 h 10000"/>
                <a:gd name="connsiteX19" fmla="*/ 1316 w 9873"/>
                <a:gd name="connsiteY19" fmla="*/ 9339 h 10000"/>
                <a:gd name="connsiteX20" fmla="*/ 1015 w 9873"/>
                <a:gd name="connsiteY20" fmla="*/ 8813 h 10000"/>
                <a:gd name="connsiteX21" fmla="*/ 1097 w 9873"/>
                <a:gd name="connsiteY21" fmla="*/ 8721 h 10000"/>
                <a:gd name="connsiteX22" fmla="*/ 1154 w 9873"/>
                <a:gd name="connsiteY22" fmla="*/ 8493 h 10000"/>
                <a:gd name="connsiteX23" fmla="*/ 1091 w 9873"/>
                <a:gd name="connsiteY23" fmla="*/ 8390 h 10000"/>
                <a:gd name="connsiteX24" fmla="*/ 1225 w 9873"/>
                <a:gd name="connsiteY24" fmla="*/ 8245 h 10000"/>
                <a:gd name="connsiteX25" fmla="*/ 1133 w 9873"/>
                <a:gd name="connsiteY25" fmla="*/ 8194 h 10000"/>
                <a:gd name="connsiteX26" fmla="*/ 1150 w 9873"/>
                <a:gd name="connsiteY26" fmla="*/ 8091 h 10000"/>
                <a:gd name="connsiteX27" fmla="*/ 1205 w 9873"/>
                <a:gd name="connsiteY27" fmla="*/ 8111 h 10000"/>
                <a:gd name="connsiteX28" fmla="*/ 1272 w 9873"/>
                <a:gd name="connsiteY28" fmla="*/ 8019 h 10000"/>
                <a:gd name="connsiteX29" fmla="*/ 1239 w 9873"/>
                <a:gd name="connsiteY29" fmla="*/ 7864 h 10000"/>
                <a:gd name="connsiteX30" fmla="*/ 1252 w 9873"/>
                <a:gd name="connsiteY30" fmla="*/ 7503 h 10000"/>
                <a:gd name="connsiteX31" fmla="*/ 1114 w 9873"/>
                <a:gd name="connsiteY31" fmla="*/ 7440 h 10000"/>
                <a:gd name="connsiteX32" fmla="*/ 995 w 9873"/>
                <a:gd name="connsiteY32" fmla="*/ 7286 h 10000"/>
                <a:gd name="connsiteX33" fmla="*/ 841 w 9873"/>
                <a:gd name="connsiteY33" fmla="*/ 7275 h 10000"/>
                <a:gd name="connsiteX34" fmla="*/ 818 w 9873"/>
                <a:gd name="connsiteY34" fmla="*/ 7090 h 10000"/>
                <a:gd name="connsiteX35" fmla="*/ 716 w 9873"/>
                <a:gd name="connsiteY35" fmla="*/ 6945 h 10000"/>
                <a:gd name="connsiteX36" fmla="*/ 738 w 9873"/>
                <a:gd name="connsiteY36" fmla="*/ 6822 h 10000"/>
                <a:gd name="connsiteX37" fmla="*/ 673 w 9873"/>
                <a:gd name="connsiteY37" fmla="*/ 6698 h 10000"/>
                <a:gd name="connsiteX38" fmla="*/ 548 w 9873"/>
                <a:gd name="connsiteY38" fmla="*/ 6698 h 10000"/>
                <a:gd name="connsiteX39" fmla="*/ 510 w 9873"/>
                <a:gd name="connsiteY39" fmla="*/ 6791 h 10000"/>
                <a:gd name="connsiteX40" fmla="*/ 480 w 9873"/>
                <a:gd name="connsiteY40" fmla="*/ 6750 h 10000"/>
                <a:gd name="connsiteX41" fmla="*/ 453 w 9873"/>
                <a:gd name="connsiteY41" fmla="*/ 6439 h 10000"/>
                <a:gd name="connsiteX42" fmla="*/ 504 w 9873"/>
                <a:gd name="connsiteY42" fmla="*/ 6470 h 10000"/>
                <a:gd name="connsiteX43" fmla="*/ 559 w 9873"/>
                <a:gd name="connsiteY43" fmla="*/ 6347 h 10000"/>
                <a:gd name="connsiteX44" fmla="*/ 480 w 9873"/>
                <a:gd name="connsiteY44" fmla="*/ 6233 h 10000"/>
                <a:gd name="connsiteX45" fmla="*/ 378 w 9873"/>
                <a:gd name="connsiteY45" fmla="*/ 6017 h 10000"/>
                <a:gd name="connsiteX46" fmla="*/ 399 w 9873"/>
                <a:gd name="connsiteY46" fmla="*/ 5821 h 10000"/>
                <a:gd name="connsiteX47" fmla="*/ 327 w 9873"/>
                <a:gd name="connsiteY47" fmla="*/ 5697 h 10000"/>
                <a:gd name="connsiteX48" fmla="*/ 270 w 9873"/>
                <a:gd name="connsiteY48" fmla="*/ 5728 h 10000"/>
                <a:gd name="connsiteX49" fmla="*/ 241 w 9873"/>
                <a:gd name="connsiteY49" fmla="*/ 5604 h 10000"/>
                <a:gd name="connsiteX50" fmla="*/ 196 w 9873"/>
                <a:gd name="connsiteY50" fmla="*/ 5645 h 10000"/>
                <a:gd name="connsiteX51" fmla="*/ 139 w 9873"/>
                <a:gd name="connsiteY51" fmla="*/ 5604 h 10000"/>
                <a:gd name="connsiteX52" fmla="*/ 82 w 9873"/>
                <a:gd name="connsiteY52" fmla="*/ 5181 h 10000"/>
                <a:gd name="connsiteX53" fmla="*/ 103 w 9873"/>
                <a:gd name="connsiteY53" fmla="*/ 5057 h 10000"/>
                <a:gd name="connsiteX54" fmla="*/ 47 w 9873"/>
                <a:gd name="connsiteY54" fmla="*/ 4892 h 10000"/>
                <a:gd name="connsiteX55" fmla="*/ 78 w 9873"/>
                <a:gd name="connsiteY55" fmla="*/ 4655 h 10000"/>
                <a:gd name="connsiteX56" fmla="*/ 253 w 9873"/>
                <a:gd name="connsiteY56" fmla="*/ 4510 h 10000"/>
                <a:gd name="connsiteX57" fmla="*/ 155 w 9873"/>
                <a:gd name="connsiteY57" fmla="*/ 4406 h 10000"/>
                <a:gd name="connsiteX58" fmla="*/ 100 w 9873"/>
                <a:gd name="connsiteY58" fmla="*/ 4283 h 10000"/>
                <a:gd name="connsiteX59" fmla="*/ 245 w 9873"/>
                <a:gd name="connsiteY59" fmla="*/ 3912 h 10000"/>
                <a:gd name="connsiteX60" fmla="*/ 301 w 9873"/>
                <a:gd name="connsiteY60" fmla="*/ 3664 h 10000"/>
                <a:gd name="connsiteX61" fmla="*/ 182 w 9873"/>
                <a:gd name="connsiteY61" fmla="*/ 3488 h 10000"/>
                <a:gd name="connsiteX62" fmla="*/ 228 w 9873"/>
                <a:gd name="connsiteY62" fmla="*/ 3344 h 10000"/>
                <a:gd name="connsiteX63" fmla="*/ 134 w 9873"/>
                <a:gd name="connsiteY63" fmla="*/ 3148 h 10000"/>
                <a:gd name="connsiteX64" fmla="*/ 134 w 9873"/>
                <a:gd name="connsiteY64" fmla="*/ 2972 h 10000"/>
                <a:gd name="connsiteX65" fmla="*/ 72 w 9873"/>
                <a:gd name="connsiteY65" fmla="*/ 2622 h 10000"/>
                <a:gd name="connsiteX66" fmla="*/ 118 w 9873"/>
                <a:gd name="connsiteY66" fmla="*/ 2404 h 10000"/>
                <a:gd name="connsiteX67" fmla="*/ 44 w 9873"/>
                <a:gd name="connsiteY67" fmla="*/ 2301 h 10000"/>
                <a:gd name="connsiteX68" fmla="*/ 0 w 9873"/>
                <a:gd name="connsiteY68" fmla="*/ 2178 h 10000"/>
                <a:gd name="connsiteX69" fmla="*/ 65 w 9873"/>
                <a:gd name="connsiteY69" fmla="*/ 1951 h 10000"/>
                <a:gd name="connsiteX70" fmla="*/ 142 w 9873"/>
                <a:gd name="connsiteY70" fmla="*/ 1910 h 10000"/>
                <a:gd name="connsiteX71" fmla="*/ 234 w 9873"/>
                <a:gd name="connsiteY71" fmla="*/ 1858 h 10000"/>
                <a:gd name="connsiteX72" fmla="*/ 371 w 9873"/>
                <a:gd name="connsiteY72" fmla="*/ 1951 h 10000"/>
                <a:gd name="connsiteX73" fmla="*/ 577 w 9873"/>
                <a:gd name="connsiteY73" fmla="*/ 2054 h 10000"/>
                <a:gd name="connsiteX74" fmla="*/ 759 w 9873"/>
                <a:gd name="connsiteY74" fmla="*/ 2229 h 10000"/>
                <a:gd name="connsiteX75" fmla="*/ 906 w 9873"/>
                <a:gd name="connsiteY75" fmla="*/ 2373 h 10000"/>
                <a:gd name="connsiteX76" fmla="*/ 871 w 9873"/>
                <a:gd name="connsiteY76" fmla="*/ 2777 h 10000"/>
                <a:gd name="connsiteX77" fmla="*/ 432 w 9873"/>
                <a:gd name="connsiteY77" fmla="*/ 2673 h 10000"/>
                <a:gd name="connsiteX78" fmla="*/ 294 w 9873"/>
                <a:gd name="connsiteY78" fmla="*/ 2550 h 10000"/>
                <a:gd name="connsiteX79" fmla="*/ 345 w 9873"/>
                <a:gd name="connsiteY79" fmla="*/ 2622 h 10000"/>
                <a:gd name="connsiteX80" fmla="*/ 396 w 9873"/>
                <a:gd name="connsiteY80" fmla="*/ 2797 h 10000"/>
                <a:gd name="connsiteX81" fmla="*/ 480 w 9873"/>
                <a:gd name="connsiteY81" fmla="*/ 2921 h 10000"/>
                <a:gd name="connsiteX82" fmla="*/ 500 w 9873"/>
                <a:gd name="connsiteY82" fmla="*/ 3189 h 10000"/>
                <a:gd name="connsiteX83" fmla="*/ 608 w 9873"/>
                <a:gd name="connsiteY83" fmla="*/ 3313 h 10000"/>
                <a:gd name="connsiteX84" fmla="*/ 699 w 9873"/>
                <a:gd name="connsiteY84" fmla="*/ 3436 h 10000"/>
                <a:gd name="connsiteX85" fmla="*/ 726 w 9873"/>
                <a:gd name="connsiteY85" fmla="*/ 3467 h 10000"/>
                <a:gd name="connsiteX86" fmla="*/ 781 w 9873"/>
                <a:gd name="connsiteY86" fmla="*/ 3436 h 10000"/>
                <a:gd name="connsiteX87" fmla="*/ 759 w 9873"/>
                <a:gd name="connsiteY87" fmla="*/ 3364 h 10000"/>
                <a:gd name="connsiteX88" fmla="*/ 654 w 9873"/>
                <a:gd name="connsiteY88" fmla="*/ 3189 h 10000"/>
                <a:gd name="connsiteX89" fmla="*/ 962 w 9873"/>
                <a:gd name="connsiteY89" fmla="*/ 3344 h 10000"/>
                <a:gd name="connsiteX90" fmla="*/ 971 w 9873"/>
                <a:gd name="connsiteY90" fmla="*/ 3271 h 10000"/>
                <a:gd name="connsiteX91" fmla="*/ 941 w 9873"/>
                <a:gd name="connsiteY91" fmla="*/ 3220 h 10000"/>
                <a:gd name="connsiteX92" fmla="*/ 888 w 9873"/>
                <a:gd name="connsiteY92" fmla="*/ 2993 h 10000"/>
                <a:gd name="connsiteX93" fmla="*/ 1042 w 9873"/>
                <a:gd name="connsiteY93" fmla="*/ 2777 h 10000"/>
                <a:gd name="connsiteX94" fmla="*/ 1163 w 9873"/>
                <a:gd name="connsiteY94" fmla="*/ 2921 h 10000"/>
                <a:gd name="connsiteX95" fmla="*/ 1198 w 9873"/>
                <a:gd name="connsiteY95" fmla="*/ 2725 h 10000"/>
                <a:gd name="connsiteX96" fmla="*/ 1141 w 9873"/>
                <a:gd name="connsiteY96" fmla="*/ 2653 h 10000"/>
                <a:gd name="connsiteX97" fmla="*/ 1121 w 9873"/>
                <a:gd name="connsiteY97" fmla="*/ 2281 h 10000"/>
                <a:gd name="connsiteX98" fmla="*/ 1097 w 9873"/>
                <a:gd name="connsiteY98" fmla="*/ 2229 h 10000"/>
                <a:gd name="connsiteX99" fmla="*/ 1242 w 9873"/>
                <a:gd name="connsiteY99" fmla="*/ 2250 h 10000"/>
                <a:gd name="connsiteX100" fmla="*/ 1303 w 9873"/>
                <a:gd name="connsiteY100" fmla="*/ 2404 h 10000"/>
                <a:gd name="connsiteX101" fmla="*/ 1225 w 9873"/>
                <a:gd name="connsiteY101" fmla="*/ 2529 h 10000"/>
                <a:gd name="connsiteX102" fmla="*/ 1360 w 9873"/>
                <a:gd name="connsiteY102" fmla="*/ 2694 h 10000"/>
                <a:gd name="connsiteX103" fmla="*/ 1470 w 9873"/>
                <a:gd name="connsiteY103" fmla="*/ 2529 h 10000"/>
                <a:gd name="connsiteX104" fmla="*/ 1607 w 9873"/>
                <a:gd name="connsiteY104" fmla="*/ 2301 h 10000"/>
                <a:gd name="connsiteX105" fmla="*/ 1751 w 9873"/>
                <a:gd name="connsiteY105" fmla="*/ 2157 h 10000"/>
                <a:gd name="connsiteX106" fmla="*/ 1793 w 9873"/>
                <a:gd name="connsiteY106" fmla="*/ 2250 h 10000"/>
                <a:gd name="connsiteX107" fmla="*/ 2166 w 9873"/>
                <a:gd name="connsiteY107" fmla="*/ 2054 h 10000"/>
                <a:gd name="connsiteX108" fmla="*/ 2242 w 9873"/>
                <a:gd name="connsiteY108" fmla="*/ 2250 h 10000"/>
                <a:gd name="connsiteX109" fmla="*/ 2232 w 9873"/>
                <a:gd name="connsiteY109" fmla="*/ 2002 h 10000"/>
                <a:gd name="connsiteX110" fmla="*/ 2132 w 9873"/>
                <a:gd name="connsiteY110" fmla="*/ 1786 h 10000"/>
                <a:gd name="connsiteX111" fmla="*/ 2115 w 9873"/>
                <a:gd name="connsiteY111" fmla="*/ 1703 h 10000"/>
                <a:gd name="connsiteX112" fmla="*/ 2188 w 9873"/>
                <a:gd name="connsiteY112" fmla="*/ 1786 h 10000"/>
                <a:gd name="connsiteX113" fmla="*/ 2437 w 9873"/>
                <a:gd name="connsiteY113" fmla="*/ 1951 h 10000"/>
                <a:gd name="connsiteX114" fmla="*/ 2723 w 9873"/>
                <a:gd name="connsiteY114" fmla="*/ 2126 h 10000"/>
                <a:gd name="connsiteX115" fmla="*/ 2859 w 9873"/>
                <a:gd name="connsiteY115" fmla="*/ 2250 h 10000"/>
                <a:gd name="connsiteX116" fmla="*/ 2903 w 9873"/>
                <a:gd name="connsiteY116" fmla="*/ 2074 h 10000"/>
                <a:gd name="connsiteX117" fmla="*/ 2840 w 9873"/>
                <a:gd name="connsiteY117" fmla="*/ 2033 h 10000"/>
                <a:gd name="connsiteX118" fmla="*/ 2757 w 9873"/>
                <a:gd name="connsiteY118" fmla="*/ 1930 h 10000"/>
                <a:gd name="connsiteX119" fmla="*/ 2702 w 9873"/>
                <a:gd name="connsiteY119" fmla="*/ 1734 h 10000"/>
                <a:gd name="connsiteX120" fmla="*/ 2621 w 9873"/>
                <a:gd name="connsiteY120" fmla="*/ 1486 h 10000"/>
                <a:gd name="connsiteX121" fmla="*/ 2650 w 9873"/>
                <a:gd name="connsiteY121" fmla="*/ 1434 h 10000"/>
                <a:gd name="connsiteX122" fmla="*/ 2676 w 9873"/>
                <a:gd name="connsiteY122" fmla="*/ 1455 h 10000"/>
                <a:gd name="connsiteX123" fmla="*/ 2747 w 9873"/>
                <a:gd name="connsiteY123" fmla="*/ 1115 h 10000"/>
                <a:gd name="connsiteX124" fmla="*/ 2931 w 9873"/>
                <a:gd name="connsiteY124" fmla="*/ 1135 h 10000"/>
                <a:gd name="connsiteX125" fmla="*/ 2983 w 9873"/>
                <a:gd name="connsiteY125" fmla="*/ 1311 h 10000"/>
                <a:gd name="connsiteX126" fmla="*/ 3020 w 9873"/>
                <a:gd name="connsiteY126" fmla="*/ 1538 h 10000"/>
                <a:gd name="connsiteX127" fmla="*/ 3088 w 9873"/>
                <a:gd name="connsiteY127" fmla="*/ 1734 h 10000"/>
                <a:gd name="connsiteX128" fmla="*/ 3202 w 9873"/>
                <a:gd name="connsiteY128" fmla="*/ 2157 h 10000"/>
                <a:gd name="connsiteX129" fmla="*/ 2976 w 9873"/>
                <a:gd name="connsiteY129" fmla="*/ 2673 h 10000"/>
                <a:gd name="connsiteX130" fmla="*/ 3068 w 9873"/>
                <a:gd name="connsiteY130" fmla="*/ 2746 h 10000"/>
                <a:gd name="connsiteX131" fmla="*/ 3184 w 9873"/>
                <a:gd name="connsiteY131" fmla="*/ 2818 h 10000"/>
                <a:gd name="connsiteX132" fmla="*/ 3337 w 9873"/>
                <a:gd name="connsiteY132" fmla="*/ 2622 h 10000"/>
                <a:gd name="connsiteX133" fmla="*/ 3344 w 9873"/>
                <a:gd name="connsiteY133" fmla="*/ 2404 h 10000"/>
                <a:gd name="connsiteX134" fmla="*/ 3293 w 9873"/>
                <a:gd name="connsiteY134" fmla="*/ 2301 h 10000"/>
                <a:gd name="connsiteX135" fmla="*/ 3501 w 9873"/>
                <a:gd name="connsiteY135" fmla="*/ 2250 h 10000"/>
                <a:gd name="connsiteX136" fmla="*/ 3586 w 9873"/>
                <a:gd name="connsiteY136" fmla="*/ 2497 h 10000"/>
                <a:gd name="connsiteX137" fmla="*/ 3586 w 9873"/>
                <a:gd name="connsiteY137" fmla="*/ 2425 h 10000"/>
                <a:gd name="connsiteX138" fmla="*/ 3565 w 9873"/>
                <a:gd name="connsiteY138" fmla="*/ 2353 h 10000"/>
                <a:gd name="connsiteX139" fmla="*/ 3558 w 9873"/>
                <a:gd name="connsiteY139" fmla="*/ 2178 h 10000"/>
                <a:gd name="connsiteX140" fmla="*/ 3358 w 9873"/>
                <a:gd name="connsiteY140" fmla="*/ 1930 h 10000"/>
                <a:gd name="connsiteX141" fmla="*/ 3202 w 9873"/>
                <a:gd name="connsiteY141" fmla="*/ 2002 h 10000"/>
                <a:gd name="connsiteX142" fmla="*/ 3136 w 9873"/>
                <a:gd name="connsiteY142" fmla="*/ 1683 h 10000"/>
                <a:gd name="connsiteX143" fmla="*/ 3076 w 9873"/>
                <a:gd name="connsiteY143" fmla="*/ 1507 h 10000"/>
                <a:gd name="connsiteX144" fmla="*/ 3136 w 9873"/>
                <a:gd name="connsiteY144" fmla="*/ 1331 h 10000"/>
                <a:gd name="connsiteX145" fmla="*/ 3130 w 9873"/>
                <a:gd name="connsiteY145" fmla="*/ 1166 h 10000"/>
                <a:gd name="connsiteX146" fmla="*/ 3104 w 9873"/>
                <a:gd name="connsiteY146" fmla="*/ 1115 h 10000"/>
                <a:gd name="connsiteX147" fmla="*/ 3150 w 9873"/>
                <a:gd name="connsiteY147" fmla="*/ 1115 h 10000"/>
                <a:gd name="connsiteX148" fmla="*/ 3202 w 9873"/>
                <a:gd name="connsiteY148" fmla="*/ 1455 h 10000"/>
                <a:gd name="connsiteX149" fmla="*/ 3468 w 9873"/>
                <a:gd name="connsiteY149" fmla="*/ 1662 h 10000"/>
                <a:gd name="connsiteX150" fmla="*/ 3267 w 9873"/>
                <a:gd name="connsiteY150" fmla="*/ 1383 h 10000"/>
                <a:gd name="connsiteX151" fmla="*/ 3658 w 9873"/>
                <a:gd name="connsiteY151" fmla="*/ 1383 h 10000"/>
                <a:gd name="connsiteX152" fmla="*/ 3720 w 9873"/>
                <a:gd name="connsiteY152" fmla="*/ 1362 h 10000"/>
                <a:gd name="connsiteX153" fmla="*/ 3475 w 9873"/>
                <a:gd name="connsiteY153" fmla="*/ 1115 h 10000"/>
                <a:gd name="connsiteX154" fmla="*/ 3538 w 9873"/>
                <a:gd name="connsiteY154" fmla="*/ 888 h 10000"/>
                <a:gd name="connsiteX155" fmla="*/ 3812 w 9873"/>
                <a:gd name="connsiteY155" fmla="*/ 888 h 10000"/>
                <a:gd name="connsiteX156" fmla="*/ 3784 w 9873"/>
                <a:gd name="connsiteY156" fmla="*/ 713 h 10000"/>
                <a:gd name="connsiteX157" fmla="*/ 3876 w 9873"/>
                <a:gd name="connsiteY157" fmla="*/ 589 h 10000"/>
                <a:gd name="connsiteX158" fmla="*/ 3929 w 9873"/>
                <a:gd name="connsiteY158" fmla="*/ 548 h 10000"/>
                <a:gd name="connsiteX159" fmla="*/ 4131 w 9873"/>
                <a:gd name="connsiteY159" fmla="*/ 423 h 10000"/>
                <a:gd name="connsiteX160" fmla="*/ 4181 w 9873"/>
                <a:gd name="connsiteY160" fmla="*/ 371 h 10000"/>
                <a:gd name="connsiteX161" fmla="*/ 4173 w 9873"/>
                <a:gd name="connsiteY161" fmla="*/ 444 h 10000"/>
                <a:gd name="connsiteX162" fmla="*/ 4391 w 9873"/>
                <a:gd name="connsiteY162" fmla="*/ 371 h 10000"/>
                <a:gd name="connsiteX163" fmla="*/ 4565 w 9873"/>
                <a:gd name="connsiteY163" fmla="*/ 248 h 10000"/>
                <a:gd name="connsiteX164" fmla="*/ 4592 w 9873"/>
                <a:gd name="connsiteY164" fmla="*/ 0 h 10000"/>
                <a:gd name="connsiteX165" fmla="*/ 4783 w 9873"/>
                <a:gd name="connsiteY165" fmla="*/ 21 h 10000"/>
                <a:gd name="connsiteX166" fmla="*/ 4771 w 9873"/>
                <a:gd name="connsiteY166" fmla="*/ 93 h 10000"/>
                <a:gd name="connsiteX167" fmla="*/ 4783 w 9873"/>
                <a:gd name="connsiteY167" fmla="*/ 176 h 10000"/>
                <a:gd name="connsiteX168" fmla="*/ 4898 w 9873"/>
                <a:gd name="connsiteY168" fmla="*/ 248 h 10000"/>
                <a:gd name="connsiteX169" fmla="*/ 5252 w 9873"/>
                <a:gd name="connsiteY169" fmla="*/ 268 h 10000"/>
                <a:gd name="connsiteX170" fmla="*/ 5442 w 9873"/>
                <a:gd name="connsiteY170" fmla="*/ 392 h 10000"/>
                <a:gd name="connsiteX171" fmla="*/ 5379 w 9873"/>
                <a:gd name="connsiteY171" fmla="*/ 795 h 10000"/>
                <a:gd name="connsiteX172" fmla="*/ 5311 w 9873"/>
                <a:gd name="connsiteY172" fmla="*/ 919 h 10000"/>
                <a:gd name="connsiteX173" fmla="*/ 5222 w 9873"/>
                <a:gd name="connsiteY173" fmla="*/ 1043 h 10000"/>
                <a:gd name="connsiteX174" fmla="*/ 5244 w 9873"/>
                <a:gd name="connsiteY174" fmla="*/ 1115 h 10000"/>
                <a:gd name="connsiteX175" fmla="*/ 5497 w 9873"/>
                <a:gd name="connsiteY175" fmla="*/ 919 h 10000"/>
                <a:gd name="connsiteX176" fmla="*/ 6068 w 9873"/>
                <a:gd name="connsiteY176" fmla="*/ 991 h 10000"/>
                <a:gd name="connsiteX177" fmla="*/ 6127 w 9873"/>
                <a:gd name="connsiteY177" fmla="*/ 1063 h 10000"/>
                <a:gd name="connsiteX178" fmla="*/ 6250 w 9873"/>
                <a:gd name="connsiteY178" fmla="*/ 1187 h 10000"/>
                <a:gd name="connsiteX179" fmla="*/ 6425 w 9873"/>
                <a:gd name="connsiteY179" fmla="*/ 919 h 10000"/>
                <a:gd name="connsiteX180" fmla="*/ 6690 w 9873"/>
                <a:gd name="connsiteY180" fmla="*/ 1063 h 10000"/>
                <a:gd name="connsiteX181" fmla="*/ 6767 w 9873"/>
                <a:gd name="connsiteY181" fmla="*/ 1115 h 10000"/>
                <a:gd name="connsiteX182" fmla="*/ 6832 w 9873"/>
                <a:gd name="connsiteY182" fmla="*/ 1166 h 10000"/>
                <a:gd name="connsiteX183" fmla="*/ 7087 w 9873"/>
                <a:gd name="connsiteY183" fmla="*/ 1631 h 10000"/>
                <a:gd name="connsiteX184" fmla="*/ 7179 w 9873"/>
                <a:gd name="connsiteY184" fmla="*/ 1611 h 10000"/>
                <a:gd name="connsiteX185" fmla="*/ 7169 w 9873"/>
                <a:gd name="connsiteY185" fmla="*/ 1507 h 10000"/>
                <a:gd name="connsiteX186" fmla="*/ 7179 w 9873"/>
                <a:gd name="connsiteY186" fmla="*/ 1383 h 10000"/>
                <a:gd name="connsiteX187" fmla="*/ 7305 w 9873"/>
                <a:gd name="connsiteY187" fmla="*/ 1486 h 10000"/>
                <a:gd name="connsiteX188" fmla="*/ 7513 w 9873"/>
                <a:gd name="connsiteY188" fmla="*/ 1507 h 10000"/>
                <a:gd name="connsiteX189" fmla="*/ 7688 w 9873"/>
                <a:gd name="connsiteY189" fmla="*/ 1455 h 10000"/>
                <a:gd name="connsiteX190" fmla="*/ 7605 w 9873"/>
                <a:gd name="connsiteY190" fmla="*/ 1362 h 10000"/>
                <a:gd name="connsiteX191" fmla="*/ 7714 w 9873"/>
                <a:gd name="connsiteY191" fmla="*/ 1084 h 10000"/>
                <a:gd name="connsiteX192" fmla="*/ 8021 w 9873"/>
                <a:gd name="connsiteY192" fmla="*/ 1207 h 10000"/>
                <a:gd name="connsiteX193" fmla="*/ 8329 w 9873"/>
                <a:gd name="connsiteY193" fmla="*/ 1331 h 10000"/>
                <a:gd name="connsiteX194" fmla="*/ 8357 w 9873"/>
                <a:gd name="connsiteY194" fmla="*/ 1362 h 10000"/>
                <a:gd name="connsiteX195" fmla="*/ 8627 w 9873"/>
                <a:gd name="connsiteY195" fmla="*/ 1611 h 10000"/>
                <a:gd name="connsiteX196" fmla="*/ 8835 w 9873"/>
                <a:gd name="connsiteY196" fmla="*/ 1507 h 10000"/>
                <a:gd name="connsiteX197" fmla="*/ 9094 w 9873"/>
                <a:gd name="connsiteY197" fmla="*/ 1538 h 10000"/>
                <a:gd name="connsiteX198" fmla="*/ 9184 w 9873"/>
                <a:gd name="connsiteY198" fmla="*/ 1611 h 10000"/>
                <a:gd name="connsiteX199" fmla="*/ 9509 w 9873"/>
                <a:gd name="connsiteY199" fmla="*/ 1930 h 10000"/>
                <a:gd name="connsiteX200" fmla="*/ 9873 w 9873"/>
                <a:gd name="connsiteY200" fmla="*/ 1879 h 10000"/>
                <a:gd name="connsiteX0" fmla="*/ 1956 w 9631"/>
                <a:gd name="connsiteY0" fmla="*/ 7183 h 10000"/>
                <a:gd name="connsiteX1" fmla="*/ 2010 w 9631"/>
                <a:gd name="connsiteY1" fmla="*/ 7430 h 10000"/>
                <a:gd name="connsiteX2" fmla="*/ 1948 w 9631"/>
                <a:gd name="connsiteY2" fmla="*/ 7430 h 10000"/>
                <a:gd name="connsiteX3" fmla="*/ 1883 w 9631"/>
                <a:gd name="connsiteY3" fmla="*/ 7255 h 10000"/>
                <a:gd name="connsiteX4" fmla="*/ 1836 w 9631"/>
                <a:gd name="connsiteY4" fmla="*/ 7430 h 10000"/>
                <a:gd name="connsiteX5" fmla="*/ 1845 w 9631"/>
                <a:gd name="connsiteY5" fmla="*/ 7854 h 10000"/>
                <a:gd name="connsiteX6" fmla="*/ 1948 w 9631"/>
                <a:gd name="connsiteY6" fmla="*/ 8070 h 10000"/>
                <a:gd name="connsiteX7" fmla="*/ 2002 w 9631"/>
                <a:gd name="connsiteY7" fmla="*/ 8019 h 10000"/>
                <a:gd name="connsiteX8" fmla="*/ 2116 w 9631"/>
                <a:gd name="connsiteY8" fmla="*/ 8493 h 10000"/>
                <a:gd name="connsiteX9" fmla="*/ 1956 w 9631"/>
                <a:gd name="connsiteY9" fmla="*/ 8669 h 10000"/>
                <a:gd name="connsiteX10" fmla="*/ 1938 w 9631"/>
                <a:gd name="connsiteY10" fmla="*/ 9009 h 10000"/>
                <a:gd name="connsiteX11" fmla="*/ 2022 w 9631"/>
                <a:gd name="connsiteY11" fmla="*/ 9236 h 10000"/>
                <a:gd name="connsiteX12" fmla="*/ 2022 w 9631"/>
                <a:gd name="connsiteY12" fmla="*/ 9484 h 10000"/>
                <a:gd name="connsiteX13" fmla="*/ 2149 w 9631"/>
                <a:gd name="connsiteY13" fmla="*/ 9835 h 10000"/>
                <a:gd name="connsiteX14" fmla="*/ 2070 w 9631"/>
                <a:gd name="connsiteY14" fmla="*/ 10000 h 10000"/>
                <a:gd name="connsiteX15" fmla="*/ 1948 w 9631"/>
                <a:gd name="connsiteY15" fmla="*/ 9753 h 10000"/>
                <a:gd name="connsiteX16" fmla="*/ 1781 w 9631"/>
                <a:gd name="connsiteY16" fmla="*/ 9505 h 10000"/>
                <a:gd name="connsiteX17" fmla="*/ 1709 w 9631"/>
                <a:gd name="connsiteY17" fmla="*/ 9588 h 10000"/>
                <a:gd name="connsiteX18" fmla="*/ 1587 w 9631"/>
                <a:gd name="connsiteY18" fmla="*/ 9380 h 10000"/>
                <a:gd name="connsiteX19" fmla="*/ 1333 w 9631"/>
                <a:gd name="connsiteY19" fmla="*/ 9339 h 10000"/>
                <a:gd name="connsiteX20" fmla="*/ 1028 w 9631"/>
                <a:gd name="connsiteY20" fmla="*/ 8813 h 10000"/>
                <a:gd name="connsiteX21" fmla="*/ 1111 w 9631"/>
                <a:gd name="connsiteY21" fmla="*/ 8721 h 10000"/>
                <a:gd name="connsiteX22" fmla="*/ 1169 w 9631"/>
                <a:gd name="connsiteY22" fmla="*/ 8493 h 10000"/>
                <a:gd name="connsiteX23" fmla="*/ 1105 w 9631"/>
                <a:gd name="connsiteY23" fmla="*/ 8390 h 10000"/>
                <a:gd name="connsiteX24" fmla="*/ 1241 w 9631"/>
                <a:gd name="connsiteY24" fmla="*/ 8245 h 10000"/>
                <a:gd name="connsiteX25" fmla="*/ 1148 w 9631"/>
                <a:gd name="connsiteY25" fmla="*/ 8194 h 10000"/>
                <a:gd name="connsiteX26" fmla="*/ 1165 w 9631"/>
                <a:gd name="connsiteY26" fmla="*/ 8091 h 10000"/>
                <a:gd name="connsiteX27" fmla="*/ 1221 w 9631"/>
                <a:gd name="connsiteY27" fmla="*/ 8111 h 10000"/>
                <a:gd name="connsiteX28" fmla="*/ 1288 w 9631"/>
                <a:gd name="connsiteY28" fmla="*/ 8019 h 10000"/>
                <a:gd name="connsiteX29" fmla="*/ 1255 w 9631"/>
                <a:gd name="connsiteY29" fmla="*/ 7864 h 10000"/>
                <a:gd name="connsiteX30" fmla="*/ 1268 w 9631"/>
                <a:gd name="connsiteY30" fmla="*/ 7503 h 10000"/>
                <a:gd name="connsiteX31" fmla="*/ 1128 w 9631"/>
                <a:gd name="connsiteY31" fmla="*/ 7440 h 10000"/>
                <a:gd name="connsiteX32" fmla="*/ 1008 w 9631"/>
                <a:gd name="connsiteY32" fmla="*/ 7286 h 10000"/>
                <a:gd name="connsiteX33" fmla="*/ 852 w 9631"/>
                <a:gd name="connsiteY33" fmla="*/ 7275 h 10000"/>
                <a:gd name="connsiteX34" fmla="*/ 829 w 9631"/>
                <a:gd name="connsiteY34" fmla="*/ 7090 h 10000"/>
                <a:gd name="connsiteX35" fmla="*/ 725 w 9631"/>
                <a:gd name="connsiteY35" fmla="*/ 6945 h 10000"/>
                <a:gd name="connsiteX36" fmla="*/ 747 w 9631"/>
                <a:gd name="connsiteY36" fmla="*/ 6822 h 10000"/>
                <a:gd name="connsiteX37" fmla="*/ 682 w 9631"/>
                <a:gd name="connsiteY37" fmla="*/ 6698 h 10000"/>
                <a:gd name="connsiteX38" fmla="*/ 555 w 9631"/>
                <a:gd name="connsiteY38" fmla="*/ 6698 h 10000"/>
                <a:gd name="connsiteX39" fmla="*/ 517 w 9631"/>
                <a:gd name="connsiteY39" fmla="*/ 6791 h 10000"/>
                <a:gd name="connsiteX40" fmla="*/ 486 w 9631"/>
                <a:gd name="connsiteY40" fmla="*/ 6750 h 10000"/>
                <a:gd name="connsiteX41" fmla="*/ 459 w 9631"/>
                <a:gd name="connsiteY41" fmla="*/ 6439 h 10000"/>
                <a:gd name="connsiteX42" fmla="*/ 510 w 9631"/>
                <a:gd name="connsiteY42" fmla="*/ 6470 h 10000"/>
                <a:gd name="connsiteX43" fmla="*/ 566 w 9631"/>
                <a:gd name="connsiteY43" fmla="*/ 6347 h 10000"/>
                <a:gd name="connsiteX44" fmla="*/ 486 w 9631"/>
                <a:gd name="connsiteY44" fmla="*/ 6233 h 10000"/>
                <a:gd name="connsiteX45" fmla="*/ 383 w 9631"/>
                <a:gd name="connsiteY45" fmla="*/ 6017 h 10000"/>
                <a:gd name="connsiteX46" fmla="*/ 404 w 9631"/>
                <a:gd name="connsiteY46" fmla="*/ 5821 h 10000"/>
                <a:gd name="connsiteX47" fmla="*/ 331 w 9631"/>
                <a:gd name="connsiteY47" fmla="*/ 5697 h 10000"/>
                <a:gd name="connsiteX48" fmla="*/ 273 w 9631"/>
                <a:gd name="connsiteY48" fmla="*/ 5728 h 10000"/>
                <a:gd name="connsiteX49" fmla="*/ 244 w 9631"/>
                <a:gd name="connsiteY49" fmla="*/ 5604 h 10000"/>
                <a:gd name="connsiteX50" fmla="*/ 199 w 9631"/>
                <a:gd name="connsiteY50" fmla="*/ 5645 h 10000"/>
                <a:gd name="connsiteX51" fmla="*/ 141 w 9631"/>
                <a:gd name="connsiteY51" fmla="*/ 5604 h 10000"/>
                <a:gd name="connsiteX52" fmla="*/ 83 w 9631"/>
                <a:gd name="connsiteY52" fmla="*/ 5181 h 10000"/>
                <a:gd name="connsiteX53" fmla="*/ 104 w 9631"/>
                <a:gd name="connsiteY53" fmla="*/ 5057 h 10000"/>
                <a:gd name="connsiteX54" fmla="*/ 48 w 9631"/>
                <a:gd name="connsiteY54" fmla="*/ 4892 h 10000"/>
                <a:gd name="connsiteX55" fmla="*/ 79 w 9631"/>
                <a:gd name="connsiteY55" fmla="*/ 4655 h 10000"/>
                <a:gd name="connsiteX56" fmla="*/ 256 w 9631"/>
                <a:gd name="connsiteY56" fmla="*/ 4510 h 10000"/>
                <a:gd name="connsiteX57" fmla="*/ 157 w 9631"/>
                <a:gd name="connsiteY57" fmla="*/ 4406 h 10000"/>
                <a:gd name="connsiteX58" fmla="*/ 101 w 9631"/>
                <a:gd name="connsiteY58" fmla="*/ 4283 h 10000"/>
                <a:gd name="connsiteX59" fmla="*/ 248 w 9631"/>
                <a:gd name="connsiteY59" fmla="*/ 3912 h 10000"/>
                <a:gd name="connsiteX60" fmla="*/ 305 w 9631"/>
                <a:gd name="connsiteY60" fmla="*/ 3664 h 10000"/>
                <a:gd name="connsiteX61" fmla="*/ 184 w 9631"/>
                <a:gd name="connsiteY61" fmla="*/ 3488 h 10000"/>
                <a:gd name="connsiteX62" fmla="*/ 231 w 9631"/>
                <a:gd name="connsiteY62" fmla="*/ 3344 h 10000"/>
                <a:gd name="connsiteX63" fmla="*/ 136 w 9631"/>
                <a:gd name="connsiteY63" fmla="*/ 3148 h 10000"/>
                <a:gd name="connsiteX64" fmla="*/ 136 w 9631"/>
                <a:gd name="connsiteY64" fmla="*/ 2972 h 10000"/>
                <a:gd name="connsiteX65" fmla="*/ 73 w 9631"/>
                <a:gd name="connsiteY65" fmla="*/ 2622 h 10000"/>
                <a:gd name="connsiteX66" fmla="*/ 120 w 9631"/>
                <a:gd name="connsiteY66" fmla="*/ 2404 h 10000"/>
                <a:gd name="connsiteX67" fmla="*/ 45 w 9631"/>
                <a:gd name="connsiteY67" fmla="*/ 2301 h 10000"/>
                <a:gd name="connsiteX68" fmla="*/ 0 w 9631"/>
                <a:gd name="connsiteY68" fmla="*/ 2178 h 10000"/>
                <a:gd name="connsiteX69" fmla="*/ 66 w 9631"/>
                <a:gd name="connsiteY69" fmla="*/ 1951 h 10000"/>
                <a:gd name="connsiteX70" fmla="*/ 144 w 9631"/>
                <a:gd name="connsiteY70" fmla="*/ 1910 h 10000"/>
                <a:gd name="connsiteX71" fmla="*/ 237 w 9631"/>
                <a:gd name="connsiteY71" fmla="*/ 1858 h 10000"/>
                <a:gd name="connsiteX72" fmla="*/ 376 w 9631"/>
                <a:gd name="connsiteY72" fmla="*/ 1951 h 10000"/>
                <a:gd name="connsiteX73" fmla="*/ 584 w 9631"/>
                <a:gd name="connsiteY73" fmla="*/ 2054 h 10000"/>
                <a:gd name="connsiteX74" fmla="*/ 769 w 9631"/>
                <a:gd name="connsiteY74" fmla="*/ 2229 h 10000"/>
                <a:gd name="connsiteX75" fmla="*/ 918 w 9631"/>
                <a:gd name="connsiteY75" fmla="*/ 2373 h 10000"/>
                <a:gd name="connsiteX76" fmla="*/ 882 w 9631"/>
                <a:gd name="connsiteY76" fmla="*/ 2777 h 10000"/>
                <a:gd name="connsiteX77" fmla="*/ 438 w 9631"/>
                <a:gd name="connsiteY77" fmla="*/ 2673 h 10000"/>
                <a:gd name="connsiteX78" fmla="*/ 298 w 9631"/>
                <a:gd name="connsiteY78" fmla="*/ 2550 h 10000"/>
                <a:gd name="connsiteX79" fmla="*/ 349 w 9631"/>
                <a:gd name="connsiteY79" fmla="*/ 2622 h 10000"/>
                <a:gd name="connsiteX80" fmla="*/ 401 w 9631"/>
                <a:gd name="connsiteY80" fmla="*/ 2797 h 10000"/>
                <a:gd name="connsiteX81" fmla="*/ 486 w 9631"/>
                <a:gd name="connsiteY81" fmla="*/ 2921 h 10000"/>
                <a:gd name="connsiteX82" fmla="*/ 506 w 9631"/>
                <a:gd name="connsiteY82" fmla="*/ 3189 h 10000"/>
                <a:gd name="connsiteX83" fmla="*/ 616 w 9631"/>
                <a:gd name="connsiteY83" fmla="*/ 3313 h 10000"/>
                <a:gd name="connsiteX84" fmla="*/ 708 w 9631"/>
                <a:gd name="connsiteY84" fmla="*/ 3436 h 10000"/>
                <a:gd name="connsiteX85" fmla="*/ 735 w 9631"/>
                <a:gd name="connsiteY85" fmla="*/ 3467 h 10000"/>
                <a:gd name="connsiteX86" fmla="*/ 791 w 9631"/>
                <a:gd name="connsiteY86" fmla="*/ 3436 h 10000"/>
                <a:gd name="connsiteX87" fmla="*/ 769 w 9631"/>
                <a:gd name="connsiteY87" fmla="*/ 3364 h 10000"/>
                <a:gd name="connsiteX88" fmla="*/ 662 w 9631"/>
                <a:gd name="connsiteY88" fmla="*/ 3189 h 10000"/>
                <a:gd name="connsiteX89" fmla="*/ 974 w 9631"/>
                <a:gd name="connsiteY89" fmla="*/ 3344 h 10000"/>
                <a:gd name="connsiteX90" fmla="*/ 983 w 9631"/>
                <a:gd name="connsiteY90" fmla="*/ 3271 h 10000"/>
                <a:gd name="connsiteX91" fmla="*/ 953 w 9631"/>
                <a:gd name="connsiteY91" fmla="*/ 3220 h 10000"/>
                <a:gd name="connsiteX92" fmla="*/ 899 w 9631"/>
                <a:gd name="connsiteY92" fmla="*/ 2993 h 10000"/>
                <a:gd name="connsiteX93" fmla="*/ 1055 w 9631"/>
                <a:gd name="connsiteY93" fmla="*/ 2777 h 10000"/>
                <a:gd name="connsiteX94" fmla="*/ 1178 w 9631"/>
                <a:gd name="connsiteY94" fmla="*/ 2921 h 10000"/>
                <a:gd name="connsiteX95" fmla="*/ 1213 w 9631"/>
                <a:gd name="connsiteY95" fmla="*/ 2725 h 10000"/>
                <a:gd name="connsiteX96" fmla="*/ 1156 w 9631"/>
                <a:gd name="connsiteY96" fmla="*/ 2653 h 10000"/>
                <a:gd name="connsiteX97" fmla="*/ 1135 w 9631"/>
                <a:gd name="connsiteY97" fmla="*/ 2281 h 10000"/>
                <a:gd name="connsiteX98" fmla="*/ 1111 w 9631"/>
                <a:gd name="connsiteY98" fmla="*/ 2229 h 10000"/>
                <a:gd name="connsiteX99" fmla="*/ 1258 w 9631"/>
                <a:gd name="connsiteY99" fmla="*/ 2250 h 10000"/>
                <a:gd name="connsiteX100" fmla="*/ 1320 w 9631"/>
                <a:gd name="connsiteY100" fmla="*/ 2404 h 10000"/>
                <a:gd name="connsiteX101" fmla="*/ 1241 w 9631"/>
                <a:gd name="connsiteY101" fmla="*/ 2529 h 10000"/>
                <a:gd name="connsiteX102" fmla="*/ 1377 w 9631"/>
                <a:gd name="connsiteY102" fmla="*/ 2694 h 10000"/>
                <a:gd name="connsiteX103" fmla="*/ 1489 w 9631"/>
                <a:gd name="connsiteY103" fmla="*/ 2529 h 10000"/>
                <a:gd name="connsiteX104" fmla="*/ 1628 w 9631"/>
                <a:gd name="connsiteY104" fmla="*/ 2301 h 10000"/>
                <a:gd name="connsiteX105" fmla="*/ 1774 w 9631"/>
                <a:gd name="connsiteY105" fmla="*/ 2157 h 10000"/>
                <a:gd name="connsiteX106" fmla="*/ 1816 w 9631"/>
                <a:gd name="connsiteY106" fmla="*/ 2250 h 10000"/>
                <a:gd name="connsiteX107" fmla="*/ 2194 w 9631"/>
                <a:gd name="connsiteY107" fmla="*/ 2054 h 10000"/>
                <a:gd name="connsiteX108" fmla="*/ 2271 w 9631"/>
                <a:gd name="connsiteY108" fmla="*/ 2250 h 10000"/>
                <a:gd name="connsiteX109" fmla="*/ 2261 w 9631"/>
                <a:gd name="connsiteY109" fmla="*/ 2002 h 10000"/>
                <a:gd name="connsiteX110" fmla="*/ 2159 w 9631"/>
                <a:gd name="connsiteY110" fmla="*/ 1786 h 10000"/>
                <a:gd name="connsiteX111" fmla="*/ 2142 w 9631"/>
                <a:gd name="connsiteY111" fmla="*/ 1703 h 10000"/>
                <a:gd name="connsiteX112" fmla="*/ 2216 w 9631"/>
                <a:gd name="connsiteY112" fmla="*/ 1786 h 10000"/>
                <a:gd name="connsiteX113" fmla="*/ 2468 w 9631"/>
                <a:gd name="connsiteY113" fmla="*/ 1951 h 10000"/>
                <a:gd name="connsiteX114" fmla="*/ 2758 w 9631"/>
                <a:gd name="connsiteY114" fmla="*/ 2126 h 10000"/>
                <a:gd name="connsiteX115" fmla="*/ 2896 w 9631"/>
                <a:gd name="connsiteY115" fmla="*/ 2250 h 10000"/>
                <a:gd name="connsiteX116" fmla="*/ 2940 w 9631"/>
                <a:gd name="connsiteY116" fmla="*/ 2074 h 10000"/>
                <a:gd name="connsiteX117" fmla="*/ 2877 w 9631"/>
                <a:gd name="connsiteY117" fmla="*/ 2033 h 10000"/>
                <a:gd name="connsiteX118" fmla="*/ 2792 w 9631"/>
                <a:gd name="connsiteY118" fmla="*/ 1930 h 10000"/>
                <a:gd name="connsiteX119" fmla="*/ 2737 w 9631"/>
                <a:gd name="connsiteY119" fmla="*/ 1734 h 10000"/>
                <a:gd name="connsiteX120" fmla="*/ 2655 w 9631"/>
                <a:gd name="connsiteY120" fmla="*/ 1486 h 10000"/>
                <a:gd name="connsiteX121" fmla="*/ 2684 w 9631"/>
                <a:gd name="connsiteY121" fmla="*/ 1434 h 10000"/>
                <a:gd name="connsiteX122" fmla="*/ 2710 w 9631"/>
                <a:gd name="connsiteY122" fmla="*/ 1455 h 10000"/>
                <a:gd name="connsiteX123" fmla="*/ 2782 w 9631"/>
                <a:gd name="connsiteY123" fmla="*/ 1115 h 10000"/>
                <a:gd name="connsiteX124" fmla="*/ 2969 w 9631"/>
                <a:gd name="connsiteY124" fmla="*/ 1135 h 10000"/>
                <a:gd name="connsiteX125" fmla="*/ 3021 w 9631"/>
                <a:gd name="connsiteY125" fmla="*/ 1311 h 10000"/>
                <a:gd name="connsiteX126" fmla="*/ 3059 w 9631"/>
                <a:gd name="connsiteY126" fmla="*/ 1538 h 10000"/>
                <a:gd name="connsiteX127" fmla="*/ 3128 w 9631"/>
                <a:gd name="connsiteY127" fmla="*/ 1734 h 10000"/>
                <a:gd name="connsiteX128" fmla="*/ 3243 w 9631"/>
                <a:gd name="connsiteY128" fmla="*/ 2157 h 10000"/>
                <a:gd name="connsiteX129" fmla="*/ 3014 w 9631"/>
                <a:gd name="connsiteY129" fmla="*/ 2673 h 10000"/>
                <a:gd name="connsiteX130" fmla="*/ 3107 w 9631"/>
                <a:gd name="connsiteY130" fmla="*/ 2746 h 10000"/>
                <a:gd name="connsiteX131" fmla="*/ 3225 w 9631"/>
                <a:gd name="connsiteY131" fmla="*/ 2818 h 10000"/>
                <a:gd name="connsiteX132" fmla="*/ 3380 w 9631"/>
                <a:gd name="connsiteY132" fmla="*/ 2622 h 10000"/>
                <a:gd name="connsiteX133" fmla="*/ 3387 w 9631"/>
                <a:gd name="connsiteY133" fmla="*/ 2404 h 10000"/>
                <a:gd name="connsiteX134" fmla="*/ 3335 w 9631"/>
                <a:gd name="connsiteY134" fmla="*/ 2301 h 10000"/>
                <a:gd name="connsiteX135" fmla="*/ 3546 w 9631"/>
                <a:gd name="connsiteY135" fmla="*/ 2250 h 10000"/>
                <a:gd name="connsiteX136" fmla="*/ 3632 w 9631"/>
                <a:gd name="connsiteY136" fmla="*/ 2497 h 10000"/>
                <a:gd name="connsiteX137" fmla="*/ 3632 w 9631"/>
                <a:gd name="connsiteY137" fmla="*/ 2425 h 10000"/>
                <a:gd name="connsiteX138" fmla="*/ 3611 w 9631"/>
                <a:gd name="connsiteY138" fmla="*/ 2353 h 10000"/>
                <a:gd name="connsiteX139" fmla="*/ 3604 w 9631"/>
                <a:gd name="connsiteY139" fmla="*/ 2178 h 10000"/>
                <a:gd name="connsiteX140" fmla="*/ 3401 w 9631"/>
                <a:gd name="connsiteY140" fmla="*/ 1930 h 10000"/>
                <a:gd name="connsiteX141" fmla="*/ 3243 w 9631"/>
                <a:gd name="connsiteY141" fmla="*/ 2002 h 10000"/>
                <a:gd name="connsiteX142" fmla="*/ 3176 w 9631"/>
                <a:gd name="connsiteY142" fmla="*/ 1683 h 10000"/>
                <a:gd name="connsiteX143" fmla="*/ 3116 w 9631"/>
                <a:gd name="connsiteY143" fmla="*/ 1507 h 10000"/>
                <a:gd name="connsiteX144" fmla="*/ 3176 w 9631"/>
                <a:gd name="connsiteY144" fmla="*/ 1331 h 10000"/>
                <a:gd name="connsiteX145" fmla="*/ 3170 w 9631"/>
                <a:gd name="connsiteY145" fmla="*/ 1166 h 10000"/>
                <a:gd name="connsiteX146" fmla="*/ 3144 w 9631"/>
                <a:gd name="connsiteY146" fmla="*/ 1115 h 10000"/>
                <a:gd name="connsiteX147" fmla="*/ 3191 w 9631"/>
                <a:gd name="connsiteY147" fmla="*/ 1115 h 10000"/>
                <a:gd name="connsiteX148" fmla="*/ 3243 w 9631"/>
                <a:gd name="connsiteY148" fmla="*/ 1455 h 10000"/>
                <a:gd name="connsiteX149" fmla="*/ 3513 w 9631"/>
                <a:gd name="connsiteY149" fmla="*/ 1662 h 10000"/>
                <a:gd name="connsiteX150" fmla="*/ 3309 w 9631"/>
                <a:gd name="connsiteY150" fmla="*/ 1383 h 10000"/>
                <a:gd name="connsiteX151" fmla="*/ 3705 w 9631"/>
                <a:gd name="connsiteY151" fmla="*/ 1383 h 10000"/>
                <a:gd name="connsiteX152" fmla="*/ 3768 w 9631"/>
                <a:gd name="connsiteY152" fmla="*/ 1362 h 10000"/>
                <a:gd name="connsiteX153" fmla="*/ 3520 w 9631"/>
                <a:gd name="connsiteY153" fmla="*/ 1115 h 10000"/>
                <a:gd name="connsiteX154" fmla="*/ 3584 w 9631"/>
                <a:gd name="connsiteY154" fmla="*/ 888 h 10000"/>
                <a:gd name="connsiteX155" fmla="*/ 3861 w 9631"/>
                <a:gd name="connsiteY155" fmla="*/ 888 h 10000"/>
                <a:gd name="connsiteX156" fmla="*/ 3833 w 9631"/>
                <a:gd name="connsiteY156" fmla="*/ 713 h 10000"/>
                <a:gd name="connsiteX157" fmla="*/ 3926 w 9631"/>
                <a:gd name="connsiteY157" fmla="*/ 589 h 10000"/>
                <a:gd name="connsiteX158" fmla="*/ 3980 w 9631"/>
                <a:gd name="connsiteY158" fmla="*/ 548 h 10000"/>
                <a:gd name="connsiteX159" fmla="*/ 4184 w 9631"/>
                <a:gd name="connsiteY159" fmla="*/ 423 h 10000"/>
                <a:gd name="connsiteX160" fmla="*/ 4235 w 9631"/>
                <a:gd name="connsiteY160" fmla="*/ 371 h 10000"/>
                <a:gd name="connsiteX161" fmla="*/ 4227 w 9631"/>
                <a:gd name="connsiteY161" fmla="*/ 444 h 10000"/>
                <a:gd name="connsiteX162" fmla="*/ 4447 w 9631"/>
                <a:gd name="connsiteY162" fmla="*/ 371 h 10000"/>
                <a:gd name="connsiteX163" fmla="*/ 4624 w 9631"/>
                <a:gd name="connsiteY163" fmla="*/ 248 h 10000"/>
                <a:gd name="connsiteX164" fmla="*/ 4651 w 9631"/>
                <a:gd name="connsiteY164" fmla="*/ 0 h 10000"/>
                <a:gd name="connsiteX165" fmla="*/ 4845 w 9631"/>
                <a:gd name="connsiteY165" fmla="*/ 21 h 10000"/>
                <a:gd name="connsiteX166" fmla="*/ 4832 w 9631"/>
                <a:gd name="connsiteY166" fmla="*/ 93 h 10000"/>
                <a:gd name="connsiteX167" fmla="*/ 4845 w 9631"/>
                <a:gd name="connsiteY167" fmla="*/ 176 h 10000"/>
                <a:gd name="connsiteX168" fmla="*/ 4961 w 9631"/>
                <a:gd name="connsiteY168" fmla="*/ 248 h 10000"/>
                <a:gd name="connsiteX169" fmla="*/ 5320 w 9631"/>
                <a:gd name="connsiteY169" fmla="*/ 268 h 10000"/>
                <a:gd name="connsiteX170" fmla="*/ 5512 w 9631"/>
                <a:gd name="connsiteY170" fmla="*/ 392 h 10000"/>
                <a:gd name="connsiteX171" fmla="*/ 5448 w 9631"/>
                <a:gd name="connsiteY171" fmla="*/ 795 h 10000"/>
                <a:gd name="connsiteX172" fmla="*/ 5379 w 9631"/>
                <a:gd name="connsiteY172" fmla="*/ 919 h 10000"/>
                <a:gd name="connsiteX173" fmla="*/ 5289 w 9631"/>
                <a:gd name="connsiteY173" fmla="*/ 1043 h 10000"/>
                <a:gd name="connsiteX174" fmla="*/ 5311 w 9631"/>
                <a:gd name="connsiteY174" fmla="*/ 1115 h 10000"/>
                <a:gd name="connsiteX175" fmla="*/ 5568 w 9631"/>
                <a:gd name="connsiteY175" fmla="*/ 919 h 10000"/>
                <a:gd name="connsiteX176" fmla="*/ 6146 w 9631"/>
                <a:gd name="connsiteY176" fmla="*/ 991 h 10000"/>
                <a:gd name="connsiteX177" fmla="*/ 6206 w 9631"/>
                <a:gd name="connsiteY177" fmla="*/ 1063 h 10000"/>
                <a:gd name="connsiteX178" fmla="*/ 6330 w 9631"/>
                <a:gd name="connsiteY178" fmla="*/ 1187 h 10000"/>
                <a:gd name="connsiteX179" fmla="*/ 6508 w 9631"/>
                <a:gd name="connsiteY179" fmla="*/ 919 h 10000"/>
                <a:gd name="connsiteX180" fmla="*/ 6776 w 9631"/>
                <a:gd name="connsiteY180" fmla="*/ 1063 h 10000"/>
                <a:gd name="connsiteX181" fmla="*/ 6854 w 9631"/>
                <a:gd name="connsiteY181" fmla="*/ 1115 h 10000"/>
                <a:gd name="connsiteX182" fmla="*/ 6920 w 9631"/>
                <a:gd name="connsiteY182" fmla="*/ 1166 h 10000"/>
                <a:gd name="connsiteX183" fmla="*/ 7178 w 9631"/>
                <a:gd name="connsiteY183" fmla="*/ 1631 h 10000"/>
                <a:gd name="connsiteX184" fmla="*/ 7271 w 9631"/>
                <a:gd name="connsiteY184" fmla="*/ 1611 h 10000"/>
                <a:gd name="connsiteX185" fmla="*/ 7261 w 9631"/>
                <a:gd name="connsiteY185" fmla="*/ 1507 h 10000"/>
                <a:gd name="connsiteX186" fmla="*/ 7271 w 9631"/>
                <a:gd name="connsiteY186" fmla="*/ 1383 h 10000"/>
                <a:gd name="connsiteX187" fmla="*/ 7399 w 9631"/>
                <a:gd name="connsiteY187" fmla="*/ 1486 h 10000"/>
                <a:gd name="connsiteX188" fmla="*/ 7610 w 9631"/>
                <a:gd name="connsiteY188" fmla="*/ 1507 h 10000"/>
                <a:gd name="connsiteX189" fmla="*/ 7787 w 9631"/>
                <a:gd name="connsiteY189" fmla="*/ 1455 h 10000"/>
                <a:gd name="connsiteX190" fmla="*/ 7703 w 9631"/>
                <a:gd name="connsiteY190" fmla="*/ 1362 h 10000"/>
                <a:gd name="connsiteX191" fmla="*/ 7813 w 9631"/>
                <a:gd name="connsiteY191" fmla="*/ 1084 h 10000"/>
                <a:gd name="connsiteX192" fmla="*/ 8124 w 9631"/>
                <a:gd name="connsiteY192" fmla="*/ 1207 h 10000"/>
                <a:gd name="connsiteX193" fmla="*/ 8436 w 9631"/>
                <a:gd name="connsiteY193" fmla="*/ 1331 h 10000"/>
                <a:gd name="connsiteX194" fmla="*/ 8464 w 9631"/>
                <a:gd name="connsiteY194" fmla="*/ 1362 h 10000"/>
                <a:gd name="connsiteX195" fmla="*/ 8738 w 9631"/>
                <a:gd name="connsiteY195" fmla="*/ 1611 h 10000"/>
                <a:gd name="connsiteX196" fmla="*/ 8949 w 9631"/>
                <a:gd name="connsiteY196" fmla="*/ 1507 h 10000"/>
                <a:gd name="connsiteX197" fmla="*/ 9211 w 9631"/>
                <a:gd name="connsiteY197" fmla="*/ 1538 h 10000"/>
                <a:gd name="connsiteX198" fmla="*/ 9302 w 9631"/>
                <a:gd name="connsiteY198" fmla="*/ 1611 h 10000"/>
                <a:gd name="connsiteX199" fmla="*/ 9631 w 9631"/>
                <a:gd name="connsiteY199" fmla="*/ 1930 h 10000"/>
                <a:gd name="connsiteX0" fmla="*/ 2031 w 9658"/>
                <a:gd name="connsiteY0" fmla="*/ 7183 h 10000"/>
                <a:gd name="connsiteX1" fmla="*/ 2087 w 9658"/>
                <a:gd name="connsiteY1" fmla="*/ 7430 h 10000"/>
                <a:gd name="connsiteX2" fmla="*/ 2023 w 9658"/>
                <a:gd name="connsiteY2" fmla="*/ 7430 h 10000"/>
                <a:gd name="connsiteX3" fmla="*/ 1955 w 9658"/>
                <a:gd name="connsiteY3" fmla="*/ 7255 h 10000"/>
                <a:gd name="connsiteX4" fmla="*/ 1906 w 9658"/>
                <a:gd name="connsiteY4" fmla="*/ 7430 h 10000"/>
                <a:gd name="connsiteX5" fmla="*/ 1916 w 9658"/>
                <a:gd name="connsiteY5" fmla="*/ 7854 h 10000"/>
                <a:gd name="connsiteX6" fmla="*/ 2023 w 9658"/>
                <a:gd name="connsiteY6" fmla="*/ 8070 h 10000"/>
                <a:gd name="connsiteX7" fmla="*/ 2079 w 9658"/>
                <a:gd name="connsiteY7" fmla="*/ 8019 h 10000"/>
                <a:gd name="connsiteX8" fmla="*/ 2197 w 9658"/>
                <a:gd name="connsiteY8" fmla="*/ 8493 h 10000"/>
                <a:gd name="connsiteX9" fmla="*/ 2031 w 9658"/>
                <a:gd name="connsiteY9" fmla="*/ 8669 h 10000"/>
                <a:gd name="connsiteX10" fmla="*/ 2012 w 9658"/>
                <a:gd name="connsiteY10" fmla="*/ 9009 h 10000"/>
                <a:gd name="connsiteX11" fmla="*/ 2099 w 9658"/>
                <a:gd name="connsiteY11" fmla="*/ 9236 h 10000"/>
                <a:gd name="connsiteX12" fmla="*/ 2099 w 9658"/>
                <a:gd name="connsiteY12" fmla="*/ 9484 h 10000"/>
                <a:gd name="connsiteX13" fmla="*/ 2231 w 9658"/>
                <a:gd name="connsiteY13" fmla="*/ 9835 h 10000"/>
                <a:gd name="connsiteX14" fmla="*/ 2149 w 9658"/>
                <a:gd name="connsiteY14" fmla="*/ 10000 h 10000"/>
                <a:gd name="connsiteX15" fmla="*/ 2023 w 9658"/>
                <a:gd name="connsiteY15" fmla="*/ 9753 h 10000"/>
                <a:gd name="connsiteX16" fmla="*/ 1849 w 9658"/>
                <a:gd name="connsiteY16" fmla="*/ 9505 h 10000"/>
                <a:gd name="connsiteX17" fmla="*/ 1774 w 9658"/>
                <a:gd name="connsiteY17" fmla="*/ 9588 h 10000"/>
                <a:gd name="connsiteX18" fmla="*/ 1648 w 9658"/>
                <a:gd name="connsiteY18" fmla="*/ 9380 h 10000"/>
                <a:gd name="connsiteX19" fmla="*/ 1384 w 9658"/>
                <a:gd name="connsiteY19" fmla="*/ 9339 h 10000"/>
                <a:gd name="connsiteX20" fmla="*/ 1067 w 9658"/>
                <a:gd name="connsiteY20" fmla="*/ 8813 h 10000"/>
                <a:gd name="connsiteX21" fmla="*/ 1154 w 9658"/>
                <a:gd name="connsiteY21" fmla="*/ 8721 h 10000"/>
                <a:gd name="connsiteX22" fmla="*/ 1214 w 9658"/>
                <a:gd name="connsiteY22" fmla="*/ 8493 h 10000"/>
                <a:gd name="connsiteX23" fmla="*/ 1147 w 9658"/>
                <a:gd name="connsiteY23" fmla="*/ 8390 h 10000"/>
                <a:gd name="connsiteX24" fmla="*/ 1289 w 9658"/>
                <a:gd name="connsiteY24" fmla="*/ 8245 h 10000"/>
                <a:gd name="connsiteX25" fmla="*/ 1192 w 9658"/>
                <a:gd name="connsiteY25" fmla="*/ 8194 h 10000"/>
                <a:gd name="connsiteX26" fmla="*/ 1210 w 9658"/>
                <a:gd name="connsiteY26" fmla="*/ 8091 h 10000"/>
                <a:gd name="connsiteX27" fmla="*/ 1268 w 9658"/>
                <a:gd name="connsiteY27" fmla="*/ 8111 h 10000"/>
                <a:gd name="connsiteX28" fmla="*/ 1337 w 9658"/>
                <a:gd name="connsiteY28" fmla="*/ 8019 h 10000"/>
                <a:gd name="connsiteX29" fmla="*/ 1303 w 9658"/>
                <a:gd name="connsiteY29" fmla="*/ 7864 h 10000"/>
                <a:gd name="connsiteX30" fmla="*/ 1317 w 9658"/>
                <a:gd name="connsiteY30" fmla="*/ 7503 h 10000"/>
                <a:gd name="connsiteX31" fmla="*/ 1171 w 9658"/>
                <a:gd name="connsiteY31" fmla="*/ 7440 h 10000"/>
                <a:gd name="connsiteX32" fmla="*/ 1047 w 9658"/>
                <a:gd name="connsiteY32" fmla="*/ 7286 h 10000"/>
                <a:gd name="connsiteX33" fmla="*/ 885 w 9658"/>
                <a:gd name="connsiteY33" fmla="*/ 7275 h 10000"/>
                <a:gd name="connsiteX34" fmla="*/ 861 w 9658"/>
                <a:gd name="connsiteY34" fmla="*/ 7090 h 10000"/>
                <a:gd name="connsiteX35" fmla="*/ 753 w 9658"/>
                <a:gd name="connsiteY35" fmla="*/ 6945 h 10000"/>
                <a:gd name="connsiteX36" fmla="*/ 776 w 9658"/>
                <a:gd name="connsiteY36" fmla="*/ 6822 h 10000"/>
                <a:gd name="connsiteX37" fmla="*/ 708 w 9658"/>
                <a:gd name="connsiteY37" fmla="*/ 6698 h 10000"/>
                <a:gd name="connsiteX38" fmla="*/ 576 w 9658"/>
                <a:gd name="connsiteY38" fmla="*/ 6698 h 10000"/>
                <a:gd name="connsiteX39" fmla="*/ 537 w 9658"/>
                <a:gd name="connsiteY39" fmla="*/ 6791 h 10000"/>
                <a:gd name="connsiteX40" fmla="*/ 505 w 9658"/>
                <a:gd name="connsiteY40" fmla="*/ 6750 h 10000"/>
                <a:gd name="connsiteX41" fmla="*/ 477 w 9658"/>
                <a:gd name="connsiteY41" fmla="*/ 6439 h 10000"/>
                <a:gd name="connsiteX42" fmla="*/ 530 w 9658"/>
                <a:gd name="connsiteY42" fmla="*/ 6470 h 10000"/>
                <a:gd name="connsiteX43" fmla="*/ 588 w 9658"/>
                <a:gd name="connsiteY43" fmla="*/ 6347 h 10000"/>
                <a:gd name="connsiteX44" fmla="*/ 505 w 9658"/>
                <a:gd name="connsiteY44" fmla="*/ 6233 h 10000"/>
                <a:gd name="connsiteX45" fmla="*/ 398 w 9658"/>
                <a:gd name="connsiteY45" fmla="*/ 6017 h 10000"/>
                <a:gd name="connsiteX46" fmla="*/ 419 w 9658"/>
                <a:gd name="connsiteY46" fmla="*/ 5821 h 10000"/>
                <a:gd name="connsiteX47" fmla="*/ 344 w 9658"/>
                <a:gd name="connsiteY47" fmla="*/ 5697 h 10000"/>
                <a:gd name="connsiteX48" fmla="*/ 283 w 9658"/>
                <a:gd name="connsiteY48" fmla="*/ 5728 h 10000"/>
                <a:gd name="connsiteX49" fmla="*/ 253 w 9658"/>
                <a:gd name="connsiteY49" fmla="*/ 5604 h 10000"/>
                <a:gd name="connsiteX50" fmla="*/ 207 w 9658"/>
                <a:gd name="connsiteY50" fmla="*/ 5645 h 10000"/>
                <a:gd name="connsiteX51" fmla="*/ 146 w 9658"/>
                <a:gd name="connsiteY51" fmla="*/ 5604 h 10000"/>
                <a:gd name="connsiteX52" fmla="*/ 86 w 9658"/>
                <a:gd name="connsiteY52" fmla="*/ 5181 h 10000"/>
                <a:gd name="connsiteX53" fmla="*/ 108 w 9658"/>
                <a:gd name="connsiteY53" fmla="*/ 5057 h 10000"/>
                <a:gd name="connsiteX54" fmla="*/ 50 w 9658"/>
                <a:gd name="connsiteY54" fmla="*/ 4892 h 10000"/>
                <a:gd name="connsiteX55" fmla="*/ 82 w 9658"/>
                <a:gd name="connsiteY55" fmla="*/ 4655 h 10000"/>
                <a:gd name="connsiteX56" fmla="*/ 266 w 9658"/>
                <a:gd name="connsiteY56" fmla="*/ 4510 h 10000"/>
                <a:gd name="connsiteX57" fmla="*/ 163 w 9658"/>
                <a:gd name="connsiteY57" fmla="*/ 4406 h 10000"/>
                <a:gd name="connsiteX58" fmla="*/ 105 w 9658"/>
                <a:gd name="connsiteY58" fmla="*/ 4283 h 10000"/>
                <a:gd name="connsiteX59" fmla="*/ 258 w 9658"/>
                <a:gd name="connsiteY59" fmla="*/ 3912 h 10000"/>
                <a:gd name="connsiteX60" fmla="*/ 317 w 9658"/>
                <a:gd name="connsiteY60" fmla="*/ 3664 h 10000"/>
                <a:gd name="connsiteX61" fmla="*/ 191 w 9658"/>
                <a:gd name="connsiteY61" fmla="*/ 3488 h 10000"/>
                <a:gd name="connsiteX62" fmla="*/ 240 w 9658"/>
                <a:gd name="connsiteY62" fmla="*/ 3344 h 10000"/>
                <a:gd name="connsiteX63" fmla="*/ 141 w 9658"/>
                <a:gd name="connsiteY63" fmla="*/ 3148 h 10000"/>
                <a:gd name="connsiteX64" fmla="*/ 141 w 9658"/>
                <a:gd name="connsiteY64" fmla="*/ 2972 h 10000"/>
                <a:gd name="connsiteX65" fmla="*/ 76 w 9658"/>
                <a:gd name="connsiteY65" fmla="*/ 2622 h 10000"/>
                <a:gd name="connsiteX66" fmla="*/ 125 w 9658"/>
                <a:gd name="connsiteY66" fmla="*/ 2404 h 10000"/>
                <a:gd name="connsiteX67" fmla="*/ 47 w 9658"/>
                <a:gd name="connsiteY67" fmla="*/ 2301 h 10000"/>
                <a:gd name="connsiteX68" fmla="*/ 0 w 9658"/>
                <a:gd name="connsiteY68" fmla="*/ 2178 h 10000"/>
                <a:gd name="connsiteX69" fmla="*/ 69 w 9658"/>
                <a:gd name="connsiteY69" fmla="*/ 1951 h 10000"/>
                <a:gd name="connsiteX70" fmla="*/ 150 w 9658"/>
                <a:gd name="connsiteY70" fmla="*/ 1910 h 10000"/>
                <a:gd name="connsiteX71" fmla="*/ 246 w 9658"/>
                <a:gd name="connsiteY71" fmla="*/ 1858 h 10000"/>
                <a:gd name="connsiteX72" fmla="*/ 390 w 9658"/>
                <a:gd name="connsiteY72" fmla="*/ 1951 h 10000"/>
                <a:gd name="connsiteX73" fmla="*/ 606 w 9658"/>
                <a:gd name="connsiteY73" fmla="*/ 2054 h 10000"/>
                <a:gd name="connsiteX74" fmla="*/ 798 w 9658"/>
                <a:gd name="connsiteY74" fmla="*/ 2229 h 10000"/>
                <a:gd name="connsiteX75" fmla="*/ 953 w 9658"/>
                <a:gd name="connsiteY75" fmla="*/ 2373 h 10000"/>
                <a:gd name="connsiteX76" fmla="*/ 916 w 9658"/>
                <a:gd name="connsiteY76" fmla="*/ 2777 h 10000"/>
                <a:gd name="connsiteX77" fmla="*/ 455 w 9658"/>
                <a:gd name="connsiteY77" fmla="*/ 2673 h 10000"/>
                <a:gd name="connsiteX78" fmla="*/ 309 w 9658"/>
                <a:gd name="connsiteY78" fmla="*/ 2550 h 10000"/>
                <a:gd name="connsiteX79" fmla="*/ 362 w 9658"/>
                <a:gd name="connsiteY79" fmla="*/ 2622 h 10000"/>
                <a:gd name="connsiteX80" fmla="*/ 416 w 9658"/>
                <a:gd name="connsiteY80" fmla="*/ 2797 h 10000"/>
                <a:gd name="connsiteX81" fmla="*/ 505 w 9658"/>
                <a:gd name="connsiteY81" fmla="*/ 2921 h 10000"/>
                <a:gd name="connsiteX82" fmla="*/ 525 w 9658"/>
                <a:gd name="connsiteY82" fmla="*/ 3189 h 10000"/>
                <a:gd name="connsiteX83" fmla="*/ 640 w 9658"/>
                <a:gd name="connsiteY83" fmla="*/ 3313 h 10000"/>
                <a:gd name="connsiteX84" fmla="*/ 735 w 9658"/>
                <a:gd name="connsiteY84" fmla="*/ 3436 h 10000"/>
                <a:gd name="connsiteX85" fmla="*/ 763 w 9658"/>
                <a:gd name="connsiteY85" fmla="*/ 3467 h 10000"/>
                <a:gd name="connsiteX86" fmla="*/ 821 w 9658"/>
                <a:gd name="connsiteY86" fmla="*/ 3436 h 10000"/>
                <a:gd name="connsiteX87" fmla="*/ 798 w 9658"/>
                <a:gd name="connsiteY87" fmla="*/ 3364 h 10000"/>
                <a:gd name="connsiteX88" fmla="*/ 687 w 9658"/>
                <a:gd name="connsiteY88" fmla="*/ 3189 h 10000"/>
                <a:gd name="connsiteX89" fmla="*/ 1011 w 9658"/>
                <a:gd name="connsiteY89" fmla="*/ 3344 h 10000"/>
                <a:gd name="connsiteX90" fmla="*/ 1021 w 9658"/>
                <a:gd name="connsiteY90" fmla="*/ 3271 h 10000"/>
                <a:gd name="connsiteX91" fmla="*/ 990 w 9658"/>
                <a:gd name="connsiteY91" fmla="*/ 3220 h 10000"/>
                <a:gd name="connsiteX92" fmla="*/ 933 w 9658"/>
                <a:gd name="connsiteY92" fmla="*/ 2993 h 10000"/>
                <a:gd name="connsiteX93" fmla="*/ 1095 w 9658"/>
                <a:gd name="connsiteY93" fmla="*/ 2777 h 10000"/>
                <a:gd name="connsiteX94" fmla="*/ 1223 w 9658"/>
                <a:gd name="connsiteY94" fmla="*/ 2921 h 10000"/>
                <a:gd name="connsiteX95" fmla="*/ 1259 w 9658"/>
                <a:gd name="connsiteY95" fmla="*/ 2725 h 10000"/>
                <a:gd name="connsiteX96" fmla="*/ 1200 w 9658"/>
                <a:gd name="connsiteY96" fmla="*/ 2653 h 10000"/>
                <a:gd name="connsiteX97" fmla="*/ 1178 w 9658"/>
                <a:gd name="connsiteY97" fmla="*/ 2281 h 10000"/>
                <a:gd name="connsiteX98" fmla="*/ 1154 w 9658"/>
                <a:gd name="connsiteY98" fmla="*/ 2229 h 10000"/>
                <a:gd name="connsiteX99" fmla="*/ 1306 w 9658"/>
                <a:gd name="connsiteY99" fmla="*/ 2250 h 10000"/>
                <a:gd name="connsiteX100" fmla="*/ 1371 w 9658"/>
                <a:gd name="connsiteY100" fmla="*/ 2404 h 10000"/>
                <a:gd name="connsiteX101" fmla="*/ 1289 w 9658"/>
                <a:gd name="connsiteY101" fmla="*/ 2529 h 10000"/>
                <a:gd name="connsiteX102" fmla="*/ 1430 w 9658"/>
                <a:gd name="connsiteY102" fmla="*/ 2694 h 10000"/>
                <a:gd name="connsiteX103" fmla="*/ 1546 w 9658"/>
                <a:gd name="connsiteY103" fmla="*/ 2529 h 10000"/>
                <a:gd name="connsiteX104" fmla="*/ 1690 w 9658"/>
                <a:gd name="connsiteY104" fmla="*/ 2301 h 10000"/>
                <a:gd name="connsiteX105" fmla="*/ 1842 w 9658"/>
                <a:gd name="connsiteY105" fmla="*/ 2157 h 10000"/>
                <a:gd name="connsiteX106" fmla="*/ 1886 w 9658"/>
                <a:gd name="connsiteY106" fmla="*/ 2250 h 10000"/>
                <a:gd name="connsiteX107" fmla="*/ 2278 w 9658"/>
                <a:gd name="connsiteY107" fmla="*/ 2054 h 10000"/>
                <a:gd name="connsiteX108" fmla="*/ 2358 w 9658"/>
                <a:gd name="connsiteY108" fmla="*/ 2250 h 10000"/>
                <a:gd name="connsiteX109" fmla="*/ 2348 w 9658"/>
                <a:gd name="connsiteY109" fmla="*/ 2002 h 10000"/>
                <a:gd name="connsiteX110" fmla="*/ 2242 w 9658"/>
                <a:gd name="connsiteY110" fmla="*/ 1786 h 10000"/>
                <a:gd name="connsiteX111" fmla="*/ 2224 w 9658"/>
                <a:gd name="connsiteY111" fmla="*/ 1703 h 10000"/>
                <a:gd name="connsiteX112" fmla="*/ 2301 w 9658"/>
                <a:gd name="connsiteY112" fmla="*/ 1786 h 10000"/>
                <a:gd name="connsiteX113" fmla="*/ 2563 w 9658"/>
                <a:gd name="connsiteY113" fmla="*/ 1951 h 10000"/>
                <a:gd name="connsiteX114" fmla="*/ 2864 w 9658"/>
                <a:gd name="connsiteY114" fmla="*/ 2126 h 10000"/>
                <a:gd name="connsiteX115" fmla="*/ 3007 w 9658"/>
                <a:gd name="connsiteY115" fmla="*/ 2250 h 10000"/>
                <a:gd name="connsiteX116" fmla="*/ 3053 w 9658"/>
                <a:gd name="connsiteY116" fmla="*/ 2074 h 10000"/>
                <a:gd name="connsiteX117" fmla="*/ 2987 w 9658"/>
                <a:gd name="connsiteY117" fmla="*/ 2033 h 10000"/>
                <a:gd name="connsiteX118" fmla="*/ 2899 w 9658"/>
                <a:gd name="connsiteY118" fmla="*/ 1930 h 10000"/>
                <a:gd name="connsiteX119" fmla="*/ 2842 w 9658"/>
                <a:gd name="connsiteY119" fmla="*/ 1734 h 10000"/>
                <a:gd name="connsiteX120" fmla="*/ 2757 w 9658"/>
                <a:gd name="connsiteY120" fmla="*/ 1486 h 10000"/>
                <a:gd name="connsiteX121" fmla="*/ 2787 w 9658"/>
                <a:gd name="connsiteY121" fmla="*/ 1434 h 10000"/>
                <a:gd name="connsiteX122" fmla="*/ 2814 w 9658"/>
                <a:gd name="connsiteY122" fmla="*/ 1455 h 10000"/>
                <a:gd name="connsiteX123" fmla="*/ 2889 w 9658"/>
                <a:gd name="connsiteY123" fmla="*/ 1115 h 10000"/>
                <a:gd name="connsiteX124" fmla="*/ 3083 w 9658"/>
                <a:gd name="connsiteY124" fmla="*/ 1135 h 10000"/>
                <a:gd name="connsiteX125" fmla="*/ 3137 w 9658"/>
                <a:gd name="connsiteY125" fmla="*/ 1311 h 10000"/>
                <a:gd name="connsiteX126" fmla="*/ 3176 w 9658"/>
                <a:gd name="connsiteY126" fmla="*/ 1538 h 10000"/>
                <a:gd name="connsiteX127" fmla="*/ 3248 w 9658"/>
                <a:gd name="connsiteY127" fmla="*/ 1734 h 10000"/>
                <a:gd name="connsiteX128" fmla="*/ 3367 w 9658"/>
                <a:gd name="connsiteY128" fmla="*/ 2157 h 10000"/>
                <a:gd name="connsiteX129" fmla="*/ 3129 w 9658"/>
                <a:gd name="connsiteY129" fmla="*/ 2673 h 10000"/>
                <a:gd name="connsiteX130" fmla="*/ 3226 w 9658"/>
                <a:gd name="connsiteY130" fmla="*/ 2746 h 10000"/>
                <a:gd name="connsiteX131" fmla="*/ 3349 w 9658"/>
                <a:gd name="connsiteY131" fmla="*/ 2818 h 10000"/>
                <a:gd name="connsiteX132" fmla="*/ 3510 w 9658"/>
                <a:gd name="connsiteY132" fmla="*/ 2622 h 10000"/>
                <a:gd name="connsiteX133" fmla="*/ 3517 w 9658"/>
                <a:gd name="connsiteY133" fmla="*/ 2404 h 10000"/>
                <a:gd name="connsiteX134" fmla="*/ 3463 w 9658"/>
                <a:gd name="connsiteY134" fmla="*/ 2301 h 10000"/>
                <a:gd name="connsiteX135" fmla="*/ 3682 w 9658"/>
                <a:gd name="connsiteY135" fmla="*/ 2250 h 10000"/>
                <a:gd name="connsiteX136" fmla="*/ 3771 w 9658"/>
                <a:gd name="connsiteY136" fmla="*/ 2497 h 10000"/>
                <a:gd name="connsiteX137" fmla="*/ 3771 w 9658"/>
                <a:gd name="connsiteY137" fmla="*/ 2425 h 10000"/>
                <a:gd name="connsiteX138" fmla="*/ 3749 w 9658"/>
                <a:gd name="connsiteY138" fmla="*/ 2353 h 10000"/>
                <a:gd name="connsiteX139" fmla="*/ 3742 w 9658"/>
                <a:gd name="connsiteY139" fmla="*/ 2178 h 10000"/>
                <a:gd name="connsiteX140" fmla="*/ 3531 w 9658"/>
                <a:gd name="connsiteY140" fmla="*/ 1930 h 10000"/>
                <a:gd name="connsiteX141" fmla="*/ 3367 w 9658"/>
                <a:gd name="connsiteY141" fmla="*/ 2002 h 10000"/>
                <a:gd name="connsiteX142" fmla="*/ 3298 w 9658"/>
                <a:gd name="connsiteY142" fmla="*/ 1683 h 10000"/>
                <a:gd name="connsiteX143" fmla="*/ 3235 w 9658"/>
                <a:gd name="connsiteY143" fmla="*/ 1507 h 10000"/>
                <a:gd name="connsiteX144" fmla="*/ 3298 w 9658"/>
                <a:gd name="connsiteY144" fmla="*/ 1331 h 10000"/>
                <a:gd name="connsiteX145" fmla="*/ 3291 w 9658"/>
                <a:gd name="connsiteY145" fmla="*/ 1166 h 10000"/>
                <a:gd name="connsiteX146" fmla="*/ 3264 w 9658"/>
                <a:gd name="connsiteY146" fmla="*/ 1115 h 10000"/>
                <a:gd name="connsiteX147" fmla="*/ 3313 w 9658"/>
                <a:gd name="connsiteY147" fmla="*/ 1115 h 10000"/>
                <a:gd name="connsiteX148" fmla="*/ 3367 w 9658"/>
                <a:gd name="connsiteY148" fmla="*/ 1455 h 10000"/>
                <a:gd name="connsiteX149" fmla="*/ 3648 w 9658"/>
                <a:gd name="connsiteY149" fmla="*/ 1662 h 10000"/>
                <a:gd name="connsiteX150" fmla="*/ 3436 w 9658"/>
                <a:gd name="connsiteY150" fmla="*/ 1383 h 10000"/>
                <a:gd name="connsiteX151" fmla="*/ 3847 w 9658"/>
                <a:gd name="connsiteY151" fmla="*/ 1383 h 10000"/>
                <a:gd name="connsiteX152" fmla="*/ 3912 w 9658"/>
                <a:gd name="connsiteY152" fmla="*/ 1362 h 10000"/>
                <a:gd name="connsiteX153" fmla="*/ 3655 w 9658"/>
                <a:gd name="connsiteY153" fmla="*/ 1115 h 10000"/>
                <a:gd name="connsiteX154" fmla="*/ 3721 w 9658"/>
                <a:gd name="connsiteY154" fmla="*/ 888 h 10000"/>
                <a:gd name="connsiteX155" fmla="*/ 4009 w 9658"/>
                <a:gd name="connsiteY155" fmla="*/ 888 h 10000"/>
                <a:gd name="connsiteX156" fmla="*/ 3980 w 9658"/>
                <a:gd name="connsiteY156" fmla="*/ 713 h 10000"/>
                <a:gd name="connsiteX157" fmla="*/ 4076 w 9658"/>
                <a:gd name="connsiteY157" fmla="*/ 589 h 10000"/>
                <a:gd name="connsiteX158" fmla="*/ 4132 w 9658"/>
                <a:gd name="connsiteY158" fmla="*/ 548 h 10000"/>
                <a:gd name="connsiteX159" fmla="*/ 4344 w 9658"/>
                <a:gd name="connsiteY159" fmla="*/ 423 h 10000"/>
                <a:gd name="connsiteX160" fmla="*/ 4397 w 9658"/>
                <a:gd name="connsiteY160" fmla="*/ 371 h 10000"/>
                <a:gd name="connsiteX161" fmla="*/ 4389 w 9658"/>
                <a:gd name="connsiteY161" fmla="*/ 444 h 10000"/>
                <a:gd name="connsiteX162" fmla="*/ 4617 w 9658"/>
                <a:gd name="connsiteY162" fmla="*/ 371 h 10000"/>
                <a:gd name="connsiteX163" fmla="*/ 4801 w 9658"/>
                <a:gd name="connsiteY163" fmla="*/ 248 h 10000"/>
                <a:gd name="connsiteX164" fmla="*/ 4829 w 9658"/>
                <a:gd name="connsiteY164" fmla="*/ 0 h 10000"/>
                <a:gd name="connsiteX165" fmla="*/ 5031 w 9658"/>
                <a:gd name="connsiteY165" fmla="*/ 21 h 10000"/>
                <a:gd name="connsiteX166" fmla="*/ 5017 w 9658"/>
                <a:gd name="connsiteY166" fmla="*/ 93 h 10000"/>
                <a:gd name="connsiteX167" fmla="*/ 5031 w 9658"/>
                <a:gd name="connsiteY167" fmla="*/ 176 h 10000"/>
                <a:gd name="connsiteX168" fmla="*/ 5151 w 9658"/>
                <a:gd name="connsiteY168" fmla="*/ 248 h 10000"/>
                <a:gd name="connsiteX169" fmla="*/ 5524 w 9658"/>
                <a:gd name="connsiteY169" fmla="*/ 268 h 10000"/>
                <a:gd name="connsiteX170" fmla="*/ 5723 w 9658"/>
                <a:gd name="connsiteY170" fmla="*/ 392 h 10000"/>
                <a:gd name="connsiteX171" fmla="*/ 5657 w 9658"/>
                <a:gd name="connsiteY171" fmla="*/ 795 h 10000"/>
                <a:gd name="connsiteX172" fmla="*/ 5585 w 9658"/>
                <a:gd name="connsiteY172" fmla="*/ 919 h 10000"/>
                <a:gd name="connsiteX173" fmla="*/ 5492 w 9658"/>
                <a:gd name="connsiteY173" fmla="*/ 1043 h 10000"/>
                <a:gd name="connsiteX174" fmla="*/ 5514 w 9658"/>
                <a:gd name="connsiteY174" fmla="*/ 1115 h 10000"/>
                <a:gd name="connsiteX175" fmla="*/ 5781 w 9658"/>
                <a:gd name="connsiteY175" fmla="*/ 919 h 10000"/>
                <a:gd name="connsiteX176" fmla="*/ 6381 w 9658"/>
                <a:gd name="connsiteY176" fmla="*/ 991 h 10000"/>
                <a:gd name="connsiteX177" fmla="*/ 6444 w 9658"/>
                <a:gd name="connsiteY177" fmla="*/ 1063 h 10000"/>
                <a:gd name="connsiteX178" fmla="*/ 6573 w 9658"/>
                <a:gd name="connsiteY178" fmla="*/ 1187 h 10000"/>
                <a:gd name="connsiteX179" fmla="*/ 6757 w 9658"/>
                <a:gd name="connsiteY179" fmla="*/ 919 h 10000"/>
                <a:gd name="connsiteX180" fmla="*/ 7036 w 9658"/>
                <a:gd name="connsiteY180" fmla="*/ 1063 h 10000"/>
                <a:gd name="connsiteX181" fmla="*/ 7117 w 9658"/>
                <a:gd name="connsiteY181" fmla="*/ 1115 h 10000"/>
                <a:gd name="connsiteX182" fmla="*/ 7185 w 9658"/>
                <a:gd name="connsiteY182" fmla="*/ 1166 h 10000"/>
                <a:gd name="connsiteX183" fmla="*/ 7453 w 9658"/>
                <a:gd name="connsiteY183" fmla="*/ 1631 h 10000"/>
                <a:gd name="connsiteX184" fmla="*/ 7550 w 9658"/>
                <a:gd name="connsiteY184" fmla="*/ 1611 h 10000"/>
                <a:gd name="connsiteX185" fmla="*/ 7539 w 9658"/>
                <a:gd name="connsiteY185" fmla="*/ 1507 h 10000"/>
                <a:gd name="connsiteX186" fmla="*/ 7550 w 9658"/>
                <a:gd name="connsiteY186" fmla="*/ 1383 h 10000"/>
                <a:gd name="connsiteX187" fmla="*/ 7682 w 9658"/>
                <a:gd name="connsiteY187" fmla="*/ 1486 h 10000"/>
                <a:gd name="connsiteX188" fmla="*/ 7902 w 9658"/>
                <a:gd name="connsiteY188" fmla="*/ 1507 h 10000"/>
                <a:gd name="connsiteX189" fmla="*/ 8085 w 9658"/>
                <a:gd name="connsiteY189" fmla="*/ 1455 h 10000"/>
                <a:gd name="connsiteX190" fmla="*/ 7998 w 9658"/>
                <a:gd name="connsiteY190" fmla="*/ 1362 h 10000"/>
                <a:gd name="connsiteX191" fmla="*/ 8112 w 9658"/>
                <a:gd name="connsiteY191" fmla="*/ 1084 h 10000"/>
                <a:gd name="connsiteX192" fmla="*/ 8435 w 9658"/>
                <a:gd name="connsiteY192" fmla="*/ 1207 h 10000"/>
                <a:gd name="connsiteX193" fmla="*/ 8759 w 9658"/>
                <a:gd name="connsiteY193" fmla="*/ 1331 h 10000"/>
                <a:gd name="connsiteX194" fmla="*/ 8788 w 9658"/>
                <a:gd name="connsiteY194" fmla="*/ 1362 h 10000"/>
                <a:gd name="connsiteX195" fmla="*/ 9073 w 9658"/>
                <a:gd name="connsiteY195" fmla="*/ 1611 h 10000"/>
                <a:gd name="connsiteX196" fmla="*/ 9292 w 9658"/>
                <a:gd name="connsiteY196" fmla="*/ 1507 h 10000"/>
                <a:gd name="connsiteX197" fmla="*/ 9564 w 9658"/>
                <a:gd name="connsiteY197" fmla="*/ 1538 h 10000"/>
                <a:gd name="connsiteX198" fmla="*/ 9658 w 9658"/>
                <a:gd name="connsiteY19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7817 w 10000"/>
                <a:gd name="connsiteY184" fmla="*/ 1611 h 10000"/>
                <a:gd name="connsiteX185" fmla="*/ 7806 w 10000"/>
                <a:gd name="connsiteY185" fmla="*/ 1507 h 10000"/>
                <a:gd name="connsiteX186" fmla="*/ 7817 w 10000"/>
                <a:gd name="connsiteY186" fmla="*/ 1383 h 10000"/>
                <a:gd name="connsiteX187" fmla="*/ 7954 w 10000"/>
                <a:gd name="connsiteY187" fmla="*/ 1486 h 10000"/>
                <a:gd name="connsiteX188" fmla="*/ 8182 w 10000"/>
                <a:gd name="connsiteY188" fmla="*/ 1507 h 10000"/>
                <a:gd name="connsiteX189" fmla="*/ 8371 w 10000"/>
                <a:gd name="connsiteY189" fmla="*/ 1455 h 10000"/>
                <a:gd name="connsiteX190" fmla="*/ 8281 w 10000"/>
                <a:gd name="connsiteY190" fmla="*/ 1362 h 10000"/>
                <a:gd name="connsiteX191" fmla="*/ 8399 w 10000"/>
                <a:gd name="connsiteY191" fmla="*/ 1084 h 10000"/>
                <a:gd name="connsiteX192" fmla="*/ 8734 w 10000"/>
                <a:gd name="connsiteY192" fmla="*/ 1207 h 10000"/>
                <a:gd name="connsiteX193" fmla="*/ 9069 w 10000"/>
                <a:gd name="connsiteY193" fmla="*/ 1331 h 10000"/>
                <a:gd name="connsiteX194" fmla="*/ 9394 w 10000"/>
                <a:gd name="connsiteY194" fmla="*/ 1611 h 10000"/>
                <a:gd name="connsiteX195" fmla="*/ 9621 w 10000"/>
                <a:gd name="connsiteY195" fmla="*/ 1507 h 10000"/>
                <a:gd name="connsiteX196" fmla="*/ 9903 w 10000"/>
                <a:gd name="connsiteY196" fmla="*/ 1538 h 10000"/>
                <a:gd name="connsiteX197" fmla="*/ 10000 w 10000"/>
                <a:gd name="connsiteY19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7817 w 10000"/>
                <a:gd name="connsiteY184" fmla="*/ 1611 h 10000"/>
                <a:gd name="connsiteX185" fmla="*/ 7806 w 10000"/>
                <a:gd name="connsiteY185" fmla="*/ 1507 h 10000"/>
                <a:gd name="connsiteX186" fmla="*/ 7817 w 10000"/>
                <a:gd name="connsiteY186" fmla="*/ 1383 h 10000"/>
                <a:gd name="connsiteX187" fmla="*/ 7954 w 10000"/>
                <a:gd name="connsiteY187" fmla="*/ 1486 h 10000"/>
                <a:gd name="connsiteX188" fmla="*/ 8182 w 10000"/>
                <a:gd name="connsiteY188" fmla="*/ 1507 h 10000"/>
                <a:gd name="connsiteX189" fmla="*/ 8371 w 10000"/>
                <a:gd name="connsiteY189" fmla="*/ 1455 h 10000"/>
                <a:gd name="connsiteX190" fmla="*/ 8281 w 10000"/>
                <a:gd name="connsiteY190" fmla="*/ 1362 h 10000"/>
                <a:gd name="connsiteX191" fmla="*/ 8399 w 10000"/>
                <a:gd name="connsiteY191" fmla="*/ 1084 h 10000"/>
                <a:gd name="connsiteX192" fmla="*/ 8734 w 10000"/>
                <a:gd name="connsiteY192" fmla="*/ 1207 h 10000"/>
                <a:gd name="connsiteX193" fmla="*/ 9394 w 10000"/>
                <a:gd name="connsiteY193" fmla="*/ 1611 h 10000"/>
                <a:gd name="connsiteX194" fmla="*/ 9621 w 10000"/>
                <a:gd name="connsiteY194" fmla="*/ 1507 h 10000"/>
                <a:gd name="connsiteX195" fmla="*/ 9903 w 10000"/>
                <a:gd name="connsiteY195" fmla="*/ 1538 h 10000"/>
                <a:gd name="connsiteX196" fmla="*/ 10000 w 10000"/>
                <a:gd name="connsiteY19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7817 w 10000"/>
                <a:gd name="connsiteY184" fmla="*/ 1611 h 10000"/>
                <a:gd name="connsiteX185" fmla="*/ 7806 w 10000"/>
                <a:gd name="connsiteY185" fmla="*/ 1507 h 10000"/>
                <a:gd name="connsiteX186" fmla="*/ 7817 w 10000"/>
                <a:gd name="connsiteY186" fmla="*/ 1383 h 10000"/>
                <a:gd name="connsiteX187" fmla="*/ 7954 w 10000"/>
                <a:gd name="connsiteY187" fmla="*/ 1486 h 10000"/>
                <a:gd name="connsiteX188" fmla="*/ 8182 w 10000"/>
                <a:gd name="connsiteY188" fmla="*/ 1507 h 10000"/>
                <a:gd name="connsiteX189" fmla="*/ 8371 w 10000"/>
                <a:gd name="connsiteY189" fmla="*/ 1455 h 10000"/>
                <a:gd name="connsiteX190" fmla="*/ 8281 w 10000"/>
                <a:gd name="connsiteY190" fmla="*/ 1362 h 10000"/>
                <a:gd name="connsiteX191" fmla="*/ 8399 w 10000"/>
                <a:gd name="connsiteY191" fmla="*/ 1084 h 10000"/>
                <a:gd name="connsiteX192" fmla="*/ 9394 w 10000"/>
                <a:gd name="connsiteY192" fmla="*/ 1611 h 10000"/>
                <a:gd name="connsiteX193" fmla="*/ 9621 w 10000"/>
                <a:gd name="connsiteY193" fmla="*/ 1507 h 10000"/>
                <a:gd name="connsiteX194" fmla="*/ 9903 w 10000"/>
                <a:gd name="connsiteY194" fmla="*/ 1538 h 10000"/>
                <a:gd name="connsiteX195" fmla="*/ 10000 w 10000"/>
                <a:gd name="connsiteY19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7817 w 10000"/>
                <a:gd name="connsiteY184" fmla="*/ 1611 h 10000"/>
                <a:gd name="connsiteX185" fmla="*/ 7806 w 10000"/>
                <a:gd name="connsiteY185" fmla="*/ 1507 h 10000"/>
                <a:gd name="connsiteX186" fmla="*/ 7817 w 10000"/>
                <a:gd name="connsiteY186" fmla="*/ 1383 h 10000"/>
                <a:gd name="connsiteX187" fmla="*/ 7954 w 10000"/>
                <a:gd name="connsiteY187" fmla="*/ 1486 h 10000"/>
                <a:gd name="connsiteX188" fmla="*/ 8182 w 10000"/>
                <a:gd name="connsiteY188" fmla="*/ 1507 h 10000"/>
                <a:gd name="connsiteX189" fmla="*/ 8371 w 10000"/>
                <a:gd name="connsiteY189" fmla="*/ 1455 h 10000"/>
                <a:gd name="connsiteX190" fmla="*/ 8281 w 10000"/>
                <a:gd name="connsiteY190" fmla="*/ 1362 h 10000"/>
                <a:gd name="connsiteX191" fmla="*/ 9394 w 10000"/>
                <a:gd name="connsiteY191" fmla="*/ 1611 h 10000"/>
                <a:gd name="connsiteX192" fmla="*/ 9621 w 10000"/>
                <a:gd name="connsiteY192" fmla="*/ 1507 h 10000"/>
                <a:gd name="connsiteX193" fmla="*/ 9903 w 10000"/>
                <a:gd name="connsiteY193" fmla="*/ 1538 h 10000"/>
                <a:gd name="connsiteX194" fmla="*/ 10000 w 10000"/>
                <a:gd name="connsiteY19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7817 w 10000"/>
                <a:gd name="connsiteY184" fmla="*/ 1611 h 10000"/>
                <a:gd name="connsiteX185" fmla="*/ 7806 w 10000"/>
                <a:gd name="connsiteY185" fmla="*/ 1507 h 10000"/>
                <a:gd name="connsiteX186" fmla="*/ 7817 w 10000"/>
                <a:gd name="connsiteY186" fmla="*/ 1383 h 10000"/>
                <a:gd name="connsiteX187" fmla="*/ 8182 w 10000"/>
                <a:gd name="connsiteY187" fmla="*/ 1507 h 10000"/>
                <a:gd name="connsiteX188" fmla="*/ 8371 w 10000"/>
                <a:gd name="connsiteY188" fmla="*/ 1455 h 10000"/>
                <a:gd name="connsiteX189" fmla="*/ 8281 w 10000"/>
                <a:gd name="connsiteY189" fmla="*/ 1362 h 10000"/>
                <a:gd name="connsiteX190" fmla="*/ 9394 w 10000"/>
                <a:gd name="connsiteY190" fmla="*/ 1611 h 10000"/>
                <a:gd name="connsiteX191" fmla="*/ 9621 w 10000"/>
                <a:gd name="connsiteY191" fmla="*/ 1507 h 10000"/>
                <a:gd name="connsiteX192" fmla="*/ 9903 w 10000"/>
                <a:gd name="connsiteY192" fmla="*/ 1538 h 10000"/>
                <a:gd name="connsiteX193" fmla="*/ 10000 w 10000"/>
                <a:gd name="connsiteY19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7817 w 10000"/>
                <a:gd name="connsiteY184" fmla="*/ 1611 h 10000"/>
                <a:gd name="connsiteX185" fmla="*/ 7806 w 10000"/>
                <a:gd name="connsiteY185" fmla="*/ 1507 h 10000"/>
                <a:gd name="connsiteX186" fmla="*/ 8182 w 10000"/>
                <a:gd name="connsiteY186" fmla="*/ 1507 h 10000"/>
                <a:gd name="connsiteX187" fmla="*/ 8371 w 10000"/>
                <a:gd name="connsiteY187" fmla="*/ 1455 h 10000"/>
                <a:gd name="connsiteX188" fmla="*/ 8281 w 10000"/>
                <a:gd name="connsiteY188" fmla="*/ 1362 h 10000"/>
                <a:gd name="connsiteX189" fmla="*/ 9394 w 10000"/>
                <a:gd name="connsiteY189" fmla="*/ 1611 h 10000"/>
                <a:gd name="connsiteX190" fmla="*/ 9621 w 10000"/>
                <a:gd name="connsiteY190" fmla="*/ 1507 h 10000"/>
                <a:gd name="connsiteX191" fmla="*/ 9903 w 10000"/>
                <a:gd name="connsiteY191" fmla="*/ 1538 h 10000"/>
                <a:gd name="connsiteX192" fmla="*/ 10000 w 10000"/>
                <a:gd name="connsiteY19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7817 w 10000"/>
                <a:gd name="connsiteY184" fmla="*/ 1611 h 10000"/>
                <a:gd name="connsiteX185" fmla="*/ 8182 w 10000"/>
                <a:gd name="connsiteY185" fmla="*/ 1507 h 10000"/>
                <a:gd name="connsiteX186" fmla="*/ 8371 w 10000"/>
                <a:gd name="connsiteY186" fmla="*/ 1455 h 10000"/>
                <a:gd name="connsiteX187" fmla="*/ 8281 w 10000"/>
                <a:gd name="connsiteY187" fmla="*/ 1362 h 10000"/>
                <a:gd name="connsiteX188" fmla="*/ 9394 w 10000"/>
                <a:gd name="connsiteY188" fmla="*/ 1611 h 10000"/>
                <a:gd name="connsiteX189" fmla="*/ 9621 w 10000"/>
                <a:gd name="connsiteY189" fmla="*/ 1507 h 10000"/>
                <a:gd name="connsiteX190" fmla="*/ 9903 w 10000"/>
                <a:gd name="connsiteY190" fmla="*/ 1538 h 10000"/>
                <a:gd name="connsiteX191" fmla="*/ 10000 w 10000"/>
                <a:gd name="connsiteY19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7717 w 10000"/>
                <a:gd name="connsiteY183" fmla="*/ 1631 h 10000"/>
                <a:gd name="connsiteX184" fmla="*/ 8182 w 10000"/>
                <a:gd name="connsiteY184" fmla="*/ 1507 h 10000"/>
                <a:gd name="connsiteX185" fmla="*/ 8371 w 10000"/>
                <a:gd name="connsiteY185" fmla="*/ 1455 h 10000"/>
                <a:gd name="connsiteX186" fmla="*/ 8281 w 10000"/>
                <a:gd name="connsiteY186" fmla="*/ 1362 h 10000"/>
                <a:gd name="connsiteX187" fmla="*/ 9394 w 10000"/>
                <a:gd name="connsiteY187" fmla="*/ 1611 h 10000"/>
                <a:gd name="connsiteX188" fmla="*/ 9621 w 10000"/>
                <a:gd name="connsiteY188" fmla="*/ 1507 h 10000"/>
                <a:gd name="connsiteX189" fmla="*/ 9903 w 10000"/>
                <a:gd name="connsiteY189" fmla="*/ 1538 h 10000"/>
                <a:gd name="connsiteX190" fmla="*/ 10000 w 10000"/>
                <a:gd name="connsiteY19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8182 w 10000"/>
                <a:gd name="connsiteY183" fmla="*/ 1507 h 10000"/>
                <a:gd name="connsiteX184" fmla="*/ 8371 w 10000"/>
                <a:gd name="connsiteY184" fmla="*/ 1455 h 10000"/>
                <a:gd name="connsiteX185" fmla="*/ 8281 w 10000"/>
                <a:gd name="connsiteY185" fmla="*/ 1362 h 10000"/>
                <a:gd name="connsiteX186" fmla="*/ 9394 w 10000"/>
                <a:gd name="connsiteY186" fmla="*/ 1611 h 10000"/>
                <a:gd name="connsiteX187" fmla="*/ 9621 w 10000"/>
                <a:gd name="connsiteY187" fmla="*/ 1507 h 10000"/>
                <a:gd name="connsiteX188" fmla="*/ 9903 w 10000"/>
                <a:gd name="connsiteY188" fmla="*/ 1538 h 10000"/>
                <a:gd name="connsiteX189" fmla="*/ 10000 w 10000"/>
                <a:gd name="connsiteY18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8182 w 10000"/>
                <a:gd name="connsiteY183" fmla="*/ 1507 h 10000"/>
                <a:gd name="connsiteX184" fmla="*/ 8371 w 10000"/>
                <a:gd name="connsiteY184" fmla="*/ 1455 h 10000"/>
                <a:gd name="connsiteX185" fmla="*/ 9394 w 10000"/>
                <a:gd name="connsiteY185" fmla="*/ 1611 h 10000"/>
                <a:gd name="connsiteX186" fmla="*/ 9621 w 10000"/>
                <a:gd name="connsiteY186" fmla="*/ 1507 h 10000"/>
                <a:gd name="connsiteX187" fmla="*/ 9903 w 10000"/>
                <a:gd name="connsiteY187" fmla="*/ 1538 h 10000"/>
                <a:gd name="connsiteX188" fmla="*/ 10000 w 10000"/>
                <a:gd name="connsiteY18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8371 w 10000"/>
                <a:gd name="connsiteY183" fmla="*/ 1455 h 10000"/>
                <a:gd name="connsiteX184" fmla="*/ 9394 w 10000"/>
                <a:gd name="connsiteY184" fmla="*/ 1611 h 10000"/>
                <a:gd name="connsiteX185" fmla="*/ 9621 w 10000"/>
                <a:gd name="connsiteY185" fmla="*/ 1507 h 10000"/>
                <a:gd name="connsiteX186" fmla="*/ 9903 w 10000"/>
                <a:gd name="connsiteY186" fmla="*/ 1538 h 10000"/>
                <a:gd name="connsiteX187" fmla="*/ 10000 w 10000"/>
                <a:gd name="connsiteY18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7439 w 10000"/>
                <a:gd name="connsiteY182" fmla="*/ 1166 h 10000"/>
                <a:gd name="connsiteX183" fmla="*/ 9394 w 10000"/>
                <a:gd name="connsiteY183" fmla="*/ 1611 h 10000"/>
                <a:gd name="connsiteX184" fmla="*/ 9621 w 10000"/>
                <a:gd name="connsiteY184" fmla="*/ 1507 h 10000"/>
                <a:gd name="connsiteX185" fmla="*/ 9903 w 10000"/>
                <a:gd name="connsiteY185" fmla="*/ 1538 h 10000"/>
                <a:gd name="connsiteX186" fmla="*/ 10000 w 10000"/>
                <a:gd name="connsiteY18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7369 w 10000"/>
                <a:gd name="connsiteY181" fmla="*/ 1115 h 10000"/>
                <a:gd name="connsiteX182" fmla="*/ 9394 w 10000"/>
                <a:gd name="connsiteY182" fmla="*/ 1611 h 10000"/>
                <a:gd name="connsiteX183" fmla="*/ 9621 w 10000"/>
                <a:gd name="connsiteY183" fmla="*/ 1507 h 10000"/>
                <a:gd name="connsiteX184" fmla="*/ 9903 w 10000"/>
                <a:gd name="connsiteY184" fmla="*/ 1538 h 10000"/>
                <a:gd name="connsiteX185" fmla="*/ 10000 w 10000"/>
                <a:gd name="connsiteY18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7285 w 10000"/>
                <a:gd name="connsiteY180" fmla="*/ 1063 h 10000"/>
                <a:gd name="connsiteX181" fmla="*/ 9394 w 10000"/>
                <a:gd name="connsiteY181" fmla="*/ 1611 h 10000"/>
                <a:gd name="connsiteX182" fmla="*/ 9621 w 10000"/>
                <a:gd name="connsiteY182" fmla="*/ 1507 h 10000"/>
                <a:gd name="connsiteX183" fmla="*/ 9903 w 10000"/>
                <a:gd name="connsiteY183" fmla="*/ 1538 h 10000"/>
                <a:gd name="connsiteX184" fmla="*/ 10000 w 10000"/>
                <a:gd name="connsiteY18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806 w 10000"/>
                <a:gd name="connsiteY178" fmla="*/ 1187 h 10000"/>
                <a:gd name="connsiteX179" fmla="*/ 6996 w 10000"/>
                <a:gd name="connsiteY179" fmla="*/ 919 h 10000"/>
                <a:gd name="connsiteX180" fmla="*/ 9394 w 10000"/>
                <a:gd name="connsiteY180" fmla="*/ 1611 h 10000"/>
                <a:gd name="connsiteX181" fmla="*/ 9621 w 10000"/>
                <a:gd name="connsiteY181" fmla="*/ 1507 h 10000"/>
                <a:gd name="connsiteX182" fmla="*/ 9903 w 10000"/>
                <a:gd name="connsiteY182" fmla="*/ 1538 h 10000"/>
                <a:gd name="connsiteX183" fmla="*/ 10000 w 10000"/>
                <a:gd name="connsiteY18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672 w 10000"/>
                <a:gd name="connsiteY177" fmla="*/ 1063 h 10000"/>
                <a:gd name="connsiteX178" fmla="*/ 6996 w 10000"/>
                <a:gd name="connsiteY178" fmla="*/ 919 h 10000"/>
                <a:gd name="connsiteX179" fmla="*/ 9394 w 10000"/>
                <a:gd name="connsiteY179" fmla="*/ 1611 h 10000"/>
                <a:gd name="connsiteX180" fmla="*/ 9621 w 10000"/>
                <a:gd name="connsiteY180" fmla="*/ 1507 h 10000"/>
                <a:gd name="connsiteX181" fmla="*/ 9903 w 10000"/>
                <a:gd name="connsiteY181" fmla="*/ 1538 h 10000"/>
                <a:gd name="connsiteX182" fmla="*/ 10000 w 10000"/>
                <a:gd name="connsiteY18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607 w 10000"/>
                <a:gd name="connsiteY176" fmla="*/ 991 h 10000"/>
                <a:gd name="connsiteX177" fmla="*/ 6996 w 10000"/>
                <a:gd name="connsiteY177" fmla="*/ 919 h 10000"/>
                <a:gd name="connsiteX178" fmla="*/ 9394 w 10000"/>
                <a:gd name="connsiteY178" fmla="*/ 1611 h 10000"/>
                <a:gd name="connsiteX179" fmla="*/ 9621 w 10000"/>
                <a:gd name="connsiteY179" fmla="*/ 1507 h 10000"/>
                <a:gd name="connsiteX180" fmla="*/ 9903 w 10000"/>
                <a:gd name="connsiteY180" fmla="*/ 1538 h 10000"/>
                <a:gd name="connsiteX181" fmla="*/ 10000 w 10000"/>
                <a:gd name="connsiteY18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6996 w 10000"/>
                <a:gd name="connsiteY176" fmla="*/ 919 h 10000"/>
                <a:gd name="connsiteX177" fmla="*/ 9394 w 10000"/>
                <a:gd name="connsiteY177" fmla="*/ 1611 h 10000"/>
                <a:gd name="connsiteX178" fmla="*/ 9621 w 10000"/>
                <a:gd name="connsiteY178" fmla="*/ 1507 h 10000"/>
                <a:gd name="connsiteX179" fmla="*/ 9903 w 10000"/>
                <a:gd name="connsiteY179" fmla="*/ 1538 h 10000"/>
                <a:gd name="connsiteX180" fmla="*/ 10000 w 10000"/>
                <a:gd name="connsiteY18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709 w 10000"/>
                <a:gd name="connsiteY174" fmla="*/ 1115 h 10000"/>
                <a:gd name="connsiteX175" fmla="*/ 5986 w 10000"/>
                <a:gd name="connsiteY175" fmla="*/ 919 h 10000"/>
                <a:gd name="connsiteX176" fmla="*/ 9394 w 10000"/>
                <a:gd name="connsiteY176" fmla="*/ 1611 h 10000"/>
                <a:gd name="connsiteX177" fmla="*/ 9621 w 10000"/>
                <a:gd name="connsiteY177" fmla="*/ 1507 h 10000"/>
                <a:gd name="connsiteX178" fmla="*/ 9903 w 10000"/>
                <a:gd name="connsiteY178" fmla="*/ 1538 h 10000"/>
                <a:gd name="connsiteX179" fmla="*/ 10000 w 10000"/>
                <a:gd name="connsiteY17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686 w 10000"/>
                <a:gd name="connsiteY173" fmla="*/ 1043 h 10000"/>
                <a:gd name="connsiteX174" fmla="*/ 5986 w 10000"/>
                <a:gd name="connsiteY174" fmla="*/ 919 h 10000"/>
                <a:gd name="connsiteX175" fmla="*/ 9394 w 10000"/>
                <a:gd name="connsiteY175" fmla="*/ 1611 h 10000"/>
                <a:gd name="connsiteX176" fmla="*/ 9621 w 10000"/>
                <a:gd name="connsiteY176" fmla="*/ 1507 h 10000"/>
                <a:gd name="connsiteX177" fmla="*/ 9903 w 10000"/>
                <a:gd name="connsiteY177" fmla="*/ 1538 h 10000"/>
                <a:gd name="connsiteX178" fmla="*/ 10000 w 10000"/>
                <a:gd name="connsiteY17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783 w 10000"/>
                <a:gd name="connsiteY172" fmla="*/ 919 h 10000"/>
                <a:gd name="connsiteX173" fmla="*/ 5986 w 10000"/>
                <a:gd name="connsiteY173" fmla="*/ 919 h 10000"/>
                <a:gd name="connsiteX174" fmla="*/ 9394 w 10000"/>
                <a:gd name="connsiteY174" fmla="*/ 1611 h 10000"/>
                <a:gd name="connsiteX175" fmla="*/ 9621 w 10000"/>
                <a:gd name="connsiteY175" fmla="*/ 1507 h 10000"/>
                <a:gd name="connsiteX176" fmla="*/ 9903 w 10000"/>
                <a:gd name="connsiteY176" fmla="*/ 1538 h 10000"/>
                <a:gd name="connsiteX177" fmla="*/ 10000 w 10000"/>
                <a:gd name="connsiteY17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857 w 10000"/>
                <a:gd name="connsiteY171" fmla="*/ 795 h 10000"/>
                <a:gd name="connsiteX172" fmla="*/ 5986 w 10000"/>
                <a:gd name="connsiteY172" fmla="*/ 919 h 10000"/>
                <a:gd name="connsiteX173" fmla="*/ 9394 w 10000"/>
                <a:gd name="connsiteY173" fmla="*/ 1611 h 10000"/>
                <a:gd name="connsiteX174" fmla="*/ 9621 w 10000"/>
                <a:gd name="connsiteY174" fmla="*/ 1507 h 10000"/>
                <a:gd name="connsiteX175" fmla="*/ 9903 w 10000"/>
                <a:gd name="connsiteY175" fmla="*/ 1538 h 10000"/>
                <a:gd name="connsiteX176" fmla="*/ 10000 w 10000"/>
                <a:gd name="connsiteY17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5986 w 10000"/>
                <a:gd name="connsiteY171" fmla="*/ 919 h 10000"/>
                <a:gd name="connsiteX172" fmla="*/ 9394 w 10000"/>
                <a:gd name="connsiteY172" fmla="*/ 1611 h 10000"/>
                <a:gd name="connsiteX173" fmla="*/ 9621 w 10000"/>
                <a:gd name="connsiteY173" fmla="*/ 1507 h 10000"/>
                <a:gd name="connsiteX174" fmla="*/ 9903 w 10000"/>
                <a:gd name="connsiteY174" fmla="*/ 1538 h 10000"/>
                <a:gd name="connsiteX175" fmla="*/ 10000 w 10000"/>
                <a:gd name="connsiteY17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5926 w 10000"/>
                <a:gd name="connsiteY170" fmla="*/ 392 h 10000"/>
                <a:gd name="connsiteX171" fmla="*/ 9394 w 10000"/>
                <a:gd name="connsiteY171" fmla="*/ 1611 h 10000"/>
                <a:gd name="connsiteX172" fmla="*/ 9621 w 10000"/>
                <a:gd name="connsiteY172" fmla="*/ 1507 h 10000"/>
                <a:gd name="connsiteX173" fmla="*/ 9903 w 10000"/>
                <a:gd name="connsiteY173" fmla="*/ 1538 h 10000"/>
                <a:gd name="connsiteX174" fmla="*/ 10000 w 10000"/>
                <a:gd name="connsiteY17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5720 w 10000"/>
                <a:gd name="connsiteY169" fmla="*/ 268 h 10000"/>
                <a:gd name="connsiteX170" fmla="*/ 9394 w 10000"/>
                <a:gd name="connsiteY170" fmla="*/ 1611 h 10000"/>
                <a:gd name="connsiteX171" fmla="*/ 9621 w 10000"/>
                <a:gd name="connsiteY171" fmla="*/ 1507 h 10000"/>
                <a:gd name="connsiteX172" fmla="*/ 9903 w 10000"/>
                <a:gd name="connsiteY172" fmla="*/ 1538 h 10000"/>
                <a:gd name="connsiteX173" fmla="*/ 10000 w 10000"/>
                <a:gd name="connsiteY17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1953 w 10000"/>
                <a:gd name="connsiteY106" fmla="*/ 2250 h 10000"/>
                <a:gd name="connsiteX107" fmla="*/ 2359 w 10000"/>
                <a:gd name="connsiteY107" fmla="*/ 2054 h 10000"/>
                <a:gd name="connsiteX108" fmla="*/ 2441 w 10000"/>
                <a:gd name="connsiteY108" fmla="*/ 2250 h 10000"/>
                <a:gd name="connsiteX109" fmla="*/ 2431 w 10000"/>
                <a:gd name="connsiteY109" fmla="*/ 2002 h 10000"/>
                <a:gd name="connsiteX110" fmla="*/ 2321 w 10000"/>
                <a:gd name="connsiteY110" fmla="*/ 1786 h 10000"/>
                <a:gd name="connsiteX111" fmla="*/ 2303 w 10000"/>
                <a:gd name="connsiteY111" fmla="*/ 1703 h 10000"/>
                <a:gd name="connsiteX112" fmla="*/ 2382 w 10000"/>
                <a:gd name="connsiteY112" fmla="*/ 1786 h 10000"/>
                <a:gd name="connsiteX113" fmla="*/ 2654 w 10000"/>
                <a:gd name="connsiteY113" fmla="*/ 1951 h 10000"/>
                <a:gd name="connsiteX114" fmla="*/ 2965 w 10000"/>
                <a:gd name="connsiteY114" fmla="*/ 2126 h 10000"/>
                <a:gd name="connsiteX115" fmla="*/ 3113 w 10000"/>
                <a:gd name="connsiteY115" fmla="*/ 2250 h 10000"/>
                <a:gd name="connsiteX116" fmla="*/ 3161 w 10000"/>
                <a:gd name="connsiteY116" fmla="*/ 2074 h 10000"/>
                <a:gd name="connsiteX117" fmla="*/ 3093 w 10000"/>
                <a:gd name="connsiteY117" fmla="*/ 2033 h 10000"/>
                <a:gd name="connsiteX118" fmla="*/ 3002 w 10000"/>
                <a:gd name="connsiteY118" fmla="*/ 1930 h 10000"/>
                <a:gd name="connsiteX119" fmla="*/ 2943 w 10000"/>
                <a:gd name="connsiteY119" fmla="*/ 1734 h 10000"/>
                <a:gd name="connsiteX120" fmla="*/ 2855 w 10000"/>
                <a:gd name="connsiteY120" fmla="*/ 1486 h 10000"/>
                <a:gd name="connsiteX121" fmla="*/ 2886 w 10000"/>
                <a:gd name="connsiteY121" fmla="*/ 1434 h 10000"/>
                <a:gd name="connsiteX122" fmla="*/ 2914 w 10000"/>
                <a:gd name="connsiteY122" fmla="*/ 1455 h 10000"/>
                <a:gd name="connsiteX123" fmla="*/ 2991 w 10000"/>
                <a:gd name="connsiteY123" fmla="*/ 1115 h 10000"/>
                <a:gd name="connsiteX124" fmla="*/ 3192 w 10000"/>
                <a:gd name="connsiteY124" fmla="*/ 1135 h 10000"/>
                <a:gd name="connsiteX125" fmla="*/ 3248 w 10000"/>
                <a:gd name="connsiteY125" fmla="*/ 1311 h 10000"/>
                <a:gd name="connsiteX126" fmla="*/ 3288 w 10000"/>
                <a:gd name="connsiteY126" fmla="*/ 1538 h 10000"/>
                <a:gd name="connsiteX127" fmla="*/ 3363 w 10000"/>
                <a:gd name="connsiteY127" fmla="*/ 1734 h 10000"/>
                <a:gd name="connsiteX128" fmla="*/ 3486 w 10000"/>
                <a:gd name="connsiteY128" fmla="*/ 2157 h 10000"/>
                <a:gd name="connsiteX129" fmla="*/ 3240 w 10000"/>
                <a:gd name="connsiteY129" fmla="*/ 2673 h 10000"/>
                <a:gd name="connsiteX130" fmla="*/ 3340 w 10000"/>
                <a:gd name="connsiteY130" fmla="*/ 2746 h 10000"/>
                <a:gd name="connsiteX131" fmla="*/ 3468 w 10000"/>
                <a:gd name="connsiteY131" fmla="*/ 2818 h 10000"/>
                <a:gd name="connsiteX132" fmla="*/ 3634 w 10000"/>
                <a:gd name="connsiteY132" fmla="*/ 2622 h 10000"/>
                <a:gd name="connsiteX133" fmla="*/ 3642 w 10000"/>
                <a:gd name="connsiteY133" fmla="*/ 2404 h 10000"/>
                <a:gd name="connsiteX134" fmla="*/ 3586 w 10000"/>
                <a:gd name="connsiteY134" fmla="*/ 2301 h 10000"/>
                <a:gd name="connsiteX135" fmla="*/ 3812 w 10000"/>
                <a:gd name="connsiteY135" fmla="*/ 2250 h 10000"/>
                <a:gd name="connsiteX136" fmla="*/ 3905 w 10000"/>
                <a:gd name="connsiteY136" fmla="*/ 2497 h 10000"/>
                <a:gd name="connsiteX137" fmla="*/ 3905 w 10000"/>
                <a:gd name="connsiteY137" fmla="*/ 2425 h 10000"/>
                <a:gd name="connsiteX138" fmla="*/ 3882 w 10000"/>
                <a:gd name="connsiteY138" fmla="*/ 2353 h 10000"/>
                <a:gd name="connsiteX139" fmla="*/ 3875 w 10000"/>
                <a:gd name="connsiteY139" fmla="*/ 2178 h 10000"/>
                <a:gd name="connsiteX140" fmla="*/ 3656 w 10000"/>
                <a:gd name="connsiteY140" fmla="*/ 1930 h 10000"/>
                <a:gd name="connsiteX141" fmla="*/ 3486 w 10000"/>
                <a:gd name="connsiteY141" fmla="*/ 2002 h 10000"/>
                <a:gd name="connsiteX142" fmla="*/ 3415 w 10000"/>
                <a:gd name="connsiteY142" fmla="*/ 1683 h 10000"/>
                <a:gd name="connsiteX143" fmla="*/ 3350 w 10000"/>
                <a:gd name="connsiteY143" fmla="*/ 1507 h 10000"/>
                <a:gd name="connsiteX144" fmla="*/ 3415 w 10000"/>
                <a:gd name="connsiteY144" fmla="*/ 1331 h 10000"/>
                <a:gd name="connsiteX145" fmla="*/ 3408 w 10000"/>
                <a:gd name="connsiteY145" fmla="*/ 1166 h 10000"/>
                <a:gd name="connsiteX146" fmla="*/ 3380 w 10000"/>
                <a:gd name="connsiteY146" fmla="*/ 1115 h 10000"/>
                <a:gd name="connsiteX147" fmla="*/ 3430 w 10000"/>
                <a:gd name="connsiteY147" fmla="*/ 1115 h 10000"/>
                <a:gd name="connsiteX148" fmla="*/ 3486 w 10000"/>
                <a:gd name="connsiteY148" fmla="*/ 1455 h 10000"/>
                <a:gd name="connsiteX149" fmla="*/ 3777 w 10000"/>
                <a:gd name="connsiteY149" fmla="*/ 1662 h 10000"/>
                <a:gd name="connsiteX150" fmla="*/ 3558 w 10000"/>
                <a:gd name="connsiteY150" fmla="*/ 1383 h 10000"/>
                <a:gd name="connsiteX151" fmla="*/ 3983 w 10000"/>
                <a:gd name="connsiteY151" fmla="*/ 1383 h 10000"/>
                <a:gd name="connsiteX152" fmla="*/ 4051 w 10000"/>
                <a:gd name="connsiteY152" fmla="*/ 1362 h 10000"/>
                <a:gd name="connsiteX153" fmla="*/ 3784 w 10000"/>
                <a:gd name="connsiteY153" fmla="*/ 1115 h 10000"/>
                <a:gd name="connsiteX154" fmla="*/ 3853 w 10000"/>
                <a:gd name="connsiteY154" fmla="*/ 888 h 10000"/>
                <a:gd name="connsiteX155" fmla="*/ 4151 w 10000"/>
                <a:gd name="connsiteY155" fmla="*/ 888 h 10000"/>
                <a:gd name="connsiteX156" fmla="*/ 4121 w 10000"/>
                <a:gd name="connsiteY156" fmla="*/ 713 h 10000"/>
                <a:gd name="connsiteX157" fmla="*/ 4220 w 10000"/>
                <a:gd name="connsiteY157" fmla="*/ 589 h 10000"/>
                <a:gd name="connsiteX158" fmla="*/ 4278 w 10000"/>
                <a:gd name="connsiteY158" fmla="*/ 548 h 10000"/>
                <a:gd name="connsiteX159" fmla="*/ 4498 w 10000"/>
                <a:gd name="connsiteY159" fmla="*/ 423 h 10000"/>
                <a:gd name="connsiteX160" fmla="*/ 4553 w 10000"/>
                <a:gd name="connsiteY160" fmla="*/ 371 h 10000"/>
                <a:gd name="connsiteX161" fmla="*/ 4544 w 10000"/>
                <a:gd name="connsiteY161" fmla="*/ 444 h 10000"/>
                <a:gd name="connsiteX162" fmla="*/ 4780 w 10000"/>
                <a:gd name="connsiteY162" fmla="*/ 371 h 10000"/>
                <a:gd name="connsiteX163" fmla="*/ 4971 w 10000"/>
                <a:gd name="connsiteY163" fmla="*/ 248 h 10000"/>
                <a:gd name="connsiteX164" fmla="*/ 5000 w 10000"/>
                <a:gd name="connsiteY164" fmla="*/ 0 h 10000"/>
                <a:gd name="connsiteX165" fmla="*/ 5209 w 10000"/>
                <a:gd name="connsiteY165" fmla="*/ 21 h 10000"/>
                <a:gd name="connsiteX166" fmla="*/ 5195 w 10000"/>
                <a:gd name="connsiteY166" fmla="*/ 93 h 10000"/>
                <a:gd name="connsiteX167" fmla="*/ 5209 w 10000"/>
                <a:gd name="connsiteY167" fmla="*/ 176 h 10000"/>
                <a:gd name="connsiteX168" fmla="*/ 5333 w 10000"/>
                <a:gd name="connsiteY168" fmla="*/ 248 h 10000"/>
                <a:gd name="connsiteX169" fmla="*/ 9394 w 10000"/>
                <a:gd name="connsiteY169" fmla="*/ 1611 h 10000"/>
                <a:gd name="connsiteX170" fmla="*/ 9621 w 10000"/>
                <a:gd name="connsiteY170" fmla="*/ 1507 h 10000"/>
                <a:gd name="connsiteX171" fmla="*/ 9903 w 10000"/>
                <a:gd name="connsiteY171" fmla="*/ 1538 h 10000"/>
                <a:gd name="connsiteX172" fmla="*/ 10000 w 10000"/>
                <a:gd name="connsiteY17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359 w 10000"/>
                <a:gd name="connsiteY106" fmla="*/ 2054 h 10000"/>
                <a:gd name="connsiteX107" fmla="*/ 2441 w 10000"/>
                <a:gd name="connsiteY107" fmla="*/ 2250 h 10000"/>
                <a:gd name="connsiteX108" fmla="*/ 2431 w 10000"/>
                <a:gd name="connsiteY108" fmla="*/ 2002 h 10000"/>
                <a:gd name="connsiteX109" fmla="*/ 2321 w 10000"/>
                <a:gd name="connsiteY109" fmla="*/ 1786 h 10000"/>
                <a:gd name="connsiteX110" fmla="*/ 2303 w 10000"/>
                <a:gd name="connsiteY110" fmla="*/ 1703 h 10000"/>
                <a:gd name="connsiteX111" fmla="*/ 2382 w 10000"/>
                <a:gd name="connsiteY111" fmla="*/ 1786 h 10000"/>
                <a:gd name="connsiteX112" fmla="*/ 2654 w 10000"/>
                <a:gd name="connsiteY112" fmla="*/ 1951 h 10000"/>
                <a:gd name="connsiteX113" fmla="*/ 2965 w 10000"/>
                <a:gd name="connsiteY113" fmla="*/ 2126 h 10000"/>
                <a:gd name="connsiteX114" fmla="*/ 3113 w 10000"/>
                <a:gd name="connsiteY114" fmla="*/ 2250 h 10000"/>
                <a:gd name="connsiteX115" fmla="*/ 3161 w 10000"/>
                <a:gd name="connsiteY115" fmla="*/ 2074 h 10000"/>
                <a:gd name="connsiteX116" fmla="*/ 3093 w 10000"/>
                <a:gd name="connsiteY116" fmla="*/ 2033 h 10000"/>
                <a:gd name="connsiteX117" fmla="*/ 3002 w 10000"/>
                <a:gd name="connsiteY117" fmla="*/ 1930 h 10000"/>
                <a:gd name="connsiteX118" fmla="*/ 2943 w 10000"/>
                <a:gd name="connsiteY118" fmla="*/ 1734 h 10000"/>
                <a:gd name="connsiteX119" fmla="*/ 2855 w 10000"/>
                <a:gd name="connsiteY119" fmla="*/ 1486 h 10000"/>
                <a:gd name="connsiteX120" fmla="*/ 2886 w 10000"/>
                <a:gd name="connsiteY120" fmla="*/ 1434 h 10000"/>
                <a:gd name="connsiteX121" fmla="*/ 2914 w 10000"/>
                <a:gd name="connsiteY121" fmla="*/ 1455 h 10000"/>
                <a:gd name="connsiteX122" fmla="*/ 2991 w 10000"/>
                <a:gd name="connsiteY122" fmla="*/ 1115 h 10000"/>
                <a:gd name="connsiteX123" fmla="*/ 3192 w 10000"/>
                <a:gd name="connsiteY123" fmla="*/ 1135 h 10000"/>
                <a:gd name="connsiteX124" fmla="*/ 3248 w 10000"/>
                <a:gd name="connsiteY124" fmla="*/ 1311 h 10000"/>
                <a:gd name="connsiteX125" fmla="*/ 3288 w 10000"/>
                <a:gd name="connsiteY125" fmla="*/ 1538 h 10000"/>
                <a:gd name="connsiteX126" fmla="*/ 3363 w 10000"/>
                <a:gd name="connsiteY126" fmla="*/ 1734 h 10000"/>
                <a:gd name="connsiteX127" fmla="*/ 3486 w 10000"/>
                <a:gd name="connsiteY127" fmla="*/ 2157 h 10000"/>
                <a:gd name="connsiteX128" fmla="*/ 3240 w 10000"/>
                <a:gd name="connsiteY128" fmla="*/ 2673 h 10000"/>
                <a:gd name="connsiteX129" fmla="*/ 3340 w 10000"/>
                <a:gd name="connsiteY129" fmla="*/ 2746 h 10000"/>
                <a:gd name="connsiteX130" fmla="*/ 3468 w 10000"/>
                <a:gd name="connsiteY130" fmla="*/ 2818 h 10000"/>
                <a:gd name="connsiteX131" fmla="*/ 3634 w 10000"/>
                <a:gd name="connsiteY131" fmla="*/ 2622 h 10000"/>
                <a:gd name="connsiteX132" fmla="*/ 3642 w 10000"/>
                <a:gd name="connsiteY132" fmla="*/ 2404 h 10000"/>
                <a:gd name="connsiteX133" fmla="*/ 3586 w 10000"/>
                <a:gd name="connsiteY133" fmla="*/ 2301 h 10000"/>
                <a:gd name="connsiteX134" fmla="*/ 3812 w 10000"/>
                <a:gd name="connsiteY134" fmla="*/ 2250 h 10000"/>
                <a:gd name="connsiteX135" fmla="*/ 3905 w 10000"/>
                <a:gd name="connsiteY135" fmla="*/ 2497 h 10000"/>
                <a:gd name="connsiteX136" fmla="*/ 3905 w 10000"/>
                <a:gd name="connsiteY136" fmla="*/ 2425 h 10000"/>
                <a:gd name="connsiteX137" fmla="*/ 3882 w 10000"/>
                <a:gd name="connsiteY137" fmla="*/ 2353 h 10000"/>
                <a:gd name="connsiteX138" fmla="*/ 3875 w 10000"/>
                <a:gd name="connsiteY138" fmla="*/ 2178 h 10000"/>
                <a:gd name="connsiteX139" fmla="*/ 3656 w 10000"/>
                <a:gd name="connsiteY139" fmla="*/ 1930 h 10000"/>
                <a:gd name="connsiteX140" fmla="*/ 3486 w 10000"/>
                <a:gd name="connsiteY140" fmla="*/ 2002 h 10000"/>
                <a:gd name="connsiteX141" fmla="*/ 3415 w 10000"/>
                <a:gd name="connsiteY141" fmla="*/ 1683 h 10000"/>
                <a:gd name="connsiteX142" fmla="*/ 3350 w 10000"/>
                <a:gd name="connsiteY142" fmla="*/ 1507 h 10000"/>
                <a:gd name="connsiteX143" fmla="*/ 3415 w 10000"/>
                <a:gd name="connsiteY143" fmla="*/ 1331 h 10000"/>
                <a:gd name="connsiteX144" fmla="*/ 3408 w 10000"/>
                <a:gd name="connsiteY144" fmla="*/ 1166 h 10000"/>
                <a:gd name="connsiteX145" fmla="*/ 3380 w 10000"/>
                <a:gd name="connsiteY145" fmla="*/ 1115 h 10000"/>
                <a:gd name="connsiteX146" fmla="*/ 3430 w 10000"/>
                <a:gd name="connsiteY146" fmla="*/ 1115 h 10000"/>
                <a:gd name="connsiteX147" fmla="*/ 3486 w 10000"/>
                <a:gd name="connsiteY147" fmla="*/ 1455 h 10000"/>
                <a:gd name="connsiteX148" fmla="*/ 3777 w 10000"/>
                <a:gd name="connsiteY148" fmla="*/ 1662 h 10000"/>
                <a:gd name="connsiteX149" fmla="*/ 3558 w 10000"/>
                <a:gd name="connsiteY149" fmla="*/ 1383 h 10000"/>
                <a:gd name="connsiteX150" fmla="*/ 3983 w 10000"/>
                <a:gd name="connsiteY150" fmla="*/ 1383 h 10000"/>
                <a:gd name="connsiteX151" fmla="*/ 4051 w 10000"/>
                <a:gd name="connsiteY151" fmla="*/ 1362 h 10000"/>
                <a:gd name="connsiteX152" fmla="*/ 3784 w 10000"/>
                <a:gd name="connsiteY152" fmla="*/ 1115 h 10000"/>
                <a:gd name="connsiteX153" fmla="*/ 3853 w 10000"/>
                <a:gd name="connsiteY153" fmla="*/ 888 h 10000"/>
                <a:gd name="connsiteX154" fmla="*/ 4151 w 10000"/>
                <a:gd name="connsiteY154" fmla="*/ 888 h 10000"/>
                <a:gd name="connsiteX155" fmla="*/ 4121 w 10000"/>
                <a:gd name="connsiteY155" fmla="*/ 713 h 10000"/>
                <a:gd name="connsiteX156" fmla="*/ 4220 w 10000"/>
                <a:gd name="connsiteY156" fmla="*/ 589 h 10000"/>
                <a:gd name="connsiteX157" fmla="*/ 4278 w 10000"/>
                <a:gd name="connsiteY157" fmla="*/ 548 h 10000"/>
                <a:gd name="connsiteX158" fmla="*/ 4498 w 10000"/>
                <a:gd name="connsiteY158" fmla="*/ 423 h 10000"/>
                <a:gd name="connsiteX159" fmla="*/ 4553 w 10000"/>
                <a:gd name="connsiteY159" fmla="*/ 371 h 10000"/>
                <a:gd name="connsiteX160" fmla="*/ 4544 w 10000"/>
                <a:gd name="connsiteY160" fmla="*/ 444 h 10000"/>
                <a:gd name="connsiteX161" fmla="*/ 4780 w 10000"/>
                <a:gd name="connsiteY161" fmla="*/ 371 h 10000"/>
                <a:gd name="connsiteX162" fmla="*/ 4971 w 10000"/>
                <a:gd name="connsiteY162" fmla="*/ 248 h 10000"/>
                <a:gd name="connsiteX163" fmla="*/ 5000 w 10000"/>
                <a:gd name="connsiteY163" fmla="*/ 0 h 10000"/>
                <a:gd name="connsiteX164" fmla="*/ 5209 w 10000"/>
                <a:gd name="connsiteY164" fmla="*/ 21 h 10000"/>
                <a:gd name="connsiteX165" fmla="*/ 5195 w 10000"/>
                <a:gd name="connsiteY165" fmla="*/ 93 h 10000"/>
                <a:gd name="connsiteX166" fmla="*/ 5209 w 10000"/>
                <a:gd name="connsiteY166" fmla="*/ 176 h 10000"/>
                <a:gd name="connsiteX167" fmla="*/ 5333 w 10000"/>
                <a:gd name="connsiteY167" fmla="*/ 248 h 10000"/>
                <a:gd name="connsiteX168" fmla="*/ 9394 w 10000"/>
                <a:gd name="connsiteY168" fmla="*/ 1611 h 10000"/>
                <a:gd name="connsiteX169" fmla="*/ 9621 w 10000"/>
                <a:gd name="connsiteY169" fmla="*/ 1507 h 10000"/>
                <a:gd name="connsiteX170" fmla="*/ 9903 w 10000"/>
                <a:gd name="connsiteY170" fmla="*/ 1538 h 10000"/>
                <a:gd name="connsiteX171" fmla="*/ 10000 w 10000"/>
                <a:gd name="connsiteY17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359 w 10000"/>
                <a:gd name="connsiteY106" fmla="*/ 2054 h 10000"/>
                <a:gd name="connsiteX107" fmla="*/ 2441 w 10000"/>
                <a:gd name="connsiteY107" fmla="*/ 2250 h 10000"/>
                <a:gd name="connsiteX108" fmla="*/ 2431 w 10000"/>
                <a:gd name="connsiteY108" fmla="*/ 2002 h 10000"/>
                <a:gd name="connsiteX109" fmla="*/ 2321 w 10000"/>
                <a:gd name="connsiteY109" fmla="*/ 1786 h 10000"/>
                <a:gd name="connsiteX110" fmla="*/ 2303 w 10000"/>
                <a:gd name="connsiteY110" fmla="*/ 1703 h 10000"/>
                <a:gd name="connsiteX111" fmla="*/ 2654 w 10000"/>
                <a:gd name="connsiteY111" fmla="*/ 1951 h 10000"/>
                <a:gd name="connsiteX112" fmla="*/ 2965 w 10000"/>
                <a:gd name="connsiteY112" fmla="*/ 2126 h 10000"/>
                <a:gd name="connsiteX113" fmla="*/ 3113 w 10000"/>
                <a:gd name="connsiteY113" fmla="*/ 2250 h 10000"/>
                <a:gd name="connsiteX114" fmla="*/ 3161 w 10000"/>
                <a:gd name="connsiteY114" fmla="*/ 2074 h 10000"/>
                <a:gd name="connsiteX115" fmla="*/ 3093 w 10000"/>
                <a:gd name="connsiteY115" fmla="*/ 2033 h 10000"/>
                <a:gd name="connsiteX116" fmla="*/ 3002 w 10000"/>
                <a:gd name="connsiteY116" fmla="*/ 1930 h 10000"/>
                <a:gd name="connsiteX117" fmla="*/ 2943 w 10000"/>
                <a:gd name="connsiteY117" fmla="*/ 1734 h 10000"/>
                <a:gd name="connsiteX118" fmla="*/ 2855 w 10000"/>
                <a:gd name="connsiteY118" fmla="*/ 1486 h 10000"/>
                <a:gd name="connsiteX119" fmla="*/ 2886 w 10000"/>
                <a:gd name="connsiteY119" fmla="*/ 1434 h 10000"/>
                <a:gd name="connsiteX120" fmla="*/ 2914 w 10000"/>
                <a:gd name="connsiteY120" fmla="*/ 1455 h 10000"/>
                <a:gd name="connsiteX121" fmla="*/ 2991 w 10000"/>
                <a:gd name="connsiteY121" fmla="*/ 1115 h 10000"/>
                <a:gd name="connsiteX122" fmla="*/ 3192 w 10000"/>
                <a:gd name="connsiteY122" fmla="*/ 1135 h 10000"/>
                <a:gd name="connsiteX123" fmla="*/ 3248 w 10000"/>
                <a:gd name="connsiteY123" fmla="*/ 1311 h 10000"/>
                <a:gd name="connsiteX124" fmla="*/ 3288 w 10000"/>
                <a:gd name="connsiteY124" fmla="*/ 1538 h 10000"/>
                <a:gd name="connsiteX125" fmla="*/ 3363 w 10000"/>
                <a:gd name="connsiteY125" fmla="*/ 1734 h 10000"/>
                <a:gd name="connsiteX126" fmla="*/ 3486 w 10000"/>
                <a:gd name="connsiteY126" fmla="*/ 2157 h 10000"/>
                <a:gd name="connsiteX127" fmla="*/ 3240 w 10000"/>
                <a:gd name="connsiteY127" fmla="*/ 2673 h 10000"/>
                <a:gd name="connsiteX128" fmla="*/ 3340 w 10000"/>
                <a:gd name="connsiteY128" fmla="*/ 2746 h 10000"/>
                <a:gd name="connsiteX129" fmla="*/ 3468 w 10000"/>
                <a:gd name="connsiteY129" fmla="*/ 2818 h 10000"/>
                <a:gd name="connsiteX130" fmla="*/ 3634 w 10000"/>
                <a:gd name="connsiteY130" fmla="*/ 2622 h 10000"/>
                <a:gd name="connsiteX131" fmla="*/ 3642 w 10000"/>
                <a:gd name="connsiteY131" fmla="*/ 2404 h 10000"/>
                <a:gd name="connsiteX132" fmla="*/ 3586 w 10000"/>
                <a:gd name="connsiteY132" fmla="*/ 2301 h 10000"/>
                <a:gd name="connsiteX133" fmla="*/ 3812 w 10000"/>
                <a:gd name="connsiteY133" fmla="*/ 2250 h 10000"/>
                <a:gd name="connsiteX134" fmla="*/ 3905 w 10000"/>
                <a:gd name="connsiteY134" fmla="*/ 2497 h 10000"/>
                <a:gd name="connsiteX135" fmla="*/ 3905 w 10000"/>
                <a:gd name="connsiteY135" fmla="*/ 2425 h 10000"/>
                <a:gd name="connsiteX136" fmla="*/ 3882 w 10000"/>
                <a:gd name="connsiteY136" fmla="*/ 2353 h 10000"/>
                <a:gd name="connsiteX137" fmla="*/ 3875 w 10000"/>
                <a:gd name="connsiteY137" fmla="*/ 2178 h 10000"/>
                <a:gd name="connsiteX138" fmla="*/ 3656 w 10000"/>
                <a:gd name="connsiteY138" fmla="*/ 1930 h 10000"/>
                <a:gd name="connsiteX139" fmla="*/ 3486 w 10000"/>
                <a:gd name="connsiteY139" fmla="*/ 2002 h 10000"/>
                <a:gd name="connsiteX140" fmla="*/ 3415 w 10000"/>
                <a:gd name="connsiteY140" fmla="*/ 1683 h 10000"/>
                <a:gd name="connsiteX141" fmla="*/ 3350 w 10000"/>
                <a:gd name="connsiteY141" fmla="*/ 1507 h 10000"/>
                <a:gd name="connsiteX142" fmla="*/ 3415 w 10000"/>
                <a:gd name="connsiteY142" fmla="*/ 1331 h 10000"/>
                <a:gd name="connsiteX143" fmla="*/ 3408 w 10000"/>
                <a:gd name="connsiteY143" fmla="*/ 1166 h 10000"/>
                <a:gd name="connsiteX144" fmla="*/ 3380 w 10000"/>
                <a:gd name="connsiteY144" fmla="*/ 1115 h 10000"/>
                <a:gd name="connsiteX145" fmla="*/ 3430 w 10000"/>
                <a:gd name="connsiteY145" fmla="*/ 1115 h 10000"/>
                <a:gd name="connsiteX146" fmla="*/ 3486 w 10000"/>
                <a:gd name="connsiteY146" fmla="*/ 1455 h 10000"/>
                <a:gd name="connsiteX147" fmla="*/ 3777 w 10000"/>
                <a:gd name="connsiteY147" fmla="*/ 1662 h 10000"/>
                <a:gd name="connsiteX148" fmla="*/ 3558 w 10000"/>
                <a:gd name="connsiteY148" fmla="*/ 1383 h 10000"/>
                <a:gd name="connsiteX149" fmla="*/ 3983 w 10000"/>
                <a:gd name="connsiteY149" fmla="*/ 1383 h 10000"/>
                <a:gd name="connsiteX150" fmla="*/ 4051 w 10000"/>
                <a:gd name="connsiteY150" fmla="*/ 1362 h 10000"/>
                <a:gd name="connsiteX151" fmla="*/ 3784 w 10000"/>
                <a:gd name="connsiteY151" fmla="*/ 1115 h 10000"/>
                <a:gd name="connsiteX152" fmla="*/ 3853 w 10000"/>
                <a:gd name="connsiteY152" fmla="*/ 888 h 10000"/>
                <a:gd name="connsiteX153" fmla="*/ 4151 w 10000"/>
                <a:gd name="connsiteY153" fmla="*/ 888 h 10000"/>
                <a:gd name="connsiteX154" fmla="*/ 4121 w 10000"/>
                <a:gd name="connsiteY154" fmla="*/ 713 h 10000"/>
                <a:gd name="connsiteX155" fmla="*/ 4220 w 10000"/>
                <a:gd name="connsiteY155" fmla="*/ 589 h 10000"/>
                <a:gd name="connsiteX156" fmla="*/ 4278 w 10000"/>
                <a:gd name="connsiteY156" fmla="*/ 548 h 10000"/>
                <a:gd name="connsiteX157" fmla="*/ 4498 w 10000"/>
                <a:gd name="connsiteY157" fmla="*/ 423 h 10000"/>
                <a:gd name="connsiteX158" fmla="*/ 4553 w 10000"/>
                <a:gd name="connsiteY158" fmla="*/ 371 h 10000"/>
                <a:gd name="connsiteX159" fmla="*/ 4544 w 10000"/>
                <a:gd name="connsiteY159" fmla="*/ 444 h 10000"/>
                <a:gd name="connsiteX160" fmla="*/ 4780 w 10000"/>
                <a:gd name="connsiteY160" fmla="*/ 371 h 10000"/>
                <a:gd name="connsiteX161" fmla="*/ 4971 w 10000"/>
                <a:gd name="connsiteY161" fmla="*/ 248 h 10000"/>
                <a:gd name="connsiteX162" fmla="*/ 5000 w 10000"/>
                <a:gd name="connsiteY162" fmla="*/ 0 h 10000"/>
                <a:gd name="connsiteX163" fmla="*/ 5209 w 10000"/>
                <a:gd name="connsiteY163" fmla="*/ 21 h 10000"/>
                <a:gd name="connsiteX164" fmla="*/ 5195 w 10000"/>
                <a:gd name="connsiteY164" fmla="*/ 93 h 10000"/>
                <a:gd name="connsiteX165" fmla="*/ 5209 w 10000"/>
                <a:gd name="connsiteY165" fmla="*/ 176 h 10000"/>
                <a:gd name="connsiteX166" fmla="*/ 5333 w 10000"/>
                <a:gd name="connsiteY166" fmla="*/ 248 h 10000"/>
                <a:gd name="connsiteX167" fmla="*/ 9394 w 10000"/>
                <a:gd name="connsiteY167" fmla="*/ 1611 h 10000"/>
                <a:gd name="connsiteX168" fmla="*/ 9621 w 10000"/>
                <a:gd name="connsiteY168" fmla="*/ 1507 h 10000"/>
                <a:gd name="connsiteX169" fmla="*/ 9903 w 10000"/>
                <a:gd name="connsiteY169" fmla="*/ 1538 h 10000"/>
                <a:gd name="connsiteX170" fmla="*/ 10000 w 10000"/>
                <a:gd name="connsiteY17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359 w 10000"/>
                <a:gd name="connsiteY106" fmla="*/ 2054 h 10000"/>
                <a:gd name="connsiteX107" fmla="*/ 2431 w 10000"/>
                <a:gd name="connsiteY107" fmla="*/ 2002 h 10000"/>
                <a:gd name="connsiteX108" fmla="*/ 2321 w 10000"/>
                <a:gd name="connsiteY108" fmla="*/ 1786 h 10000"/>
                <a:gd name="connsiteX109" fmla="*/ 2303 w 10000"/>
                <a:gd name="connsiteY109" fmla="*/ 1703 h 10000"/>
                <a:gd name="connsiteX110" fmla="*/ 2654 w 10000"/>
                <a:gd name="connsiteY110" fmla="*/ 1951 h 10000"/>
                <a:gd name="connsiteX111" fmla="*/ 2965 w 10000"/>
                <a:gd name="connsiteY111" fmla="*/ 2126 h 10000"/>
                <a:gd name="connsiteX112" fmla="*/ 3113 w 10000"/>
                <a:gd name="connsiteY112" fmla="*/ 2250 h 10000"/>
                <a:gd name="connsiteX113" fmla="*/ 3161 w 10000"/>
                <a:gd name="connsiteY113" fmla="*/ 2074 h 10000"/>
                <a:gd name="connsiteX114" fmla="*/ 3093 w 10000"/>
                <a:gd name="connsiteY114" fmla="*/ 2033 h 10000"/>
                <a:gd name="connsiteX115" fmla="*/ 3002 w 10000"/>
                <a:gd name="connsiteY115" fmla="*/ 1930 h 10000"/>
                <a:gd name="connsiteX116" fmla="*/ 2943 w 10000"/>
                <a:gd name="connsiteY116" fmla="*/ 1734 h 10000"/>
                <a:gd name="connsiteX117" fmla="*/ 2855 w 10000"/>
                <a:gd name="connsiteY117" fmla="*/ 1486 h 10000"/>
                <a:gd name="connsiteX118" fmla="*/ 2886 w 10000"/>
                <a:gd name="connsiteY118" fmla="*/ 1434 h 10000"/>
                <a:gd name="connsiteX119" fmla="*/ 2914 w 10000"/>
                <a:gd name="connsiteY119" fmla="*/ 1455 h 10000"/>
                <a:gd name="connsiteX120" fmla="*/ 2991 w 10000"/>
                <a:gd name="connsiteY120" fmla="*/ 1115 h 10000"/>
                <a:gd name="connsiteX121" fmla="*/ 3192 w 10000"/>
                <a:gd name="connsiteY121" fmla="*/ 1135 h 10000"/>
                <a:gd name="connsiteX122" fmla="*/ 3248 w 10000"/>
                <a:gd name="connsiteY122" fmla="*/ 1311 h 10000"/>
                <a:gd name="connsiteX123" fmla="*/ 3288 w 10000"/>
                <a:gd name="connsiteY123" fmla="*/ 1538 h 10000"/>
                <a:gd name="connsiteX124" fmla="*/ 3363 w 10000"/>
                <a:gd name="connsiteY124" fmla="*/ 1734 h 10000"/>
                <a:gd name="connsiteX125" fmla="*/ 3486 w 10000"/>
                <a:gd name="connsiteY125" fmla="*/ 2157 h 10000"/>
                <a:gd name="connsiteX126" fmla="*/ 3240 w 10000"/>
                <a:gd name="connsiteY126" fmla="*/ 2673 h 10000"/>
                <a:gd name="connsiteX127" fmla="*/ 3340 w 10000"/>
                <a:gd name="connsiteY127" fmla="*/ 2746 h 10000"/>
                <a:gd name="connsiteX128" fmla="*/ 3468 w 10000"/>
                <a:gd name="connsiteY128" fmla="*/ 2818 h 10000"/>
                <a:gd name="connsiteX129" fmla="*/ 3634 w 10000"/>
                <a:gd name="connsiteY129" fmla="*/ 2622 h 10000"/>
                <a:gd name="connsiteX130" fmla="*/ 3642 w 10000"/>
                <a:gd name="connsiteY130" fmla="*/ 2404 h 10000"/>
                <a:gd name="connsiteX131" fmla="*/ 3586 w 10000"/>
                <a:gd name="connsiteY131" fmla="*/ 2301 h 10000"/>
                <a:gd name="connsiteX132" fmla="*/ 3812 w 10000"/>
                <a:gd name="connsiteY132" fmla="*/ 2250 h 10000"/>
                <a:gd name="connsiteX133" fmla="*/ 3905 w 10000"/>
                <a:gd name="connsiteY133" fmla="*/ 2497 h 10000"/>
                <a:gd name="connsiteX134" fmla="*/ 3905 w 10000"/>
                <a:gd name="connsiteY134" fmla="*/ 2425 h 10000"/>
                <a:gd name="connsiteX135" fmla="*/ 3882 w 10000"/>
                <a:gd name="connsiteY135" fmla="*/ 2353 h 10000"/>
                <a:gd name="connsiteX136" fmla="*/ 3875 w 10000"/>
                <a:gd name="connsiteY136" fmla="*/ 2178 h 10000"/>
                <a:gd name="connsiteX137" fmla="*/ 3656 w 10000"/>
                <a:gd name="connsiteY137" fmla="*/ 1930 h 10000"/>
                <a:gd name="connsiteX138" fmla="*/ 3486 w 10000"/>
                <a:gd name="connsiteY138" fmla="*/ 2002 h 10000"/>
                <a:gd name="connsiteX139" fmla="*/ 3415 w 10000"/>
                <a:gd name="connsiteY139" fmla="*/ 1683 h 10000"/>
                <a:gd name="connsiteX140" fmla="*/ 3350 w 10000"/>
                <a:gd name="connsiteY140" fmla="*/ 1507 h 10000"/>
                <a:gd name="connsiteX141" fmla="*/ 3415 w 10000"/>
                <a:gd name="connsiteY141" fmla="*/ 1331 h 10000"/>
                <a:gd name="connsiteX142" fmla="*/ 3408 w 10000"/>
                <a:gd name="connsiteY142" fmla="*/ 1166 h 10000"/>
                <a:gd name="connsiteX143" fmla="*/ 3380 w 10000"/>
                <a:gd name="connsiteY143" fmla="*/ 1115 h 10000"/>
                <a:gd name="connsiteX144" fmla="*/ 3430 w 10000"/>
                <a:gd name="connsiteY144" fmla="*/ 1115 h 10000"/>
                <a:gd name="connsiteX145" fmla="*/ 3486 w 10000"/>
                <a:gd name="connsiteY145" fmla="*/ 1455 h 10000"/>
                <a:gd name="connsiteX146" fmla="*/ 3777 w 10000"/>
                <a:gd name="connsiteY146" fmla="*/ 1662 h 10000"/>
                <a:gd name="connsiteX147" fmla="*/ 3558 w 10000"/>
                <a:gd name="connsiteY147" fmla="*/ 1383 h 10000"/>
                <a:gd name="connsiteX148" fmla="*/ 3983 w 10000"/>
                <a:gd name="connsiteY148" fmla="*/ 1383 h 10000"/>
                <a:gd name="connsiteX149" fmla="*/ 4051 w 10000"/>
                <a:gd name="connsiteY149" fmla="*/ 1362 h 10000"/>
                <a:gd name="connsiteX150" fmla="*/ 3784 w 10000"/>
                <a:gd name="connsiteY150" fmla="*/ 1115 h 10000"/>
                <a:gd name="connsiteX151" fmla="*/ 3853 w 10000"/>
                <a:gd name="connsiteY151" fmla="*/ 888 h 10000"/>
                <a:gd name="connsiteX152" fmla="*/ 4151 w 10000"/>
                <a:gd name="connsiteY152" fmla="*/ 888 h 10000"/>
                <a:gd name="connsiteX153" fmla="*/ 4121 w 10000"/>
                <a:gd name="connsiteY153" fmla="*/ 713 h 10000"/>
                <a:gd name="connsiteX154" fmla="*/ 4220 w 10000"/>
                <a:gd name="connsiteY154" fmla="*/ 589 h 10000"/>
                <a:gd name="connsiteX155" fmla="*/ 4278 w 10000"/>
                <a:gd name="connsiteY155" fmla="*/ 548 h 10000"/>
                <a:gd name="connsiteX156" fmla="*/ 4498 w 10000"/>
                <a:gd name="connsiteY156" fmla="*/ 423 h 10000"/>
                <a:gd name="connsiteX157" fmla="*/ 4553 w 10000"/>
                <a:gd name="connsiteY157" fmla="*/ 371 h 10000"/>
                <a:gd name="connsiteX158" fmla="*/ 4544 w 10000"/>
                <a:gd name="connsiteY158" fmla="*/ 444 h 10000"/>
                <a:gd name="connsiteX159" fmla="*/ 4780 w 10000"/>
                <a:gd name="connsiteY159" fmla="*/ 371 h 10000"/>
                <a:gd name="connsiteX160" fmla="*/ 4971 w 10000"/>
                <a:gd name="connsiteY160" fmla="*/ 248 h 10000"/>
                <a:gd name="connsiteX161" fmla="*/ 5000 w 10000"/>
                <a:gd name="connsiteY161" fmla="*/ 0 h 10000"/>
                <a:gd name="connsiteX162" fmla="*/ 5209 w 10000"/>
                <a:gd name="connsiteY162" fmla="*/ 21 h 10000"/>
                <a:gd name="connsiteX163" fmla="*/ 5195 w 10000"/>
                <a:gd name="connsiteY163" fmla="*/ 93 h 10000"/>
                <a:gd name="connsiteX164" fmla="*/ 5209 w 10000"/>
                <a:gd name="connsiteY164" fmla="*/ 176 h 10000"/>
                <a:gd name="connsiteX165" fmla="*/ 5333 w 10000"/>
                <a:gd name="connsiteY165" fmla="*/ 248 h 10000"/>
                <a:gd name="connsiteX166" fmla="*/ 9394 w 10000"/>
                <a:gd name="connsiteY166" fmla="*/ 1611 h 10000"/>
                <a:gd name="connsiteX167" fmla="*/ 9621 w 10000"/>
                <a:gd name="connsiteY167" fmla="*/ 1507 h 10000"/>
                <a:gd name="connsiteX168" fmla="*/ 9903 w 10000"/>
                <a:gd name="connsiteY168" fmla="*/ 1538 h 10000"/>
                <a:gd name="connsiteX169" fmla="*/ 10000 w 10000"/>
                <a:gd name="connsiteY16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359 w 10000"/>
                <a:gd name="connsiteY106" fmla="*/ 2054 h 10000"/>
                <a:gd name="connsiteX107" fmla="*/ 2321 w 10000"/>
                <a:gd name="connsiteY107" fmla="*/ 1786 h 10000"/>
                <a:gd name="connsiteX108" fmla="*/ 2303 w 10000"/>
                <a:gd name="connsiteY108" fmla="*/ 1703 h 10000"/>
                <a:gd name="connsiteX109" fmla="*/ 2654 w 10000"/>
                <a:gd name="connsiteY109" fmla="*/ 1951 h 10000"/>
                <a:gd name="connsiteX110" fmla="*/ 2965 w 10000"/>
                <a:gd name="connsiteY110" fmla="*/ 2126 h 10000"/>
                <a:gd name="connsiteX111" fmla="*/ 3113 w 10000"/>
                <a:gd name="connsiteY111" fmla="*/ 2250 h 10000"/>
                <a:gd name="connsiteX112" fmla="*/ 3161 w 10000"/>
                <a:gd name="connsiteY112" fmla="*/ 2074 h 10000"/>
                <a:gd name="connsiteX113" fmla="*/ 3093 w 10000"/>
                <a:gd name="connsiteY113" fmla="*/ 2033 h 10000"/>
                <a:gd name="connsiteX114" fmla="*/ 3002 w 10000"/>
                <a:gd name="connsiteY114" fmla="*/ 1930 h 10000"/>
                <a:gd name="connsiteX115" fmla="*/ 2943 w 10000"/>
                <a:gd name="connsiteY115" fmla="*/ 1734 h 10000"/>
                <a:gd name="connsiteX116" fmla="*/ 2855 w 10000"/>
                <a:gd name="connsiteY116" fmla="*/ 1486 h 10000"/>
                <a:gd name="connsiteX117" fmla="*/ 2886 w 10000"/>
                <a:gd name="connsiteY117" fmla="*/ 1434 h 10000"/>
                <a:gd name="connsiteX118" fmla="*/ 2914 w 10000"/>
                <a:gd name="connsiteY118" fmla="*/ 1455 h 10000"/>
                <a:gd name="connsiteX119" fmla="*/ 2991 w 10000"/>
                <a:gd name="connsiteY119" fmla="*/ 1115 h 10000"/>
                <a:gd name="connsiteX120" fmla="*/ 3192 w 10000"/>
                <a:gd name="connsiteY120" fmla="*/ 1135 h 10000"/>
                <a:gd name="connsiteX121" fmla="*/ 3248 w 10000"/>
                <a:gd name="connsiteY121" fmla="*/ 1311 h 10000"/>
                <a:gd name="connsiteX122" fmla="*/ 3288 w 10000"/>
                <a:gd name="connsiteY122" fmla="*/ 1538 h 10000"/>
                <a:gd name="connsiteX123" fmla="*/ 3363 w 10000"/>
                <a:gd name="connsiteY123" fmla="*/ 1734 h 10000"/>
                <a:gd name="connsiteX124" fmla="*/ 3486 w 10000"/>
                <a:gd name="connsiteY124" fmla="*/ 2157 h 10000"/>
                <a:gd name="connsiteX125" fmla="*/ 3240 w 10000"/>
                <a:gd name="connsiteY125" fmla="*/ 2673 h 10000"/>
                <a:gd name="connsiteX126" fmla="*/ 3340 w 10000"/>
                <a:gd name="connsiteY126" fmla="*/ 2746 h 10000"/>
                <a:gd name="connsiteX127" fmla="*/ 3468 w 10000"/>
                <a:gd name="connsiteY127" fmla="*/ 2818 h 10000"/>
                <a:gd name="connsiteX128" fmla="*/ 3634 w 10000"/>
                <a:gd name="connsiteY128" fmla="*/ 2622 h 10000"/>
                <a:gd name="connsiteX129" fmla="*/ 3642 w 10000"/>
                <a:gd name="connsiteY129" fmla="*/ 2404 h 10000"/>
                <a:gd name="connsiteX130" fmla="*/ 3586 w 10000"/>
                <a:gd name="connsiteY130" fmla="*/ 2301 h 10000"/>
                <a:gd name="connsiteX131" fmla="*/ 3812 w 10000"/>
                <a:gd name="connsiteY131" fmla="*/ 2250 h 10000"/>
                <a:gd name="connsiteX132" fmla="*/ 3905 w 10000"/>
                <a:gd name="connsiteY132" fmla="*/ 2497 h 10000"/>
                <a:gd name="connsiteX133" fmla="*/ 3905 w 10000"/>
                <a:gd name="connsiteY133" fmla="*/ 2425 h 10000"/>
                <a:gd name="connsiteX134" fmla="*/ 3882 w 10000"/>
                <a:gd name="connsiteY134" fmla="*/ 2353 h 10000"/>
                <a:gd name="connsiteX135" fmla="*/ 3875 w 10000"/>
                <a:gd name="connsiteY135" fmla="*/ 2178 h 10000"/>
                <a:gd name="connsiteX136" fmla="*/ 3656 w 10000"/>
                <a:gd name="connsiteY136" fmla="*/ 1930 h 10000"/>
                <a:gd name="connsiteX137" fmla="*/ 3486 w 10000"/>
                <a:gd name="connsiteY137" fmla="*/ 2002 h 10000"/>
                <a:gd name="connsiteX138" fmla="*/ 3415 w 10000"/>
                <a:gd name="connsiteY138" fmla="*/ 1683 h 10000"/>
                <a:gd name="connsiteX139" fmla="*/ 3350 w 10000"/>
                <a:gd name="connsiteY139" fmla="*/ 1507 h 10000"/>
                <a:gd name="connsiteX140" fmla="*/ 3415 w 10000"/>
                <a:gd name="connsiteY140" fmla="*/ 1331 h 10000"/>
                <a:gd name="connsiteX141" fmla="*/ 3408 w 10000"/>
                <a:gd name="connsiteY141" fmla="*/ 1166 h 10000"/>
                <a:gd name="connsiteX142" fmla="*/ 3380 w 10000"/>
                <a:gd name="connsiteY142" fmla="*/ 1115 h 10000"/>
                <a:gd name="connsiteX143" fmla="*/ 3430 w 10000"/>
                <a:gd name="connsiteY143" fmla="*/ 1115 h 10000"/>
                <a:gd name="connsiteX144" fmla="*/ 3486 w 10000"/>
                <a:gd name="connsiteY144" fmla="*/ 1455 h 10000"/>
                <a:gd name="connsiteX145" fmla="*/ 3777 w 10000"/>
                <a:gd name="connsiteY145" fmla="*/ 1662 h 10000"/>
                <a:gd name="connsiteX146" fmla="*/ 3558 w 10000"/>
                <a:gd name="connsiteY146" fmla="*/ 1383 h 10000"/>
                <a:gd name="connsiteX147" fmla="*/ 3983 w 10000"/>
                <a:gd name="connsiteY147" fmla="*/ 1383 h 10000"/>
                <a:gd name="connsiteX148" fmla="*/ 4051 w 10000"/>
                <a:gd name="connsiteY148" fmla="*/ 1362 h 10000"/>
                <a:gd name="connsiteX149" fmla="*/ 3784 w 10000"/>
                <a:gd name="connsiteY149" fmla="*/ 1115 h 10000"/>
                <a:gd name="connsiteX150" fmla="*/ 3853 w 10000"/>
                <a:gd name="connsiteY150" fmla="*/ 888 h 10000"/>
                <a:gd name="connsiteX151" fmla="*/ 4151 w 10000"/>
                <a:gd name="connsiteY151" fmla="*/ 888 h 10000"/>
                <a:gd name="connsiteX152" fmla="*/ 4121 w 10000"/>
                <a:gd name="connsiteY152" fmla="*/ 713 h 10000"/>
                <a:gd name="connsiteX153" fmla="*/ 4220 w 10000"/>
                <a:gd name="connsiteY153" fmla="*/ 589 h 10000"/>
                <a:gd name="connsiteX154" fmla="*/ 4278 w 10000"/>
                <a:gd name="connsiteY154" fmla="*/ 548 h 10000"/>
                <a:gd name="connsiteX155" fmla="*/ 4498 w 10000"/>
                <a:gd name="connsiteY155" fmla="*/ 423 h 10000"/>
                <a:gd name="connsiteX156" fmla="*/ 4553 w 10000"/>
                <a:gd name="connsiteY156" fmla="*/ 371 h 10000"/>
                <a:gd name="connsiteX157" fmla="*/ 4544 w 10000"/>
                <a:gd name="connsiteY157" fmla="*/ 444 h 10000"/>
                <a:gd name="connsiteX158" fmla="*/ 4780 w 10000"/>
                <a:gd name="connsiteY158" fmla="*/ 371 h 10000"/>
                <a:gd name="connsiteX159" fmla="*/ 4971 w 10000"/>
                <a:gd name="connsiteY159" fmla="*/ 248 h 10000"/>
                <a:gd name="connsiteX160" fmla="*/ 5000 w 10000"/>
                <a:gd name="connsiteY160" fmla="*/ 0 h 10000"/>
                <a:gd name="connsiteX161" fmla="*/ 5209 w 10000"/>
                <a:gd name="connsiteY161" fmla="*/ 21 h 10000"/>
                <a:gd name="connsiteX162" fmla="*/ 5195 w 10000"/>
                <a:gd name="connsiteY162" fmla="*/ 93 h 10000"/>
                <a:gd name="connsiteX163" fmla="*/ 5209 w 10000"/>
                <a:gd name="connsiteY163" fmla="*/ 176 h 10000"/>
                <a:gd name="connsiteX164" fmla="*/ 5333 w 10000"/>
                <a:gd name="connsiteY164" fmla="*/ 248 h 10000"/>
                <a:gd name="connsiteX165" fmla="*/ 9394 w 10000"/>
                <a:gd name="connsiteY165" fmla="*/ 1611 h 10000"/>
                <a:gd name="connsiteX166" fmla="*/ 9621 w 10000"/>
                <a:gd name="connsiteY166" fmla="*/ 1507 h 10000"/>
                <a:gd name="connsiteX167" fmla="*/ 9903 w 10000"/>
                <a:gd name="connsiteY167" fmla="*/ 1538 h 10000"/>
                <a:gd name="connsiteX168" fmla="*/ 10000 w 10000"/>
                <a:gd name="connsiteY16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321 w 10000"/>
                <a:gd name="connsiteY106" fmla="*/ 1786 h 10000"/>
                <a:gd name="connsiteX107" fmla="*/ 2303 w 10000"/>
                <a:gd name="connsiteY107" fmla="*/ 1703 h 10000"/>
                <a:gd name="connsiteX108" fmla="*/ 2654 w 10000"/>
                <a:gd name="connsiteY108" fmla="*/ 1951 h 10000"/>
                <a:gd name="connsiteX109" fmla="*/ 2965 w 10000"/>
                <a:gd name="connsiteY109" fmla="*/ 2126 h 10000"/>
                <a:gd name="connsiteX110" fmla="*/ 3113 w 10000"/>
                <a:gd name="connsiteY110" fmla="*/ 2250 h 10000"/>
                <a:gd name="connsiteX111" fmla="*/ 3161 w 10000"/>
                <a:gd name="connsiteY111" fmla="*/ 2074 h 10000"/>
                <a:gd name="connsiteX112" fmla="*/ 3093 w 10000"/>
                <a:gd name="connsiteY112" fmla="*/ 2033 h 10000"/>
                <a:gd name="connsiteX113" fmla="*/ 3002 w 10000"/>
                <a:gd name="connsiteY113" fmla="*/ 1930 h 10000"/>
                <a:gd name="connsiteX114" fmla="*/ 2943 w 10000"/>
                <a:gd name="connsiteY114" fmla="*/ 1734 h 10000"/>
                <a:gd name="connsiteX115" fmla="*/ 2855 w 10000"/>
                <a:gd name="connsiteY115" fmla="*/ 1486 h 10000"/>
                <a:gd name="connsiteX116" fmla="*/ 2886 w 10000"/>
                <a:gd name="connsiteY116" fmla="*/ 1434 h 10000"/>
                <a:gd name="connsiteX117" fmla="*/ 2914 w 10000"/>
                <a:gd name="connsiteY117" fmla="*/ 1455 h 10000"/>
                <a:gd name="connsiteX118" fmla="*/ 2991 w 10000"/>
                <a:gd name="connsiteY118" fmla="*/ 1115 h 10000"/>
                <a:gd name="connsiteX119" fmla="*/ 3192 w 10000"/>
                <a:gd name="connsiteY119" fmla="*/ 1135 h 10000"/>
                <a:gd name="connsiteX120" fmla="*/ 3248 w 10000"/>
                <a:gd name="connsiteY120" fmla="*/ 1311 h 10000"/>
                <a:gd name="connsiteX121" fmla="*/ 3288 w 10000"/>
                <a:gd name="connsiteY121" fmla="*/ 1538 h 10000"/>
                <a:gd name="connsiteX122" fmla="*/ 3363 w 10000"/>
                <a:gd name="connsiteY122" fmla="*/ 1734 h 10000"/>
                <a:gd name="connsiteX123" fmla="*/ 3486 w 10000"/>
                <a:gd name="connsiteY123" fmla="*/ 2157 h 10000"/>
                <a:gd name="connsiteX124" fmla="*/ 3240 w 10000"/>
                <a:gd name="connsiteY124" fmla="*/ 2673 h 10000"/>
                <a:gd name="connsiteX125" fmla="*/ 3340 w 10000"/>
                <a:gd name="connsiteY125" fmla="*/ 2746 h 10000"/>
                <a:gd name="connsiteX126" fmla="*/ 3468 w 10000"/>
                <a:gd name="connsiteY126" fmla="*/ 2818 h 10000"/>
                <a:gd name="connsiteX127" fmla="*/ 3634 w 10000"/>
                <a:gd name="connsiteY127" fmla="*/ 2622 h 10000"/>
                <a:gd name="connsiteX128" fmla="*/ 3642 w 10000"/>
                <a:gd name="connsiteY128" fmla="*/ 2404 h 10000"/>
                <a:gd name="connsiteX129" fmla="*/ 3586 w 10000"/>
                <a:gd name="connsiteY129" fmla="*/ 2301 h 10000"/>
                <a:gd name="connsiteX130" fmla="*/ 3812 w 10000"/>
                <a:gd name="connsiteY130" fmla="*/ 2250 h 10000"/>
                <a:gd name="connsiteX131" fmla="*/ 3905 w 10000"/>
                <a:gd name="connsiteY131" fmla="*/ 2497 h 10000"/>
                <a:gd name="connsiteX132" fmla="*/ 3905 w 10000"/>
                <a:gd name="connsiteY132" fmla="*/ 2425 h 10000"/>
                <a:gd name="connsiteX133" fmla="*/ 3882 w 10000"/>
                <a:gd name="connsiteY133" fmla="*/ 2353 h 10000"/>
                <a:gd name="connsiteX134" fmla="*/ 3875 w 10000"/>
                <a:gd name="connsiteY134" fmla="*/ 2178 h 10000"/>
                <a:gd name="connsiteX135" fmla="*/ 3656 w 10000"/>
                <a:gd name="connsiteY135" fmla="*/ 1930 h 10000"/>
                <a:gd name="connsiteX136" fmla="*/ 3486 w 10000"/>
                <a:gd name="connsiteY136" fmla="*/ 2002 h 10000"/>
                <a:gd name="connsiteX137" fmla="*/ 3415 w 10000"/>
                <a:gd name="connsiteY137" fmla="*/ 1683 h 10000"/>
                <a:gd name="connsiteX138" fmla="*/ 3350 w 10000"/>
                <a:gd name="connsiteY138" fmla="*/ 1507 h 10000"/>
                <a:gd name="connsiteX139" fmla="*/ 3415 w 10000"/>
                <a:gd name="connsiteY139" fmla="*/ 1331 h 10000"/>
                <a:gd name="connsiteX140" fmla="*/ 3408 w 10000"/>
                <a:gd name="connsiteY140" fmla="*/ 1166 h 10000"/>
                <a:gd name="connsiteX141" fmla="*/ 3380 w 10000"/>
                <a:gd name="connsiteY141" fmla="*/ 1115 h 10000"/>
                <a:gd name="connsiteX142" fmla="*/ 3430 w 10000"/>
                <a:gd name="connsiteY142" fmla="*/ 1115 h 10000"/>
                <a:gd name="connsiteX143" fmla="*/ 3486 w 10000"/>
                <a:gd name="connsiteY143" fmla="*/ 1455 h 10000"/>
                <a:gd name="connsiteX144" fmla="*/ 3777 w 10000"/>
                <a:gd name="connsiteY144" fmla="*/ 1662 h 10000"/>
                <a:gd name="connsiteX145" fmla="*/ 3558 w 10000"/>
                <a:gd name="connsiteY145" fmla="*/ 1383 h 10000"/>
                <a:gd name="connsiteX146" fmla="*/ 3983 w 10000"/>
                <a:gd name="connsiteY146" fmla="*/ 1383 h 10000"/>
                <a:gd name="connsiteX147" fmla="*/ 4051 w 10000"/>
                <a:gd name="connsiteY147" fmla="*/ 1362 h 10000"/>
                <a:gd name="connsiteX148" fmla="*/ 3784 w 10000"/>
                <a:gd name="connsiteY148" fmla="*/ 1115 h 10000"/>
                <a:gd name="connsiteX149" fmla="*/ 3853 w 10000"/>
                <a:gd name="connsiteY149" fmla="*/ 888 h 10000"/>
                <a:gd name="connsiteX150" fmla="*/ 4151 w 10000"/>
                <a:gd name="connsiteY150" fmla="*/ 888 h 10000"/>
                <a:gd name="connsiteX151" fmla="*/ 4121 w 10000"/>
                <a:gd name="connsiteY151" fmla="*/ 713 h 10000"/>
                <a:gd name="connsiteX152" fmla="*/ 4220 w 10000"/>
                <a:gd name="connsiteY152" fmla="*/ 589 h 10000"/>
                <a:gd name="connsiteX153" fmla="*/ 4278 w 10000"/>
                <a:gd name="connsiteY153" fmla="*/ 548 h 10000"/>
                <a:gd name="connsiteX154" fmla="*/ 4498 w 10000"/>
                <a:gd name="connsiteY154" fmla="*/ 423 h 10000"/>
                <a:gd name="connsiteX155" fmla="*/ 4553 w 10000"/>
                <a:gd name="connsiteY155" fmla="*/ 371 h 10000"/>
                <a:gd name="connsiteX156" fmla="*/ 4544 w 10000"/>
                <a:gd name="connsiteY156" fmla="*/ 444 h 10000"/>
                <a:gd name="connsiteX157" fmla="*/ 4780 w 10000"/>
                <a:gd name="connsiteY157" fmla="*/ 371 h 10000"/>
                <a:gd name="connsiteX158" fmla="*/ 4971 w 10000"/>
                <a:gd name="connsiteY158" fmla="*/ 248 h 10000"/>
                <a:gd name="connsiteX159" fmla="*/ 5000 w 10000"/>
                <a:gd name="connsiteY159" fmla="*/ 0 h 10000"/>
                <a:gd name="connsiteX160" fmla="*/ 5209 w 10000"/>
                <a:gd name="connsiteY160" fmla="*/ 21 h 10000"/>
                <a:gd name="connsiteX161" fmla="*/ 5195 w 10000"/>
                <a:gd name="connsiteY161" fmla="*/ 93 h 10000"/>
                <a:gd name="connsiteX162" fmla="*/ 5209 w 10000"/>
                <a:gd name="connsiteY162" fmla="*/ 176 h 10000"/>
                <a:gd name="connsiteX163" fmla="*/ 5333 w 10000"/>
                <a:gd name="connsiteY163" fmla="*/ 248 h 10000"/>
                <a:gd name="connsiteX164" fmla="*/ 9394 w 10000"/>
                <a:gd name="connsiteY164" fmla="*/ 1611 h 10000"/>
                <a:gd name="connsiteX165" fmla="*/ 9621 w 10000"/>
                <a:gd name="connsiteY165" fmla="*/ 1507 h 10000"/>
                <a:gd name="connsiteX166" fmla="*/ 9903 w 10000"/>
                <a:gd name="connsiteY166" fmla="*/ 1538 h 10000"/>
                <a:gd name="connsiteX167" fmla="*/ 10000 w 10000"/>
                <a:gd name="connsiteY16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321 w 10000"/>
                <a:gd name="connsiteY106" fmla="*/ 1786 h 10000"/>
                <a:gd name="connsiteX107" fmla="*/ 2654 w 10000"/>
                <a:gd name="connsiteY107" fmla="*/ 1951 h 10000"/>
                <a:gd name="connsiteX108" fmla="*/ 2965 w 10000"/>
                <a:gd name="connsiteY108" fmla="*/ 2126 h 10000"/>
                <a:gd name="connsiteX109" fmla="*/ 3113 w 10000"/>
                <a:gd name="connsiteY109" fmla="*/ 2250 h 10000"/>
                <a:gd name="connsiteX110" fmla="*/ 3161 w 10000"/>
                <a:gd name="connsiteY110" fmla="*/ 2074 h 10000"/>
                <a:gd name="connsiteX111" fmla="*/ 3093 w 10000"/>
                <a:gd name="connsiteY111" fmla="*/ 2033 h 10000"/>
                <a:gd name="connsiteX112" fmla="*/ 3002 w 10000"/>
                <a:gd name="connsiteY112" fmla="*/ 1930 h 10000"/>
                <a:gd name="connsiteX113" fmla="*/ 2943 w 10000"/>
                <a:gd name="connsiteY113" fmla="*/ 1734 h 10000"/>
                <a:gd name="connsiteX114" fmla="*/ 2855 w 10000"/>
                <a:gd name="connsiteY114" fmla="*/ 1486 h 10000"/>
                <a:gd name="connsiteX115" fmla="*/ 2886 w 10000"/>
                <a:gd name="connsiteY115" fmla="*/ 1434 h 10000"/>
                <a:gd name="connsiteX116" fmla="*/ 2914 w 10000"/>
                <a:gd name="connsiteY116" fmla="*/ 1455 h 10000"/>
                <a:gd name="connsiteX117" fmla="*/ 2991 w 10000"/>
                <a:gd name="connsiteY117" fmla="*/ 1115 h 10000"/>
                <a:gd name="connsiteX118" fmla="*/ 3192 w 10000"/>
                <a:gd name="connsiteY118" fmla="*/ 1135 h 10000"/>
                <a:gd name="connsiteX119" fmla="*/ 3248 w 10000"/>
                <a:gd name="connsiteY119" fmla="*/ 1311 h 10000"/>
                <a:gd name="connsiteX120" fmla="*/ 3288 w 10000"/>
                <a:gd name="connsiteY120" fmla="*/ 1538 h 10000"/>
                <a:gd name="connsiteX121" fmla="*/ 3363 w 10000"/>
                <a:gd name="connsiteY121" fmla="*/ 1734 h 10000"/>
                <a:gd name="connsiteX122" fmla="*/ 3486 w 10000"/>
                <a:gd name="connsiteY122" fmla="*/ 2157 h 10000"/>
                <a:gd name="connsiteX123" fmla="*/ 3240 w 10000"/>
                <a:gd name="connsiteY123" fmla="*/ 2673 h 10000"/>
                <a:gd name="connsiteX124" fmla="*/ 3340 w 10000"/>
                <a:gd name="connsiteY124" fmla="*/ 2746 h 10000"/>
                <a:gd name="connsiteX125" fmla="*/ 3468 w 10000"/>
                <a:gd name="connsiteY125" fmla="*/ 2818 h 10000"/>
                <a:gd name="connsiteX126" fmla="*/ 3634 w 10000"/>
                <a:gd name="connsiteY126" fmla="*/ 2622 h 10000"/>
                <a:gd name="connsiteX127" fmla="*/ 3642 w 10000"/>
                <a:gd name="connsiteY127" fmla="*/ 2404 h 10000"/>
                <a:gd name="connsiteX128" fmla="*/ 3586 w 10000"/>
                <a:gd name="connsiteY128" fmla="*/ 2301 h 10000"/>
                <a:gd name="connsiteX129" fmla="*/ 3812 w 10000"/>
                <a:gd name="connsiteY129" fmla="*/ 2250 h 10000"/>
                <a:gd name="connsiteX130" fmla="*/ 3905 w 10000"/>
                <a:gd name="connsiteY130" fmla="*/ 2497 h 10000"/>
                <a:gd name="connsiteX131" fmla="*/ 3905 w 10000"/>
                <a:gd name="connsiteY131" fmla="*/ 2425 h 10000"/>
                <a:gd name="connsiteX132" fmla="*/ 3882 w 10000"/>
                <a:gd name="connsiteY132" fmla="*/ 2353 h 10000"/>
                <a:gd name="connsiteX133" fmla="*/ 3875 w 10000"/>
                <a:gd name="connsiteY133" fmla="*/ 2178 h 10000"/>
                <a:gd name="connsiteX134" fmla="*/ 3656 w 10000"/>
                <a:gd name="connsiteY134" fmla="*/ 1930 h 10000"/>
                <a:gd name="connsiteX135" fmla="*/ 3486 w 10000"/>
                <a:gd name="connsiteY135" fmla="*/ 2002 h 10000"/>
                <a:gd name="connsiteX136" fmla="*/ 3415 w 10000"/>
                <a:gd name="connsiteY136" fmla="*/ 1683 h 10000"/>
                <a:gd name="connsiteX137" fmla="*/ 3350 w 10000"/>
                <a:gd name="connsiteY137" fmla="*/ 1507 h 10000"/>
                <a:gd name="connsiteX138" fmla="*/ 3415 w 10000"/>
                <a:gd name="connsiteY138" fmla="*/ 1331 h 10000"/>
                <a:gd name="connsiteX139" fmla="*/ 3408 w 10000"/>
                <a:gd name="connsiteY139" fmla="*/ 1166 h 10000"/>
                <a:gd name="connsiteX140" fmla="*/ 3380 w 10000"/>
                <a:gd name="connsiteY140" fmla="*/ 1115 h 10000"/>
                <a:gd name="connsiteX141" fmla="*/ 3430 w 10000"/>
                <a:gd name="connsiteY141" fmla="*/ 1115 h 10000"/>
                <a:gd name="connsiteX142" fmla="*/ 3486 w 10000"/>
                <a:gd name="connsiteY142" fmla="*/ 1455 h 10000"/>
                <a:gd name="connsiteX143" fmla="*/ 3777 w 10000"/>
                <a:gd name="connsiteY143" fmla="*/ 1662 h 10000"/>
                <a:gd name="connsiteX144" fmla="*/ 3558 w 10000"/>
                <a:gd name="connsiteY144" fmla="*/ 1383 h 10000"/>
                <a:gd name="connsiteX145" fmla="*/ 3983 w 10000"/>
                <a:gd name="connsiteY145" fmla="*/ 1383 h 10000"/>
                <a:gd name="connsiteX146" fmla="*/ 4051 w 10000"/>
                <a:gd name="connsiteY146" fmla="*/ 1362 h 10000"/>
                <a:gd name="connsiteX147" fmla="*/ 3784 w 10000"/>
                <a:gd name="connsiteY147" fmla="*/ 1115 h 10000"/>
                <a:gd name="connsiteX148" fmla="*/ 3853 w 10000"/>
                <a:gd name="connsiteY148" fmla="*/ 888 h 10000"/>
                <a:gd name="connsiteX149" fmla="*/ 4151 w 10000"/>
                <a:gd name="connsiteY149" fmla="*/ 888 h 10000"/>
                <a:gd name="connsiteX150" fmla="*/ 4121 w 10000"/>
                <a:gd name="connsiteY150" fmla="*/ 713 h 10000"/>
                <a:gd name="connsiteX151" fmla="*/ 4220 w 10000"/>
                <a:gd name="connsiteY151" fmla="*/ 589 h 10000"/>
                <a:gd name="connsiteX152" fmla="*/ 4278 w 10000"/>
                <a:gd name="connsiteY152" fmla="*/ 548 h 10000"/>
                <a:gd name="connsiteX153" fmla="*/ 4498 w 10000"/>
                <a:gd name="connsiteY153" fmla="*/ 423 h 10000"/>
                <a:gd name="connsiteX154" fmla="*/ 4553 w 10000"/>
                <a:gd name="connsiteY154" fmla="*/ 371 h 10000"/>
                <a:gd name="connsiteX155" fmla="*/ 4544 w 10000"/>
                <a:gd name="connsiteY155" fmla="*/ 444 h 10000"/>
                <a:gd name="connsiteX156" fmla="*/ 4780 w 10000"/>
                <a:gd name="connsiteY156" fmla="*/ 371 h 10000"/>
                <a:gd name="connsiteX157" fmla="*/ 4971 w 10000"/>
                <a:gd name="connsiteY157" fmla="*/ 248 h 10000"/>
                <a:gd name="connsiteX158" fmla="*/ 5000 w 10000"/>
                <a:gd name="connsiteY158" fmla="*/ 0 h 10000"/>
                <a:gd name="connsiteX159" fmla="*/ 5209 w 10000"/>
                <a:gd name="connsiteY159" fmla="*/ 21 h 10000"/>
                <a:gd name="connsiteX160" fmla="*/ 5195 w 10000"/>
                <a:gd name="connsiteY160" fmla="*/ 93 h 10000"/>
                <a:gd name="connsiteX161" fmla="*/ 5209 w 10000"/>
                <a:gd name="connsiteY161" fmla="*/ 176 h 10000"/>
                <a:gd name="connsiteX162" fmla="*/ 5333 w 10000"/>
                <a:gd name="connsiteY162" fmla="*/ 248 h 10000"/>
                <a:gd name="connsiteX163" fmla="*/ 9394 w 10000"/>
                <a:gd name="connsiteY163" fmla="*/ 1611 h 10000"/>
                <a:gd name="connsiteX164" fmla="*/ 9621 w 10000"/>
                <a:gd name="connsiteY164" fmla="*/ 1507 h 10000"/>
                <a:gd name="connsiteX165" fmla="*/ 9903 w 10000"/>
                <a:gd name="connsiteY165" fmla="*/ 1538 h 10000"/>
                <a:gd name="connsiteX166" fmla="*/ 10000 w 10000"/>
                <a:gd name="connsiteY16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654 w 10000"/>
                <a:gd name="connsiteY106" fmla="*/ 1951 h 10000"/>
                <a:gd name="connsiteX107" fmla="*/ 2965 w 10000"/>
                <a:gd name="connsiteY107" fmla="*/ 2126 h 10000"/>
                <a:gd name="connsiteX108" fmla="*/ 3113 w 10000"/>
                <a:gd name="connsiteY108" fmla="*/ 2250 h 10000"/>
                <a:gd name="connsiteX109" fmla="*/ 3161 w 10000"/>
                <a:gd name="connsiteY109" fmla="*/ 2074 h 10000"/>
                <a:gd name="connsiteX110" fmla="*/ 3093 w 10000"/>
                <a:gd name="connsiteY110" fmla="*/ 2033 h 10000"/>
                <a:gd name="connsiteX111" fmla="*/ 3002 w 10000"/>
                <a:gd name="connsiteY111" fmla="*/ 1930 h 10000"/>
                <a:gd name="connsiteX112" fmla="*/ 2943 w 10000"/>
                <a:gd name="connsiteY112" fmla="*/ 1734 h 10000"/>
                <a:gd name="connsiteX113" fmla="*/ 2855 w 10000"/>
                <a:gd name="connsiteY113" fmla="*/ 1486 h 10000"/>
                <a:gd name="connsiteX114" fmla="*/ 2886 w 10000"/>
                <a:gd name="connsiteY114" fmla="*/ 1434 h 10000"/>
                <a:gd name="connsiteX115" fmla="*/ 2914 w 10000"/>
                <a:gd name="connsiteY115" fmla="*/ 1455 h 10000"/>
                <a:gd name="connsiteX116" fmla="*/ 2991 w 10000"/>
                <a:gd name="connsiteY116" fmla="*/ 1115 h 10000"/>
                <a:gd name="connsiteX117" fmla="*/ 3192 w 10000"/>
                <a:gd name="connsiteY117" fmla="*/ 1135 h 10000"/>
                <a:gd name="connsiteX118" fmla="*/ 3248 w 10000"/>
                <a:gd name="connsiteY118" fmla="*/ 1311 h 10000"/>
                <a:gd name="connsiteX119" fmla="*/ 3288 w 10000"/>
                <a:gd name="connsiteY119" fmla="*/ 1538 h 10000"/>
                <a:gd name="connsiteX120" fmla="*/ 3363 w 10000"/>
                <a:gd name="connsiteY120" fmla="*/ 1734 h 10000"/>
                <a:gd name="connsiteX121" fmla="*/ 3486 w 10000"/>
                <a:gd name="connsiteY121" fmla="*/ 2157 h 10000"/>
                <a:gd name="connsiteX122" fmla="*/ 3240 w 10000"/>
                <a:gd name="connsiteY122" fmla="*/ 2673 h 10000"/>
                <a:gd name="connsiteX123" fmla="*/ 3340 w 10000"/>
                <a:gd name="connsiteY123" fmla="*/ 2746 h 10000"/>
                <a:gd name="connsiteX124" fmla="*/ 3468 w 10000"/>
                <a:gd name="connsiteY124" fmla="*/ 2818 h 10000"/>
                <a:gd name="connsiteX125" fmla="*/ 3634 w 10000"/>
                <a:gd name="connsiteY125" fmla="*/ 2622 h 10000"/>
                <a:gd name="connsiteX126" fmla="*/ 3642 w 10000"/>
                <a:gd name="connsiteY126" fmla="*/ 2404 h 10000"/>
                <a:gd name="connsiteX127" fmla="*/ 3586 w 10000"/>
                <a:gd name="connsiteY127" fmla="*/ 2301 h 10000"/>
                <a:gd name="connsiteX128" fmla="*/ 3812 w 10000"/>
                <a:gd name="connsiteY128" fmla="*/ 2250 h 10000"/>
                <a:gd name="connsiteX129" fmla="*/ 3905 w 10000"/>
                <a:gd name="connsiteY129" fmla="*/ 2497 h 10000"/>
                <a:gd name="connsiteX130" fmla="*/ 3905 w 10000"/>
                <a:gd name="connsiteY130" fmla="*/ 2425 h 10000"/>
                <a:gd name="connsiteX131" fmla="*/ 3882 w 10000"/>
                <a:gd name="connsiteY131" fmla="*/ 2353 h 10000"/>
                <a:gd name="connsiteX132" fmla="*/ 3875 w 10000"/>
                <a:gd name="connsiteY132" fmla="*/ 2178 h 10000"/>
                <a:gd name="connsiteX133" fmla="*/ 3656 w 10000"/>
                <a:gd name="connsiteY133" fmla="*/ 1930 h 10000"/>
                <a:gd name="connsiteX134" fmla="*/ 3486 w 10000"/>
                <a:gd name="connsiteY134" fmla="*/ 2002 h 10000"/>
                <a:gd name="connsiteX135" fmla="*/ 3415 w 10000"/>
                <a:gd name="connsiteY135" fmla="*/ 1683 h 10000"/>
                <a:gd name="connsiteX136" fmla="*/ 3350 w 10000"/>
                <a:gd name="connsiteY136" fmla="*/ 1507 h 10000"/>
                <a:gd name="connsiteX137" fmla="*/ 3415 w 10000"/>
                <a:gd name="connsiteY137" fmla="*/ 1331 h 10000"/>
                <a:gd name="connsiteX138" fmla="*/ 3408 w 10000"/>
                <a:gd name="connsiteY138" fmla="*/ 1166 h 10000"/>
                <a:gd name="connsiteX139" fmla="*/ 3380 w 10000"/>
                <a:gd name="connsiteY139" fmla="*/ 1115 h 10000"/>
                <a:gd name="connsiteX140" fmla="*/ 3430 w 10000"/>
                <a:gd name="connsiteY140" fmla="*/ 1115 h 10000"/>
                <a:gd name="connsiteX141" fmla="*/ 3486 w 10000"/>
                <a:gd name="connsiteY141" fmla="*/ 1455 h 10000"/>
                <a:gd name="connsiteX142" fmla="*/ 3777 w 10000"/>
                <a:gd name="connsiteY142" fmla="*/ 1662 h 10000"/>
                <a:gd name="connsiteX143" fmla="*/ 3558 w 10000"/>
                <a:gd name="connsiteY143" fmla="*/ 1383 h 10000"/>
                <a:gd name="connsiteX144" fmla="*/ 3983 w 10000"/>
                <a:gd name="connsiteY144" fmla="*/ 1383 h 10000"/>
                <a:gd name="connsiteX145" fmla="*/ 4051 w 10000"/>
                <a:gd name="connsiteY145" fmla="*/ 1362 h 10000"/>
                <a:gd name="connsiteX146" fmla="*/ 3784 w 10000"/>
                <a:gd name="connsiteY146" fmla="*/ 1115 h 10000"/>
                <a:gd name="connsiteX147" fmla="*/ 3853 w 10000"/>
                <a:gd name="connsiteY147" fmla="*/ 888 h 10000"/>
                <a:gd name="connsiteX148" fmla="*/ 4151 w 10000"/>
                <a:gd name="connsiteY148" fmla="*/ 888 h 10000"/>
                <a:gd name="connsiteX149" fmla="*/ 4121 w 10000"/>
                <a:gd name="connsiteY149" fmla="*/ 713 h 10000"/>
                <a:gd name="connsiteX150" fmla="*/ 4220 w 10000"/>
                <a:gd name="connsiteY150" fmla="*/ 589 h 10000"/>
                <a:gd name="connsiteX151" fmla="*/ 4278 w 10000"/>
                <a:gd name="connsiteY151" fmla="*/ 548 h 10000"/>
                <a:gd name="connsiteX152" fmla="*/ 4498 w 10000"/>
                <a:gd name="connsiteY152" fmla="*/ 423 h 10000"/>
                <a:gd name="connsiteX153" fmla="*/ 4553 w 10000"/>
                <a:gd name="connsiteY153" fmla="*/ 371 h 10000"/>
                <a:gd name="connsiteX154" fmla="*/ 4544 w 10000"/>
                <a:gd name="connsiteY154" fmla="*/ 444 h 10000"/>
                <a:gd name="connsiteX155" fmla="*/ 4780 w 10000"/>
                <a:gd name="connsiteY155" fmla="*/ 371 h 10000"/>
                <a:gd name="connsiteX156" fmla="*/ 4971 w 10000"/>
                <a:gd name="connsiteY156" fmla="*/ 248 h 10000"/>
                <a:gd name="connsiteX157" fmla="*/ 5000 w 10000"/>
                <a:gd name="connsiteY157" fmla="*/ 0 h 10000"/>
                <a:gd name="connsiteX158" fmla="*/ 5209 w 10000"/>
                <a:gd name="connsiteY158" fmla="*/ 21 h 10000"/>
                <a:gd name="connsiteX159" fmla="*/ 5195 w 10000"/>
                <a:gd name="connsiteY159" fmla="*/ 93 h 10000"/>
                <a:gd name="connsiteX160" fmla="*/ 5209 w 10000"/>
                <a:gd name="connsiteY160" fmla="*/ 176 h 10000"/>
                <a:gd name="connsiteX161" fmla="*/ 5333 w 10000"/>
                <a:gd name="connsiteY161" fmla="*/ 248 h 10000"/>
                <a:gd name="connsiteX162" fmla="*/ 9394 w 10000"/>
                <a:gd name="connsiteY162" fmla="*/ 1611 h 10000"/>
                <a:gd name="connsiteX163" fmla="*/ 9621 w 10000"/>
                <a:gd name="connsiteY163" fmla="*/ 1507 h 10000"/>
                <a:gd name="connsiteX164" fmla="*/ 9903 w 10000"/>
                <a:gd name="connsiteY164" fmla="*/ 1538 h 10000"/>
                <a:gd name="connsiteX165" fmla="*/ 10000 w 10000"/>
                <a:gd name="connsiteY16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965 w 10000"/>
                <a:gd name="connsiteY106" fmla="*/ 2126 h 10000"/>
                <a:gd name="connsiteX107" fmla="*/ 3113 w 10000"/>
                <a:gd name="connsiteY107" fmla="*/ 2250 h 10000"/>
                <a:gd name="connsiteX108" fmla="*/ 3161 w 10000"/>
                <a:gd name="connsiteY108" fmla="*/ 2074 h 10000"/>
                <a:gd name="connsiteX109" fmla="*/ 3093 w 10000"/>
                <a:gd name="connsiteY109" fmla="*/ 2033 h 10000"/>
                <a:gd name="connsiteX110" fmla="*/ 3002 w 10000"/>
                <a:gd name="connsiteY110" fmla="*/ 1930 h 10000"/>
                <a:gd name="connsiteX111" fmla="*/ 2943 w 10000"/>
                <a:gd name="connsiteY111" fmla="*/ 1734 h 10000"/>
                <a:gd name="connsiteX112" fmla="*/ 2855 w 10000"/>
                <a:gd name="connsiteY112" fmla="*/ 1486 h 10000"/>
                <a:gd name="connsiteX113" fmla="*/ 2886 w 10000"/>
                <a:gd name="connsiteY113" fmla="*/ 1434 h 10000"/>
                <a:gd name="connsiteX114" fmla="*/ 2914 w 10000"/>
                <a:gd name="connsiteY114" fmla="*/ 1455 h 10000"/>
                <a:gd name="connsiteX115" fmla="*/ 2991 w 10000"/>
                <a:gd name="connsiteY115" fmla="*/ 1115 h 10000"/>
                <a:gd name="connsiteX116" fmla="*/ 3192 w 10000"/>
                <a:gd name="connsiteY116" fmla="*/ 1135 h 10000"/>
                <a:gd name="connsiteX117" fmla="*/ 3248 w 10000"/>
                <a:gd name="connsiteY117" fmla="*/ 1311 h 10000"/>
                <a:gd name="connsiteX118" fmla="*/ 3288 w 10000"/>
                <a:gd name="connsiteY118" fmla="*/ 1538 h 10000"/>
                <a:gd name="connsiteX119" fmla="*/ 3363 w 10000"/>
                <a:gd name="connsiteY119" fmla="*/ 1734 h 10000"/>
                <a:gd name="connsiteX120" fmla="*/ 3486 w 10000"/>
                <a:gd name="connsiteY120" fmla="*/ 2157 h 10000"/>
                <a:gd name="connsiteX121" fmla="*/ 3240 w 10000"/>
                <a:gd name="connsiteY121" fmla="*/ 2673 h 10000"/>
                <a:gd name="connsiteX122" fmla="*/ 3340 w 10000"/>
                <a:gd name="connsiteY122" fmla="*/ 2746 h 10000"/>
                <a:gd name="connsiteX123" fmla="*/ 3468 w 10000"/>
                <a:gd name="connsiteY123" fmla="*/ 2818 h 10000"/>
                <a:gd name="connsiteX124" fmla="*/ 3634 w 10000"/>
                <a:gd name="connsiteY124" fmla="*/ 2622 h 10000"/>
                <a:gd name="connsiteX125" fmla="*/ 3642 w 10000"/>
                <a:gd name="connsiteY125" fmla="*/ 2404 h 10000"/>
                <a:gd name="connsiteX126" fmla="*/ 3586 w 10000"/>
                <a:gd name="connsiteY126" fmla="*/ 2301 h 10000"/>
                <a:gd name="connsiteX127" fmla="*/ 3812 w 10000"/>
                <a:gd name="connsiteY127" fmla="*/ 2250 h 10000"/>
                <a:gd name="connsiteX128" fmla="*/ 3905 w 10000"/>
                <a:gd name="connsiteY128" fmla="*/ 2497 h 10000"/>
                <a:gd name="connsiteX129" fmla="*/ 3905 w 10000"/>
                <a:gd name="connsiteY129" fmla="*/ 2425 h 10000"/>
                <a:gd name="connsiteX130" fmla="*/ 3882 w 10000"/>
                <a:gd name="connsiteY130" fmla="*/ 2353 h 10000"/>
                <a:gd name="connsiteX131" fmla="*/ 3875 w 10000"/>
                <a:gd name="connsiteY131" fmla="*/ 2178 h 10000"/>
                <a:gd name="connsiteX132" fmla="*/ 3656 w 10000"/>
                <a:gd name="connsiteY132" fmla="*/ 1930 h 10000"/>
                <a:gd name="connsiteX133" fmla="*/ 3486 w 10000"/>
                <a:gd name="connsiteY133" fmla="*/ 2002 h 10000"/>
                <a:gd name="connsiteX134" fmla="*/ 3415 w 10000"/>
                <a:gd name="connsiteY134" fmla="*/ 1683 h 10000"/>
                <a:gd name="connsiteX135" fmla="*/ 3350 w 10000"/>
                <a:gd name="connsiteY135" fmla="*/ 1507 h 10000"/>
                <a:gd name="connsiteX136" fmla="*/ 3415 w 10000"/>
                <a:gd name="connsiteY136" fmla="*/ 1331 h 10000"/>
                <a:gd name="connsiteX137" fmla="*/ 3408 w 10000"/>
                <a:gd name="connsiteY137" fmla="*/ 1166 h 10000"/>
                <a:gd name="connsiteX138" fmla="*/ 3380 w 10000"/>
                <a:gd name="connsiteY138" fmla="*/ 1115 h 10000"/>
                <a:gd name="connsiteX139" fmla="*/ 3430 w 10000"/>
                <a:gd name="connsiteY139" fmla="*/ 1115 h 10000"/>
                <a:gd name="connsiteX140" fmla="*/ 3486 w 10000"/>
                <a:gd name="connsiteY140" fmla="*/ 1455 h 10000"/>
                <a:gd name="connsiteX141" fmla="*/ 3777 w 10000"/>
                <a:gd name="connsiteY141" fmla="*/ 1662 h 10000"/>
                <a:gd name="connsiteX142" fmla="*/ 3558 w 10000"/>
                <a:gd name="connsiteY142" fmla="*/ 1383 h 10000"/>
                <a:gd name="connsiteX143" fmla="*/ 3983 w 10000"/>
                <a:gd name="connsiteY143" fmla="*/ 1383 h 10000"/>
                <a:gd name="connsiteX144" fmla="*/ 4051 w 10000"/>
                <a:gd name="connsiteY144" fmla="*/ 1362 h 10000"/>
                <a:gd name="connsiteX145" fmla="*/ 3784 w 10000"/>
                <a:gd name="connsiteY145" fmla="*/ 1115 h 10000"/>
                <a:gd name="connsiteX146" fmla="*/ 3853 w 10000"/>
                <a:gd name="connsiteY146" fmla="*/ 888 h 10000"/>
                <a:gd name="connsiteX147" fmla="*/ 4151 w 10000"/>
                <a:gd name="connsiteY147" fmla="*/ 888 h 10000"/>
                <a:gd name="connsiteX148" fmla="*/ 4121 w 10000"/>
                <a:gd name="connsiteY148" fmla="*/ 713 h 10000"/>
                <a:gd name="connsiteX149" fmla="*/ 4220 w 10000"/>
                <a:gd name="connsiteY149" fmla="*/ 589 h 10000"/>
                <a:gd name="connsiteX150" fmla="*/ 4278 w 10000"/>
                <a:gd name="connsiteY150" fmla="*/ 548 h 10000"/>
                <a:gd name="connsiteX151" fmla="*/ 4498 w 10000"/>
                <a:gd name="connsiteY151" fmla="*/ 423 h 10000"/>
                <a:gd name="connsiteX152" fmla="*/ 4553 w 10000"/>
                <a:gd name="connsiteY152" fmla="*/ 371 h 10000"/>
                <a:gd name="connsiteX153" fmla="*/ 4544 w 10000"/>
                <a:gd name="connsiteY153" fmla="*/ 444 h 10000"/>
                <a:gd name="connsiteX154" fmla="*/ 4780 w 10000"/>
                <a:gd name="connsiteY154" fmla="*/ 371 h 10000"/>
                <a:gd name="connsiteX155" fmla="*/ 4971 w 10000"/>
                <a:gd name="connsiteY155" fmla="*/ 248 h 10000"/>
                <a:gd name="connsiteX156" fmla="*/ 5000 w 10000"/>
                <a:gd name="connsiteY156" fmla="*/ 0 h 10000"/>
                <a:gd name="connsiteX157" fmla="*/ 5209 w 10000"/>
                <a:gd name="connsiteY157" fmla="*/ 21 h 10000"/>
                <a:gd name="connsiteX158" fmla="*/ 5195 w 10000"/>
                <a:gd name="connsiteY158" fmla="*/ 93 h 10000"/>
                <a:gd name="connsiteX159" fmla="*/ 5209 w 10000"/>
                <a:gd name="connsiteY159" fmla="*/ 176 h 10000"/>
                <a:gd name="connsiteX160" fmla="*/ 5333 w 10000"/>
                <a:gd name="connsiteY160" fmla="*/ 248 h 10000"/>
                <a:gd name="connsiteX161" fmla="*/ 9394 w 10000"/>
                <a:gd name="connsiteY161" fmla="*/ 1611 h 10000"/>
                <a:gd name="connsiteX162" fmla="*/ 9621 w 10000"/>
                <a:gd name="connsiteY162" fmla="*/ 1507 h 10000"/>
                <a:gd name="connsiteX163" fmla="*/ 9903 w 10000"/>
                <a:gd name="connsiteY163" fmla="*/ 1538 h 10000"/>
                <a:gd name="connsiteX164" fmla="*/ 10000 w 10000"/>
                <a:gd name="connsiteY16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965 w 10000"/>
                <a:gd name="connsiteY106" fmla="*/ 2126 h 10000"/>
                <a:gd name="connsiteX107" fmla="*/ 3113 w 10000"/>
                <a:gd name="connsiteY107" fmla="*/ 2250 h 10000"/>
                <a:gd name="connsiteX108" fmla="*/ 3161 w 10000"/>
                <a:gd name="connsiteY108" fmla="*/ 2074 h 10000"/>
                <a:gd name="connsiteX109" fmla="*/ 3093 w 10000"/>
                <a:gd name="connsiteY109" fmla="*/ 2033 h 10000"/>
                <a:gd name="connsiteX110" fmla="*/ 2943 w 10000"/>
                <a:gd name="connsiteY110" fmla="*/ 1734 h 10000"/>
                <a:gd name="connsiteX111" fmla="*/ 2855 w 10000"/>
                <a:gd name="connsiteY111" fmla="*/ 1486 h 10000"/>
                <a:gd name="connsiteX112" fmla="*/ 2886 w 10000"/>
                <a:gd name="connsiteY112" fmla="*/ 1434 h 10000"/>
                <a:gd name="connsiteX113" fmla="*/ 2914 w 10000"/>
                <a:gd name="connsiteY113" fmla="*/ 1455 h 10000"/>
                <a:gd name="connsiteX114" fmla="*/ 2991 w 10000"/>
                <a:gd name="connsiteY114" fmla="*/ 1115 h 10000"/>
                <a:gd name="connsiteX115" fmla="*/ 3192 w 10000"/>
                <a:gd name="connsiteY115" fmla="*/ 1135 h 10000"/>
                <a:gd name="connsiteX116" fmla="*/ 3248 w 10000"/>
                <a:gd name="connsiteY116" fmla="*/ 1311 h 10000"/>
                <a:gd name="connsiteX117" fmla="*/ 3288 w 10000"/>
                <a:gd name="connsiteY117" fmla="*/ 1538 h 10000"/>
                <a:gd name="connsiteX118" fmla="*/ 3363 w 10000"/>
                <a:gd name="connsiteY118" fmla="*/ 1734 h 10000"/>
                <a:gd name="connsiteX119" fmla="*/ 3486 w 10000"/>
                <a:gd name="connsiteY119" fmla="*/ 2157 h 10000"/>
                <a:gd name="connsiteX120" fmla="*/ 3240 w 10000"/>
                <a:gd name="connsiteY120" fmla="*/ 2673 h 10000"/>
                <a:gd name="connsiteX121" fmla="*/ 3340 w 10000"/>
                <a:gd name="connsiteY121" fmla="*/ 2746 h 10000"/>
                <a:gd name="connsiteX122" fmla="*/ 3468 w 10000"/>
                <a:gd name="connsiteY122" fmla="*/ 2818 h 10000"/>
                <a:gd name="connsiteX123" fmla="*/ 3634 w 10000"/>
                <a:gd name="connsiteY123" fmla="*/ 2622 h 10000"/>
                <a:gd name="connsiteX124" fmla="*/ 3642 w 10000"/>
                <a:gd name="connsiteY124" fmla="*/ 2404 h 10000"/>
                <a:gd name="connsiteX125" fmla="*/ 3586 w 10000"/>
                <a:gd name="connsiteY125" fmla="*/ 2301 h 10000"/>
                <a:gd name="connsiteX126" fmla="*/ 3812 w 10000"/>
                <a:gd name="connsiteY126" fmla="*/ 2250 h 10000"/>
                <a:gd name="connsiteX127" fmla="*/ 3905 w 10000"/>
                <a:gd name="connsiteY127" fmla="*/ 2497 h 10000"/>
                <a:gd name="connsiteX128" fmla="*/ 3905 w 10000"/>
                <a:gd name="connsiteY128" fmla="*/ 2425 h 10000"/>
                <a:gd name="connsiteX129" fmla="*/ 3882 w 10000"/>
                <a:gd name="connsiteY129" fmla="*/ 2353 h 10000"/>
                <a:gd name="connsiteX130" fmla="*/ 3875 w 10000"/>
                <a:gd name="connsiteY130" fmla="*/ 2178 h 10000"/>
                <a:gd name="connsiteX131" fmla="*/ 3656 w 10000"/>
                <a:gd name="connsiteY131" fmla="*/ 1930 h 10000"/>
                <a:gd name="connsiteX132" fmla="*/ 3486 w 10000"/>
                <a:gd name="connsiteY132" fmla="*/ 2002 h 10000"/>
                <a:gd name="connsiteX133" fmla="*/ 3415 w 10000"/>
                <a:gd name="connsiteY133" fmla="*/ 1683 h 10000"/>
                <a:gd name="connsiteX134" fmla="*/ 3350 w 10000"/>
                <a:gd name="connsiteY134" fmla="*/ 1507 h 10000"/>
                <a:gd name="connsiteX135" fmla="*/ 3415 w 10000"/>
                <a:gd name="connsiteY135" fmla="*/ 1331 h 10000"/>
                <a:gd name="connsiteX136" fmla="*/ 3408 w 10000"/>
                <a:gd name="connsiteY136" fmla="*/ 1166 h 10000"/>
                <a:gd name="connsiteX137" fmla="*/ 3380 w 10000"/>
                <a:gd name="connsiteY137" fmla="*/ 1115 h 10000"/>
                <a:gd name="connsiteX138" fmla="*/ 3430 w 10000"/>
                <a:gd name="connsiteY138" fmla="*/ 1115 h 10000"/>
                <a:gd name="connsiteX139" fmla="*/ 3486 w 10000"/>
                <a:gd name="connsiteY139" fmla="*/ 1455 h 10000"/>
                <a:gd name="connsiteX140" fmla="*/ 3777 w 10000"/>
                <a:gd name="connsiteY140" fmla="*/ 1662 h 10000"/>
                <a:gd name="connsiteX141" fmla="*/ 3558 w 10000"/>
                <a:gd name="connsiteY141" fmla="*/ 1383 h 10000"/>
                <a:gd name="connsiteX142" fmla="*/ 3983 w 10000"/>
                <a:gd name="connsiteY142" fmla="*/ 1383 h 10000"/>
                <a:gd name="connsiteX143" fmla="*/ 4051 w 10000"/>
                <a:gd name="connsiteY143" fmla="*/ 1362 h 10000"/>
                <a:gd name="connsiteX144" fmla="*/ 3784 w 10000"/>
                <a:gd name="connsiteY144" fmla="*/ 1115 h 10000"/>
                <a:gd name="connsiteX145" fmla="*/ 3853 w 10000"/>
                <a:gd name="connsiteY145" fmla="*/ 888 h 10000"/>
                <a:gd name="connsiteX146" fmla="*/ 4151 w 10000"/>
                <a:gd name="connsiteY146" fmla="*/ 888 h 10000"/>
                <a:gd name="connsiteX147" fmla="*/ 4121 w 10000"/>
                <a:gd name="connsiteY147" fmla="*/ 713 h 10000"/>
                <a:gd name="connsiteX148" fmla="*/ 4220 w 10000"/>
                <a:gd name="connsiteY148" fmla="*/ 589 h 10000"/>
                <a:gd name="connsiteX149" fmla="*/ 4278 w 10000"/>
                <a:gd name="connsiteY149" fmla="*/ 548 h 10000"/>
                <a:gd name="connsiteX150" fmla="*/ 4498 w 10000"/>
                <a:gd name="connsiteY150" fmla="*/ 423 h 10000"/>
                <a:gd name="connsiteX151" fmla="*/ 4553 w 10000"/>
                <a:gd name="connsiteY151" fmla="*/ 371 h 10000"/>
                <a:gd name="connsiteX152" fmla="*/ 4544 w 10000"/>
                <a:gd name="connsiteY152" fmla="*/ 444 h 10000"/>
                <a:gd name="connsiteX153" fmla="*/ 4780 w 10000"/>
                <a:gd name="connsiteY153" fmla="*/ 371 h 10000"/>
                <a:gd name="connsiteX154" fmla="*/ 4971 w 10000"/>
                <a:gd name="connsiteY154" fmla="*/ 248 h 10000"/>
                <a:gd name="connsiteX155" fmla="*/ 5000 w 10000"/>
                <a:gd name="connsiteY155" fmla="*/ 0 h 10000"/>
                <a:gd name="connsiteX156" fmla="*/ 5209 w 10000"/>
                <a:gd name="connsiteY156" fmla="*/ 21 h 10000"/>
                <a:gd name="connsiteX157" fmla="*/ 5195 w 10000"/>
                <a:gd name="connsiteY157" fmla="*/ 93 h 10000"/>
                <a:gd name="connsiteX158" fmla="*/ 5209 w 10000"/>
                <a:gd name="connsiteY158" fmla="*/ 176 h 10000"/>
                <a:gd name="connsiteX159" fmla="*/ 5333 w 10000"/>
                <a:gd name="connsiteY159" fmla="*/ 248 h 10000"/>
                <a:gd name="connsiteX160" fmla="*/ 9394 w 10000"/>
                <a:gd name="connsiteY160" fmla="*/ 1611 h 10000"/>
                <a:gd name="connsiteX161" fmla="*/ 9621 w 10000"/>
                <a:gd name="connsiteY161" fmla="*/ 1507 h 10000"/>
                <a:gd name="connsiteX162" fmla="*/ 9903 w 10000"/>
                <a:gd name="connsiteY162" fmla="*/ 1538 h 10000"/>
                <a:gd name="connsiteX163" fmla="*/ 10000 w 10000"/>
                <a:gd name="connsiteY16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965 w 10000"/>
                <a:gd name="connsiteY106" fmla="*/ 2126 h 10000"/>
                <a:gd name="connsiteX107" fmla="*/ 3113 w 10000"/>
                <a:gd name="connsiteY107" fmla="*/ 2250 h 10000"/>
                <a:gd name="connsiteX108" fmla="*/ 3161 w 10000"/>
                <a:gd name="connsiteY108" fmla="*/ 2074 h 10000"/>
                <a:gd name="connsiteX109" fmla="*/ 2943 w 10000"/>
                <a:gd name="connsiteY109" fmla="*/ 1734 h 10000"/>
                <a:gd name="connsiteX110" fmla="*/ 2855 w 10000"/>
                <a:gd name="connsiteY110" fmla="*/ 1486 h 10000"/>
                <a:gd name="connsiteX111" fmla="*/ 2886 w 10000"/>
                <a:gd name="connsiteY111" fmla="*/ 1434 h 10000"/>
                <a:gd name="connsiteX112" fmla="*/ 2914 w 10000"/>
                <a:gd name="connsiteY112" fmla="*/ 1455 h 10000"/>
                <a:gd name="connsiteX113" fmla="*/ 2991 w 10000"/>
                <a:gd name="connsiteY113" fmla="*/ 1115 h 10000"/>
                <a:gd name="connsiteX114" fmla="*/ 3192 w 10000"/>
                <a:gd name="connsiteY114" fmla="*/ 1135 h 10000"/>
                <a:gd name="connsiteX115" fmla="*/ 3248 w 10000"/>
                <a:gd name="connsiteY115" fmla="*/ 1311 h 10000"/>
                <a:gd name="connsiteX116" fmla="*/ 3288 w 10000"/>
                <a:gd name="connsiteY116" fmla="*/ 1538 h 10000"/>
                <a:gd name="connsiteX117" fmla="*/ 3363 w 10000"/>
                <a:gd name="connsiteY117" fmla="*/ 1734 h 10000"/>
                <a:gd name="connsiteX118" fmla="*/ 3486 w 10000"/>
                <a:gd name="connsiteY118" fmla="*/ 2157 h 10000"/>
                <a:gd name="connsiteX119" fmla="*/ 3240 w 10000"/>
                <a:gd name="connsiteY119" fmla="*/ 2673 h 10000"/>
                <a:gd name="connsiteX120" fmla="*/ 3340 w 10000"/>
                <a:gd name="connsiteY120" fmla="*/ 2746 h 10000"/>
                <a:gd name="connsiteX121" fmla="*/ 3468 w 10000"/>
                <a:gd name="connsiteY121" fmla="*/ 2818 h 10000"/>
                <a:gd name="connsiteX122" fmla="*/ 3634 w 10000"/>
                <a:gd name="connsiteY122" fmla="*/ 2622 h 10000"/>
                <a:gd name="connsiteX123" fmla="*/ 3642 w 10000"/>
                <a:gd name="connsiteY123" fmla="*/ 2404 h 10000"/>
                <a:gd name="connsiteX124" fmla="*/ 3586 w 10000"/>
                <a:gd name="connsiteY124" fmla="*/ 2301 h 10000"/>
                <a:gd name="connsiteX125" fmla="*/ 3812 w 10000"/>
                <a:gd name="connsiteY125" fmla="*/ 2250 h 10000"/>
                <a:gd name="connsiteX126" fmla="*/ 3905 w 10000"/>
                <a:gd name="connsiteY126" fmla="*/ 2497 h 10000"/>
                <a:gd name="connsiteX127" fmla="*/ 3905 w 10000"/>
                <a:gd name="connsiteY127" fmla="*/ 2425 h 10000"/>
                <a:gd name="connsiteX128" fmla="*/ 3882 w 10000"/>
                <a:gd name="connsiteY128" fmla="*/ 2353 h 10000"/>
                <a:gd name="connsiteX129" fmla="*/ 3875 w 10000"/>
                <a:gd name="connsiteY129" fmla="*/ 2178 h 10000"/>
                <a:gd name="connsiteX130" fmla="*/ 3656 w 10000"/>
                <a:gd name="connsiteY130" fmla="*/ 1930 h 10000"/>
                <a:gd name="connsiteX131" fmla="*/ 3486 w 10000"/>
                <a:gd name="connsiteY131" fmla="*/ 2002 h 10000"/>
                <a:gd name="connsiteX132" fmla="*/ 3415 w 10000"/>
                <a:gd name="connsiteY132" fmla="*/ 1683 h 10000"/>
                <a:gd name="connsiteX133" fmla="*/ 3350 w 10000"/>
                <a:gd name="connsiteY133" fmla="*/ 1507 h 10000"/>
                <a:gd name="connsiteX134" fmla="*/ 3415 w 10000"/>
                <a:gd name="connsiteY134" fmla="*/ 1331 h 10000"/>
                <a:gd name="connsiteX135" fmla="*/ 3408 w 10000"/>
                <a:gd name="connsiteY135" fmla="*/ 1166 h 10000"/>
                <a:gd name="connsiteX136" fmla="*/ 3380 w 10000"/>
                <a:gd name="connsiteY136" fmla="*/ 1115 h 10000"/>
                <a:gd name="connsiteX137" fmla="*/ 3430 w 10000"/>
                <a:gd name="connsiteY137" fmla="*/ 1115 h 10000"/>
                <a:gd name="connsiteX138" fmla="*/ 3486 w 10000"/>
                <a:gd name="connsiteY138" fmla="*/ 1455 h 10000"/>
                <a:gd name="connsiteX139" fmla="*/ 3777 w 10000"/>
                <a:gd name="connsiteY139" fmla="*/ 1662 h 10000"/>
                <a:gd name="connsiteX140" fmla="*/ 3558 w 10000"/>
                <a:gd name="connsiteY140" fmla="*/ 1383 h 10000"/>
                <a:gd name="connsiteX141" fmla="*/ 3983 w 10000"/>
                <a:gd name="connsiteY141" fmla="*/ 1383 h 10000"/>
                <a:gd name="connsiteX142" fmla="*/ 4051 w 10000"/>
                <a:gd name="connsiteY142" fmla="*/ 1362 h 10000"/>
                <a:gd name="connsiteX143" fmla="*/ 3784 w 10000"/>
                <a:gd name="connsiteY143" fmla="*/ 1115 h 10000"/>
                <a:gd name="connsiteX144" fmla="*/ 3853 w 10000"/>
                <a:gd name="connsiteY144" fmla="*/ 888 h 10000"/>
                <a:gd name="connsiteX145" fmla="*/ 4151 w 10000"/>
                <a:gd name="connsiteY145" fmla="*/ 888 h 10000"/>
                <a:gd name="connsiteX146" fmla="*/ 4121 w 10000"/>
                <a:gd name="connsiteY146" fmla="*/ 713 h 10000"/>
                <a:gd name="connsiteX147" fmla="*/ 4220 w 10000"/>
                <a:gd name="connsiteY147" fmla="*/ 589 h 10000"/>
                <a:gd name="connsiteX148" fmla="*/ 4278 w 10000"/>
                <a:gd name="connsiteY148" fmla="*/ 548 h 10000"/>
                <a:gd name="connsiteX149" fmla="*/ 4498 w 10000"/>
                <a:gd name="connsiteY149" fmla="*/ 423 h 10000"/>
                <a:gd name="connsiteX150" fmla="*/ 4553 w 10000"/>
                <a:gd name="connsiteY150" fmla="*/ 371 h 10000"/>
                <a:gd name="connsiteX151" fmla="*/ 4544 w 10000"/>
                <a:gd name="connsiteY151" fmla="*/ 444 h 10000"/>
                <a:gd name="connsiteX152" fmla="*/ 4780 w 10000"/>
                <a:gd name="connsiteY152" fmla="*/ 371 h 10000"/>
                <a:gd name="connsiteX153" fmla="*/ 4971 w 10000"/>
                <a:gd name="connsiteY153" fmla="*/ 248 h 10000"/>
                <a:gd name="connsiteX154" fmla="*/ 5000 w 10000"/>
                <a:gd name="connsiteY154" fmla="*/ 0 h 10000"/>
                <a:gd name="connsiteX155" fmla="*/ 5209 w 10000"/>
                <a:gd name="connsiteY155" fmla="*/ 21 h 10000"/>
                <a:gd name="connsiteX156" fmla="*/ 5195 w 10000"/>
                <a:gd name="connsiteY156" fmla="*/ 93 h 10000"/>
                <a:gd name="connsiteX157" fmla="*/ 5209 w 10000"/>
                <a:gd name="connsiteY157" fmla="*/ 176 h 10000"/>
                <a:gd name="connsiteX158" fmla="*/ 5333 w 10000"/>
                <a:gd name="connsiteY158" fmla="*/ 248 h 10000"/>
                <a:gd name="connsiteX159" fmla="*/ 9394 w 10000"/>
                <a:gd name="connsiteY159" fmla="*/ 1611 h 10000"/>
                <a:gd name="connsiteX160" fmla="*/ 9621 w 10000"/>
                <a:gd name="connsiteY160" fmla="*/ 1507 h 10000"/>
                <a:gd name="connsiteX161" fmla="*/ 9903 w 10000"/>
                <a:gd name="connsiteY161" fmla="*/ 1538 h 10000"/>
                <a:gd name="connsiteX162" fmla="*/ 10000 w 10000"/>
                <a:gd name="connsiteY16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965 w 10000"/>
                <a:gd name="connsiteY106" fmla="*/ 2126 h 10000"/>
                <a:gd name="connsiteX107" fmla="*/ 3113 w 10000"/>
                <a:gd name="connsiteY107" fmla="*/ 2250 h 10000"/>
                <a:gd name="connsiteX108" fmla="*/ 2943 w 10000"/>
                <a:gd name="connsiteY108" fmla="*/ 1734 h 10000"/>
                <a:gd name="connsiteX109" fmla="*/ 2855 w 10000"/>
                <a:gd name="connsiteY109" fmla="*/ 1486 h 10000"/>
                <a:gd name="connsiteX110" fmla="*/ 2886 w 10000"/>
                <a:gd name="connsiteY110" fmla="*/ 1434 h 10000"/>
                <a:gd name="connsiteX111" fmla="*/ 2914 w 10000"/>
                <a:gd name="connsiteY111" fmla="*/ 1455 h 10000"/>
                <a:gd name="connsiteX112" fmla="*/ 2991 w 10000"/>
                <a:gd name="connsiteY112" fmla="*/ 1115 h 10000"/>
                <a:gd name="connsiteX113" fmla="*/ 3192 w 10000"/>
                <a:gd name="connsiteY113" fmla="*/ 1135 h 10000"/>
                <a:gd name="connsiteX114" fmla="*/ 3248 w 10000"/>
                <a:gd name="connsiteY114" fmla="*/ 1311 h 10000"/>
                <a:gd name="connsiteX115" fmla="*/ 3288 w 10000"/>
                <a:gd name="connsiteY115" fmla="*/ 1538 h 10000"/>
                <a:gd name="connsiteX116" fmla="*/ 3363 w 10000"/>
                <a:gd name="connsiteY116" fmla="*/ 1734 h 10000"/>
                <a:gd name="connsiteX117" fmla="*/ 3486 w 10000"/>
                <a:gd name="connsiteY117" fmla="*/ 2157 h 10000"/>
                <a:gd name="connsiteX118" fmla="*/ 3240 w 10000"/>
                <a:gd name="connsiteY118" fmla="*/ 2673 h 10000"/>
                <a:gd name="connsiteX119" fmla="*/ 3340 w 10000"/>
                <a:gd name="connsiteY119" fmla="*/ 2746 h 10000"/>
                <a:gd name="connsiteX120" fmla="*/ 3468 w 10000"/>
                <a:gd name="connsiteY120" fmla="*/ 2818 h 10000"/>
                <a:gd name="connsiteX121" fmla="*/ 3634 w 10000"/>
                <a:gd name="connsiteY121" fmla="*/ 2622 h 10000"/>
                <a:gd name="connsiteX122" fmla="*/ 3642 w 10000"/>
                <a:gd name="connsiteY122" fmla="*/ 2404 h 10000"/>
                <a:gd name="connsiteX123" fmla="*/ 3586 w 10000"/>
                <a:gd name="connsiteY123" fmla="*/ 2301 h 10000"/>
                <a:gd name="connsiteX124" fmla="*/ 3812 w 10000"/>
                <a:gd name="connsiteY124" fmla="*/ 2250 h 10000"/>
                <a:gd name="connsiteX125" fmla="*/ 3905 w 10000"/>
                <a:gd name="connsiteY125" fmla="*/ 2497 h 10000"/>
                <a:gd name="connsiteX126" fmla="*/ 3905 w 10000"/>
                <a:gd name="connsiteY126" fmla="*/ 2425 h 10000"/>
                <a:gd name="connsiteX127" fmla="*/ 3882 w 10000"/>
                <a:gd name="connsiteY127" fmla="*/ 2353 h 10000"/>
                <a:gd name="connsiteX128" fmla="*/ 3875 w 10000"/>
                <a:gd name="connsiteY128" fmla="*/ 2178 h 10000"/>
                <a:gd name="connsiteX129" fmla="*/ 3656 w 10000"/>
                <a:gd name="connsiteY129" fmla="*/ 1930 h 10000"/>
                <a:gd name="connsiteX130" fmla="*/ 3486 w 10000"/>
                <a:gd name="connsiteY130" fmla="*/ 2002 h 10000"/>
                <a:gd name="connsiteX131" fmla="*/ 3415 w 10000"/>
                <a:gd name="connsiteY131" fmla="*/ 1683 h 10000"/>
                <a:gd name="connsiteX132" fmla="*/ 3350 w 10000"/>
                <a:gd name="connsiteY132" fmla="*/ 1507 h 10000"/>
                <a:gd name="connsiteX133" fmla="*/ 3415 w 10000"/>
                <a:gd name="connsiteY133" fmla="*/ 1331 h 10000"/>
                <a:gd name="connsiteX134" fmla="*/ 3408 w 10000"/>
                <a:gd name="connsiteY134" fmla="*/ 1166 h 10000"/>
                <a:gd name="connsiteX135" fmla="*/ 3380 w 10000"/>
                <a:gd name="connsiteY135" fmla="*/ 1115 h 10000"/>
                <a:gd name="connsiteX136" fmla="*/ 3430 w 10000"/>
                <a:gd name="connsiteY136" fmla="*/ 1115 h 10000"/>
                <a:gd name="connsiteX137" fmla="*/ 3486 w 10000"/>
                <a:gd name="connsiteY137" fmla="*/ 1455 h 10000"/>
                <a:gd name="connsiteX138" fmla="*/ 3777 w 10000"/>
                <a:gd name="connsiteY138" fmla="*/ 1662 h 10000"/>
                <a:gd name="connsiteX139" fmla="*/ 3558 w 10000"/>
                <a:gd name="connsiteY139" fmla="*/ 1383 h 10000"/>
                <a:gd name="connsiteX140" fmla="*/ 3983 w 10000"/>
                <a:gd name="connsiteY140" fmla="*/ 1383 h 10000"/>
                <a:gd name="connsiteX141" fmla="*/ 4051 w 10000"/>
                <a:gd name="connsiteY141" fmla="*/ 1362 h 10000"/>
                <a:gd name="connsiteX142" fmla="*/ 3784 w 10000"/>
                <a:gd name="connsiteY142" fmla="*/ 1115 h 10000"/>
                <a:gd name="connsiteX143" fmla="*/ 3853 w 10000"/>
                <a:gd name="connsiteY143" fmla="*/ 888 h 10000"/>
                <a:gd name="connsiteX144" fmla="*/ 4151 w 10000"/>
                <a:gd name="connsiteY144" fmla="*/ 888 h 10000"/>
                <a:gd name="connsiteX145" fmla="*/ 4121 w 10000"/>
                <a:gd name="connsiteY145" fmla="*/ 713 h 10000"/>
                <a:gd name="connsiteX146" fmla="*/ 4220 w 10000"/>
                <a:gd name="connsiteY146" fmla="*/ 589 h 10000"/>
                <a:gd name="connsiteX147" fmla="*/ 4278 w 10000"/>
                <a:gd name="connsiteY147" fmla="*/ 548 h 10000"/>
                <a:gd name="connsiteX148" fmla="*/ 4498 w 10000"/>
                <a:gd name="connsiteY148" fmla="*/ 423 h 10000"/>
                <a:gd name="connsiteX149" fmla="*/ 4553 w 10000"/>
                <a:gd name="connsiteY149" fmla="*/ 371 h 10000"/>
                <a:gd name="connsiteX150" fmla="*/ 4544 w 10000"/>
                <a:gd name="connsiteY150" fmla="*/ 444 h 10000"/>
                <a:gd name="connsiteX151" fmla="*/ 4780 w 10000"/>
                <a:gd name="connsiteY151" fmla="*/ 371 h 10000"/>
                <a:gd name="connsiteX152" fmla="*/ 4971 w 10000"/>
                <a:gd name="connsiteY152" fmla="*/ 248 h 10000"/>
                <a:gd name="connsiteX153" fmla="*/ 5000 w 10000"/>
                <a:gd name="connsiteY153" fmla="*/ 0 h 10000"/>
                <a:gd name="connsiteX154" fmla="*/ 5209 w 10000"/>
                <a:gd name="connsiteY154" fmla="*/ 21 h 10000"/>
                <a:gd name="connsiteX155" fmla="*/ 5195 w 10000"/>
                <a:gd name="connsiteY155" fmla="*/ 93 h 10000"/>
                <a:gd name="connsiteX156" fmla="*/ 5209 w 10000"/>
                <a:gd name="connsiteY156" fmla="*/ 176 h 10000"/>
                <a:gd name="connsiteX157" fmla="*/ 5333 w 10000"/>
                <a:gd name="connsiteY157" fmla="*/ 248 h 10000"/>
                <a:gd name="connsiteX158" fmla="*/ 9394 w 10000"/>
                <a:gd name="connsiteY158" fmla="*/ 1611 h 10000"/>
                <a:gd name="connsiteX159" fmla="*/ 9621 w 10000"/>
                <a:gd name="connsiteY159" fmla="*/ 1507 h 10000"/>
                <a:gd name="connsiteX160" fmla="*/ 9903 w 10000"/>
                <a:gd name="connsiteY160" fmla="*/ 1538 h 10000"/>
                <a:gd name="connsiteX161" fmla="*/ 10000 w 10000"/>
                <a:gd name="connsiteY16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113 w 10000"/>
                <a:gd name="connsiteY106" fmla="*/ 2250 h 10000"/>
                <a:gd name="connsiteX107" fmla="*/ 2943 w 10000"/>
                <a:gd name="connsiteY107" fmla="*/ 1734 h 10000"/>
                <a:gd name="connsiteX108" fmla="*/ 2855 w 10000"/>
                <a:gd name="connsiteY108" fmla="*/ 1486 h 10000"/>
                <a:gd name="connsiteX109" fmla="*/ 2886 w 10000"/>
                <a:gd name="connsiteY109" fmla="*/ 1434 h 10000"/>
                <a:gd name="connsiteX110" fmla="*/ 2914 w 10000"/>
                <a:gd name="connsiteY110" fmla="*/ 1455 h 10000"/>
                <a:gd name="connsiteX111" fmla="*/ 2991 w 10000"/>
                <a:gd name="connsiteY111" fmla="*/ 1115 h 10000"/>
                <a:gd name="connsiteX112" fmla="*/ 3192 w 10000"/>
                <a:gd name="connsiteY112" fmla="*/ 1135 h 10000"/>
                <a:gd name="connsiteX113" fmla="*/ 3248 w 10000"/>
                <a:gd name="connsiteY113" fmla="*/ 1311 h 10000"/>
                <a:gd name="connsiteX114" fmla="*/ 3288 w 10000"/>
                <a:gd name="connsiteY114" fmla="*/ 1538 h 10000"/>
                <a:gd name="connsiteX115" fmla="*/ 3363 w 10000"/>
                <a:gd name="connsiteY115" fmla="*/ 1734 h 10000"/>
                <a:gd name="connsiteX116" fmla="*/ 3486 w 10000"/>
                <a:gd name="connsiteY116" fmla="*/ 2157 h 10000"/>
                <a:gd name="connsiteX117" fmla="*/ 3240 w 10000"/>
                <a:gd name="connsiteY117" fmla="*/ 2673 h 10000"/>
                <a:gd name="connsiteX118" fmla="*/ 3340 w 10000"/>
                <a:gd name="connsiteY118" fmla="*/ 2746 h 10000"/>
                <a:gd name="connsiteX119" fmla="*/ 3468 w 10000"/>
                <a:gd name="connsiteY119" fmla="*/ 2818 h 10000"/>
                <a:gd name="connsiteX120" fmla="*/ 3634 w 10000"/>
                <a:gd name="connsiteY120" fmla="*/ 2622 h 10000"/>
                <a:gd name="connsiteX121" fmla="*/ 3642 w 10000"/>
                <a:gd name="connsiteY121" fmla="*/ 2404 h 10000"/>
                <a:gd name="connsiteX122" fmla="*/ 3586 w 10000"/>
                <a:gd name="connsiteY122" fmla="*/ 2301 h 10000"/>
                <a:gd name="connsiteX123" fmla="*/ 3812 w 10000"/>
                <a:gd name="connsiteY123" fmla="*/ 2250 h 10000"/>
                <a:gd name="connsiteX124" fmla="*/ 3905 w 10000"/>
                <a:gd name="connsiteY124" fmla="*/ 2497 h 10000"/>
                <a:gd name="connsiteX125" fmla="*/ 3905 w 10000"/>
                <a:gd name="connsiteY125" fmla="*/ 2425 h 10000"/>
                <a:gd name="connsiteX126" fmla="*/ 3882 w 10000"/>
                <a:gd name="connsiteY126" fmla="*/ 2353 h 10000"/>
                <a:gd name="connsiteX127" fmla="*/ 3875 w 10000"/>
                <a:gd name="connsiteY127" fmla="*/ 2178 h 10000"/>
                <a:gd name="connsiteX128" fmla="*/ 3656 w 10000"/>
                <a:gd name="connsiteY128" fmla="*/ 1930 h 10000"/>
                <a:gd name="connsiteX129" fmla="*/ 3486 w 10000"/>
                <a:gd name="connsiteY129" fmla="*/ 2002 h 10000"/>
                <a:gd name="connsiteX130" fmla="*/ 3415 w 10000"/>
                <a:gd name="connsiteY130" fmla="*/ 1683 h 10000"/>
                <a:gd name="connsiteX131" fmla="*/ 3350 w 10000"/>
                <a:gd name="connsiteY131" fmla="*/ 1507 h 10000"/>
                <a:gd name="connsiteX132" fmla="*/ 3415 w 10000"/>
                <a:gd name="connsiteY132" fmla="*/ 1331 h 10000"/>
                <a:gd name="connsiteX133" fmla="*/ 3408 w 10000"/>
                <a:gd name="connsiteY133" fmla="*/ 1166 h 10000"/>
                <a:gd name="connsiteX134" fmla="*/ 3380 w 10000"/>
                <a:gd name="connsiteY134" fmla="*/ 1115 h 10000"/>
                <a:gd name="connsiteX135" fmla="*/ 3430 w 10000"/>
                <a:gd name="connsiteY135" fmla="*/ 1115 h 10000"/>
                <a:gd name="connsiteX136" fmla="*/ 3486 w 10000"/>
                <a:gd name="connsiteY136" fmla="*/ 1455 h 10000"/>
                <a:gd name="connsiteX137" fmla="*/ 3777 w 10000"/>
                <a:gd name="connsiteY137" fmla="*/ 1662 h 10000"/>
                <a:gd name="connsiteX138" fmla="*/ 3558 w 10000"/>
                <a:gd name="connsiteY138" fmla="*/ 1383 h 10000"/>
                <a:gd name="connsiteX139" fmla="*/ 3983 w 10000"/>
                <a:gd name="connsiteY139" fmla="*/ 1383 h 10000"/>
                <a:gd name="connsiteX140" fmla="*/ 4051 w 10000"/>
                <a:gd name="connsiteY140" fmla="*/ 1362 h 10000"/>
                <a:gd name="connsiteX141" fmla="*/ 3784 w 10000"/>
                <a:gd name="connsiteY141" fmla="*/ 1115 h 10000"/>
                <a:gd name="connsiteX142" fmla="*/ 3853 w 10000"/>
                <a:gd name="connsiteY142" fmla="*/ 888 h 10000"/>
                <a:gd name="connsiteX143" fmla="*/ 4151 w 10000"/>
                <a:gd name="connsiteY143" fmla="*/ 888 h 10000"/>
                <a:gd name="connsiteX144" fmla="*/ 4121 w 10000"/>
                <a:gd name="connsiteY144" fmla="*/ 713 h 10000"/>
                <a:gd name="connsiteX145" fmla="*/ 4220 w 10000"/>
                <a:gd name="connsiteY145" fmla="*/ 589 h 10000"/>
                <a:gd name="connsiteX146" fmla="*/ 4278 w 10000"/>
                <a:gd name="connsiteY146" fmla="*/ 548 h 10000"/>
                <a:gd name="connsiteX147" fmla="*/ 4498 w 10000"/>
                <a:gd name="connsiteY147" fmla="*/ 423 h 10000"/>
                <a:gd name="connsiteX148" fmla="*/ 4553 w 10000"/>
                <a:gd name="connsiteY148" fmla="*/ 371 h 10000"/>
                <a:gd name="connsiteX149" fmla="*/ 4544 w 10000"/>
                <a:gd name="connsiteY149" fmla="*/ 444 h 10000"/>
                <a:gd name="connsiteX150" fmla="*/ 4780 w 10000"/>
                <a:gd name="connsiteY150" fmla="*/ 371 h 10000"/>
                <a:gd name="connsiteX151" fmla="*/ 4971 w 10000"/>
                <a:gd name="connsiteY151" fmla="*/ 248 h 10000"/>
                <a:gd name="connsiteX152" fmla="*/ 5000 w 10000"/>
                <a:gd name="connsiteY152" fmla="*/ 0 h 10000"/>
                <a:gd name="connsiteX153" fmla="*/ 5209 w 10000"/>
                <a:gd name="connsiteY153" fmla="*/ 21 h 10000"/>
                <a:gd name="connsiteX154" fmla="*/ 5195 w 10000"/>
                <a:gd name="connsiteY154" fmla="*/ 93 h 10000"/>
                <a:gd name="connsiteX155" fmla="*/ 5209 w 10000"/>
                <a:gd name="connsiteY155" fmla="*/ 176 h 10000"/>
                <a:gd name="connsiteX156" fmla="*/ 5333 w 10000"/>
                <a:gd name="connsiteY156" fmla="*/ 248 h 10000"/>
                <a:gd name="connsiteX157" fmla="*/ 9394 w 10000"/>
                <a:gd name="connsiteY157" fmla="*/ 1611 h 10000"/>
                <a:gd name="connsiteX158" fmla="*/ 9621 w 10000"/>
                <a:gd name="connsiteY158" fmla="*/ 1507 h 10000"/>
                <a:gd name="connsiteX159" fmla="*/ 9903 w 10000"/>
                <a:gd name="connsiteY159" fmla="*/ 1538 h 10000"/>
                <a:gd name="connsiteX160" fmla="*/ 10000 w 10000"/>
                <a:gd name="connsiteY16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943 w 10000"/>
                <a:gd name="connsiteY106" fmla="*/ 1734 h 10000"/>
                <a:gd name="connsiteX107" fmla="*/ 2855 w 10000"/>
                <a:gd name="connsiteY107" fmla="*/ 1486 h 10000"/>
                <a:gd name="connsiteX108" fmla="*/ 2886 w 10000"/>
                <a:gd name="connsiteY108" fmla="*/ 1434 h 10000"/>
                <a:gd name="connsiteX109" fmla="*/ 2914 w 10000"/>
                <a:gd name="connsiteY109" fmla="*/ 1455 h 10000"/>
                <a:gd name="connsiteX110" fmla="*/ 2991 w 10000"/>
                <a:gd name="connsiteY110" fmla="*/ 1115 h 10000"/>
                <a:gd name="connsiteX111" fmla="*/ 3192 w 10000"/>
                <a:gd name="connsiteY111" fmla="*/ 1135 h 10000"/>
                <a:gd name="connsiteX112" fmla="*/ 3248 w 10000"/>
                <a:gd name="connsiteY112" fmla="*/ 1311 h 10000"/>
                <a:gd name="connsiteX113" fmla="*/ 3288 w 10000"/>
                <a:gd name="connsiteY113" fmla="*/ 1538 h 10000"/>
                <a:gd name="connsiteX114" fmla="*/ 3363 w 10000"/>
                <a:gd name="connsiteY114" fmla="*/ 1734 h 10000"/>
                <a:gd name="connsiteX115" fmla="*/ 3486 w 10000"/>
                <a:gd name="connsiteY115" fmla="*/ 2157 h 10000"/>
                <a:gd name="connsiteX116" fmla="*/ 3240 w 10000"/>
                <a:gd name="connsiteY116" fmla="*/ 2673 h 10000"/>
                <a:gd name="connsiteX117" fmla="*/ 3340 w 10000"/>
                <a:gd name="connsiteY117" fmla="*/ 2746 h 10000"/>
                <a:gd name="connsiteX118" fmla="*/ 3468 w 10000"/>
                <a:gd name="connsiteY118" fmla="*/ 2818 h 10000"/>
                <a:gd name="connsiteX119" fmla="*/ 3634 w 10000"/>
                <a:gd name="connsiteY119" fmla="*/ 2622 h 10000"/>
                <a:gd name="connsiteX120" fmla="*/ 3642 w 10000"/>
                <a:gd name="connsiteY120" fmla="*/ 2404 h 10000"/>
                <a:gd name="connsiteX121" fmla="*/ 3586 w 10000"/>
                <a:gd name="connsiteY121" fmla="*/ 2301 h 10000"/>
                <a:gd name="connsiteX122" fmla="*/ 3812 w 10000"/>
                <a:gd name="connsiteY122" fmla="*/ 2250 h 10000"/>
                <a:gd name="connsiteX123" fmla="*/ 3905 w 10000"/>
                <a:gd name="connsiteY123" fmla="*/ 2497 h 10000"/>
                <a:gd name="connsiteX124" fmla="*/ 3905 w 10000"/>
                <a:gd name="connsiteY124" fmla="*/ 2425 h 10000"/>
                <a:gd name="connsiteX125" fmla="*/ 3882 w 10000"/>
                <a:gd name="connsiteY125" fmla="*/ 2353 h 10000"/>
                <a:gd name="connsiteX126" fmla="*/ 3875 w 10000"/>
                <a:gd name="connsiteY126" fmla="*/ 2178 h 10000"/>
                <a:gd name="connsiteX127" fmla="*/ 3656 w 10000"/>
                <a:gd name="connsiteY127" fmla="*/ 1930 h 10000"/>
                <a:gd name="connsiteX128" fmla="*/ 3486 w 10000"/>
                <a:gd name="connsiteY128" fmla="*/ 2002 h 10000"/>
                <a:gd name="connsiteX129" fmla="*/ 3415 w 10000"/>
                <a:gd name="connsiteY129" fmla="*/ 1683 h 10000"/>
                <a:gd name="connsiteX130" fmla="*/ 3350 w 10000"/>
                <a:gd name="connsiteY130" fmla="*/ 1507 h 10000"/>
                <a:gd name="connsiteX131" fmla="*/ 3415 w 10000"/>
                <a:gd name="connsiteY131" fmla="*/ 1331 h 10000"/>
                <a:gd name="connsiteX132" fmla="*/ 3408 w 10000"/>
                <a:gd name="connsiteY132" fmla="*/ 1166 h 10000"/>
                <a:gd name="connsiteX133" fmla="*/ 3380 w 10000"/>
                <a:gd name="connsiteY133" fmla="*/ 1115 h 10000"/>
                <a:gd name="connsiteX134" fmla="*/ 3430 w 10000"/>
                <a:gd name="connsiteY134" fmla="*/ 1115 h 10000"/>
                <a:gd name="connsiteX135" fmla="*/ 3486 w 10000"/>
                <a:gd name="connsiteY135" fmla="*/ 1455 h 10000"/>
                <a:gd name="connsiteX136" fmla="*/ 3777 w 10000"/>
                <a:gd name="connsiteY136" fmla="*/ 1662 h 10000"/>
                <a:gd name="connsiteX137" fmla="*/ 3558 w 10000"/>
                <a:gd name="connsiteY137" fmla="*/ 1383 h 10000"/>
                <a:gd name="connsiteX138" fmla="*/ 3983 w 10000"/>
                <a:gd name="connsiteY138" fmla="*/ 1383 h 10000"/>
                <a:gd name="connsiteX139" fmla="*/ 4051 w 10000"/>
                <a:gd name="connsiteY139" fmla="*/ 1362 h 10000"/>
                <a:gd name="connsiteX140" fmla="*/ 3784 w 10000"/>
                <a:gd name="connsiteY140" fmla="*/ 1115 h 10000"/>
                <a:gd name="connsiteX141" fmla="*/ 3853 w 10000"/>
                <a:gd name="connsiteY141" fmla="*/ 888 h 10000"/>
                <a:gd name="connsiteX142" fmla="*/ 4151 w 10000"/>
                <a:gd name="connsiteY142" fmla="*/ 888 h 10000"/>
                <a:gd name="connsiteX143" fmla="*/ 4121 w 10000"/>
                <a:gd name="connsiteY143" fmla="*/ 713 h 10000"/>
                <a:gd name="connsiteX144" fmla="*/ 4220 w 10000"/>
                <a:gd name="connsiteY144" fmla="*/ 589 h 10000"/>
                <a:gd name="connsiteX145" fmla="*/ 4278 w 10000"/>
                <a:gd name="connsiteY145" fmla="*/ 548 h 10000"/>
                <a:gd name="connsiteX146" fmla="*/ 4498 w 10000"/>
                <a:gd name="connsiteY146" fmla="*/ 423 h 10000"/>
                <a:gd name="connsiteX147" fmla="*/ 4553 w 10000"/>
                <a:gd name="connsiteY147" fmla="*/ 371 h 10000"/>
                <a:gd name="connsiteX148" fmla="*/ 4544 w 10000"/>
                <a:gd name="connsiteY148" fmla="*/ 444 h 10000"/>
                <a:gd name="connsiteX149" fmla="*/ 4780 w 10000"/>
                <a:gd name="connsiteY149" fmla="*/ 371 h 10000"/>
                <a:gd name="connsiteX150" fmla="*/ 4971 w 10000"/>
                <a:gd name="connsiteY150" fmla="*/ 248 h 10000"/>
                <a:gd name="connsiteX151" fmla="*/ 5000 w 10000"/>
                <a:gd name="connsiteY151" fmla="*/ 0 h 10000"/>
                <a:gd name="connsiteX152" fmla="*/ 5209 w 10000"/>
                <a:gd name="connsiteY152" fmla="*/ 21 h 10000"/>
                <a:gd name="connsiteX153" fmla="*/ 5195 w 10000"/>
                <a:gd name="connsiteY153" fmla="*/ 93 h 10000"/>
                <a:gd name="connsiteX154" fmla="*/ 5209 w 10000"/>
                <a:gd name="connsiteY154" fmla="*/ 176 h 10000"/>
                <a:gd name="connsiteX155" fmla="*/ 5333 w 10000"/>
                <a:gd name="connsiteY155" fmla="*/ 248 h 10000"/>
                <a:gd name="connsiteX156" fmla="*/ 9394 w 10000"/>
                <a:gd name="connsiteY156" fmla="*/ 1611 h 10000"/>
                <a:gd name="connsiteX157" fmla="*/ 9621 w 10000"/>
                <a:gd name="connsiteY157" fmla="*/ 1507 h 10000"/>
                <a:gd name="connsiteX158" fmla="*/ 9903 w 10000"/>
                <a:gd name="connsiteY158" fmla="*/ 1538 h 10000"/>
                <a:gd name="connsiteX159" fmla="*/ 10000 w 10000"/>
                <a:gd name="connsiteY15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855 w 10000"/>
                <a:gd name="connsiteY106" fmla="*/ 1486 h 10000"/>
                <a:gd name="connsiteX107" fmla="*/ 2886 w 10000"/>
                <a:gd name="connsiteY107" fmla="*/ 1434 h 10000"/>
                <a:gd name="connsiteX108" fmla="*/ 2914 w 10000"/>
                <a:gd name="connsiteY108" fmla="*/ 1455 h 10000"/>
                <a:gd name="connsiteX109" fmla="*/ 2991 w 10000"/>
                <a:gd name="connsiteY109" fmla="*/ 1115 h 10000"/>
                <a:gd name="connsiteX110" fmla="*/ 3192 w 10000"/>
                <a:gd name="connsiteY110" fmla="*/ 1135 h 10000"/>
                <a:gd name="connsiteX111" fmla="*/ 3248 w 10000"/>
                <a:gd name="connsiteY111" fmla="*/ 1311 h 10000"/>
                <a:gd name="connsiteX112" fmla="*/ 3288 w 10000"/>
                <a:gd name="connsiteY112" fmla="*/ 1538 h 10000"/>
                <a:gd name="connsiteX113" fmla="*/ 3363 w 10000"/>
                <a:gd name="connsiteY113" fmla="*/ 1734 h 10000"/>
                <a:gd name="connsiteX114" fmla="*/ 3486 w 10000"/>
                <a:gd name="connsiteY114" fmla="*/ 2157 h 10000"/>
                <a:gd name="connsiteX115" fmla="*/ 3240 w 10000"/>
                <a:gd name="connsiteY115" fmla="*/ 2673 h 10000"/>
                <a:gd name="connsiteX116" fmla="*/ 3340 w 10000"/>
                <a:gd name="connsiteY116" fmla="*/ 2746 h 10000"/>
                <a:gd name="connsiteX117" fmla="*/ 3468 w 10000"/>
                <a:gd name="connsiteY117" fmla="*/ 2818 h 10000"/>
                <a:gd name="connsiteX118" fmla="*/ 3634 w 10000"/>
                <a:gd name="connsiteY118" fmla="*/ 2622 h 10000"/>
                <a:gd name="connsiteX119" fmla="*/ 3642 w 10000"/>
                <a:gd name="connsiteY119" fmla="*/ 2404 h 10000"/>
                <a:gd name="connsiteX120" fmla="*/ 3586 w 10000"/>
                <a:gd name="connsiteY120" fmla="*/ 2301 h 10000"/>
                <a:gd name="connsiteX121" fmla="*/ 3812 w 10000"/>
                <a:gd name="connsiteY121" fmla="*/ 2250 h 10000"/>
                <a:gd name="connsiteX122" fmla="*/ 3905 w 10000"/>
                <a:gd name="connsiteY122" fmla="*/ 2497 h 10000"/>
                <a:gd name="connsiteX123" fmla="*/ 3905 w 10000"/>
                <a:gd name="connsiteY123" fmla="*/ 2425 h 10000"/>
                <a:gd name="connsiteX124" fmla="*/ 3882 w 10000"/>
                <a:gd name="connsiteY124" fmla="*/ 2353 h 10000"/>
                <a:gd name="connsiteX125" fmla="*/ 3875 w 10000"/>
                <a:gd name="connsiteY125" fmla="*/ 2178 h 10000"/>
                <a:gd name="connsiteX126" fmla="*/ 3656 w 10000"/>
                <a:gd name="connsiteY126" fmla="*/ 1930 h 10000"/>
                <a:gd name="connsiteX127" fmla="*/ 3486 w 10000"/>
                <a:gd name="connsiteY127" fmla="*/ 2002 h 10000"/>
                <a:gd name="connsiteX128" fmla="*/ 3415 w 10000"/>
                <a:gd name="connsiteY128" fmla="*/ 1683 h 10000"/>
                <a:gd name="connsiteX129" fmla="*/ 3350 w 10000"/>
                <a:gd name="connsiteY129" fmla="*/ 1507 h 10000"/>
                <a:gd name="connsiteX130" fmla="*/ 3415 w 10000"/>
                <a:gd name="connsiteY130" fmla="*/ 1331 h 10000"/>
                <a:gd name="connsiteX131" fmla="*/ 3408 w 10000"/>
                <a:gd name="connsiteY131" fmla="*/ 1166 h 10000"/>
                <a:gd name="connsiteX132" fmla="*/ 3380 w 10000"/>
                <a:gd name="connsiteY132" fmla="*/ 1115 h 10000"/>
                <a:gd name="connsiteX133" fmla="*/ 3430 w 10000"/>
                <a:gd name="connsiteY133" fmla="*/ 1115 h 10000"/>
                <a:gd name="connsiteX134" fmla="*/ 3486 w 10000"/>
                <a:gd name="connsiteY134" fmla="*/ 1455 h 10000"/>
                <a:gd name="connsiteX135" fmla="*/ 3777 w 10000"/>
                <a:gd name="connsiteY135" fmla="*/ 1662 h 10000"/>
                <a:gd name="connsiteX136" fmla="*/ 3558 w 10000"/>
                <a:gd name="connsiteY136" fmla="*/ 1383 h 10000"/>
                <a:gd name="connsiteX137" fmla="*/ 3983 w 10000"/>
                <a:gd name="connsiteY137" fmla="*/ 1383 h 10000"/>
                <a:gd name="connsiteX138" fmla="*/ 4051 w 10000"/>
                <a:gd name="connsiteY138" fmla="*/ 1362 h 10000"/>
                <a:gd name="connsiteX139" fmla="*/ 3784 w 10000"/>
                <a:gd name="connsiteY139" fmla="*/ 1115 h 10000"/>
                <a:gd name="connsiteX140" fmla="*/ 3853 w 10000"/>
                <a:gd name="connsiteY140" fmla="*/ 888 h 10000"/>
                <a:gd name="connsiteX141" fmla="*/ 4151 w 10000"/>
                <a:gd name="connsiteY141" fmla="*/ 888 h 10000"/>
                <a:gd name="connsiteX142" fmla="*/ 4121 w 10000"/>
                <a:gd name="connsiteY142" fmla="*/ 713 h 10000"/>
                <a:gd name="connsiteX143" fmla="*/ 4220 w 10000"/>
                <a:gd name="connsiteY143" fmla="*/ 589 h 10000"/>
                <a:gd name="connsiteX144" fmla="*/ 4278 w 10000"/>
                <a:gd name="connsiteY144" fmla="*/ 548 h 10000"/>
                <a:gd name="connsiteX145" fmla="*/ 4498 w 10000"/>
                <a:gd name="connsiteY145" fmla="*/ 423 h 10000"/>
                <a:gd name="connsiteX146" fmla="*/ 4553 w 10000"/>
                <a:gd name="connsiteY146" fmla="*/ 371 h 10000"/>
                <a:gd name="connsiteX147" fmla="*/ 4544 w 10000"/>
                <a:gd name="connsiteY147" fmla="*/ 444 h 10000"/>
                <a:gd name="connsiteX148" fmla="*/ 4780 w 10000"/>
                <a:gd name="connsiteY148" fmla="*/ 371 h 10000"/>
                <a:gd name="connsiteX149" fmla="*/ 4971 w 10000"/>
                <a:gd name="connsiteY149" fmla="*/ 248 h 10000"/>
                <a:gd name="connsiteX150" fmla="*/ 5000 w 10000"/>
                <a:gd name="connsiteY150" fmla="*/ 0 h 10000"/>
                <a:gd name="connsiteX151" fmla="*/ 5209 w 10000"/>
                <a:gd name="connsiteY151" fmla="*/ 21 h 10000"/>
                <a:gd name="connsiteX152" fmla="*/ 5195 w 10000"/>
                <a:gd name="connsiteY152" fmla="*/ 93 h 10000"/>
                <a:gd name="connsiteX153" fmla="*/ 5209 w 10000"/>
                <a:gd name="connsiteY153" fmla="*/ 176 h 10000"/>
                <a:gd name="connsiteX154" fmla="*/ 5333 w 10000"/>
                <a:gd name="connsiteY154" fmla="*/ 248 h 10000"/>
                <a:gd name="connsiteX155" fmla="*/ 9394 w 10000"/>
                <a:gd name="connsiteY155" fmla="*/ 1611 h 10000"/>
                <a:gd name="connsiteX156" fmla="*/ 9621 w 10000"/>
                <a:gd name="connsiteY156" fmla="*/ 1507 h 10000"/>
                <a:gd name="connsiteX157" fmla="*/ 9903 w 10000"/>
                <a:gd name="connsiteY157" fmla="*/ 1538 h 10000"/>
                <a:gd name="connsiteX158" fmla="*/ 10000 w 10000"/>
                <a:gd name="connsiteY15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855 w 10000"/>
                <a:gd name="connsiteY106" fmla="*/ 1486 h 10000"/>
                <a:gd name="connsiteX107" fmla="*/ 2886 w 10000"/>
                <a:gd name="connsiteY107" fmla="*/ 1434 h 10000"/>
                <a:gd name="connsiteX108" fmla="*/ 2991 w 10000"/>
                <a:gd name="connsiteY108" fmla="*/ 1115 h 10000"/>
                <a:gd name="connsiteX109" fmla="*/ 3192 w 10000"/>
                <a:gd name="connsiteY109" fmla="*/ 1135 h 10000"/>
                <a:gd name="connsiteX110" fmla="*/ 3248 w 10000"/>
                <a:gd name="connsiteY110" fmla="*/ 1311 h 10000"/>
                <a:gd name="connsiteX111" fmla="*/ 3288 w 10000"/>
                <a:gd name="connsiteY111" fmla="*/ 1538 h 10000"/>
                <a:gd name="connsiteX112" fmla="*/ 3363 w 10000"/>
                <a:gd name="connsiteY112" fmla="*/ 1734 h 10000"/>
                <a:gd name="connsiteX113" fmla="*/ 3486 w 10000"/>
                <a:gd name="connsiteY113" fmla="*/ 2157 h 10000"/>
                <a:gd name="connsiteX114" fmla="*/ 3240 w 10000"/>
                <a:gd name="connsiteY114" fmla="*/ 2673 h 10000"/>
                <a:gd name="connsiteX115" fmla="*/ 3340 w 10000"/>
                <a:gd name="connsiteY115" fmla="*/ 2746 h 10000"/>
                <a:gd name="connsiteX116" fmla="*/ 3468 w 10000"/>
                <a:gd name="connsiteY116" fmla="*/ 2818 h 10000"/>
                <a:gd name="connsiteX117" fmla="*/ 3634 w 10000"/>
                <a:gd name="connsiteY117" fmla="*/ 2622 h 10000"/>
                <a:gd name="connsiteX118" fmla="*/ 3642 w 10000"/>
                <a:gd name="connsiteY118" fmla="*/ 2404 h 10000"/>
                <a:gd name="connsiteX119" fmla="*/ 3586 w 10000"/>
                <a:gd name="connsiteY119" fmla="*/ 2301 h 10000"/>
                <a:gd name="connsiteX120" fmla="*/ 3812 w 10000"/>
                <a:gd name="connsiteY120" fmla="*/ 2250 h 10000"/>
                <a:gd name="connsiteX121" fmla="*/ 3905 w 10000"/>
                <a:gd name="connsiteY121" fmla="*/ 2497 h 10000"/>
                <a:gd name="connsiteX122" fmla="*/ 3905 w 10000"/>
                <a:gd name="connsiteY122" fmla="*/ 2425 h 10000"/>
                <a:gd name="connsiteX123" fmla="*/ 3882 w 10000"/>
                <a:gd name="connsiteY123" fmla="*/ 2353 h 10000"/>
                <a:gd name="connsiteX124" fmla="*/ 3875 w 10000"/>
                <a:gd name="connsiteY124" fmla="*/ 2178 h 10000"/>
                <a:gd name="connsiteX125" fmla="*/ 3656 w 10000"/>
                <a:gd name="connsiteY125" fmla="*/ 1930 h 10000"/>
                <a:gd name="connsiteX126" fmla="*/ 3486 w 10000"/>
                <a:gd name="connsiteY126" fmla="*/ 2002 h 10000"/>
                <a:gd name="connsiteX127" fmla="*/ 3415 w 10000"/>
                <a:gd name="connsiteY127" fmla="*/ 1683 h 10000"/>
                <a:gd name="connsiteX128" fmla="*/ 3350 w 10000"/>
                <a:gd name="connsiteY128" fmla="*/ 1507 h 10000"/>
                <a:gd name="connsiteX129" fmla="*/ 3415 w 10000"/>
                <a:gd name="connsiteY129" fmla="*/ 1331 h 10000"/>
                <a:gd name="connsiteX130" fmla="*/ 3408 w 10000"/>
                <a:gd name="connsiteY130" fmla="*/ 1166 h 10000"/>
                <a:gd name="connsiteX131" fmla="*/ 3380 w 10000"/>
                <a:gd name="connsiteY131" fmla="*/ 1115 h 10000"/>
                <a:gd name="connsiteX132" fmla="*/ 3430 w 10000"/>
                <a:gd name="connsiteY132" fmla="*/ 1115 h 10000"/>
                <a:gd name="connsiteX133" fmla="*/ 3486 w 10000"/>
                <a:gd name="connsiteY133" fmla="*/ 1455 h 10000"/>
                <a:gd name="connsiteX134" fmla="*/ 3777 w 10000"/>
                <a:gd name="connsiteY134" fmla="*/ 1662 h 10000"/>
                <a:gd name="connsiteX135" fmla="*/ 3558 w 10000"/>
                <a:gd name="connsiteY135" fmla="*/ 1383 h 10000"/>
                <a:gd name="connsiteX136" fmla="*/ 3983 w 10000"/>
                <a:gd name="connsiteY136" fmla="*/ 1383 h 10000"/>
                <a:gd name="connsiteX137" fmla="*/ 4051 w 10000"/>
                <a:gd name="connsiteY137" fmla="*/ 1362 h 10000"/>
                <a:gd name="connsiteX138" fmla="*/ 3784 w 10000"/>
                <a:gd name="connsiteY138" fmla="*/ 1115 h 10000"/>
                <a:gd name="connsiteX139" fmla="*/ 3853 w 10000"/>
                <a:gd name="connsiteY139" fmla="*/ 888 h 10000"/>
                <a:gd name="connsiteX140" fmla="*/ 4151 w 10000"/>
                <a:gd name="connsiteY140" fmla="*/ 888 h 10000"/>
                <a:gd name="connsiteX141" fmla="*/ 4121 w 10000"/>
                <a:gd name="connsiteY141" fmla="*/ 713 h 10000"/>
                <a:gd name="connsiteX142" fmla="*/ 4220 w 10000"/>
                <a:gd name="connsiteY142" fmla="*/ 589 h 10000"/>
                <a:gd name="connsiteX143" fmla="*/ 4278 w 10000"/>
                <a:gd name="connsiteY143" fmla="*/ 548 h 10000"/>
                <a:gd name="connsiteX144" fmla="*/ 4498 w 10000"/>
                <a:gd name="connsiteY144" fmla="*/ 423 h 10000"/>
                <a:gd name="connsiteX145" fmla="*/ 4553 w 10000"/>
                <a:gd name="connsiteY145" fmla="*/ 371 h 10000"/>
                <a:gd name="connsiteX146" fmla="*/ 4544 w 10000"/>
                <a:gd name="connsiteY146" fmla="*/ 444 h 10000"/>
                <a:gd name="connsiteX147" fmla="*/ 4780 w 10000"/>
                <a:gd name="connsiteY147" fmla="*/ 371 h 10000"/>
                <a:gd name="connsiteX148" fmla="*/ 4971 w 10000"/>
                <a:gd name="connsiteY148" fmla="*/ 248 h 10000"/>
                <a:gd name="connsiteX149" fmla="*/ 5000 w 10000"/>
                <a:gd name="connsiteY149" fmla="*/ 0 h 10000"/>
                <a:gd name="connsiteX150" fmla="*/ 5209 w 10000"/>
                <a:gd name="connsiteY150" fmla="*/ 21 h 10000"/>
                <a:gd name="connsiteX151" fmla="*/ 5195 w 10000"/>
                <a:gd name="connsiteY151" fmla="*/ 93 h 10000"/>
                <a:gd name="connsiteX152" fmla="*/ 5209 w 10000"/>
                <a:gd name="connsiteY152" fmla="*/ 176 h 10000"/>
                <a:gd name="connsiteX153" fmla="*/ 5333 w 10000"/>
                <a:gd name="connsiteY153" fmla="*/ 248 h 10000"/>
                <a:gd name="connsiteX154" fmla="*/ 9394 w 10000"/>
                <a:gd name="connsiteY154" fmla="*/ 1611 h 10000"/>
                <a:gd name="connsiteX155" fmla="*/ 9621 w 10000"/>
                <a:gd name="connsiteY155" fmla="*/ 1507 h 10000"/>
                <a:gd name="connsiteX156" fmla="*/ 9903 w 10000"/>
                <a:gd name="connsiteY156" fmla="*/ 1538 h 10000"/>
                <a:gd name="connsiteX157" fmla="*/ 10000 w 10000"/>
                <a:gd name="connsiteY15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855 w 10000"/>
                <a:gd name="connsiteY106" fmla="*/ 1486 h 10000"/>
                <a:gd name="connsiteX107" fmla="*/ 2886 w 10000"/>
                <a:gd name="connsiteY107" fmla="*/ 1434 h 10000"/>
                <a:gd name="connsiteX108" fmla="*/ 3192 w 10000"/>
                <a:gd name="connsiteY108" fmla="*/ 1135 h 10000"/>
                <a:gd name="connsiteX109" fmla="*/ 3248 w 10000"/>
                <a:gd name="connsiteY109" fmla="*/ 1311 h 10000"/>
                <a:gd name="connsiteX110" fmla="*/ 3288 w 10000"/>
                <a:gd name="connsiteY110" fmla="*/ 1538 h 10000"/>
                <a:gd name="connsiteX111" fmla="*/ 3363 w 10000"/>
                <a:gd name="connsiteY111" fmla="*/ 1734 h 10000"/>
                <a:gd name="connsiteX112" fmla="*/ 3486 w 10000"/>
                <a:gd name="connsiteY112" fmla="*/ 2157 h 10000"/>
                <a:gd name="connsiteX113" fmla="*/ 3240 w 10000"/>
                <a:gd name="connsiteY113" fmla="*/ 2673 h 10000"/>
                <a:gd name="connsiteX114" fmla="*/ 3340 w 10000"/>
                <a:gd name="connsiteY114" fmla="*/ 2746 h 10000"/>
                <a:gd name="connsiteX115" fmla="*/ 3468 w 10000"/>
                <a:gd name="connsiteY115" fmla="*/ 2818 h 10000"/>
                <a:gd name="connsiteX116" fmla="*/ 3634 w 10000"/>
                <a:gd name="connsiteY116" fmla="*/ 2622 h 10000"/>
                <a:gd name="connsiteX117" fmla="*/ 3642 w 10000"/>
                <a:gd name="connsiteY117" fmla="*/ 2404 h 10000"/>
                <a:gd name="connsiteX118" fmla="*/ 3586 w 10000"/>
                <a:gd name="connsiteY118" fmla="*/ 2301 h 10000"/>
                <a:gd name="connsiteX119" fmla="*/ 3812 w 10000"/>
                <a:gd name="connsiteY119" fmla="*/ 2250 h 10000"/>
                <a:gd name="connsiteX120" fmla="*/ 3905 w 10000"/>
                <a:gd name="connsiteY120" fmla="*/ 2497 h 10000"/>
                <a:gd name="connsiteX121" fmla="*/ 3905 w 10000"/>
                <a:gd name="connsiteY121" fmla="*/ 2425 h 10000"/>
                <a:gd name="connsiteX122" fmla="*/ 3882 w 10000"/>
                <a:gd name="connsiteY122" fmla="*/ 2353 h 10000"/>
                <a:gd name="connsiteX123" fmla="*/ 3875 w 10000"/>
                <a:gd name="connsiteY123" fmla="*/ 2178 h 10000"/>
                <a:gd name="connsiteX124" fmla="*/ 3656 w 10000"/>
                <a:gd name="connsiteY124" fmla="*/ 1930 h 10000"/>
                <a:gd name="connsiteX125" fmla="*/ 3486 w 10000"/>
                <a:gd name="connsiteY125" fmla="*/ 2002 h 10000"/>
                <a:gd name="connsiteX126" fmla="*/ 3415 w 10000"/>
                <a:gd name="connsiteY126" fmla="*/ 1683 h 10000"/>
                <a:gd name="connsiteX127" fmla="*/ 3350 w 10000"/>
                <a:gd name="connsiteY127" fmla="*/ 1507 h 10000"/>
                <a:gd name="connsiteX128" fmla="*/ 3415 w 10000"/>
                <a:gd name="connsiteY128" fmla="*/ 1331 h 10000"/>
                <a:gd name="connsiteX129" fmla="*/ 3408 w 10000"/>
                <a:gd name="connsiteY129" fmla="*/ 1166 h 10000"/>
                <a:gd name="connsiteX130" fmla="*/ 3380 w 10000"/>
                <a:gd name="connsiteY130" fmla="*/ 1115 h 10000"/>
                <a:gd name="connsiteX131" fmla="*/ 3430 w 10000"/>
                <a:gd name="connsiteY131" fmla="*/ 1115 h 10000"/>
                <a:gd name="connsiteX132" fmla="*/ 3486 w 10000"/>
                <a:gd name="connsiteY132" fmla="*/ 1455 h 10000"/>
                <a:gd name="connsiteX133" fmla="*/ 3777 w 10000"/>
                <a:gd name="connsiteY133" fmla="*/ 1662 h 10000"/>
                <a:gd name="connsiteX134" fmla="*/ 3558 w 10000"/>
                <a:gd name="connsiteY134" fmla="*/ 1383 h 10000"/>
                <a:gd name="connsiteX135" fmla="*/ 3983 w 10000"/>
                <a:gd name="connsiteY135" fmla="*/ 1383 h 10000"/>
                <a:gd name="connsiteX136" fmla="*/ 4051 w 10000"/>
                <a:gd name="connsiteY136" fmla="*/ 1362 h 10000"/>
                <a:gd name="connsiteX137" fmla="*/ 3784 w 10000"/>
                <a:gd name="connsiteY137" fmla="*/ 1115 h 10000"/>
                <a:gd name="connsiteX138" fmla="*/ 3853 w 10000"/>
                <a:gd name="connsiteY138" fmla="*/ 888 h 10000"/>
                <a:gd name="connsiteX139" fmla="*/ 4151 w 10000"/>
                <a:gd name="connsiteY139" fmla="*/ 888 h 10000"/>
                <a:gd name="connsiteX140" fmla="*/ 4121 w 10000"/>
                <a:gd name="connsiteY140" fmla="*/ 713 h 10000"/>
                <a:gd name="connsiteX141" fmla="*/ 4220 w 10000"/>
                <a:gd name="connsiteY141" fmla="*/ 589 h 10000"/>
                <a:gd name="connsiteX142" fmla="*/ 4278 w 10000"/>
                <a:gd name="connsiteY142" fmla="*/ 548 h 10000"/>
                <a:gd name="connsiteX143" fmla="*/ 4498 w 10000"/>
                <a:gd name="connsiteY143" fmla="*/ 423 h 10000"/>
                <a:gd name="connsiteX144" fmla="*/ 4553 w 10000"/>
                <a:gd name="connsiteY144" fmla="*/ 371 h 10000"/>
                <a:gd name="connsiteX145" fmla="*/ 4544 w 10000"/>
                <a:gd name="connsiteY145" fmla="*/ 444 h 10000"/>
                <a:gd name="connsiteX146" fmla="*/ 4780 w 10000"/>
                <a:gd name="connsiteY146" fmla="*/ 371 h 10000"/>
                <a:gd name="connsiteX147" fmla="*/ 4971 w 10000"/>
                <a:gd name="connsiteY147" fmla="*/ 248 h 10000"/>
                <a:gd name="connsiteX148" fmla="*/ 5000 w 10000"/>
                <a:gd name="connsiteY148" fmla="*/ 0 h 10000"/>
                <a:gd name="connsiteX149" fmla="*/ 5209 w 10000"/>
                <a:gd name="connsiteY149" fmla="*/ 21 h 10000"/>
                <a:gd name="connsiteX150" fmla="*/ 5195 w 10000"/>
                <a:gd name="connsiteY150" fmla="*/ 93 h 10000"/>
                <a:gd name="connsiteX151" fmla="*/ 5209 w 10000"/>
                <a:gd name="connsiteY151" fmla="*/ 176 h 10000"/>
                <a:gd name="connsiteX152" fmla="*/ 5333 w 10000"/>
                <a:gd name="connsiteY152" fmla="*/ 248 h 10000"/>
                <a:gd name="connsiteX153" fmla="*/ 9394 w 10000"/>
                <a:gd name="connsiteY153" fmla="*/ 1611 h 10000"/>
                <a:gd name="connsiteX154" fmla="*/ 9621 w 10000"/>
                <a:gd name="connsiteY154" fmla="*/ 1507 h 10000"/>
                <a:gd name="connsiteX155" fmla="*/ 9903 w 10000"/>
                <a:gd name="connsiteY155" fmla="*/ 1538 h 10000"/>
                <a:gd name="connsiteX156" fmla="*/ 10000 w 10000"/>
                <a:gd name="connsiteY15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2855 w 10000"/>
                <a:gd name="connsiteY106" fmla="*/ 1486 h 10000"/>
                <a:gd name="connsiteX107" fmla="*/ 3192 w 10000"/>
                <a:gd name="connsiteY107" fmla="*/ 1135 h 10000"/>
                <a:gd name="connsiteX108" fmla="*/ 3248 w 10000"/>
                <a:gd name="connsiteY108" fmla="*/ 1311 h 10000"/>
                <a:gd name="connsiteX109" fmla="*/ 3288 w 10000"/>
                <a:gd name="connsiteY109" fmla="*/ 1538 h 10000"/>
                <a:gd name="connsiteX110" fmla="*/ 3363 w 10000"/>
                <a:gd name="connsiteY110" fmla="*/ 1734 h 10000"/>
                <a:gd name="connsiteX111" fmla="*/ 3486 w 10000"/>
                <a:gd name="connsiteY111" fmla="*/ 2157 h 10000"/>
                <a:gd name="connsiteX112" fmla="*/ 3240 w 10000"/>
                <a:gd name="connsiteY112" fmla="*/ 2673 h 10000"/>
                <a:gd name="connsiteX113" fmla="*/ 3340 w 10000"/>
                <a:gd name="connsiteY113" fmla="*/ 2746 h 10000"/>
                <a:gd name="connsiteX114" fmla="*/ 3468 w 10000"/>
                <a:gd name="connsiteY114" fmla="*/ 2818 h 10000"/>
                <a:gd name="connsiteX115" fmla="*/ 3634 w 10000"/>
                <a:gd name="connsiteY115" fmla="*/ 2622 h 10000"/>
                <a:gd name="connsiteX116" fmla="*/ 3642 w 10000"/>
                <a:gd name="connsiteY116" fmla="*/ 2404 h 10000"/>
                <a:gd name="connsiteX117" fmla="*/ 3586 w 10000"/>
                <a:gd name="connsiteY117" fmla="*/ 2301 h 10000"/>
                <a:gd name="connsiteX118" fmla="*/ 3812 w 10000"/>
                <a:gd name="connsiteY118" fmla="*/ 2250 h 10000"/>
                <a:gd name="connsiteX119" fmla="*/ 3905 w 10000"/>
                <a:gd name="connsiteY119" fmla="*/ 2497 h 10000"/>
                <a:gd name="connsiteX120" fmla="*/ 3905 w 10000"/>
                <a:gd name="connsiteY120" fmla="*/ 2425 h 10000"/>
                <a:gd name="connsiteX121" fmla="*/ 3882 w 10000"/>
                <a:gd name="connsiteY121" fmla="*/ 2353 h 10000"/>
                <a:gd name="connsiteX122" fmla="*/ 3875 w 10000"/>
                <a:gd name="connsiteY122" fmla="*/ 2178 h 10000"/>
                <a:gd name="connsiteX123" fmla="*/ 3656 w 10000"/>
                <a:gd name="connsiteY123" fmla="*/ 1930 h 10000"/>
                <a:gd name="connsiteX124" fmla="*/ 3486 w 10000"/>
                <a:gd name="connsiteY124" fmla="*/ 2002 h 10000"/>
                <a:gd name="connsiteX125" fmla="*/ 3415 w 10000"/>
                <a:gd name="connsiteY125" fmla="*/ 1683 h 10000"/>
                <a:gd name="connsiteX126" fmla="*/ 3350 w 10000"/>
                <a:gd name="connsiteY126" fmla="*/ 1507 h 10000"/>
                <a:gd name="connsiteX127" fmla="*/ 3415 w 10000"/>
                <a:gd name="connsiteY127" fmla="*/ 1331 h 10000"/>
                <a:gd name="connsiteX128" fmla="*/ 3408 w 10000"/>
                <a:gd name="connsiteY128" fmla="*/ 1166 h 10000"/>
                <a:gd name="connsiteX129" fmla="*/ 3380 w 10000"/>
                <a:gd name="connsiteY129" fmla="*/ 1115 h 10000"/>
                <a:gd name="connsiteX130" fmla="*/ 3430 w 10000"/>
                <a:gd name="connsiteY130" fmla="*/ 1115 h 10000"/>
                <a:gd name="connsiteX131" fmla="*/ 3486 w 10000"/>
                <a:gd name="connsiteY131" fmla="*/ 1455 h 10000"/>
                <a:gd name="connsiteX132" fmla="*/ 3777 w 10000"/>
                <a:gd name="connsiteY132" fmla="*/ 1662 h 10000"/>
                <a:gd name="connsiteX133" fmla="*/ 3558 w 10000"/>
                <a:gd name="connsiteY133" fmla="*/ 1383 h 10000"/>
                <a:gd name="connsiteX134" fmla="*/ 3983 w 10000"/>
                <a:gd name="connsiteY134" fmla="*/ 1383 h 10000"/>
                <a:gd name="connsiteX135" fmla="*/ 4051 w 10000"/>
                <a:gd name="connsiteY135" fmla="*/ 1362 h 10000"/>
                <a:gd name="connsiteX136" fmla="*/ 3784 w 10000"/>
                <a:gd name="connsiteY136" fmla="*/ 1115 h 10000"/>
                <a:gd name="connsiteX137" fmla="*/ 3853 w 10000"/>
                <a:gd name="connsiteY137" fmla="*/ 888 h 10000"/>
                <a:gd name="connsiteX138" fmla="*/ 4151 w 10000"/>
                <a:gd name="connsiteY138" fmla="*/ 888 h 10000"/>
                <a:gd name="connsiteX139" fmla="*/ 4121 w 10000"/>
                <a:gd name="connsiteY139" fmla="*/ 713 h 10000"/>
                <a:gd name="connsiteX140" fmla="*/ 4220 w 10000"/>
                <a:gd name="connsiteY140" fmla="*/ 589 h 10000"/>
                <a:gd name="connsiteX141" fmla="*/ 4278 w 10000"/>
                <a:gd name="connsiteY141" fmla="*/ 548 h 10000"/>
                <a:gd name="connsiteX142" fmla="*/ 4498 w 10000"/>
                <a:gd name="connsiteY142" fmla="*/ 423 h 10000"/>
                <a:gd name="connsiteX143" fmla="*/ 4553 w 10000"/>
                <a:gd name="connsiteY143" fmla="*/ 371 h 10000"/>
                <a:gd name="connsiteX144" fmla="*/ 4544 w 10000"/>
                <a:gd name="connsiteY144" fmla="*/ 444 h 10000"/>
                <a:gd name="connsiteX145" fmla="*/ 4780 w 10000"/>
                <a:gd name="connsiteY145" fmla="*/ 371 h 10000"/>
                <a:gd name="connsiteX146" fmla="*/ 4971 w 10000"/>
                <a:gd name="connsiteY146" fmla="*/ 248 h 10000"/>
                <a:gd name="connsiteX147" fmla="*/ 5000 w 10000"/>
                <a:gd name="connsiteY147" fmla="*/ 0 h 10000"/>
                <a:gd name="connsiteX148" fmla="*/ 5209 w 10000"/>
                <a:gd name="connsiteY148" fmla="*/ 21 h 10000"/>
                <a:gd name="connsiteX149" fmla="*/ 5195 w 10000"/>
                <a:gd name="connsiteY149" fmla="*/ 93 h 10000"/>
                <a:gd name="connsiteX150" fmla="*/ 5209 w 10000"/>
                <a:gd name="connsiteY150" fmla="*/ 176 h 10000"/>
                <a:gd name="connsiteX151" fmla="*/ 5333 w 10000"/>
                <a:gd name="connsiteY151" fmla="*/ 248 h 10000"/>
                <a:gd name="connsiteX152" fmla="*/ 9394 w 10000"/>
                <a:gd name="connsiteY152" fmla="*/ 1611 h 10000"/>
                <a:gd name="connsiteX153" fmla="*/ 9621 w 10000"/>
                <a:gd name="connsiteY153" fmla="*/ 1507 h 10000"/>
                <a:gd name="connsiteX154" fmla="*/ 9903 w 10000"/>
                <a:gd name="connsiteY154" fmla="*/ 1538 h 10000"/>
                <a:gd name="connsiteX155" fmla="*/ 10000 w 10000"/>
                <a:gd name="connsiteY15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192 w 10000"/>
                <a:gd name="connsiteY106" fmla="*/ 1135 h 10000"/>
                <a:gd name="connsiteX107" fmla="*/ 3248 w 10000"/>
                <a:gd name="connsiteY107" fmla="*/ 1311 h 10000"/>
                <a:gd name="connsiteX108" fmla="*/ 3288 w 10000"/>
                <a:gd name="connsiteY108" fmla="*/ 1538 h 10000"/>
                <a:gd name="connsiteX109" fmla="*/ 3363 w 10000"/>
                <a:gd name="connsiteY109" fmla="*/ 1734 h 10000"/>
                <a:gd name="connsiteX110" fmla="*/ 3486 w 10000"/>
                <a:gd name="connsiteY110" fmla="*/ 2157 h 10000"/>
                <a:gd name="connsiteX111" fmla="*/ 3240 w 10000"/>
                <a:gd name="connsiteY111" fmla="*/ 2673 h 10000"/>
                <a:gd name="connsiteX112" fmla="*/ 3340 w 10000"/>
                <a:gd name="connsiteY112" fmla="*/ 2746 h 10000"/>
                <a:gd name="connsiteX113" fmla="*/ 3468 w 10000"/>
                <a:gd name="connsiteY113" fmla="*/ 2818 h 10000"/>
                <a:gd name="connsiteX114" fmla="*/ 3634 w 10000"/>
                <a:gd name="connsiteY114" fmla="*/ 2622 h 10000"/>
                <a:gd name="connsiteX115" fmla="*/ 3642 w 10000"/>
                <a:gd name="connsiteY115" fmla="*/ 2404 h 10000"/>
                <a:gd name="connsiteX116" fmla="*/ 3586 w 10000"/>
                <a:gd name="connsiteY116" fmla="*/ 2301 h 10000"/>
                <a:gd name="connsiteX117" fmla="*/ 3812 w 10000"/>
                <a:gd name="connsiteY117" fmla="*/ 2250 h 10000"/>
                <a:gd name="connsiteX118" fmla="*/ 3905 w 10000"/>
                <a:gd name="connsiteY118" fmla="*/ 2497 h 10000"/>
                <a:gd name="connsiteX119" fmla="*/ 3905 w 10000"/>
                <a:gd name="connsiteY119" fmla="*/ 2425 h 10000"/>
                <a:gd name="connsiteX120" fmla="*/ 3882 w 10000"/>
                <a:gd name="connsiteY120" fmla="*/ 2353 h 10000"/>
                <a:gd name="connsiteX121" fmla="*/ 3875 w 10000"/>
                <a:gd name="connsiteY121" fmla="*/ 2178 h 10000"/>
                <a:gd name="connsiteX122" fmla="*/ 3656 w 10000"/>
                <a:gd name="connsiteY122" fmla="*/ 1930 h 10000"/>
                <a:gd name="connsiteX123" fmla="*/ 3486 w 10000"/>
                <a:gd name="connsiteY123" fmla="*/ 2002 h 10000"/>
                <a:gd name="connsiteX124" fmla="*/ 3415 w 10000"/>
                <a:gd name="connsiteY124" fmla="*/ 1683 h 10000"/>
                <a:gd name="connsiteX125" fmla="*/ 3350 w 10000"/>
                <a:gd name="connsiteY125" fmla="*/ 1507 h 10000"/>
                <a:gd name="connsiteX126" fmla="*/ 3415 w 10000"/>
                <a:gd name="connsiteY126" fmla="*/ 1331 h 10000"/>
                <a:gd name="connsiteX127" fmla="*/ 3408 w 10000"/>
                <a:gd name="connsiteY127" fmla="*/ 1166 h 10000"/>
                <a:gd name="connsiteX128" fmla="*/ 3380 w 10000"/>
                <a:gd name="connsiteY128" fmla="*/ 1115 h 10000"/>
                <a:gd name="connsiteX129" fmla="*/ 3430 w 10000"/>
                <a:gd name="connsiteY129" fmla="*/ 1115 h 10000"/>
                <a:gd name="connsiteX130" fmla="*/ 3486 w 10000"/>
                <a:gd name="connsiteY130" fmla="*/ 1455 h 10000"/>
                <a:gd name="connsiteX131" fmla="*/ 3777 w 10000"/>
                <a:gd name="connsiteY131" fmla="*/ 1662 h 10000"/>
                <a:gd name="connsiteX132" fmla="*/ 3558 w 10000"/>
                <a:gd name="connsiteY132" fmla="*/ 1383 h 10000"/>
                <a:gd name="connsiteX133" fmla="*/ 3983 w 10000"/>
                <a:gd name="connsiteY133" fmla="*/ 1383 h 10000"/>
                <a:gd name="connsiteX134" fmla="*/ 4051 w 10000"/>
                <a:gd name="connsiteY134" fmla="*/ 1362 h 10000"/>
                <a:gd name="connsiteX135" fmla="*/ 3784 w 10000"/>
                <a:gd name="connsiteY135" fmla="*/ 1115 h 10000"/>
                <a:gd name="connsiteX136" fmla="*/ 3853 w 10000"/>
                <a:gd name="connsiteY136" fmla="*/ 888 h 10000"/>
                <a:gd name="connsiteX137" fmla="*/ 4151 w 10000"/>
                <a:gd name="connsiteY137" fmla="*/ 888 h 10000"/>
                <a:gd name="connsiteX138" fmla="*/ 4121 w 10000"/>
                <a:gd name="connsiteY138" fmla="*/ 713 h 10000"/>
                <a:gd name="connsiteX139" fmla="*/ 4220 w 10000"/>
                <a:gd name="connsiteY139" fmla="*/ 589 h 10000"/>
                <a:gd name="connsiteX140" fmla="*/ 4278 w 10000"/>
                <a:gd name="connsiteY140" fmla="*/ 548 h 10000"/>
                <a:gd name="connsiteX141" fmla="*/ 4498 w 10000"/>
                <a:gd name="connsiteY141" fmla="*/ 423 h 10000"/>
                <a:gd name="connsiteX142" fmla="*/ 4553 w 10000"/>
                <a:gd name="connsiteY142" fmla="*/ 371 h 10000"/>
                <a:gd name="connsiteX143" fmla="*/ 4544 w 10000"/>
                <a:gd name="connsiteY143" fmla="*/ 444 h 10000"/>
                <a:gd name="connsiteX144" fmla="*/ 4780 w 10000"/>
                <a:gd name="connsiteY144" fmla="*/ 371 h 10000"/>
                <a:gd name="connsiteX145" fmla="*/ 4971 w 10000"/>
                <a:gd name="connsiteY145" fmla="*/ 248 h 10000"/>
                <a:gd name="connsiteX146" fmla="*/ 5000 w 10000"/>
                <a:gd name="connsiteY146" fmla="*/ 0 h 10000"/>
                <a:gd name="connsiteX147" fmla="*/ 5209 w 10000"/>
                <a:gd name="connsiteY147" fmla="*/ 21 h 10000"/>
                <a:gd name="connsiteX148" fmla="*/ 5195 w 10000"/>
                <a:gd name="connsiteY148" fmla="*/ 93 h 10000"/>
                <a:gd name="connsiteX149" fmla="*/ 5209 w 10000"/>
                <a:gd name="connsiteY149" fmla="*/ 176 h 10000"/>
                <a:gd name="connsiteX150" fmla="*/ 5333 w 10000"/>
                <a:gd name="connsiteY150" fmla="*/ 248 h 10000"/>
                <a:gd name="connsiteX151" fmla="*/ 9394 w 10000"/>
                <a:gd name="connsiteY151" fmla="*/ 1611 h 10000"/>
                <a:gd name="connsiteX152" fmla="*/ 9621 w 10000"/>
                <a:gd name="connsiteY152" fmla="*/ 1507 h 10000"/>
                <a:gd name="connsiteX153" fmla="*/ 9903 w 10000"/>
                <a:gd name="connsiteY153" fmla="*/ 1538 h 10000"/>
                <a:gd name="connsiteX154" fmla="*/ 10000 w 10000"/>
                <a:gd name="connsiteY15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192 w 10000"/>
                <a:gd name="connsiteY106" fmla="*/ 1135 h 10000"/>
                <a:gd name="connsiteX107" fmla="*/ 3288 w 10000"/>
                <a:gd name="connsiteY107" fmla="*/ 1538 h 10000"/>
                <a:gd name="connsiteX108" fmla="*/ 3363 w 10000"/>
                <a:gd name="connsiteY108" fmla="*/ 1734 h 10000"/>
                <a:gd name="connsiteX109" fmla="*/ 3486 w 10000"/>
                <a:gd name="connsiteY109" fmla="*/ 2157 h 10000"/>
                <a:gd name="connsiteX110" fmla="*/ 3240 w 10000"/>
                <a:gd name="connsiteY110" fmla="*/ 2673 h 10000"/>
                <a:gd name="connsiteX111" fmla="*/ 3340 w 10000"/>
                <a:gd name="connsiteY111" fmla="*/ 2746 h 10000"/>
                <a:gd name="connsiteX112" fmla="*/ 3468 w 10000"/>
                <a:gd name="connsiteY112" fmla="*/ 2818 h 10000"/>
                <a:gd name="connsiteX113" fmla="*/ 3634 w 10000"/>
                <a:gd name="connsiteY113" fmla="*/ 2622 h 10000"/>
                <a:gd name="connsiteX114" fmla="*/ 3642 w 10000"/>
                <a:gd name="connsiteY114" fmla="*/ 2404 h 10000"/>
                <a:gd name="connsiteX115" fmla="*/ 3586 w 10000"/>
                <a:gd name="connsiteY115" fmla="*/ 2301 h 10000"/>
                <a:gd name="connsiteX116" fmla="*/ 3812 w 10000"/>
                <a:gd name="connsiteY116" fmla="*/ 2250 h 10000"/>
                <a:gd name="connsiteX117" fmla="*/ 3905 w 10000"/>
                <a:gd name="connsiteY117" fmla="*/ 2497 h 10000"/>
                <a:gd name="connsiteX118" fmla="*/ 3905 w 10000"/>
                <a:gd name="connsiteY118" fmla="*/ 2425 h 10000"/>
                <a:gd name="connsiteX119" fmla="*/ 3882 w 10000"/>
                <a:gd name="connsiteY119" fmla="*/ 2353 h 10000"/>
                <a:gd name="connsiteX120" fmla="*/ 3875 w 10000"/>
                <a:gd name="connsiteY120" fmla="*/ 2178 h 10000"/>
                <a:gd name="connsiteX121" fmla="*/ 3656 w 10000"/>
                <a:gd name="connsiteY121" fmla="*/ 1930 h 10000"/>
                <a:gd name="connsiteX122" fmla="*/ 3486 w 10000"/>
                <a:gd name="connsiteY122" fmla="*/ 2002 h 10000"/>
                <a:gd name="connsiteX123" fmla="*/ 3415 w 10000"/>
                <a:gd name="connsiteY123" fmla="*/ 1683 h 10000"/>
                <a:gd name="connsiteX124" fmla="*/ 3350 w 10000"/>
                <a:gd name="connsiteY124" fmla="*/ 1507 h 10000"/>
                <a:gd name="connsiteX125" fmla="*/ 3415 w 10000"/>
                <a:gd name="connsiteY125" fmla="*/ 1331 h 10000"/>
                <a:gd name="connsiteX126" fmla="*/ 3408 w 10000"/>
                <a:gd name="connsiteY126" fmla="*/ 1166 h 10000"/>
                <a:gd name="connsiteX127" fmla="*/ 3380 w 10000"/>
                <a:gd name="connsiteY127" fmla="*/ 1115 h 10000"/>
                <a:gd name="connsiteX128" fmla="*/ 3430 w 10000"/>
                <a:gd name="connsiteY128" fmla="*/ 1115 h 10000"/>
                <a:gd name="connsiteX129" fmla="*/ 3486 w 10000"/>
                <a:gd name="connsiteY129" fmla="*/ 1455 h 10000"/>
                <a:gd name="connsiteX130" fmla="*/ 3777 w 10000"/>
                <a:gd name="connsiteY130" fmla="*/ 1662 h 10000"/>
                <a:gd name="connsiteX131" fmla="*/ 3558 w 10000"/>
                <a:gd name="connsiteY131" fmla="*/ 1383 h 10000"/>
                <a:gd name="connsiteX132" fmla="*/ 3983 w 10000"/>
                <a:gd name="connsiteY132" fmla="*/ 1383 h 10000"/>
                <a:gd name="connsiteX133" fmla="*/ 4051 w 10000"/>
                <a:gd name="connsiteY133" fmla="*/ 1362 h 10000"/>
                <a:gd name="connsiteX134" fmla="*/ 3784 w 10000"/>
                <a:gd name="connsiteY134" fmla="*/ 1115 h 10000"/>
                <a:gd name="connsiteX135" fmla="*/ 3853 w 10000"/>
                <a:gd name="connsiteY135" fmla="*/ 888 h 10000"/>
                <a:gd name="connsiteX136" fmla="*/ 4151 w 10000"/>
                <a:gd name="connsiteY136" fmla="*/ 888 h 10000"/>
                <a:gd name="connsiteX137" fmla="*/ 4121 w 10000"/>
                <a:gd name="connsiteY137" fmla="*/ 713 h 10000"/>
                <a:gd name="connsiteX138" fmla="*/ 4220 w 10000"/>
                <a:gd name="connsiteY138" fmla="*/ 589 h 10000"/>
                <a:gd name="connsiteX139" fmla="*/ 4278 w 10000"/>
                <a:gd name="connsiteY139" fmla="*/ 548 h 10000"/>
                <a:gd name="connsiteX140" fmla="*/ 4498 w 10000"/>
                <a:gd name="connsiteY140" fmla="*/ 423 h 10000"/>
                <a:gd name="connsiteX141" fmla="*/ 4553 w 10000"/>
                <a:gd name="connsiteY141" fmla="*/ 371 h 10000"/>
                <a:gd name="connsiteX142" fmla="*/ 4544 w 10000"/>
                <a:gd name="connsiteY142" fmla="*/ 444 h 10000"/>
                <a:gd name="connsiteX143" fmla="*/ 4780 w 10000"/>
                <a:gd name="connsiteY143" fmla="*/ 371 h 10000"/>
                <a:gd name="connsiteX144" fmla="*/ 4971 w 10000"/>
                <a:gd name="connsiteY144" fmla="*/ 248 h 10000"/>
                <a:gd name="connsiteX145" fmla="*/ 5000 w 10000"/>
                <a:gd name="connsiteY145" fmla="*/ 0 h 10000"/>
                <a:gd name="connsiteX146" fmla="*/ 5209 w 10000"/>
                <a:gd name="connsiteY146" fmla="*/ 21 h 10000"/>
                <a:gd name="connsiteX147" fmla="*/ 5195 w 10000"/>
                <a:gd name="connsiteY147" fmla="*/ 93 h 10000"/>
                <a:gd name="connsiteX148" fmla="*/ 5209 w 10000"/>
                <a:gd name="connsiteY148" fmla="*/ 176 h 10000"/>
                <a:gd name="connsiteX149" fmla="*/ 5333 w 10000"/>
                <a:gd name="connsiteY149" fmla="*/ 248 h 10000"/>
                <a:gd name="connsiteX150" fmla="*/ 9394 w 10000"/>
                <a:gd name="connsiteY150" fmla="*/ 1611 h 10000"/>
                <a:gd name="connsiteX151" fmla="*/ 9621 w 10000"/>
                <a:gd name="connsiteY151" fmla="*/ 1507 h 10000"/>
                <a:gd name="connsiteX152" fmla="*/ 9903 w 10000"/>
                <a:gd name="connsiteY152" fmla="*/ 1538 h 10000"/>
                <a:gd name="connsiteX153" fmla="*/ 10000 w 10000"/>
                <a:gd name="connsiteY15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240 w 10000"/>
                <a:gd name="connsiteY109" fmla="*/ 2673 h 10000"/>
                <a:gd name="connsiteX110" fmla="*/ 3340 w 10000"/>
                <a:gd name="connsiteY110" fmla="*/ 2746 h 10000"/>
                <a:gd name="connsiteX111" fmla="*/ 3468 w 10000"/>
                <a:gd name="connsiteY111" fmla="*/ 2818 h 10000"/>
                <a:gd name="connsiteX112" fmla="*/ 3634 w 10000"/>
                <a:gd name="connsiteY112" fmla="*/ 2622 h 10000"/>
                <a:gd name="connsiteX113" fmla="*/ 3642 w 10000"/>
                <a:gd name="connsiteY113" fmla="*/ 2404 h 10000"/>
                <a:gd name="connsiteX114" fmla="*/ 3586 w 10000"/>
                <a:gd name="connsiteY114" fmla="*/ 2301 h 10000"/>
                <a:gd name="connsiteX115" fmla="*/ 3812 w 10000"/>
                <a:gd name="connsiteY115" fmla="*/ 2250 h 10000"/>
                <a:gd name="connsiteX116" fmla="*/ 3905 w 10000"/>
                <a:gd name="connsiteY116" fmla="*/ 2497 h 10000"/>
                <a:gd name="connsiteX117" fmla="*/ 3905 w 10000"/>
                <a:gd name="connsiteY117" fmla="*/ 2425 h 10000"/>
                <a:gd name="connsiteX118" fmla="*/ 3882 w 10000"/>
                <a:gd name="connsiteY118" fmla="*/ 2353 h 10000"/>
                <a:gd name="connsiteX119" fmla="*/ 3875 w 10000"/>
                <a:gd name="connsiteY119" fmla="*/ 2178 h 10000"/>
                <a:gd name="connsiteX120" fmla="*/ 3656 w 10000"/>
                <a:gd name="connsiteY120" fmla="*/ 1930 h 10000"/>
                <a:gd name="connsiteX121" fmla="*/ 3486 w 10000"/>
                <a:gd name="connsiteY121" fmla="*/ 2002 h 10000"/>
                <a:gd name="connsiteX122" fmla="*/ 3415 w 10000"/>
                <a:gd name="connsiteY122" fmla="*/ 1683 h 10000"/>
                <a:gd name="connsiteX123" fmla="*/ 3350 w 10000"/>
                <a:gd name="connsiteY123" fmla="*/ 1507 h 10000"/>
                <a:gd name="connsiteX124" fmla="*/ 3415 w 10000"/>
                <a:gd name="connsiteY124" fmla="*/ 1331 h 10000"/>
                <a:gd name="connsiteX125" fmla="*/ 3408 w 10000"/>
                <a:gd name="connsiteY125" fmla="*/ 1166 h 10000"/>
                <a:gd name="connsiteX126" fmla="*/ 3380 w 10000"/>
                <a:gd name="connsiteY126" fmla="*/ 1115 h 10000"/>
                <a:gd name="connsiteX127" fmla="*/ 3430 w 10000"/>
                <a:gd name="connsiteY127" fmla="*/ 1115 h 10000"/>
                <a:gd name="connsiteX128" fmla="*/ 3486 w 10000"/>
                <a:gd name="connsiteY128" fmla="*/ 1455 h 10000"/>
                <a:gd name="connsiteX129" fmla="*/ 3777 w 10000"/>
                <a:gd name="connsiteY129" fmla="*/ 1662 h 10000"/>
                <a:gd name="connsiteX130" fmla="*/ 3558 w 10000"/>
                <a:gd name="connsiteY130" fmla="*/ 1383 h 10000"/>
                <a:gd name="connsiteX131" fmla="*/ 3983 w 10000"/>
                <a:gd name="connsiteY131" fmla="*/ 1383 h 10000"/>
                <a:gd name="connsiteX132" fmla="*/ 4051 w 10000"/>
                <a:gd name="connsiteY132" fmla="*/ 1362 h 10000"/>
                <a:gd name="connsiteX133" fmla="*/ 3784 w 10000"/>
                <a:gd name="connsiteY133" fmla="*/ 1115 h 10000"/>
                <a:gd name="connsiteX134" fmla="*/ 3853 w 10000"/>
                <a:gd name="connsiteY134" fmla="*/ 888 h 10000"/>
                <a:gd name="connsiteX135" fmla="*/ 4151 w 10000"/>
                <a:gd name="connsiteY135" fmla="*/ 888 h 10000"/>
                <a:gd name="connsiteX136" fmla="*/ 4121 w 10000"/>
                <a:gd name="connsiteY136" fmla="*/ 713 h 10000"/>
                <a:gd name="connsiteX137" fmla="*/ 4220 w 10000"/>
                <a:gd name="connsiteY137" fmla="*/ 589 h 10000"/>
                <a:gd name="connsiteX138" fmla="*/ 4278 w 10000"/>
                <a:gd name="connsiteY138" fmla="*/ 548 h 10000"/>
                <a:gd name="connsiteX139" fmla="*/ 4498 w 10000"/>
                <a:gd name="connsiteY139" fmla="*/ 423 h 10000"/>
                <a:gd name="connsiteX140" fmla="*/ 4553 w 10000"/>
                <a:gd name="connsiteY140" fmla="*/ 371 h 10000"/>
                <a:gd name="connsiteX141" fmla="*/ 4544 w 10000"/>
                <a:gd name="connsiteY141" fmla="*/ 444 h 10000"/>
                <a:gd name="connsiteX142" fmla="*/ 4780 w 10000"/>
                <a:gd name="connsiteY142" fmla="*/ 371 h 10000"/>
                <a:gd name="connsiteX143" fmla="*/ 4971 w 10000"/>
                <a:gd name="connsiteY143" fmla="*/ 248 h 10000"/>
                <a:gd name="connsiteX144" fmla="*/ 5000 w 10000"/>
                <a:gd name="connsiteY144" fmla="*/ 0 h 10000"/>
                <a:gd name="connsiteX145" fmla="*/ 5209 w 10000"/>
                <a:gd name="connsiteY145" fmla="*/ 21 h 10000"/>
                <a:gd name="connsiteX146" fmla="*/ 5195 w 10000"/>
                <a:gd name="connsiteY146" fmla="*/ 93 h 10000"/>
                <a:gd name="connsiteX147" fmla="*/ 5209 w 10000"/>
                <a:gd name="connsiteY147" fmla="*/ 176 h 10000"/>
                <a:gd name="connsiteX148" fmla="*/ 5333 w 10000"/>
                <a:gd name="connsiteY148" fmla="*/ 248 h 10000"/>
                <a:gd name="connsiteX149" fmla="*/ 9394 w 10000"/>
                <a:gd name="connsiteY149" fmla="*/ 1611 h 10000"/>
                <a:gd name="connsiteX150" fmla="*/ 9621 w 10000"/>
                <a:gd name="connsiteY150" fmla="*/ 1507 h 10000"/>
                <a:gd name="connsiteX151" fmla="*/ 9903 w 10000"/>
                <a:gd name="connsiteY151" fmla="*/ 1538 h 10000"/>
                <a:gd name="connsiteX152" fmla="*/ 10000 w 10000"/>
                <a:gd name="connsiteY15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240 w 10000"/>
                <a:gd name="connsiteY109" fmla="*/ 2673 h 10000"/>
                <a:gd name="connsiteX110" fmla="*/ 3340 w 10000"/>
                <a:gd name="connsiteY110" fmla="*/ 2746 h 10000"/>
                <a:gd name="connsiteX111" fmla="*/ 3468 w 10000"/>
                <a:gd name="connsiteY111" fmla="*/ 2818 h 10000"/>
                <a:gd name="connsiteX112" fmla="*/ 3634 w 10000"/>
                <a:gd name="connsiteY112" fmla="*/ 2622 h 10000"/>
                <a:gd name="connsiteX113" fmla="*/ 3642 w 10000"/>
                <a:gd name="connsiteY113" fmla="*/ 2404 h 10000"/>
                <a:gd name="connsiteX114" fmla="*/ 3586 w 10000"/>
                <a:gd name="connsiteY114" fmla="*/ 2301 h 10000"/>
                <a:gd name="connsiteX115" fmla="*/ 3812 w 10000"/>
                <a:gd name="connsiteY115" fmla="*/ 2250 h 10000"/>
                <a:gd name="connsiteX116" fmla="*/ 3905 w 10000"/>
                <a:gd name="connsiteY116" fmla="*/ 2497 h 10000"/>
                <a:gd name="connsiteX117" fmla="*/ 3905 w 10000"/>
                <a:gd name="connsiteY117" fmla="*/ 2425 h 10000"/>
                <a:gd name="connsiteX118" fmla="*/ 3882 w 10000"/>
                <a:gd name="connsiteY118" fmla="*/ 2353 h 10000"/>
                <a:gd name="connsiteX119" fmla="*/ 3875 w 10000"/>
                <a:gd name="connsiteY119" fmla="*/ 2178 h 10000"/>
                <a:gd name="connsiteX120" fmla="*/ 3656 w 10000"/>
                <a:gd name="connsiteY120" fmla="*/ 1930 h 10000"/>
                <a:gd name="connsiteX121" fmla="*/ 3486 w 10000"/>
                <a:gd name="connsiteY121" fmla="*/ 2002 h 10000"/>
                <a:gd name="connsiteX122" fmla="*/ 3415 w 10000"/>
                <a:gd name="connsiteY122" fmla="*/ 1683 h 10000"/>
                <a:gd name="connsiteX123" fmla="*/ 3415 w 10000"/>
                <a:gd name="connsiteY123" fmla="*/ 1331 h 10000"/>
                <a:gd name="connsiteX124" fmla="*/ 3408 w 10000"/>
                <a:gd name="connsiteY124" fmla="*/ 1166 h 10000"/>
                <a:gd name="connsiteX125" fmla="*/ 3380 w 10000"/>
                <a:gd name="connsiteY125" fmla="*/ 1115 h 10000"/>
                <a:gd name="connsiteX126" fmla="*/ 3430 w 10000"/>
                <a:gd name="connsiteY126" fmla="*/ 1115 h 10000"/>
                <a:gd name="connsiteX127" fmla="*/ 3486 w 10000"/>
                <a:gd name="connsiteY127" fmla="*/ 1455 h 10000"/>
                <a:gd name="connsiteX128" fmla="*/ 3777 w 10000"/>
                <a:gd name="connsiteY128" fmla="*/ 1662 h 10000"/>
                <a:gd name="connsiteX129" fmla="*/ 3558 w 10000"/>
                <a:gd name="connsiteY129" fmla="*/ 1383 h 10000"/>
                <a:gd name="connsiteX130" fmla="*/ 3983 w 10000"/>
                <a:gd name="connsiteY130" fmla="*/ 1383 h 10000"/>
                <a:gd name="connsiteX131" fmla="*/ 4051 w 10000"/>
                <a:gd name="connsiteY131" fmla="*/ 1362 h 10000"/>
                <a:gd name="connsiteX132" fmla="*/ 3784 w 10000"/>
                <a:gd name="connsiteY132" fmla="*/ 1115 h 10000"/>
                <a:gd name="connsiteX133" fmla="*/ 3853 w 10000"/>
                <a:gd name="connsiteY133" fmla="*/ 888 h 10000"/>
                <a:gd name="connsiteX134" fmla="*/ 4151 w 10000"/>
                <a:gd name="connsiteY134" fmla="*/ 888 h 10000"/>
                <a:gd name="connsiteX135" fmla="*/ 4121 w 10000"/>
                <a:gd name="connsiteY135" fmla="*/ 713 h 10000"/>
                <a:gd name="connsiteX136" fmla="*/ 4220 w 10000"/>
                <a:gd name="connsiteY136" fmla="*/ 589 h 10000"/>
                <a:gd name="connsiteX137" fmla="*/ 4278 w 10000"/>
                <a:gd name="connsiteY137" fmla="*/ 548 h 10000"/>
                <a:gd name="connsiteX138" fmla="*/ 4498 w 10000"/>
                <a:gd name="connsiteY138" fmla="*/ 423 h 10000"/>
                <a:gd name="connsiteX139" fmla="*/ 4553 w 10000"/>
                <a:gd name="connsiteY139" fmla="*/ 371 h 10000"/>
                <a:gd name="connsiteX140" fmla="*/ 4544 w 10000"/>
                <a:gd name="connsiteY140" fmla="*/ 444 h 10000"/>
                <a:gd name="connsiteX141" fmla="*/ 4780 w 10000"/>
                <a:gd name="connsiteY141" fmla="*/ 371 h 10000"/>
                <a:gd name="connsiteX142" fmla="*/ 4971 w 10000"/>
                <a:gd name="connsiteY142" fmla="*/ 248 h 10000"/>
                <a:gd name="connsiteX143" fmla="*/ 5000 w 10000"/>
                <a:gd name="connsiteY143" fmla="*/ 0 h 10000"/>
                <a:gd name="connsiteX144" fmla="*/ 5209 w 10000"/>
                <a:gd name="connsiteY144" fmla="*/ 21 h 10000"/>
                <a:gd name="connsiteX145" fmla="*/ 5195 w 10000"/>
                <a:gd name="connsiteY145" fmla="*/ 93 h 10000"/>
                <a:gd name="connsiteX146" fmla="*/ 5209 w 10000"/>
                <a:gd name="connsiteY146" fmla="*/ 176 h 10000"/>
                <a:gd name="connsiteX147" fmla="*/ 5333 w 10000"/>
                <a:gd name="connsiteY147" fmla="*/ 248 h 10000"/>
                <a:gd name="connsiteX148" fmla="*/ 9394 w 10000"/>
                <a:gd name="connsiteY148" fmla="*/ 1611 h 10000"/>
                <a:gd name="connsiteX149" fmla="*/ 9621 w 10000"/>
                <a:gd name="connsiteY149" fmla="*/ 1507 h 10000"/>
                <a:gd name="connsiteX150" fmla="*/ 9903 w 10000"/>
                <a:gd name="connsiteY150" fmla="*/ 1538 h 10000"/>
                <a:gd name="connsiteX151" fmla="*/ 10000 w 10000"/>
                <a:gd name="connsiteY15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340 w 10000"/>
                <a:gd name="connsiteY109" fmla="*/ 2746 h 10000"/>
                <a:gd name="connsiteX110" fmla="*/ 3468 w 10000"/>
                <a:gd name="connsiteY110" fmla="*/ 2818 h 10000"/>
                <a:gd name="connsiteX111" fmla="*/ 3634 w 10000"/>
                <a:gd name="connsiteY111" fmla="*/ 2622 h 10000"/>
                <a:gd name="connsiteX112" fmla="*/ 3642 w 10000"/>
                <a:gd name="connsiteY112" fmla="*/ 2404 h 10000"/>
                <a:gd name="connsiteX113" fmla="*/ 3586 w 10000"/>
                <a:gd name="connsiteY113" fmla="*/ 2301 h 10000"/>
                <a:gd name="connsiteX114" fmla="*/ 3812 w 10000"/>
                <a:gd name="connsiteY114" fmla="*/ 2250 h 10000"/>
                <a:gd name="connsiteX115" fmla="*/ 3905 w 10000"/>
                <a:gd name="connsiteY115" fmla="*/ 2497 h 10000"/>
                <a:gd name="connsiteX116" fmla="*/ 3905 w 10000"/>
                <a:gd name="connsiteY116" fmla="*/ 2425 h 10000"/>
                <a:gd name="connsiteX117" fmla="*/ 3882 w 10000"/>
                <a:gd name="connsiteY117" fmla="*/ 2353 h 10000"/>
                <a:gd name="connsiteX118" fmla="*/ 3875 w 10000"/>
                <a:gd name="connsiteY118" fmla="*/ 2178 h 10000"/>
                <a:gd name="connsiteX119" fmla="*/ 3656 w 10000"/>
                <a:gd name="connsiteY119" fmla="*/ 1930 h 10000"/>
                <a:gd name="connsiteX120" fmla="*/ 3486 w 10000"/>
                <a:gd name="connsiteY120" fmla="*/ 2002 h 10000"/>
                <a:gd name="connsiteX121" fmla="*/ 3415 w 10000"/>
                <a:gd name="connsiteY121" fmla="*/ 1683 h 10000"/>
                <a:gd name="connsiteX122" fmla="*/ 3415 w 10000"/>
                <a:gd name="connsiteY122" fmla="*/ 1331 h 10000"/>
                <a:gd name="connsiteX123" fmla="*/ 3408 w 10000"/>
                <a:gd name="connsiteY123" fmla="*/ 1166 h 10000"/>
                <a:gd name="connsiteX124" fmla="*/ 3380 w 10000"/>
                <a:gd name="connsiteY124" fmla="*/ 1115 h 10000"/>
                <a:gd name="connsiteX125" fmla="*/ 3430 w 10000"/>
                <a:gd name="connsiteY125" fmla="*/ 1115 h 10000"/>
                <a:gd name="connsiteX126" fmla="*/ 3486 w 10000"/>
                <a:gd name="connsiteY126" fmla="*/ 1455 h 10000"/>
                <a:gd name="connsiteX127" fmla="*/ 3777 w 10000"/>
                <a:gd name="connsiteY127" fmla="*/ 1662 h 10000"/>
                <a:gd name="connsiteX128" fmla="*/ 3558 w 10000"/>
                <a:gd name="connsiteY128" fmla="*/ 1383 h 10000"/>
                <a:gd name="connsiteX129" fmla="*/ 3983 w 10000"/>
                <a:gd name="connsiteY129" fmla="*/ 1383 h 10000"/>
                <a:gd name="connsiteX130" fmla="*/ 4051 w 10000"/>
                <a:gd name="connsiteY130" fmla="*/ 1362 h 10000"/>
                <a:gd name="connsiteX131" fmla="*/ 3784 w 10000"/>
                <a:gd name="connsiteY131" fmla="*/ 1115 h 10000"/>
                <a:gd name="connsiteX132" fmla="*/ 3853 w 10000"/>
                <a:gd name="connsiteY132" fmla="*/ 888 h 10000"/>
                <a:gd name="connsiteX133" fmla="*/ 4151 w 10000"/>
                <a:gd name="connsiteY133" fmla="*/ 888 h 10000"/>
                <a:gd name="connsiteX134" fmla="*/ 4121 w 10000"/>
                <a:gd name="connsiteY134" fmla="*/ 713 h 10000"/>
                <a:gd name="connsiteX135" fmla="*/ 4220 w 10000"/>
                <a:gd name="connsiteY135" fmla="*/ 589 h 10000"/>
                <a:gd name="connsiteX136" fmla="*/ 4278 w 10000"/>
                <a:gd name="connsiteY136" fmla="*/ 548 h 10000"/>
                <a:gd name="connsiteX137" fmla="*/ 4498 w 10000"/>
                <a:gd name="connsiteY137" fmla="*/ 423 h 10000"/>
                <a:gd name="connsiteX138" fmla="*/ 4553 w 10000"/>
                <a:gd name="connsiteY138" fmla="*/ 371 h 10000"/>
                <a:gd name="connsiteX139" fmla="*/ 4544 w 10000"/>
                <a:gd name="connsiteY139" fmla="*/ 444 h 10000"/>
                <a:gd name="connsiteX140" fmla="*/ 4780 w 10000"/>
                <a:gd name="connsiteY140" fmla="*/ 371 h 10000"/>
                <a:gd name="connsiteX141" fmla="*/ 4971 w 10000"/>
                <a:gd name="connsiteY141" fmla="*/ 248 h 10000"/>
                <a:gd name="connsiteX142" fmla="*/ 5000 w 10000"/>
                <a:gd name="connsiteY142" fmla="*/ 0 h 10000"/>
                <a:gd name="connsiteX143" fmla="*/ 5209 w 10000"/>
                <a:gd name="connsiteY143" fmla="*/ 21 h 10000"/>
                <a:gd name="connsiteX144" fmla="*/ 5195 w 10000"/>
                <a:gd name="connsiteY144" fmla="*/ 93 h 10000"/>
                <a:gd name="connsiteX145" fmla="*/ 5209 w 10000"/>
                <a:gd name="connsiteY145" fmla="*/ 176 h 10000"/>
                <a:gd name="connsiteX146" fmla="*/ 5333 w 10000"/>
                <a:gd name="connsiteY146" fmla="*/ 248 h 10000"/>
                <a:gd name="connsiteX147" fmla="*/ 9394 w 10000"/>
                <a:gd name="connsiteY147" fmla="*/ 1611 h 10000"/>
                <a:gd name="connsiteX148" fmla="*/ 9621 w 10000"/>
                <a:gd name="connsiteY148" fmla="*/ 1507 h 10000"/>
                <a:gd name="connsiteX149" fmla="*/ 9903 w 10000"/>
                <a:gd name="connsiteY149" fmla="*/ 1538 h 10000"/>
                <a:gd name="connsiteX150" fmla="*/ 10000 w 10000"/>
                <a:gd name="connsiteY15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468 w 10000"/>
                <a:gd name="connsiteY109" fmla="*/ 2818 h 10000"/>
                <a:gd name="connsiteX110" fmla="*/ 3634 w 10000"/>
                <a:gd name="connsiteY110" fmla="*/ 2622 h 10000"/>
                <a:gd name="connsiteX111" fmla="*/ 3642 w 10000"/>
                <a:gd name="connsiteY111" fmla="*/ 2404 h 10000"/>
                <a:gd name="connsiteX112" fmla="*/ 3586 w 10000"/>
                <a:gd name="connsiteY112" fmla="*/ 2301 h 10000"/>
                <a:gd name="connsiteX113" fmla="*/ 3812 w 10000"/>
                <a:gd name="connsiteY113" fmla="*/ 2250 h 10000"/>
                <a:gd name="connsiteX114" fmla="*/ 3905 w 10000"/>
                <a:gd name="connsiteY114" fmla="*/ 2497 h 10000"/>
                <a:gd name="connsiteX115" fmla="*/ 3905 w 10000"/>
                <a:gd name="connsiteY115" fmla="*/ 2425 h 10000"/>
                <a:gd name="connsiteX116" fmla="*/ 3882 w 10000"/>
                <a:gd name="connsiteY116" fmla="*/ 2353 h 10000"/>
                <a:gd name="connsiteX117" fmla="*/ 3875 w 10000"/>
                <a:gd name="connsiteY117" fmla="*/ 2178 h 10000"/>
                <a:gd name="connsiteX118" fmla="*/ 3656 w 10000"/>
                <a:gd name="connsiteY118" fmla="*/ 1930 h 10000"/>
                <a:gd name="connsiteX119" fmla="*/ 3486 w 10000"/>
                <a:gd name="connsiteY119" fmla="*/ 2002 h 10000"/>
                <a:gd name="connsiteX120" fmla="*/ 3415 w 10000"/>
                <a:gd name="connsiteY120" fmla="*/ 1683 h 10000"/>
                <a:gd name="connsiteX121" fmla="*/ 3415 w 10000"/>
                <a:gd name="connsiteY121" fmla="*/ 1331 h 10000"/>
                <a:gd name="connsiteX122" fmla="*/ 3408 w 10000"/>
                <a:gd name="connsiteY122" fmla="*/ 1166 h 10000"/>
                <a:gd name="connsiteX123" fmla="*/ 3380 w 10000"/>
                <a:gd name="connsiteY123" fmla="*/ 1115 h 10000"/>
                <a:gd name="connsiteX124" fmla="*/ 3430 w 10000"/>
                <a:gd name="connsiteY124" fmla="*/ 1115 h 10000"/>
                <a:gd name="connsiteX125" fmla="*/ 3486 w 10000"/>
                <a:gd name="connsiteY125" fmla="*/ 1455 h 10000"/>
                <a:gd name="connsiteX126" fmla="*/ 3777 w 10000"/>
                <a:gd name="connsiteY126" fmla="*/ 1662 h 10000"/>
                <a:gd name="connsiteX127" fmla="*/ 3558 w 10000"/>
                <a:gd name="connsiteY127" fmla="*/ 1383 h 10000"/>
                <a:gd name="connsiteX128" fmla="*/ 3983 w 10000"/>
                <a:gd name="connsiteY128" fmla="*/ 1383 h 10000"/>
                <a:gd name="connsiteX129" fmla="*/ 4051 w 10000"/>
                <a:gd name="connsiteY129" fmla="*/ 1362 h 10000"/>
                <a:gd name="connsiteX130" fmla="*/ 3784 w 10000"/>
                <a:gd name="connsiteY130" fmla="*/ 1115 h 10000"/>
                <a:gd name="connsiteX131" fmla="*/ 3853 w 10000"/>
                <a:gd name="connsiteY131" fmla="*/ 888 h 10000"/>
                <a:gd name="connsiteX132" fmla="*/ 4151 w 10000"/>
                <a:gd name="connsiteY132" fmla="*/ 888 h 10000"/>
                <a:gd name="connsiteX133" fmla="*/ 4121 w 10000"/>
                <a:gd name="connsiteY133" fmla="*/ 713 h 10000"/>
                <a:gd name="connsiteX134" fmla="*/ 4220 w 10000"/>
                <a:gd name="connsiteY134" fmla="*/ 589 h 10000"/>
                <a:gd name="connsiteX135" fmla="*/ 4278 w 10000"/>
                <a:gd name="connsiteY135" fmla="*/ 548 h 10000"/>
                <a:gd name="connsiteX136" fmla="*/ 4498 w 10000"/>
                <a:gd name="connsiteY136" fmla="*/ 423 h 10000"/>
                <a:gd name="connsiteX137" fmla="*/ 4553 w 10000"/>
                <a:gd name="connsiteY137" fmla="*/ 371 h 10000"/>
                <a:gd name="connsiteX138" fmla="*/ 4544 w 10000"/>
                <a:gd name="connsiteY138" fmla="*/ 444 h 10000"/>
                <a:gd name="connsiteX139" fmla="*/ 4780 w 10000"/>
                <a:gd name="connsiteY139" fmla="*/ 371 h 10000"/>
                <a:gd name="connsiteX140" fmla="*/ 4971 w 10000"/>
                <a:gd name="connsiteY140" fmla="*/ 248 h 10000"/>
                <a:gd name="connsiteX141" fmla="*/ 5000 w 10000"/>
                <a:gd name="connsiteY141" fmla="*/ 0 h 10000"/>
                <a:gd name="connsiteX142" fmla="*/ 5209 w 10000"/>
                <a:gd name="connsiteY142" fmla="*/ 21 h 10000"/>
                <a:gd name="connsiteX143" fmla="*/ 5195 w 10000"/>
                <a:gd name="connsiteY143" fmla="*/ 93 h 10000"/>
                <a:gd name="connsiteX144" fmla="*/ 5209 w 10000"/>
                <a:gd name="connsiteY144" fmla="*/ 176 h 10000"/>
                <a:gd name="connsiteX145" fmla="*/ 5333 w 10000"/>
                <a:gd name="connsiteY145" fmla="*/ 248 h 10000"/>
                <a:gd name="connsiteX146" fmla="*/ 9394 w 10000"/>
                <a:gd name="connsiteY146" fmla="*/ 1611 h 10000"/>
                <a:gd name="connsiteX147" fmla="*/ 9621 w 10000"/>
                <a:gd name="connsiteY147" fmla="*/ 1507 h 10000"/>
                <a:gd name="connsiteX148" fmla="*/ 9903 w 10000"/>
                <a:gd name="connsiteY148" fmla="*/ 1538 h 10000"/>
                <a:gd name="connsiteX149" fmla="*/ 10000 w 10000"/>
                <a:gd name="connsiteY14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634 w 10000"/>
                <a:gd name="connsiteY109" fmla="*/ 2622 h 10000"/>
                <a:gd name="connsiteX110" fmla="*/ 3642 w 10000"/>
                <a:gd name="connsiteY110" fmla="*/ 2404 h 10000"/>
                <a:gd name="connsiteX111" fmla="*/ 3586 w 10000"/>
                <a:gd name="connsiteY111" fmla="*/ 2301 h 10000"/>
                <a:gd name="connsiteX112" fmla="*/ 3812 w 10000"/>
                <a:gd name="connsiteY112" fmla="*/ 2250 h 10000"/>
                <a:gd name="connsiteX113" fmla="*/ 3905 w 10000"/>
                <a:gd name="connsiteY113" fmla="*/ 2497 h 10000"/>
                <a:gd name="connsiteX114" fmla="*/ 3905 w 10000"/>
                <a:gd name="connsiteY114" fmla="*/ 2425 h 10000"/>
                <a:gd name="connsiteX115" fmla="*/ 3882 w 10000"/>
                <a:gd name="connsiteY115" fmla="*/ 2353 h 10000"/>
                <a:gd name="connsiteX116" fmla="*/ 3875 w 10000"/>
                <a:gd name="connsiteY116" fmla="*/ 2178 h 10000"/>
                <a:gd name="connsiteX117" fmla="*/ 3656 w 10000"/>
                <a:gd name="connsiteY117" fmla="*/ 1930 h 10000"/>
                <a:gd name="connsiteX118" fmla="*/ 3486 w 10000"/>
                <a:gd name="connsiteY118" fmla="*/ 2002 h 10000"/>
                <a:gd name="connsiteX119" fmla="*/ 3415 w 10000"/>
                <a:gd name="connsiteY119" fmla="*/ 1683 h 10000"/>
                <a:gd name="connsiteX120" fmla="*/ 3415 w 10000"/>
                <a:gd name="connsiteY120" fmla="*/ 1331 h 10000"/>
                <a:gd name="connsiteX121" fmla="*/ 3408 w 10000"/>
                <a:gd name="connsiteY121" fmla="*/ 1166 h 10000"/>
                <a:gd name="connsiteX122" fmla="*/ 3380 w 10000"/>
                <a:gd name="connsiteY122" fmla="*/ 1115 h 10000"/>
                <a:gd name="connsiteX123" fmla="*/ 3430 w 10000"/>
                <a:gd name="connsiteY123" fmla="*/ 1115 h 10000"/>
                <a:gd name="connsiteX124" fmla="*/ 3486 w 10000"/>
                <a:gd name="connsiteY124" fmla="*/ 1455 h 10000"/>
                <a:gd name="connsiteX125" fmla="*/ 3777 w 10000"/>
                <a:gd name="connsiteY125" fmla="*/ 1662 h 10000"/>
                <a:gd name="connsiteX126" fmla="*/ 3558 w 10000"/>
                <a:gd name="connsiteY126" fmla="*/ 1383 h 10000"/>
                <a:gd name="connsiteX127" fmla="*/ 3983 w 10000"/>
                <a:gd name="connsiteY127" fmla="*/ 1383 h 10000"/>
                <a:gd name="connsiteX128" fmla="*/ 4051 w 10000"/>
                <a:gd name="connsiteY128" fmla="*/ 1362 h 10000"/>
                <a:gd name="connsiteX129" fmla="*/ 3784 w 10000"/>
                <a:gd name="connsiteY129" fmla="*/ 1115 h 10000"/>
                <a:gd name="connsiteX130" fmla="*/ 3853 w 10000"/>
                <a:gd name="connsiteY130" fmla="*/ 888 h 10000"/>
                <a:gd name="connsiteX131" fmla="*/ 4151 w 10000"/>
                <a:gd name="connsiteY131" fmla="*/ 888 h 10000"/>
                <a:gd name="connsiteX132" fmla="*/ 4121 w 10000"/>
                <a:gd name="connsiteY132" fmla="*/ 713 h 10000"/>
                <a:gd name="connsiteX133" fmla="*/ 4220 w 10000"/>
                <a:gd name="connsiteY133" fmla="*/ 589 h 10000"/>
                <a:gd name="connsiteX134" fmla="*/ 4278 w 10000"/>
                <a:gd name="connsiteY134" fmla="*/ 548 h 10000"/>
                <a:gd name="connsiteX135" fmla="*/ 4498 w 10000"/>
                <a:gd name="connsiteY135" fmla="*/ 423 h 10000"/>
                <a:gd name="connsiteX136" fmla="*/ 4553 w 10000"/>
                <a:gd name="connsiteY136" fmla="*/ 371 h 10000"/>
                <a:gd name="connsiteX137" fmla="*/ 4544 w 10000"/>
                <a:gd name="connsiteY137" fmla="*/ 444 h 10000"/>
                <a:gd name="connsiteX138" fmla="*/ 4780 w 10000"/>
                <a:gd name="connsiteY138" fmla="*/ 371 h 10000"/>
                <a:gd name="connsiteX139" fmla="*/ 4971 w 10000"/>
                <a:gd name="connsiteY139" fmla="*/ 248 h 10000"/>
                <a:gd name="connsiteX140" fmla="*/ 5000 w 10000"/>
                <a:gd name="connsiteY140" fmla="*/ 0 h 10000"/>
                <a:gd name="connsiteX141" fmla="*/ 5209 w 10000"/>
                <a:gd name="connsiteY141" fmla="*/ 21 h 10000"/>
                <a:gd name="connsiteX142" fmla="*/ 5195 w 10000"/>
                <a:gd name="connsiteY142" fmla="*/ 93 h 10000"/>
                <a:gd name="connsiteX143" fmla="*/ 5209 w 10000"/>
                <a:gd name="connsiteY143" fmla="*/ 176 h 10000"/>
                <a:gd name="connsiteX144" fmla="*/ 5333 w 10000"/>
                <a:gd name="connsiteY144" fmla="*/ 248 h 10000"/>
                <a:gd name="connsiteX145" fmla="*/ 9394 w 10000"/>
                <a:gd name="connsiteY145" fmla="*/ 1611 h 10000"/>
                <a:gd name="connsiteX146" fmla="*/ 9621 w 10000"/>
                <a:gd name="connsiteY146" fmla="*/ 1507 h 10000"/>
                <a:gd name="connsiteX147" fmla="*/ 9903 w 10000"/>
                <a:gd name="connsiteY147" fmla="*/ 1538 h 10000"/>
                <a:gd name="connsiteX148" fmla="*/ 10000 w 10000"/>
                <a:gd name="connsiteY14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634 w 10000"/>
                <a:gd name="connsiteY109" fmla="*/ 2622 h 10000"/>
                <a:gd name="connsiteX110" fmla="*/ 3642 w 10000"/>
                <a:gd name="connsiteY110" fmla="*/ 2404 h 10000"/>
                <a:gd name="connsiteX111" fmla="*/ 3812 w 10000"/>
                <a:gd name="connsiteY111" fmla="*/ 2250 h 10000"/>
                <a:gd name="connsiteX112" fmla="*/ 3905 w 10000"/>
                <a:gd name="connsiteY112" fmla="*/ 2497 h 10000"/>
                <a:gd name="connsiteX113" fmla="*/ 3905 w 10000"/>
                <a:gd name="connsiteY113" fmla="*/ 2425 h 10000"/>
                <a:gd name="connsiteX114" fmla="*/ 3882 w 10000"/>
                <a:gd name="connsiteY114" fmla="*/ 2353 h 10000"/>
                <a:gd name="connsiteX115" fmla="*/ 3875 w 10000"/>
                <a:gd name="connsiteY115" fmla="*/ 2178 h 10000"/>
                <a:gd name="connsiteX116" fmla="*/ 3656 w 10000"/>
                <a:gd name="connsiteY116" fmla="*/ 1930 h 10000"/>
                <a:gd name="connsiteX117" fmla="*/ 3486 w 10000"/>
                <a:gd name="connsiteY117" fmla="*/ 2002 h 10000"/>
                <a:gd name="connsiteX118" fmla="*/ 3415 w 10000"/>
                <a:gd name="connsiteY118" fmla="*/ 1683 h 10000"/>
                <a:gd name="connsiteX119" fmla="*/ 3415 w 10000"/>
                <a:gd name="connsiteY119" fmla="*/ 1331 h 10000"/>
                <a:gd name="connsiteX120" fmla="*/ 3408 w 10000"/>
                <a:gd name="connsiteY120" fmla="*/ 1166 h 10000"/>
                <a:gd name="connsiteX121" fmla="*/ 3380 w 10000"/>
                <a:gd name="connsiteY121" fmla="*/ 1115 h 10000"/>
                <a:gd name="connsiteX122" fmla="*/ 3430 w 10000"/>
                <a:gd name="connsiteY122" fmla="*/ 1115 h 10000"/>
                <a:gd name="connsiteX123" fmla="*/ 3486 w 10000"/>
                <a:gd name="connsiteY123" fmla="*/ 1455 h 10000"/>
                <a:gd name="connsiteX124" fmla="*/ 3777 w 10000"/>
                <a:gd name="connsiteY124" fmla="*/ 1662 h 10000"/>
                <a:gd name="connsiteX125" fmla="*/ 3558 w 10000"/>
                <a:gd name="connsiteY125" fmla="*/ 1383 h 10000"/>
                <a:gd name="connsiteX126" fmla="*/ 3983 w 10000"/>
                <a:gd name="connsiteY126" fmla="*/ 1383 h 10000"/>
                <a:gd name="connsiteX127" fmla="*/ 4051 w 10000"/>
                <a:gd name="connsiteY127" fmla="*/ 1362 h 10000"/>
                <a:gd name="connsiteX128" fmla="*/ 3784 w 10000"/>
                <a:gd name="connsiteY128" fmla="*/ 1115 h 10000"/>
                <a:gd name="connsiteX129" fmla="*/ 3853 w 10000"/>
                <a:gd name="connsiteY129" fmla="*/ 888 h 10000"/>
                <a:gd name="connsiteX130" fmla="*/ 4151 w 10000"/>
                <a:gd name="connsiteY130" fmla="*/ 888 h 10000"/>
                <a:gd name="connsiteX131" fmla="*/ 4121 w 10000"/>
                <a:gd name="connsiteY131" fmla="*/ 713 h 10000"/>
                <a:gd name="connsiteX132" fmla="*/ 4220 w 10000"/>
                <a:gd name="connsiteY132" fmla="*/ 589 h 10000"/>
                <a:gd name="connsiteX133" fmla="*/ 4278 w 10000"/>
                <a:gd name="connsiteY133" fmla="*/ 548 h 10000"/>
                <a:gd name="connsiteX134" fmla="*/ 4498 w 10000"/>
                <a:gd name="connsiteY134" fmla="*/ 423 h 10000"/>
                <a:gd name="connsiteX135" fmla="*/ 4553 w 10000"/>
                <a:gd name="connsiteY135" fmla="*/ 371 h 10000"/>
                <a:gd name="connsiteX136" fmla="*/ 4544 w 10000"/>
                <a:gd name="connsiteY136" fmla="*/ 444 h 10000"/>
                <a:gd name="connsiteX137" fmla="*/ 4780 w 10000"/>
                <a:gd name="connsiteY137" fmla="*/ 371 h 10000"/>
                <a:gd name="connsiteX138" fmla="*/ 4971 w 10000"/>
                <a:gd name="connsiteY138" fmla="*/ 248 h 10000"/>
                <a:gd name="connsiteX139" fmla="*/ 5000 w 10000"/>
                <a:gd name="connsiteY139" fmla="*/ 0 h 10000"/>
                <a:gd name="connsiteX140" fmla="*/ 5209 w 10000"/>
                <a:gd name="connsiteY140" fmla="*/ 21 h 10000"/>
                <a:gd name="connsiteX141" fmla="*/ 5195 w 10000"/>
                <a:gd name="connsiteY141" fmla="*/ 93 h 10000"/>
                <a:gd name="connsiteX142" fmla="*/ 5209 w 10000"/>
                <a:gd name="connsiteY142" fmla="*/ 176 h 10000"/>
                <a:gd name="connsiteX143" fmla="*/ 5333 w 10000"/>
                <a:gd name="connsiteY143" fmla="*/ 248 h 10000"/>
                <a:gd name="connsiteX144" fmla="*/ 9394 w 10000"/>
                <a:gd name="connsiteY144" fmla="*/ 1611 h 10000"/>
                <a:gd name="connsiteX145" fmla="*/ 9621 w 10000"/>
                <a:gd name="connsiteY145" fmla="*/ 1507 h 10000"/>
                <a:gd name="connsiteX146" fmla="*/ 9903 w 10000"/>
                <a:gd name="connsiteY146" fmla="*/ 1538 h 10000"/>
                <a:gd name="connsiteX147" fmla="*/ 10000 w 10000"/>
                <a:gd name="connsiteY14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634 w 10000"/>
                <a:gd name="connsiteY109" fmla="*/ 2622 h 10000"/>
                <a:gd name="connsiteX110" fmla="*/ 3812 w 10000"/>
                <a:gd name="connsiteY110" fmla="*/ 2250 h 10000"/>
                <a:gd name="connsiteX111" fmla="*/ 3905 w 10000"/>
                <a:gd name="connsiteY111" fmla="*/ 2497 h 10000"/>
                <a:gd name="connsiteX112" fmla="*/ 3905 w 10000"/>
                <a:gd name="connsiteY112" fmla="*/ 2425 h 10000"/>
                <a:gd name="connsiteX113" fmla="*/ 3882 w 10000"/>
                <a:gd name="connsiteY113" fmla="*/ 2353 h 10000"/>
                <a:gd name="connsiteX114" fmla="*/ 3875 w 10000"/>
                <a:gd name="connsiteY114" fmla="*/ 2178 h 10000"/>
                <a:gd name="connsiteX115" fmla="*/ 3656 w 10000"/>
                <a:gd name="connsiteY115" fmla="*/ 1930 h 10000"/>
                <a:gd name="connsiteX116" fmla="*/ 3486 w 10000"/>
                <a:gd name="connsiteY116" fmla="*/ 2002 h 10000"/>
                <a:gd name="connsiteX117" fmla="*/ 3415 w 10000"/>
                <a:gd name="connsiteY117" fmla="*/ 1683 h 10000"/>
                <a:gd name="connsiteX118" fmla="*/ 3415 w 10000"/>
                <a:gd name="connsiteY118" fmla="*/ 1331 h 10000"/>
                <a:gd name="connsiteX119" fmla="*/ 3408 w 10000"/>
                <a:gd name="connsiteY119" fmla="*/ 1166 h 10000"/>
                <a:gd name="connsiteX120" fmla="*/ 3380 w 10000"/>
                <a:gd name="connsiteY120" fmla="*/ 1115 h 10000"/>
                <a:gd name="connsiteX121" fmla="*/ 3430 w 10000"/>
                <a:gd name="connsiteY121" fmla="*/ 1115 h 10000"/>
                <a:gd name="connsiteX122" fmla="*/ 3486 w 10000"/>
                <a:gd name="connsiteY122" fmla="*/ 1455 h 10000"/>
                <a:gd name="connsiteX123" fmla="*/ 3777 w 10000"/>
                <a:gd name="connsiteY123" fmla="*/ 1662 h 10000"/>
                <a:gd name="connsiteX124" fmla="*/ 3558 w 10000"/>
                <a:gd name="connsiteY124" fmla="*/ 1383 h 10000"/>
                <a:gd name="connsiteX125" fmla="*/ 3983 w 10000"/>
                <a:gd name="connsiteY125" fmla="*/ 1383 h 10000"/>
                <a:gd name="connsiteX126" fmla="*/ 4051 w 10000"/>
                <a:gd name="connsiteY126" fmla="*/ 1362 h 10000"/>
                <a:gd name="connsiteX127" fmla="*/ 3784 w 10000"/>
                <a:gd name="connsiteY127" fmla="*/ 1115 h 10000"/>
                <a:gd name="connsiteX128" fmla="*/ 3853 w 10000"/>
                <a:gd name="connsiteY128" fmla="*/ 888 h 10000"/>
                <a:gd name="connsiteX129" fmla="*/ 4151 w 10000"/>
                <a:gd name="connsiteY129" fmla="*/ 888 h 10000"/>
                <a:gd name="connsiteX130" fmla="*/ 4121 w 10000"/>
                <a:gd name="connsiteY130" fmla="*/ 713 h 10000"/>
                <a:gd name="connsiteX131" fmla="*/ 4220 w 10000"/>
                <a:gd name="connsiteY131" fmla="*/ 589 h 10000"/>
                <a:gd name="connsiteX132" fmla="*/ 4278 w 10000"/>
                <a:gd name="connsiteY132" fmla="*/ 548 h 10000"/>
                <a:gd name="connsiteX133" fmla="*/ 4498 w 10000"/>
                <a:gd name="connsiteY133" fmla="*/ 423 h 10000"/>
                <a:gd name="connsiteX134" fmla="*/ 4553 w 10000"/>
                <a:gd name="connsiteY134" fmla="*/ 371 h 10000"/>
                <a:gd name="connsiteX135" fmla="*/ 4544 w 10000"/>
                <a:gd name="connsiteY135" fmla="*/ 444 h 10000"/>
                <a:gd name="connsiteX136" fmla="*/ 4780 w 10000"/>
                <a:gd name="connsiteY136" fmla="*/ 371 h 10000"/>
                <a:gd name="connsiteX137" fmla="*/ 4971 w 10000"/>
                <a:gd name="connsiteY137" fmla="*/ 248 h 10000"/>
                <a:gd name="connsiteX138" fmla="*/ 5000 w 10000"/>
                <a:gd name="connsiteY138" fmla="*/ 0 h 10000"/>
                <a:gd name="connsiteX139" fmla="*/ 5209 w 10000"/>
                <a:gd name="connsiteY139" fmla="*/ 21 h 10000"/>
                <a:gd name="connsiteX140" fmla="*/ 5195 w 10000"/>
                <a:gd name="connsiteY140" fmla="*/ 93 h 10000"/>
                <a:gd name="connsiteX141" fmla="*/ 5209 w 10000"/>
                <a:gd name="connsiteY141" fmla="*/ 176 h 10000"/>
                <a:gd name="connsiteX142" fmla="*/ 5333 w 10000"/>
                <a:gd name="connsiteY142" fmla="*/ 248 h 10000"/>
                <a:gd name="connsiteX143" fmla="*/ 9394 w 10000"/>
                <a:gd name="connsiteY143" fmla="*/ 1611 h 10000"/>
                <a:gd name="connsiteX144" fmla="*/ 9621 w 10000"/>
                <a:gd name="connsiteY144" fmla="*/ 1507 h 10000"/>
                <a:gd name="connsiteX145" fmla="*/ 9903 w 10000"/>
                <a:gd name="connsiteY145" fmla="*/ 1538 h 10000"/>
                <a:gd name="connsiteX146" fmla="*/ 10000 w 10000"/>
                <a:gd name="connsiteY14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812 w 10000"/>
                <a:gd name="connsiteY109" fmla="*/ 2250 h 10000"/>
                <a:gd name="connsiteX110" fmla="*/ 3905 w 10000"/>
                <a:gd name="connsiteY110" fmla="*/ 2497 h 10000"/>
                <a:gd name="connsiteX111" fmla="*/ 3905 w 10000"/>
                <a:gd name="connsiteY111" fmla="*/ 2425 h 10000"/>
                <a:gd name="connsiteX112" fmla="*/ 3882 w 10000"/>
                <a:gd name="connsiteY112" fmla="*/ 2353 h 10000"/>
                <a:gd name="connsiteX113" fmla="*/ 3875 w 10000"/>
                <a:gd name="connsiteY113" fmla="*/ 2178 h 10000"/>
                <a:gd name="connsiteX114" fmla="*/ 3656 w 10000"/>
                <a:gd name="connsiteY114" fmla="*/ 1930 h 10000"/>
                <a:gd name="connsiteX115" fmla="*/ 3486 w 10000"/>
                <a:gd name="connsiteY115" fmla="*/ 2002 h 10000"/>
                <a:gd name="connsiteX116" fmla="*/ 3415 w 10000"/>
                <a:gd name="connsiteY116" fmla="*/ 1683 h 10000"/>
                <a:gd name="connsiteX117" fmla="*/ 3415 w 10000"/>
                <a:gd name="connsiteY117" fmla="*/ 1331 h 10000"/>
                <a:gd name="connsiteX118" fmla="*/ 3408 w 10000"/>
                <a:gd name="connsiteY118" fmla="*/ 1166 h 10000"/>
                <a:gd name="connsiteX119" fmla="*/ 3380 w 10000"/>
                <a:gd name="connsiteY119" fmla="*/ 1115 h 10000"/>
                <a:gd name="connsiteX120" fmla="*/ 3430 w 10000"/>
                <a:gd name="connsiteY120" fmla="*/ 1115 h 10000"/>
                <a:gd name="connsiteX121" fmla="*/ 3486 w 10000"/>
                <a:gd name="connsiteY121" fmla="*/ 1455 h 10000"/>
                <a:gd name="connsiteX122" fmla="*/ 3777 w 10000"/>
                <a:gd name="connsiteY122" fmla="*/ 1662 h 10000"/>
                <a:gd name="connsiteX123" fmla="*/ 3558 w 10000"/>
                <a:gd name="connsiteY123" fmla="*/ 1383 h 10000"/>
                <a:gd name="connsiteX124" fmla="*/ 3983 w 10000"/>
                <a:gd name="connsiteY124" fmla="*/ 1383 h 10000"/>
                <a:gd name="connsiteX125" fmla="*/ 4051 w 10000"/>
                <a:gd name="connsiteY125" fmla="*/ 1362 h 10000"/>
                <a:gd name="connsiteX126" fmla="*/ 3784 w 10000"/>
                <a:gd name="connsiteY126" fmla="*/ 1115 h 10000"/>
                <a:gd name="connsiteX127" fmla="*/ 3853 w 10000"/>
                <a:gd name="connsiteY127" fmla="*/ 888 h 10000"/>
                <a:gd name="connsiteX128" fmla="*/ 4151 w 10000"/>
                <a:gd name="connsiteY128" fmla="*/ 888 h 10000"/>
                <a:gd name="connsiteX129" fmla="*/ 4121 w 10000"/>
                <a:gd name="connsiteY129" fmla="*/ 713 h 10000"/>
                <a:gd name="connsiteX130" fmla="*/ 4220 w 10000"/>
                <a:gd name="connsiteY130" fmla="*/ 589 h 10000"/>
                <a:gd name="connsiteX131" fmla="*/ 4278 w 10000"/>
                <a:gd name="connsiteY131" fmla="*/ 548 h 10000"/>
                <a:gd name="connsiteX132" fmla="*/ 4498 w 10000"/>
                <a:gd name="connsiteY132" fmla="*/ 423 h 10000"/>
                <a:gd name="connsiteX133" fmla="*/ 4553 w 10000"/>
                <a:gd name="connsiteY133" fmla="*/ 371 h 10000"/>
                <a:gd name="connsiteX134" fmla="*/ 4544 w 10000"/>
                <a:gd name="connsiteY134" fmla="*/ 444 h 10000"/>
                <a:gd name="connsiteX135" fmla="*/ 4780 w 10000"/>
                <a:gd name="connsiteY135" fmla="*/ 371 h 10000"/>
                <a:gd name="connsiteX136" fmla="*/ 4971 w 10000"/>
                <a:gd name="connsiteY136" fmla="*/ 248 h 10000"/>
                <a:gd name="connsiteX137" fmla="*/ 5000 w 10000"/>
                <a:gd name="connsiteY137" fmla="*/ 0 h 10000"/>
                <a:gd name="connsiteX138" fmla="*/ 5209 w 10000"/>
                <a:gd name="connsiteY138" fmla="*/ 21 h 10000"/>
                <a:gd name="connsiteX139" fmla="*/ 5195 w 10000"/>
                <a:gd name="connsiteY139" fmla="*/ 93 h 10000"/>
                <a:gd name="connsiteX140" fmla="*/ 5209 w 10000"/>
                <a:gd name="connsiteY140" fmla="*/ 176 h 10000"/>
                <a:gd name="connsiteX141" fmla="*/ 5333 w 10000"/>
                <a:gd name="connsiteY141" fmla="*/ 248 h 10000"/>
                <a:gd name="connsiteX142" fmla="*/ 9394 w 10000"/>
                <a:gd name="connsiteY142" fmla="*/ 1611 h 10000"/>
                <a:gd name="connsiteX143" fmla="*/ 9621 w 10000"/>
                <a:gd name="connsiteY143" fmla="*/ 1507 h 10000"/>
                <a:gd name="connsiteX144" fmla="*/ 9903 w 10000"/>
                <a:gd name="connsiteY144" fmla="*/ 1538 h 10000"/>
                <a:gd name="connsiteX145" fmla="*/ 10000 w 10000"/>
                <a:gd name="connsiteY14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812 w 10000"/>
                <a:gd name="connsiteY109" fmla="*/ 2250 h 10000"/>
                <a:gd name="connsiteX110" fmla="*/ 3905 w 10000"/>
                <a:gd name="connsiteY110" fmla="*/ 2497 h 10000"/>
                <a:gd name="connsiteX111" fmla="*/ 3905 w 10000"/>
                <a:gd name="connsiteY111" fmla="*/ 2425 h 10000"/>
                <a:gd name="connsiteX112" fmla="*/ 3882 w 10000"/>
                <a:gd name="connsiteY112" fmla="*/ 2353 h 10000"/>
                <a:gd name="connsiteX113" fmla="*/ 3875 w 10000"/>
                <a:gd name="connsiteY113" fmla="*/ 2178 h 10000"/>
                <a:gd name="connsiteX114" fmla="*/ 3656 w 10000"/>
                <a:gd name="connsiteY114" fmla="*/ 1930 h 10000"/>
                <a:gd name="connsiteX115" fmla="*/ 3415 w 10000"/>
                <a:gd name="connsiteY115" fmla="*/ 1683 h 10000"/>
                <a:gd name="connsiteX116" fmla="*/ 3415 w 10000"/>
                <a:gd name="connsiteY116" fmla="*/ 1331 h 10000"/>
                <a:gd name="connsiteX117" fmla="*/ 3408 w 10000"/>
                <a:gd name="connsiteY117" fmla="*/ 1166 h 10000"/>
                <a:gd name="connsiteX118" fmla="*/ 3380 w 10000"/>
                <a:gd name="connsiteY118" fmla="*/ 1115 h 10000"/>
                <a:gd name="connsiteX119" fmla="*/ 3430 w 10000"/>
                <a:gd name="connsiteY119" fmla="*/ 1115 h 10000"/>
                <a:gd name="connsiteX120" fmla="*/ 3486 w 10000"/>
                <a:gd name="connsiteY120" fmla="*/ 1455 h 10000"/>
                <a:gd name="connsiteX121" fmla="*/ 3777 w 10000"/>
                <a:gd name="connsiteY121" fmla="*/ 1662 h 10000"/>
                <a:gd name="connsiteX122" fmla="*/ 3558 w 10000"/>
                <a:gd name="connsiteY122" fmla="*/ 1383 h 10000"/>
                <a:gd name="connsiteX123" fmla="*/ 3983 w 10000"/>
                <a:gd name="connsiteY123" fmla="*/ 1383 h 10000"/>
                <a:gd name="connsiteX124" fmla="*/ 4051 w 10000"/>
                <a:gd name="connsiteY124" fmla="*/ 1362 h 10000"/>
                <a:gd name="connsiteX125" fmla="*/ 3784 w 10000"/>
                <a:gd name="connsiteY125" fmla="*/ 1115 h 10000"/>
                <a:gd name="connsiteX126" fmla="*/ 3853 w 10000"/>
                <a:gd name="connsiteY126" fmla="*/ 888 h 10000"/>
                <a:gd name="connsiteX127" fmla="*/ 4151 w 10000"/>
                <a:gd name="connsiteY127" fmla="*/ 888 h 10000"/>
                <a:gd name="connsiteX128" fmla="*/ 4121 w 10000"/>
                <a:gd name="connsiteY128" fmla="*/ 713 h 10000"/>
                <a:gd name="connsiteX129" fmla="*/ 4220 w 10000"/>
                <a:gd name="connsiteY129" fmla="*/ 589 h 10000"/>
                <a:gd name="connsiteX130" fmla="*/ 4278 w 10000"/>
                <a:gd name="connsiteY130" fmla="*/ 548 h 10000"/>
                <a:gd name="connsiteX131" fmla="*/ 4498 w 10000"/>
                <a:gd name="connsiteY131" fmla="*/ 423 h 10000"/>
                <a:gd name="connsiteX132" fmla="*/ 4553 w 10000"/>
                <a:gd name="connsiteY132" fmla="*/ 371 h 10000"/>
                <a:gd name="connsiteX133" fmla="*/ 4544 w 10000"/>
                <a:gd name="connsiteY133" fmla="*/ 444 h 10000"/>
                <a:gd name="connsiteX134" fmla="*/ 4780 w 10000"/>
                <a:gd name="connsiteY134" fmla="*/ 371 h 10000"/>
                <a:gd name="connsiteX135" fmla="*/ 4971 w 10000"/>
                <a:gd name="connsiteY135" fmla="*/ 248 h 10000"/>
                <a:gd name="connsiteX136" fmla="*/ 5000 w 10000"/>
                <a:gd name="connsiteY136" fmla="*/ 0 h 10000"/>
                <a:gd name="connsiteX137" fmla="*/ 5209 w 10000"/>
                <a:gd name="connsiteY137" fmla="*/ 21 h 10000"/>
                <a:gd name="connsiteX138" fmla="*/ 5195 w 10000"/>
                <a:gd name="connsiteY138" fmla="*/ 93 h 10000"/>
                <a:gd name="connsiteX139" fmla="*/ 5209 w 10000"/>
                <a:gd name="connsiteY139" fmla="*/ 176 h 10000"/>
                <a:gd name="connsiteX140" fmla="*/ 5333 w 10000"/>
                <a:gd name="connsiteY140" fmla="*/ 248 h 10000"/>
                <a:gd name="connsiteX141" fmla="*/ 9394 w 10000"/>
                <a:gd name="connsiteY141" fmla="*/ 1611 h 10000"/>
                <a:gd name="connsiteX142" fmla="*/ 9621 w 10000"/>
                <a:gd name="connsiteY142" fmla="*/ 1507 h 10000"/>
                <a:gd name="connsiteX143" fmla="*/ 9903 w 10000"/>
                <a:gd name="connsiteY143" fmla="*/ 1538 h 10000"/>
                <a:gd name="connsiteX144" fmla="*/ 10000 w 10000"/>
                <a:gd name="connsiteY14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812 w 10000"/>
                <a:gd name="connsiteY109" fmla="*/ 2250 h 10000"/>
                <a:gd name="connsiteX110" fmla="*/ 3905 w 10000"/>
                <a:gd name="connsiteY110" fmla="*/ 2497 h 10000"/>
                <a:gd name="connsiteX111" fmla="*/ 3905 w 10000"/>
                <a:gd name="connsiteY111" fmla="*/ 2425 h 10000"/>
                <a:gd name="connsiteX112" fmla="*/ 3882 w 10000"/>
                <a:gd name="connsiteY112" fmla="*/ 2353 h 10000"/>
                <a:gd name="connsiteX113" fmla="*/ 3656 w 10000"/>
                <a:gd name="connsiteY113" fmla="*/ 1930 h 10000"/>
                <a:gd name="connsiteX114" fmla="*/ 3415 w 10000"/>
                <a:gd name="connsiteY114" fmla="*/ 1683 h 10000"/>
                <a:gd name="connsiteX115" fmla="*/ 3415 w 10000"/>
                <a:gd name="connsiteY115" fmla="*/ 1331 h 10000"/>
                <a:gd name="connsiteX116" fmla="*/ 3408 w 10000"/>
                <a:gd name="connsiteY116" fmla="*/ 1166 h 10000"/>
                <a:gd name="connsiteX117" fmla="*/ 3380 w 10000"/>
                <a:gd name="connsiteY117" fmla="*/ 1115 h 10000"/>
                <a:gd name="connsiteX118" fmla="*/ 3430 w 10000"/>
                <a:gd name="connsiteY118" fmla="*/ 1115 h 10000"/>
                <a:gd name="connsiteX119" fmla="*/ 3486 w 10000"/>
                <a:gd name="connsiteY119" fmla="*/ 1455 h 10000"/>
                <a:gd name="connsiteX120" fmla="*/ 3777 w 10000"/>
                <a:gd name="connsiteY120" fmla="*/ 1662 h 10000"/>
                <a:gd name="connsiteX121" fmla="*/ 3558 w 10000"/>
                <a:gd name="connsiteY121" fmla="*/ 1383 h 10000"/>
                <a:gd name="connsiteX122" fmla="*/ 3983 w 10000"/>
                <a:gd name="connsiteY122" fmla="*/ 1383 h 10000"/>
                <a:gd name="connsiteX123" fmla="*/ 4051 w 10000"/>
                <a:gd name="connsiteY123" fmla="*/ 1362 h 10000"/>
                <a:gd name="connsiteX124" fmla="*/ 3784 w 10000"/>
                <a:gd name="connsiteY124" fmla="*/ 1115 h 10000"/>
                <a:gd name="connsiteX125" fmla="*/ 3853 w 10000"/>
                <a:gd name="connsiteY125" fmla="*/ 888 h 10000"/>
                <a:gd name="connsiteX126" fmla="*/ 4151 w 10000"/>
                <a:gd name="connsiteY126" fmla="*/ 888 h 10000"/>
                <a:gd name="connsiteX127" fmla="*/ 4121 w 10000"/>
                <a:gd name="connsiteY127" fmla="*/ 713 h 10000"/>
                <a:gd name="connsiteX128" fmla="*/ 4220 w 10000"/>
                <a:gd name="connsiteY128" fmla="*/ 589 h 10000"/>
                <a:gd name="connsiteX129" fmla="*/ 4278 w 10000"/>
                <a:gd name="connsiteY129" fmla="*/ 548 h 10000"/>
                <a:gd name="connsiteX130" fmla="*/ 4498 w 10000"/>
                <a:gd name="connsiteY130" fmla="*/ 423 h 10000"/>
                <a:gd name="connsiteX131" fmla="*/ 4553 w 10000"/>
                <a:gd name="connsiteY131" fmla="*/ 371 h 10000"/>
                <a:gd name="connsiteX132" fmla="*/ 4544 w 10000"/>
                <a:gd name="connsiteY132" fmla="*/ 444 h 10000"/>
                <a:gd name="connsiteX133" fmla="*/ 4780 w 10000"/>
                <a:gd name="connsiteY133" fmla="*/ 371 h 10000"/>
                <a:gd name="connsiteX134" fmla="*/ 4971 w 10000"/>
                <a:gd name="connsiteY134" fmla="*/ 248 h 10000"/>
                <a:gd name="connsiteX135" fmla="*/ 5000 w 10000"/>
                <a:gd name="connsiteY135" fmla="*/ 0 h 10000"/>
                <a:gd name="connsiteX136" fmla="*/ 5209 w 10000"/>
                <a:gd name="connsiteY136" fmla="*/ 21 h 10000"/>
                <a:gd name="connsiteX137" fmla="*/ 5195 w 10000"/>
                <a:gd name="connsiteY137" fmla="*/ 93 h 10000"/>
                <a:gd name="connsiteX138" fmla="*/ 5209 w 10000"/>
                <a:gd name="connsiteY138" fmla="*/ 176 h 10000"/>
                <a:gd name="connsiteX139" fmla="*/ 5333 w 10000"/>
                <a:gd name="connsiteY139" fmla="*/ 248 h 10000"/>
                <a:gd name="connsiteX140" fmla="*/ 9394 w 10000"/>
                <a:gd name="connsiteY140" fmla="*/ 1611 h 10000"/>
                <a:gd name="connsiteX141" fmla="*/ 9621 w 10000"/>
                <a:gd name="connsiteY141" fmla="*/ 1507 h 10000"/>
                <a:gd name="connsiteX142" fmla="*/ 9903 w 10000"/>
                <a:gd name="connsiteY142" fmla="*/ 1538 h 10000"/>
                <a:gd name="connsiteX143" fmla="*/ 10000 w 10000"/>
                <a:gd name="connsiteY14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812 w 10000"/>
                <a:gd name="connsiteY109" fmla="*/ 2250 h 10000"/>
                <a:gd name="connsiteX110" fmla="*/ 3905 w 10000"/>
                <a:gd name="connsiteY110" fmla="*/ 2497 h 10000"/>
                <a:gd name="connsiteX111" fmla="*/ 3905 w 10000"/>
                <a:gd name="connsiteY111" fmla="*/ 2425 h 10000"/>
                <a:gd name="connsiteX112" fmla="*/ 3882 w 10000"/>
                <a:gd name="connsiteY112" fmla="*/ 2353 h 10000"/>
                <a:gd name="connsiteX113" fmla="*/ 3656 w 10000"/>
                <a:gd name="connsiteY113" fmla="*/ 1930 h 10000"/>
                <a:gd name="connsiteX114" fmla="*/ 3415 w 10000"/>
                <a:gd name="connsiteY114" fmla="*/ 1683 h 10000"/>
                <a:gd name="connsiteX115" fmla="*/ 3415 w 10000"/>
                <a:gd name="connsiteY115" fmla="*/ 1331 h 10000"/>
                <a:gd name="connsiteX116" fmla="*/ 3408 w 10000"/>
                <a:gd name="connsiteY116" fmla="*/ 1166 h 10000"/>
                <a:gd name="connsiteX117" fmla="*/ 3380 w 10000"/>
                <a:gd name="connsiteY117" fmla="*/ 1115 h 10000"/>
                <a:gd name="connsiteX118" fmla="*/ 3430 w 10000"/>
                <a:gd name="connsiteY118" fmla="*/ 1115 h 10000"/>
                <a:gd name="connsiteX119" fmla="*/ 3486 w 10000"/>
                <a:gd name="connsiteY119" fmla="*/ 1455 h 10000"/>
                <a:gd name="connsiteX120" fmla="*/ 3777 w 10000"/>
                <a:gd name="connsiteY120" fmla="*/ 1662 h 10000"/>
                <a:gd name="connsiteX121" fmla="*/ 3558 w 10000"/>
                <a:gd name="connsiteY121" fmla="*/ 1383 h 10000"/>
                <a:gd name="connsiteX122" fmla="*/ 3983 w 10000"/>
                <a:gd name="connsiteY122" fmla="*/ 1383 h 10000"/>
                <a:gd name="connsiteX123" fmla="*/ 4051 w 10000"/>
                <a:gd name="connsiteY123" fmla="*/ 1362 h 10000"/>
                <a:gd name="connsiteX124" fmla="*/ 3784 w 10000"/>
                <a:gd name="connsiteY124" fmla="*/ 1115 h 10000"/>
                <a:gd name="connsiteX125" fmla="*/ 3853 w 10000"/>
                <a:gd name="connsiteY125" fmla="*/ 888 h 10000"/>
                <a:gd name="connsiteX126" fmla="*/ 4151 w 10000"/>
                <a:gd name="connsiteY126" fmla="*/ 888 h 10000"/>
                <a:gd name="connsiteX127" fmla="*/ 4121 w 10000"/>
                <a:gd name="connsiteY127" fmla="*/ 713 h 10000"/>
                <a:gd name="connsiteX128" fmla="*/ 4220 w 10000"/>
                <a:gd name="connsiteY128" fmla="*/ 589 h 10000"/>
                <a:gd name="connsiteX129" fmla="*/ 4278 w 10000"/>
                <a:gd name="connsiteY129" fmla="*/ 548 h 10000"/>
                <a:gd name="connsiteX130" fmla="*/ 4498 w 10000"/>
                <a:gd name="connsiteY130" fmla="*/ 423 h 10000"/>
                <a:gd name="connsiteX131" fmla="*/ 4553 w 10000"/>
                <a:gd name="connsiteY131" fmla="*/ 371 h 10000"/>
                <a:gd name="connsiteX132" fmla="*/ 4544 w 10000"/>
                <a:gd name="connsiteY132" fmla="*/ 444 h 10000"/>
                <a:gd name="connsiteX133" fmla="*/ 4780 w 10000"/>
                <a:gd name="connsiteY133" fmla="*/ 371 h 10000"/>
                <a:gd name="connsiteX134" fmla="*/ 4971 w 10000"/>
                <a:gd name="connsiteY134" fmla="*/ 248 h 10000"/>
                <a:gd name="connsiteX135" fmla="*/ 5000 w 10000"/>
                <a:gd name="connsiteY135" fmla="*/ 0 h 10000"/>
                <a:gd name="connsiteX136" fmla="*/ 5209 w 10000"/>
                <a:gd name="connsiteY136" fmla="*/ 21 h 10000"/>
                <a:gd name="connsiteX137" fmla="*/ 5195 w 10000"/>
                <a:gd name="connsiteY137" fmla="*/ 93 h 10000"/>
                <a:gd name="connsiteX138" fmla="*/ 5209 w 10000"/>
                <a:gd name="connsiteY138" fmla="*/ 176 h 10000"/>
                <a:gd name="connsiteX139" fmla="*/ 5333 w 10000"/>
                <a:gd name="connsiteY139" fmla="*/ 248 h 10000"/>
                <a:gd name="connsiteX140" fmla="*/ 9394 w 10000"/>
                <a:gd name="connsiteY140" fmla="*/ 1611 h 10000"/>
                <a:gd name="connsiteX141" fmla="*/ 9621 w 10000"/>
                <a:gd name="connsiteY141" fmla="*/ 1507 h 10000"/>
                <a:gd name="connsiteX142" fmla="*/ 9903 w 10000"/>
                <a:gd name="connsiteY142" fmla="*/ 1538 h 10000"/>
                <a:gd name="connsiteX143" fmla="*/ 10000 w 10000"/>
                <a:gd name="connsiteY14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812 w 10000"/>
                <a:gd name="connsiteY109" fmla="*/ 2250 h 10000"/>
                <a:gd name="connsiteX110" fmla="*/ 3905 w 10000"/>
                <a:gd name="connsiteY110" fmla="*/ 2497 h 10000"/>
                <a:gd name="connsiteX111" fmla="*/ 3905 w 10000"/>
                <a:gd name="connsiteY111" fmla="*/ 2425 h 10000"/>
                <a:gd name="connsiteX112" fmla="*/ 3656 w 10000"/>
                <a:gd name="connsiteY112" fmla="*/ 1930 h 10000"/>
                <a:gd name="connsiteX113" fmla="*/ 3415 w 10000"/>
                <a:gd name="connsiteY113" fmla="*/ 1683 h 10000"/>
                <a:gd name="connsiteX114" fmla="*/ 3415 w 10000"/>
                <a:gd name="connsiteY114" fmla="*/ 1331 h 10000"/>
                <a:gd name="connsiteX115" fmla="*/ 3408 w 10000"/>
                <a:gd name="connsiteY115" fmla="*/ 1166 h 10000"/>
                <a:gd name="connsiteX116" fmla="*/ 3380 w 10000"/>
                <a:gd name="connsiteY116" fmla="*/ 1115 h 10000"/>
                <a:gd name="connsiteX117" fmla="*/ 3430 w 10000"/>
                <a:gd name="connsiteY117" fmla="*/ 1115 h 10000"/>
                <a:gd name="connsiteX118" fmla="*/ 3486 w 10000"/>
                <a:gd name="connsiteY118" fmla="*/ 1455 h 10000"/>
                <a:gd name="connsiteX119" fmla="*/ 3777 w 10000"/>
                <a:gd name="connsiteY119" fmla="*/ 1662 h 10000"/>
                <a:gd name="connsiteX120" fmla="*/ 3558 w 10000"/>
                <a:gd name="connsiteY120" fmla="*/ 1383 h 10000"/>
                <a:gd name="connsiteX121" fmla="*/ 3983 w 10000"/>
                <a:gd name="connsiteY121" fmla="*/ 1383 h 10000"/>
                <a:gd name="connsiteX122" fmla="*/ 4051 w 10000"/>
                <a:gd name="connsiteY122" fmla="*/ 1362 h 10000"/>
                <a:gd name="connsiteX123" fmla="*/ 3784 w 10000"/>
                <a:gd name="connsiteY123" fmla="*/ 1115 h 10000"/>
                <a:gd name="connsiteX124" fmla="*/ 3853 w 10000"/>
                <a:gd name="connsiteY124" fmla="*/ 888 h 10000"/>
                <a:gd name="connsiteX125" fmla="*/ 4151 w 10000"/>
                <a:gd name="connsiteY125" fmla="*/ 888 h 10000"/>
                <a:gd name="connsiteX126" fmla="*/ 4121 w 10000"/>
                <a:gd name="connsiteY126" fmla="*/ 713 h 10000"/>
                <a:gd name="connsiteX127" fmla="*/ 4220 w 10000"/>
                <a:gd name="connsiteY127" fmla="*/ 589 h 10000"/>
                <a:gd name="connsiteX128" fmla="*/ 4278 w 10000"/>
                <a:gd name="connsiteY128" fmla="*/ 548 h 10000"/>
                <a:gd name="connsiteX129" fmla="*/ 4498 w 10000"/>
                <a:gd name="connsiteY129" fmla="*/ 423 h 10000"/>
                <a:gd name="connsiteX130" fmla="*/ 4553 w 10000"/>
                <a:gd name="connsiteY130" fmla="*/ 371 h 10000"/>
                <a:gd name="connsiteX131" fmla="*/ 4544 w 10000"/>
                <a:gd name="connsiteY131" fmla="*/ 444 h 10000"/>
                <a:gd name="connsiteX132" fmla="*/ 4780 w 10000"/>
                <a:gd name="connsiteY132" fmla="*/ 371 h 10000"/>
                <a:gd name="connsiteX133" fmla="*/ 4971 w 10000"/>
                <a:gd name="connsiteY133" fmla="*/ 248 h 10000"/>
                <a:gd name="connsiteX134" fmla="*/ 5000 w 10000"/>
                <a:gd name="connsiteY134" fmla="*/ 0 h 10000"/>
                <a:gd name="connsiteX135" fmla="*/ 5209 w 10000"/>
                <a:gd name="connsiteY135" fmla="*/ 21 h 10000"/>
                <a:gd name="connsiteX136" fmla="*/ 5195 w 10000"/>
                <a:gd name="connsiteY136" fmla="*/ 93 h 10000"/>
                <a:gd name="connsiteX137" fmla="*/ 5209 w 10000"/>
                <a:gd name="connsiteY137" fmla="*/ 176 h 10000"/>
                <a:gd name="connsiteX138" fmla="*/ 5333 w 10000"/>
                <a:gd name="connsiteY138" fmla="*/ 248 h 10000"/>
                <a:gd name="connsiteX139" fmla="*/ 9394 w 10000"/>
                <a:gd name="connsiteY139" fmla="*/ 1611 h 10000"/>
                <a:gd name="connsiteX140" fmla="*/ 9621 w 10000"/>
                <a:gd name="connsiteY140" fmla="*/ 1507 h 10000"/>
                <a:gd name="connsiteX141" fmla="*/ 9903 w 10000"/>
                <a:gd name="connsiteY141" fmla="*/ 1538 h 10000"/>
                <a:gd name="connsiteX142" fmla="*/ 10000 w 10000"/>
                <a:gd name="connsiteY14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812 w 10000"/>
                <a:gd name="connsiteY109" fmla="*/ 2250 h 10000"/>
                <a:gd name="connsiteX110" fmla="*/ 3905 w 10000"/>
                <a:gd name="connsiteY110" fmla="*/ 2497 h 10000"/>
                <a:gd name="connsiteX111" fmla="*/ 3656 w 10000"/>
                <a:gd name="connsiteY111" fmla="*/ 1930 h 10000"/>
                <a:gd name="connsiteX112" fmla="*/ 3415 w 10000"/>
                <a:gd name="connsiteY112" fmla="*/ 1683 h 10000"/>
                <a:gd name="connsiteX113" fmla="*/ 3415 w 10000"/>
                <a:gd name="connsiteY113" fmla="*/ 1331 h 10000"/>
                <a:gd name="connsiteX114" fmla="*/ 3408 w 10000"/>
                <a:gd name="connsiteY114" fmla="*/ 1166 h 10000"/>
                <a:gd name="connsiteX115" fmla="*/ 3380 w 10000"/>
                <a:gd name="connsiteY115" fmla="*/ 1115 h 10000"/>
                <a:gd name="connsiteX116" fmla="*/ 3430 w 10000"/>
                <a:gd name="connsiteY116" fmla="*/ 1115 h 10000"/>
                <a:gd name="connsiteX117" fmla="*/ 3486 w 10000"/>
                <a:gd name="connsiteY117" fmla="*/ 1455 h 10000"/>
                <a:gd name="connsiteX118" fmla="*/ 3777 w 10000"/>
                <a:gd name="connsiteY118" fmla="*/ 1662 h 10000"/>
                <a:gd name="connsiteX119" fmla="*/ 3558 w 10000"/>
                <a:gd name="connsiteY119" fmla="*/ 1383 h 10000"/>
                <a:gd name="connsiteX120" fmla="*/ 3983 w 10000"/>
                <a:gd name="connsiteY120" fmla="*/ 1383 h 10000"/>
                <a:gd name="connsiteX121" fmla="*/ 4051 w 10000"/>
                <a:gd name="connsiteY121" fmla="*/ 1362 h 10000"/>
                <a:gd name="connsiteX122" fmla="*/ 3784 w 10000"/>
                <a:gd name="connsiteY122" fmla="*/ 1115 h 10000"/>
                <a:gd name="connsiteX123" fmla="*/ 3853 w 10000"/>
                <a:gd name="connsiteY123" fmla="*/ 888 h 10000"/>
                <a:gd name="connsiteX124" fmla="*/ 4151 w 10000"/>
                <a:gd name="connsiteY124" fmla="*/ 888 h 10000"/>
                <a:gd name="connsiteX125" fmla="*/ 4121 w 10000"/>
                <a:gd name="connsiteY125" fmla="*/ 713 h 10000"/>
                <a:gd name="connsiteX126" fmla="*/ 4220 w 10000"/>
                <a:gd name="connsiteY126" fmla="*/ 589 h 10000"/>
                <a:gd name="connsiteX127" fmla="*/ 4278 w 10000"/>
                <a:gd name="connsiteY127" fmla="*/ 548 h 10000"/>
                <a:gd name="connsiteX128" fmla="*/ 4498 w 10000"/>
                <a:gd name="connsiteY128" fmla="*/ 423 h 10000"/>
                <a:gd name="connsiteX129" fmla="*/ 4553 w 10000"/>
                <a:gd name="connsiteY129" fmla="*/ 371 h 10000"/>
                <a:gd name="connsiteX130" fmla="*/ 4544 w 10000"/>
                <a:gd name="connsiteY130" fmla="*/ 444 h 10000"/>
                <a:gd name="connsiteX131" fmla="*/ 4780 w 10000"/>
                <a:gd name="connsiteY131" fmla="*/ 371 h 10000"/>
                <a:gd name="connsiteX132" fmla="*/ 4971 w 10000"/>
                <a:gd name="connsiteY132" fmla="*/ 248 h 10000"/>
                <a:gd name="connsiteX133" fmla="*/ 5000 w 10000"/>
                <a:gd name="connsiteY133" fmla="*/ 0 h 10000"/>
                <a:gd name="connsiteX134" fmla="*/ 5209 w 10000"/>
                <a:gd name="connsiteY134" fmla="*/ 21 h 10000"/>
                <a:gd name="connsiteX135" fmla="*/ 5195 w 10000"/>
                <a:gd name="connsiteY135" fmla="*/ 93 h 10000"/>
                <a:gd name="connsiteX136" fmla="*/ 5209 w 10000"/>
                <a:gd name="connsiteY136" fmla="*/ 176 h 10000"/>
                <a:gd name="connsiteX137" fmla="*/ 5333 w 10000"/>
                <a:gd name="connsiteY137" fmla="*/ 248 h 10000"/>
                <a:gd name="connsiteX138" fmla="*/ 9394 w 10000"/>
                <a:gd name="connsiteY138" fmla="*/ 1611 h 10000"/>
                <a:gd name="connsiteX139" fmla="*/ 9621 w 10000"/>
                <a:gd name="connsiteY139" fmla="*/ 1507 h 10000"/>
                <a:gd name="connsiteX140" fmla="*/ 9903 w 10000"/>
                <a:gd name="connsiteY140" fmla="*/ 1538 h 10000"/>
                <a:gd name="connsiteX141" fmla="*/ 10000 w 10000"/>
                <a:gd name="connsiteY14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812 w 10000"/>
                <a:gd name="connsiteY109" fmla="*/ 2250 h 10000"/>
                <a:gd name="connsiteX110" fmla="*/ 3656 w 10000"/>
                <a:gd name="connsiteY110" fmla="*/ 1930 h 10000"/>
                <a:gd name="connsiteX111" fmla="*/ 3415 w 10000"/>
                <a:gd name="connsiteY111" fmla="*/ 1683 h 10000"/>
                <a:gd name="connsiteX112" fmla="*/ 3415 w 10000"/>
                <a:gd name="connsiteY112" fmla="*/ 1331 h 10000"/>
                <a:gd name="connsiteX113" fmla="*/ 3408 w 10000"/>
                <a:gd name="connsiteY113" fmla="*/ 1166 h 10000"/>
                <a:gd name="connsiteX114" fmla="*/ 3380 w 10000"/>
                <a:gd name="connsiteY114" fmla="*/ 1115 h 10000"/>
                <a:gd name="connsiteX115" fmla="*/ 3430 w 10000"/>
                <a:gd name="connsiteY115" fmla="*/ 1115 h 10000"/>
                <a:gd name="connsiteX116" fmla="*/ 3486 w 10000"/>
                <a:gd name="connsiteY116" fmla="*/ 1455 h 10000"/>
                <a:gd name="connsiteX117" fmla="*/ 3777 w 10000"/>
                <a:gd name="connsiteY117" fmla="*/ 1662 h 10000"/>
                <a:gd name="connsiteX118" fmla="*/ 3558 w 10000"/>
                <a:gd name="connsiteY118" fmla="*/ 1383 h 10000"/>
                <a:gd name="connsiteX119" fmla="*/ 3983 w 10000"/>
                <a:gd name="connsiteY119" fmla="*/ 1383 h 10000"/>
                <a:gd name="connsiteX120" fmla="*/ 4051 w 10000"/>
                <a:gd name="connsiteY120" fmla="*/ 1362 h 10000"/>
                <a:gd name="connsiteX121" fmla="*/ 3784 w 10000"/>
                <a:gd name="connsiteY121" fmla="*/ 1115 h 10000"/>
                <a:gd name="connsiteX122" fmla="*/ 3853 w 10000"/>
                <a:gd name="connsiteY122" fmla="*/ 888 h 10000"/>
                <a:gd name="connsiteX123" fmla="*/ 4151 w 10000"/>
                <a:gd name="connsiteY123" fmla="*/ 888 h 10000"/>
                <a:gd name="connsiteX124" fmla="*/ 4121 w 10000"/>
                <a:gd name="connsiteY124" fmla="*/ 713 h 10000"/>
                <a:gd name="connsiteX125" fmla="*/ 4220 w 10000"/>
                <a:gd name="connsiteY125" fmla="*/ 589 h 10000"/>
                <a:gd name="connsiteX126" fmla="*/ 4278 w 10000"/>
                <a:gd name="connsiteY126" fmla="*/ 548 h 10000"/>
                <a:gd name="connsiteX127" fmla="*/ 4498 w 10000"/>
                <a:gd name="connsiteY127" fmla="*/ 423 h 10000"/>
                <a:gd name="connsiteX128" fmla="*/ 4553 w 10000"/>
                <a:gd name="connsiteY128" fmla="*/ 371 h 10000"/>
                <a:gd name="connsiteX129" fmla="*/ 4544 w 10000"/>
                <a:gd name="connsiteY129" fmla="*/ 444 h 10000"/>
                <a:gd name="connsiteX130" fmla="*/ 4780 w 10000"/>
                <a:gd name="connsiteY130" fmla="*/ 371 h 10000"/>
                <a:gd name="connsiteX131" fmla="*/ 4971 w 10000"/>
                <a:gd name="connsiteY131" fmla="*/ 248 h 10000"/>
                <a:gd name="connsiteX132" fmla="*/ 5000 w 10000"/>
                <a:gd name="connsiteY132" fmla="*/ 0 h 10000"/>
                <a:gd name="connsiteX133" fmla="*/ 5209 w 10000"/>
                <a:gd name="connsiteY133" fmla="*/ 21 h 10000"/>
                <a:gd name="connsiteX134" fmla="*/ 5195 w 10000"/>
                <a:gd name="connsiteY134" fmla="*/ 93 h 10000"/>
                <a:gd name="connsiteX135" fmla="*/ 5209 w 10000"/>
                <a:gd name="connsiteY135" fmla="*/ 176 h 10000"/>
                <a:gd name="connsiteX136" fmla="*/ 5333 w 10000"/>
                <a:gd name="connsiteY136" fmla="*/ 248 h 10000"/>
                <a:gd name="connsiteX137" fmla="*/ 9394 w 10000"/>
                <a:gd name="connsiteY137" fmla="*/ 1611 h 10000"/>
                <a:gd name="connsiteX138" fmla="*/ 9621 w 10000"/>
                <a:gd name="connsiteY138" fmla="*/ 1507 h 10000"/>
                <a:gd name="connsiteX139" fmla="*/ 9903 w 10000"/>
                <a:gd name="connsiteY139" fmla="*/ 1538 h 10000"/>
                <a:gd name="connsiteX140" fmla="*/ 10000 w 10000"/>
                <a:gd name="connsiteY14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86 w 10000"/>
                <a:gd name="connsiteY108" fmla="*/ 2157 h 10000"/>
                <a:gd name="connsiteX109" fmla="*/ 3656 w 10000"/>
                <a:gd name="connsiteY109" fmla="*/ 1930 h 10000"/>
                <a:gd name="connsiteX110" fmla="*/ 3415 w 10000"/>
                <a:gd name="connsiteY110" fmla="*/ 1683 h 10000"/>
                <a:gd name="connsiteX111" fmla="*/ 3415 w 10000"/>
                <a:gd name="connsiteY111" fmla="*/ 1331 h 10000"/>
                <a:gd name="connsiteX112" fmla="*/ 3408 w 10000"/>
                <a:gd name="connsiteY112" fmla="*/ 1166 h 10000"/>
                <a:gd name="connsiteX113" fmla="*/ 3380 w 10000"/>
                <a:gd name="connsiteY113" fmla="*/ 1115 h 10000"/>
                <a:gd name="connsiteX114" fmla="*/ 3430 w 10000"/>
                <a:gd name="connsiteY114" fmla="*/ 1115 h 10000"/>
                <a:gd name="connsiteX115" fmla="*/ 3486 w 10000"/>
                <a:gd name="connsiteY115" fmla="*/ 1455 h 10000"/>
                <a:gd name="connsiteX116" fmla="*/ 3777 w 10000"/>
                <a:gd name="connsiteY116" fmla="*/ 1662 h 10000"/>
                <a:gd name="connsiteX117" fmla="*/ 3558 w 10000"/>
                <a:gd name="connsiteY117" fmla="*/ 1383 h 10000"/>
                <a:gd name="connsiteX118" fmla="*/ 3983 w 10000"/>
                <a:gd name="connsiteY118" fmla="*/ 1383 h 10000"/>
                <a:gd name="connsiteX119" fmla="*/ 4051 w 10000"/>
                <a:gd name="connsiteY119" fmla="*/ 1362 h 10000"/>
                <a:gd name="connsiteX120" fmla="*/ 3784 w 10000"/>
                <a:gd name="connsiteY120" fmla="*/ 1115 h 10000"/>
                <a:gd name="connsiteX121" fmla="*/ 3853 w 10000"/>
                <a:gd name="connsiteY121" fmla="*/ 888 h 10000"/>
                <a:gd name="connsiteX122" fmla="*/ 4151 w 10000"/>
                <a:gd name="connsiteY122" fmla="*/ 888 h 10000"/>
                <a:gd name="connsiteX123" fmla="*/ 4121 w 10000"/>
                <a:gd name="connsiteY123" fmla="*/ 713 h 10000"/>
                <a:gd name="connsiteX124" fmla="*/ 4220 w 10000"/>
                <a:gd name="connsiteY124" fmla="*/ 589 h 10000"/>
                <a:gd name="connsiteX125" fmla="*/ 4278 w 10000"/>
                <a:gd name="connsiteY125" fmla="*/ 548 h 10000"/>
                <a:gd name="connsiteX126" fmla="*/ 4498 w 10000"/>
                <a:gd name="connsiteY126" fmla="*/ 423 h 10000"/>
                <a:gd name="connsiteX127" fmla="*/ 4553 w 10000"/>
                <a:gd name="connsiteY127" fmla="*/ 371 h 10000"/>
                <a:gd name="connsiteX128" fmla="*/ 4544 w 10000"/>
                <a:gd name="connsiteY128" fmla="*/ 444 h 10000"/>
                <a:gd name="connsiteX129" fmla="*/ 4780 w 10000"/>
                <a:gd name="connsiteY129" fmla="*/ 371 h 10000"/>
                <a:gd name="connsiteX130" fmla="*/ 4971 w 10000"/>
                <a:gd name="connsiteY130" fmla="*/ 248 h 10000"/>
                <a:gd name="connsiteX131" fmla="*/ 5000 w 10000"/>
                <a:gd name="connsiteY131" fmla="*/ 0 h 10000"/>
                <a:gd name="connsiteX132" fmla="*/ 5209 w 10000"/>
                <a:gd name="connsiteY132" fmla="*/ 21 h 10000"/>
                <a:gd name="connsiteX133" fmla="*/ 5195 w 10000"/>
                <a:gd name="connsiteY133" fmla="*/ 93 h 10000"/>
                <a:gd name="connsiteX134" fmla="*/ 5209 w 10000"/>
                <a:gd name="connsiteY134" fmla="*/ 176 h 10000"/>
                <a:gd name="connsiteX135" fmla="*/ 5333 w 10000"/>
                <a:gd name="connsiteY135" fmla="*/ 248 h 10000"/>
                <a:gd name="connsiteX136" fmla="*/ 9394 w 10000"/>
                <a:gd name="connsiteY136" fmla="*/ 1611 h 10000"/>
                <a:gd name="connsiteX137" fmla="*/ 9621 w 10000"/>
                <a:gd name="connsiteY137" fmla="*/ 1507 h 10000"/>
                <a:gd name="connsiteX138" fmla="*/ 9903 w 10000"/>
                <a:gd name="connsiteY138" fmla="*/ 1538 h 10000"/>
                <a:gd name="connsiteX139" fmla="*/ 10000 w 10000"/>
                <a:gd name="connsiteY13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656 w 10000"/>
                <a:gd name="connsiteY108" fmla="*/ 1930 h 10000"/>
                <a:gd name="connsiteX109" fmla="*/ 3415 w 10000"/>
                <a:gd name="connsiteY109" fmla="*/ 1683 h 10000"/>
                <a:gd name="connsiteX110" fmla="*/ 3415 w 10000"/>
                <a:gd name="connsiteY110" fmla="*/ 1331 h 10000"/>
                <a:gd name="connsiteX111" fmla="*/ 3408 w 10000"/>
                <a:gd name="connsiteY111" fmla="*/ 1166 h 10000"/>
                <a:gd name="connsiteX112" fmla="*/ 3380 w 10000"/>
                <a:gd name="connsiteY112" fmla="*/ 1115 h 10000"/>
                <a:gd name="connsiteX113" fmla="*/ 3430 w 10000"/>
                <a:gd name="connsiteY113" fmla="*/ 1115 h 10000"/>
                <a:gd name="connsiteX114" fmla="*/ 3486 w 10000"/>
                <a:gd name="connsiteY114" fmla="*/ 1455 h 10000"/>
                <a:gd name="connsiteX115" fmla="*/ 3777 w 10000"/>
                <a:gd name="connsiteY115" fmla="*/ 1662 h 10000"/>
                <a:gd name="connsiteX116" fmla="*/ 3558 w 10000"/>
                <a:gd name="connsiteY116" fmla="*/ 1383 h 10000"/>
                <a:gd name="connsiteX117" fmla="*/ 3983 w 10000"/>
                <a:gd name="connsiteY117" fmla="*/ 1383 h 10000"/>
                <a:gd name="connsiteX118" fmla="*/ 4051 w 10000"/>
                <a:gd name="connsiteY118" fmla="*/ 1362 h 10000"/>
                <a:gd name="connsiteX119" fmla="*/ 3784 w 10000"/>
                <a:gd name="connsiteY119" fmla="*/ 1115 h 10000"/>
                <a:gd name="connsiteX120" fmla="*/ 3853 w 10000"/>
                <a:gd name="connsiteY120" fmla="*/ 888 h 10000"/>
                <a:gd name="connsiteX121" fmla="*/ 4151 w 10000"/>
                <a:gd name="connsiteY121" fmla="*/ 888 h 10000"/>
                <a:gd name="connsiteX122" fmla="*/ 4121 w 10000"/>
                <a:gd name="connsiteY122" fmla="*/ 713 h 10000"/>
                <a:gd name="connsiteX123" fmla="*/ 4220 w 10000"/>
                <a:gd name="connsiteY123" fmla="*/ 589 h 10000"/>
                <a:gd name="connsiteX124" fmla="*/ 4278 w 10000"/>
                <a:gd name="connsiteY124" fmla="*/ 548 h 10000"/>
                <a:gd name="connsiteX125" fmla="*/ 4498 w 10000"/>
                <a:gd name="connsiteY125" fmla="*/ 423 h 10000"/>
                <a:gd name="connsiteX126" fmla="*/ 4553 w 10000"/>
                <a:gd name="connsiteY126" fmla="*/ 371 h 10000"/>
                <a:gd name="connsiteX127" fmla="*/ 4544 w 10000"/>
                <a:gd name="connsiteY127" fmla="*/ 444 h 10000"/>
                <a:gd name="connsiteX128" fmla="*/ 4780 w 10000"/>
                <a:gd name="connsiteY128" fmla="*/ 371 h 10000"/>
                <a:gd name="connsiteX129" fmla="*/ 4971 w 10000"/>
                <a:gd name="connsiteY129" fmla="*/ 248 h 10000"/>
                <a:gd name="connsiteX130" fmla="*/ 5000 w 10000"/>
                <a:gd name="connsiteY130" fmla="*/ 0 h 10000"/>
                <a:gd name="connsiteX131" fmla="*/ 5209 w 10000"/>
                <a:gd name="connsiteY131" fmla="*/ 21 h 10000"/>
                <a:gd name="connsiteX132" fmla="*/ 5195 w 10000"/>
                <a:gd name="connsiteY132" fmla="*/ 93 h 10000"/>
                <a:gd name="connsiteX133" fmla="*/ 5209 w 10000"/>
                <a:gd name="connsiteY133" fmla="*/ 176 h 10000"/>
                <a:gd name="connsiteX134" fmla="*/ 5333 w 10000"/>
                <a:gd name="connsiteY134" fmla="*/ 248 h 10000"/>
                <a:gd name="connsiteX135" fmla="*/ 9394 w 10000"/>
                <a:gd name="connsiteY135" fmla="*/ 1611 h 10000"/>
                <a:gd name="connsiteX136" fmla="*/ 9621 w 10000"/>
                <a:gd name="connsiteY136" fmla="*/ 1507 h 10000"/>
                <a:gd name="connsiteX137" fmla="*/ 9903 w 10000"/>
                <a:gd name="connsiteY137" fmla="*/ 1538 h 10000"/>
                <a:gd name="connsiteX138" fmla="*/ 10000 w 10000"/>
                <a:gd name="connsiteY13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15 w 10000"/>
                <a:gd name="connsiteY108" fmla="*/ 1683 h 10000"/>
                <a:gd name="connsiteX109" fmla="*/ 3415 w 10000"/>
                <a:gd name="connsiteY109" fmla="*/ 1331 h 10000"/>
                <a:gd name="connsiteX110" fmla="*/ 3408 w 10000"/>
                <a:gd name="connsiteY110" fmla="*/ 1166 h 10000"/>
                <a:gd name="connsiteX111" fmla="*/ 3380 w 10000"/>
                <a:gd name="connsiteY111" fmla="*/ 1115 h 10000"/>
                <a:gd name="connsiteX112" fmla="*/ 3430 w 10000"/>
                <a:gd name="connsiteY112" fmla="*/ 1115 h 10000"/>
                <a:gd name="connsiteX113" fmla="*/ 3486 w 10000"/>
                <a:gd name="connsiteY113" fmla="*/ 1455 h 10000"/>
                <a:gd name="connsiteX114" fmla="*/ 3777 w 10000"/>
                <a:gd name="connsiteY114" fmla="*/ 1662 h 10000"/>
                <a:gd name="connsiteX115" fmla="*/ 3558 w 10000"/>
                <a:gd name="connsiteY115" fmla="*/ 1383 h 10000"/>
                <a:gd name="connsiteX116" fmla="*/ 3983 w 10000"/>
                <a:gd name="connsiteY116" fmla="*/ 1383 h 10000"/>
                <a:gd name="connsiteX117" fmla="*/ 4051 w 10000"/>
                <a:gd name="connsiteY117" fmla="*/ 1362 h 10000"/>
                <a:gd name="connsiteX118" fmla="*/ 3784 w 10000"/>
                <a:gd name="connsiteY118" fmla="*/ 1115 h 10000"/>
                <a:gd name="connsiteX119" fmla="*/ 3853 w 10000"/>
                <a:gd name="connsiteY119" fmla="*/ 888 h 10000"/>
                <a:gd name="connsiteX120" fmla="*/ 4151 w 10000"/>
                <a:gd name="connsiteY120" fmla="*/ 888 h 10000"/>
                <a:gd name="connsiteX121" fmla="*/ 4121 w 10000"/>
                <a:gd name="connsiteY121" fmla="*/ 713 h 10000"/>
                <a:gd name="connsiteX122" fmla="*/ 4220 w 10000"/>
                <a:gd name="connsiteY122" fmla="*/ 589 h 10000"/>
                <a:gd name="connsiteX123" fmla="*/ 4278 w 10000"/>
                <a:gd name="connsiteY123" fmla="*/ 548 h 10000"/>
                <a:gd name="connsiteX124" fmla="*/ 4498 w 10000"/>
                <a:gd name="connsiteY124" fmla="*/ 423 h 10000"/>
                <a:gd name="connsiteX125" fmla="*/ 4553 w 10000"/>
                <a:gd name="connsiteY125" fmla="*/ 371 h 10000"/>
                <a:gd name="connsiteX126" fmla="*/ 4544 w 10000"/>
                <a:gd name="connsiteY126" fmla="*/ 444 h 10000"/>
                <a:gd name="connsiteX127" fmla="*/ 4780 w 10000"/>
                <a:gd name="connsiteY127" fmla="*/ 371 h 10000"/>
                <a:gd name="connsiteX128" fmla="*/ 4971 w 10000"/>
                <a:gd name="connsiteY128" fmla="*/ 248 h 10000"/>
                <a:gd name="connsiteX129" fmla="*/ 5000 w 10000"/>
                <a:gd name="connsiteY129" fmla="*/ 0 h 10000"/>
                <a:gd name="connsiteX130" fmla="*/ 5209 w 10000"/>
                <a:gd name="connsiteY130" fmla="*/ 21 h 10000"/>
                <a:gd name="connsiteX131" fmla="*/ 5195 w 10000"/>
                <a:gd name="connsiteY131" fmla="*/ 93 h 10000"/>
                <a:gd name="connsiteX132" fmla="*/ 5209 w 10000"/>
                <a:gd name="connsiteY132" fmla="*/ 176 h 10000"/>
                <a:gd name="connsiteX133" fmla="*/ 5333 w 10000"/>
                <a:gd name="connsiteY133" fmla="*/ 248 h 10000"/>
                <a:gd name="connsiteX134" fmla="*/ 9394 w 10000"/>
                <a:gd name="connsiteY134" fmla="*/ 1611 h 10000"/>
                <a:gd name="connsiteX135" fmla="*/ 9621 w 10000"/>
                <a:gd name="connsiteY135" fmla="*/ 1507 h 10000"/>
                <a:gd name="connsiteX136" fmla="*/ 9903 w 10000"/>
                <a:gd name="connsiteY136" fmla="*/ 1538 h 10000"/>
                <a:gd name="connsiteX137" fmla="*/ 10000 w 10000"/>
                <a:gd name="connsiteY13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15 w 10000"/>
                <a:gd name="connsiteY108" fmla="*/ 1683 h 10000"/>
                <a:gd name="connsiteX109" fmla="*/ 3415 w 10000"/>
                <a:gd name="connsiteY109" fmla="*/ 1331 h 10000"/>
                <a:gd name="connsiteX110" fmla="*/ 3408 w 10000"/>
                <a:gd name="connsiteY110" fmla="*/ 1166 h 10000"/>
                <a:gd name="connsiteX111" fmla="*/ 3380 w 10000"/>
                <a:gd name="connsiteY111" fmla="*/ 1115 h 10000"/>
                <a:gd name="connsiteX112" fmla="*/ 3430 w 10000"/>
                <a:gd name="connsiteY112" fmla="*/ 1115 h 10000"/>
                <a:gd name="connsiteX113" fmla="*/ 3486 w 10000"/>
                <a:gd name="connsiteY113" fmla="*/ 1455 h 10000"/>
                <a:gd name="connsiteX114" fmla="*/ 3558 w 10000"/>
                <a:gd name="connsiteY114" fmla="*/ 1383 h 10000"/>
                <a:gd name="connsiteX115" fmla="*/ 3983 w 10000"/>
                <a:gd name="connsiteY115" fmla="*/ 1383 h 10000"/>
                <a:gd name="connsiteX116" fmla="*/ 4051 w 10000"/>
                <a:gd name="connsiteY116" fmla="*/ 1362 h 10000"/>
                <a:gd name="connsiteX117" fmla="*/ 3784 w 10000"/>
                <a:gd name="connsiteY117" fmla="*/ 1115 h 10000"/>
                <a:gd name="connsiteX118" fmla="*/ 3853 w 10000"/>
                <a:gd name="connsiteY118" fmla="*/ 888 h 10000"/>
                <a:gd name="connsiteX119" fmla="*/ 4151 w 10000"/>
                <a:gd name="connsiteY119" fmla="*/ 888 h 10000"/>
                <a:gd name="connsiteX120" fmla="*/ 4121 w 10000"/>
                <a:gd name="connsiteY120" fmla="*/ 713 h 10000"/>
                <a:gd name="connsiteX121" fmla="*/ 4220 w 10000"/>
                <a:gd name="connsiteY121" fmla="*/ 589 h 10000"/>
                <a:gd name="connsiteX122" fmla="*/ 4278 w 10000"/>
                <a:gd name="connsiteY122" fmla="*/ 548 h 10000"/>
                <a:gd name="connsiteX123" fmla="*/ 4498 w 10000"/>
                <a:gd name="connsiteY123" fmla="*/ 423 h 10000"/>
                <a:gd name="connsiteX124" fmla="*/ 4553 w 10000"/>
                <a:gd name="connsiteY124" fmla="*/ 371 h 10000"/>
                <a:gd name="connsiteX125" fmla="*/ 4544 w 10000"/>
                <a:gd name="connsiteY125" fmla="*/ 444 h 10000"/>
                <a:gd name="connsiteX126" fmla="*/ 4780 w 10000"/>
                <a:gd name="connsiteY126" fmla="*/ 371 h 10000"/>
                <a:gd name="connsiteX127" fmla="*/ 4971 w 10000"/>
                <a:gd name="connsiteY127" fmla="*/ 248 h 10000"/>
                <a:gd name="connsiteX128" fmla="*/ 5000 w 10000"/>
                <a:gd name="connsiteY128" fmla="*/ 0 h 10000"/>
                <a:gd name="connsiteX129" fmla="*/ 5209 w 10000"/>
                <a:gd name="connsiteY129" fmla="*/ 21 h 10000"/>
                <a:gd name="connsiteX130" fmla="*/ 5195 w 10000"/>
                <a:gd name="connsiteY130" fmla="*/ 93 h 10000"/>
                <a:gd name="connsiteX131" fmla="*/ 5209 w 10000"/>
                <a:gd name="connsiteY131" fmla="*/ 176 h 10000"/>
                <a:gd name="connsiteX132" fmla="*/ 5333 w 10000"/>
                <a:gd name="connsiteY132" fmla="*/ 248 h 10000"/>
                <a:gd name="connsiteX133" fmla="*/ 9394 w 10000"/>
                <a:gd name="connsiteY133" fmla="*/ 1611 h 10000"/>
                <a:gd name="connsiteX134" fmla="*/ 9621 w 10000"/>
                <a:gd name="connsiteY134" fmla="*/ 1507 h 10000"/>
                <a:gd name="connsiteX135" fmla="*/ 9903 w 10000"/>
                <a:gd name="connsiteY135" fmla="*/ 1538 h 10000"/>
                <a:gd name="connsiteX136" fmla="*/ 10000 w 10000"/>
                <a:gd name="connsiteY13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15 w 10000"/>
                <a:gd name="connsiteY108" fmla="*/ 1683 h 10000"/>
                <a:gd name="connsiteX109" fmla="*/ 3415 w 10000"/>
                <a:gd name="connsiteY109" fmla="*/ 1331 h 10000"/>
                <a:gd name="connsiteX110" fmla="*/ 3408 w 10000"/>
                <a:gd name="connsiteY110" fmla="*/ 1166 h 10000"/>
                <a:gd name="connsiteX111" fmla="*/ 3380 w 10000"/>
                <a:gd name="connsiteY111" fmla="*/ 1115 h 10000"/>
                <a:gd name="connsiteX112" fmla="*/ 3430 w 10000"/>
                <a:gd name="connsiteY112" fmla="*/ 1115 h 10000"/>
                <a:gd name="connsiteX113" fmla="*/ 3486 w 10000"/>
                <a:gd name="connsiteY113" fmla="*/ 1455 h 10000"/>
                <a:gd name="connsiteX114" fmla="*/ 3983 w 10000"/>
                <a:gd name="connsiteY114" fmla="*/ 1383 h 10000"/>
                <a:gd name="connsiteX115" fmla="*/ 4051 w 10000"/>
                <a:gd name="connsiteY115" fmla="*/ 1362 h 10000"/>
                <a:gd name="connsiteX116" fmla="*/ 3784 w 10000"/>
                <a:gd name="connsiteY116" fmla="*/ 1115 h 10000"/>
                <a:gd name="connsiteX117" fmla="*/ 3853 w 10000"/>
                <a:gd name="connsiteY117" fmla="*/ 888 h 10000"/>
                <a:gd name="connsiteX118" fmla="*/ 4151 w 10000"/>
                <a:gd name="connsiteY118" fmla="*/ 888 h 10000"/>
                <a:gd name="connsiteX119" fmla="*/ 4121 w 10000"/>
                <a:gd name="connsiteY119" fmla="*/ 713 h 10000"/>
                <a:gd name="connsiteX120" fmla="*/ 4220 w 10000"/>
                <a:gd name="connsiteY120" fmla="*/ 589 h 10000"/>
                <a:gd name="connsiteX121" fmla="*/ 4278 w 10000"/>
                <a:gd name="connsiteY121" fmla="*/ 548 h 10000"/>
                <a:gd name="connsiteX122" fmla="*/ 4498 w 10000"/>
                <a:gd name="connsiteY122" fmla="*/ 423 h 10000"/>
                <a:gd name="connsiteX123" fmla="*/ 4553 w 10000"/>
                <a:gd name="connsiteY123" fmla="*/ 371 h 10000"/>
                <a:gd name="connsiteX124" fmla="*/ 4544 w 10000"/>
                <a:gd name="connsiteY124" fmla="*/ 444 h 10000"/>
                <a:gd name="connsiteX125" fmla="*/ 4780 w 10000"/>
                <a:gd name="connsiteY125" fmla="*/ 371 h 10000"/>
                <a:gd name="connsiteX126" fmla="*/ 4971 w 10000"/>
                <a:gd name="connsiteY126" fmla="*/ 248 h 10000"/>
                <a:gd name="connsiteX127" fmla="*/ 5000 w 10000"/>
                <a:gd name="connsiteY127" fmla="*/ 0 h 10000"/>
                <a:gd name="connsiteX128" fmla="*/ 5209 w 10000"/>
                <a:gd name="connsiteY128" fmla="*/ 21 h 10000"/>
                <a:gd name="connsiteX129" fmla="*/ 5195 w 10000"/>
                <a:gd name="connsiteY129" fmla="*/ 93 h 10000"/>
                <a:gd name="connsiteX130" fmla="*/ 5209 w 10000"/>
                <a:gd name="connsiteY130" fmla="*/ 176 h 10000"/>
                <a:gd name="connsiteX131" fmla="*/ 5333 w 10000"/>
                <a:gd name="connsiteY131" fmla="*/ 248 h 10000"/>
                <a:gd name="connsiteX132" fmla="*/ 9394 w 10000"/>
                <a:gd name="connsiteY132" fmla="*/ 1611 h 10000"/>
                <a:gd name="connsiteX133" fmla="*/ 9621 w 10000"/>
                <a:gd name="connsiteY133" fmla="*/ 1507 h 10000"/>
                <a:gd name="connsiteX134" fmla="*/ 9903 w 10000"/>
                <a:gd name="connsiteY134" fmla="*/ 1538 h 10000"/>
                <a:gd name="connsiteX135" fmla="*/ 10000 w 10000"/>
                <a:gd name="connsiteY13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15 w 10000"/>
                <a:gd name="connsiteY108" fmla="*/ 1331 h 10000"/>
                <a:gd name="connsiteX109" fmla="*/ 3408 w 10000"/>
                <a:gd name="connsiteY109" fmla="*/ 1166 h 10000"/>
                <a:gd name="connsiteX110" fmla="*/ 3380 w 10000"/>
                <a:gd name="connsiteY110" fmla="*/ 1115 h 10000"/>
                <a:gd name="connsiteX111" fmla="*/ 3430 w 10000"/>
                <a:gd name="connsiteY111" fmla="*/ 1115 h 10000"/>
                <a:gd name="connsiteX112" fmla="*/ 3486 w 10000"/>
                <a:gd name="connsiteY112" fmla="*/ 1455 h 10000"/>
                <a:gd name="connsiteX113" fmla="*/ 3983 w 10000"/>
                <a:gd name="connsiteY113" fmla="*/ 1383 h 10000"/>
                <a:gd name="connsiteX114" fmla="*/ 4051 w 10000"/>
                <a:gd name="connsiteY114" fmla="*/ 1362 h 10000"/>
                <a:gd name="connsiteX115" fmla="*/ 3784 w 10000"/>
                <a:gd name="connsiteY115" fmla="*/ 1115 h 10000"/>
                <a:gd name="connsiteX116" fmla="*/ 3853 w 10000"/>
                <a:gd name="connsiteY116" fmla="*/ 888 h 10000"/>
                <a:gd name="connsiteX117" fmla="*/ 4151 w 10000"/>
                <a:gd name="connsiteY117" fmla="*/ 888 h 10000"/>
                <a:gd name="connsiteX118" fmla="*/ 4121 w 10000"/>
                <a:gd name="connsiteY118" fmla="*/ 713 h 10000"/>
                <a:gd name="connsiteX119" fmla="*/ 4220 w 10000"/>
                <a:gd name="connsiteY119" fmla="*/ 589 h 10000"/>
                <a:gd name="connsiteX120" fmla="*/ 4278 w 10000"/>
                <a:gd name="connsiteY120" fmla="*/ 548 h 10000"/>
                <a:gd name="connsiteX121" fmla="*/ 4498 w 10000"/>
                <a:gd name="connsiteY121" fmla="*/ 423 h 10000"/>
                <a:gd name="connsiteX122" fmla="*/ 4553 w 10000"/>
                <a:gd name="connsiteY122" fmla="*/ 371 h 10000"/>
                <a:gd name="connsiteX123" fmla="*/ 4544 w 10000"/>
                <a:gd name="connsiteY123" fmla="*/ 444 h 10000"/>
                <a:gd name="connsiteX124" fmla="*/ 4780 w 10000"/>
                <a:gd name="connsiteY124" fmla="*/ 371 h 10000"/>
                <a:gd name="connsiteX125" fmla="*/ 4971 w 10000"/>
                <a:gd name="connsiteY125" fmla="*/ 248 h 10000"/>
                <a:gd name="connsiteX126" fmla="*/ 5000 w 10000"/>
                <a:gd name="connsiteY126" fmla="*/ 0 h 10000"/>
                <a:gd name="connsiteX127" fmla="*/ 5209 w 10000"/>
                <a:gd name="connsiteY127" fmla="*/ 21 h 10000"/>
                <a:gd name="connsiteX128" fmla="*/ 5195 w 10000"/>
                <a:gd name="connsiteY128" fmla="*/ 93 h 10000"/>
                <a:gd name="connsiteX129" fmla="*/ 5209 w 10000"/>
                <a:gd name="connsiteY129" fmla="*/ 176 h 10000"/>
                <a:gd name="connsiteX130" fmla="*/ 5333 w 10000"/>
                <a:gd name="connsiteY130" fmla="*/ 248 h 10000"/>
                <a:gd name="connsiteX131" fmla="*/ 9394 w 10000"/>
                <a:gd name="connsiteY131" fmla="*/ 1611 h 10000"/>
                <a:gd name="connsiteX132" fmla="*/ 9621 w 10000"/>
                <a:gd name="connsiteY132" fmla="*/ 1507 h 10000"/>
                <a:gd name="connsiteX133" fmla="*/ 9903 w 10000"/>
                <a:gd name="connsiteY133" fmla="*/ 1538 h 10000"/>
                <a:gd name="connsiteX134" fmla="*/ 10000 w 10000"/>
                <a:gd name="connsiteY13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363 w 10000"/>
                <a:gd name="connsiteY107" fmla="*/ 1734 h 10000"/>
                <a:gd name="connsiteX108" fmla="*/ 3415 w 10000"/>
                <a:gd name="connsiteY108" fmla="*/ 1331 h 10000"/>
                <a:gd name="connsiteX109" fmla="*/ 3408 w 10000"/>
                <a:gd name="connsiteY109" fmla="*/ 1166 h 10000"/>
                <a:gd name="connsiteX110" fmla="*/ 3380 w 10000"/>
                <a:gd name="connsiteY110" fmla="*/ 1115 h 10000"/>
                <a:gd name="connsiteX111" fmla="*/ 3430 w 10000"/>
                <a:gd name="connsiteY111" fmla="*/ 1115 h 10000"/>
                <a:gd name="connsiteX112" fmla="*/ 3983 w 10000"/>
                <a:gd name="connsiteY112" fmla="*/ 1383 h 10000"/>
                <a:gd name="connsiteX113" fmla="*/ 4051 w 10000"/>
                <a:gd name="connsiteY113" fmla="*/ 1362 h 10000"/>
                <a:gd name="connsiteX114" fmla="*/ 3784 w 10000"/>
                <a:gd name="connsiteY114" fmla="*/ 1115 h 10000"/>
                <a:gd name="connsiteX115" fmla="*/ 3853 w 10000"/>
                <a:gd name="connsiteY115" fmla="*/ 888 h 10000"/>
                <a:gd name="connsiteX116" fmla="*/ 4151 w 10000"/>
                <a:gd name="connsiteY116" fmla="*/ 888 h 10000"/>
                <a:gd name="connsiteX117" fmla="*/ 4121 w 10000"/>
                <a:gd name="connsiteY117" fmla="*/ 713 h 10000"/>
                <a:gd name="connsiteX118" fmla="*/ 4220 w 10000"/>
                <a:gd name="connsiteY118" fmla="*/ 589 h 10000"/>
                <a:gd name="connsiteX119" fmla="*/ 4278 w 10000"/>
                <a:gd name="connsiteY119" fmla="*/ 548 h 10000"/>
                <a:gd name="connsiteX120" fmla="*/ 4498 w 10000"/>
                <a:gd name="connsiteY120" fmla="*/ 423 h 10000"/>
                <a:gd name="connsiteX121" fmla="*/ 4553 w 10000"/>
                <a:gd name="connsiteY121" fmla="*/ 371 h 10000"/>
                <a:gd name="connsiteX122" fmla="*/ 4544 w 10000"/>
                <a:gd name="connsiteY122" fmla="*/ 444 h 10000"/>
                <a:gd name="connsiteX123" fmla="*/ 4780 w 10000"/>
                <a:gd name="connsiteY123" fmla="*/ 371 h 10000"/>
                <a:gd name="connsiteX124" fmla="*/ 4971 w 10000"/>
                <a:gd name="connsiteY124" fmla="*/ 248 h 10000"/>
                <a:gd name="connsiteX125" fmla="*/ 5000 w 10000"/>
                <a:gd name="connsiteY125" fmla="*/ 0 h 10000"/>
                <a:gd name="connsiteX126" fmla="*/ 5209 w 10000"/>
                <a:gd name="connsiteY126" fmla="*/ 21 h 10000"/>
                <a:gd name="connsiteX127" fmla="*/ 5195 w 10000"/>
                <a:gd name="connsiteY127" fmla="*/ 93 h 10000"/>
                <a:gd name="connsiteX128" fmla="*/ 5209 w 10000"/>
                <a:gd name="connsiteY128" fmla="*/ 176 h 10000"/>
                <a:gd name="connsiteX129" fmla="*/ 5333 w 10000"/>
                <a:gd name="connsiteY129" fmla="*/ 248 h 10000"/>
                <a:gd name="connsiteX130" fmla="*/ 9394 w 10000"/>
                <a:gd name="connsiteY130" fmla="*/ 1611 h 10000"/>
                <a:gd name="connsiteX131" fmla="*/ 9621 w 10000"/>
                <a:gd name="connsiteY131" fmla="*/ 1507 h 10000"/>
                <a:gd name="connsiteX132" fmla="*/ 9903 w 10000"/>
                <a:gd name="connsiteY132" fmla="*/ 1538 h 10000"/>
                <a:gd name="connsiteX133" fmla="*/ 10000 w 10000"/>
                <a:gd name="connsiteY13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288 w 10000"/>
                <a:gd name="connsiteY106" fmla="*/ 1538 h 10000"/>
                <a:gd name="connsiteX107" fmla="*/ 3415 w 10000"/>
                <a:gd name="connsiteY107" fmla="*/ 1331 h 10000"/>
                <a:gd name="connsiteX108" fmla="*/ 3408 w 10000"/>
                <a:gd name="connsiteY108" fmla="*/ 1166 h 10000"/>
                <a:gd name="connsiteX109" fmla="*/ 3380 w 10000"/>
                <a:gd name="connsiteY109" fmla="*/ 1115 h 10000"/>
                <a:gd name="connsiteX110" fmla="*/ 3430 w 10000"/>
                <a:gd name="connsiteY110" fmla="*/ 1115 h 10000"/>
                <a:gd name="connsiteX111" fmla="*/ 3983 w 10000"/>
                <a:gd name="connsiteY111" fmla="*/ 1383 h 10000"/>
                <a:gd name="connsiteX112" fmla="*/ 4051 w 10000"/>
                <a:gd name="connsiteY112" fmla="*/ 1362 h 10000"/>
                <a:gd name="connsiteX113" fmla="*/ 3784 w 10000"/>
                <a:gd name="connsiteY113" fmla="*/ 1115 h 10000"/>
                <a:gd name="connsiteX114" fmla="*/ 3853 w 10000"/>
                <a:gd name="connsiteY114" fmla="*/ 888 h 10000"/>
                <a:gd name="connsiteX115" fmla="*/ 4151 w 10000"/>
                <a:gd name="connsiteY115" fmla="*/ 888 h 10000"/>
                <a:gd name="connsiteX116" fmla="*/ 4121 w 10000"/>
                <a:gd name="connsiteY116" fmla="*/ 713 h 10000"/>
                <a:gd name="connsiteX117" fmla="*/ 4220 w 10000"/>
                <a:gd name="connsiteY117" fmla="*/ 589 h 10000"/>
                <a:gd name="connsiteX118" fmla="*/ 4278 w 10000"/>
                <a:gd name="connsiteY118" fmla="*/ 548 h 10000"/>
                <a:gd name="connsiteX119" fmla="*/ 4498 w 10000"/>
                <a:gd name="connsiteY119" fmla="*/ 423 h 10000"/>
                <a:gd name="connsiteX120" fmla="*/ 4553 w 10000"/>
                <a:gd name="connsiteY120" fmla="*/ 371 h 10000"/>
                <a:gd name="connsiteX121" fmla="*/ 4544 w 10000"/>
                <a:gd name="connsiteY121" fmla="*/ 444 h 10000"/>
                <a:gd name="connsiteX122" fmla="*/ 4780 w 10000"/>
                <a:gd name="connsiteY122" fmla="*/ 371 h 10000"/>
                <a:gd name="connsiteX123" fmla="*/ 4971 w 10000"/>
                <a:gd name="connsiteY123" fmla="*/ 248 h 10000"/>
                <a:gd name="connsiteX124" fmla="*/ 5000 w 10000"/>
                <a:gd name="connsiteY124" fmla="*/ 0 h 10000"/>
                <a:gd name="connsiteX125" fmla="*/ 5209 w 10000"/>
                <a:gd name="connsiteY125" fmla="*/ 21 h 10000"/>
                <a:gd name="connsiteX126" fmla="*/ 5195 w 10000"/>
                <a:gd name="connsiteY126" fmla="*/ 93 h 10000"/>
                <a:gd name="connsiteX127" fmla="*/ 5209 w 10000"/>
                <a:gd name="connsiteY127" fmla="*/ 176 h 10000"/>
                <a:gd name="connsiteX128" fmla="*/ 5333 w 10000"/>
                <a:gd name="connsiteY128" fmla="*/ 248 h 10000"/>
                <a:gd name="connsiteX129" fmla="*/ 9394 w 10000"/>
                <a:gd name="connsiteY129" fmla="*/ 1611 h 10000"/>
                <a:gd name="connsiteX130" fmla="*/ 9621 w 10000"/>
                <a:gd name="connsiteY130" fmla="*/ 1507 h 10000"/>
                <a:gd name="connsiteX131" fmla="*/ 9903 w 10000"/>
                <a:gd name="connsiteY131" fmla="*/ 1538 h 10000"/>
                <a:gd name="connsiteX132" fmla="*/ 10000 w 10000"/>
                <a:gd name="connsiteY13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408 w 10000"/>
                <a:gd name="connsiteY107" fmla="*/ 1166 h 10000"/>
                <a:gd name="connsiteX108" fmla="*/ 3380 w 10000"/>
                <a:gd name="connsiteY108" fmla="*/ 1115 h 10000"/>
                <a:gd name="connsiteX109" fmla="*/ 3430 w 10000"/>
                <a:gd name="connsiteY109" fmla="*/ 1115 h 10000"/>
                <a:gd name="connsiteX110" fmla="*/ 3983 w 10000"/>
                <a:gd name="connsiteY110" fmla="*/ 1383 h 10000"/>
                <a:gd name="connsiteX111" fmla="*/ 4051 w 10000"/>
                <a:gd name="connsiteY111" fmla="*/ 1362 h 10000"/>
                <a:gd name="connsiteX112" fmla="*/ 3784 w 10000"/>
                <a:gd name="connsiteY112" fmla="*/ 1115 h 10000"/>
                <a:gd name="connsiteX113" fmla="*/ 3853 w 10000"/>
                <a:gd name="connsiteY113" fmla="*/ 888 h 10000"/>
                <a:gd name="connsiteX114" fmla="*/ 4151 w 10000"/>
                <a:gd name="connsiteY114" fmla="*/ 888 h 10000"/>
                <a:gd name="connsiteX115" fmla="*/ 4121 w 10000"/>
                <a:gd name="connsiteY115" fmla="*/ 713 h 10000"/>
                <a:gd name="connsiteX116" fmla="*/ 4220 w 10000"/>
                <a:gd name="connsiteY116" fmla="*/ 589 h 10000"/>
                <a:gd name="connsiteX117" fmla="*/ 4278 w 10000"/>
                <a:gd name="connsiteY117" fmla="*/ 548 h 10000"/>
                <a:gd name="connsiteX118" fmla="*/ 4498 w 10000"/>
                <a:gd name="connsiteY118" fmla="*/ 423 h 10000"/>
                <a:gd name="connsiteX119" fmla="*/ 4553 w 10000"/>
                <a:gd name="connsiteY119" fmla="*/ 371 h 10000"/>
                <a:gd name="connsiteX120" fmla="*/ 4544 w 10000"/>
                <a:gd name="connsiteY120" fmla="*/ 444 h 10000"/>
                <a:gd name="connsiteX121" fmla="*/ 4780 w 10000"/>
                <a:gd name="connsiteY121" fmla="*/ 371 h 10000"/>
                <a:gd name="connsiteX122" fmla="*/ 4971 w 10000"/>
                <a:gd name="connsiteY122" fmla="*/ 248 h 10000"/>
                <a:gd name="connsiteX123" fmla="*/ 5000 w 10000"/>
                <a:gd name="connsiteY123" fmla="*/ 0 h 10000"/>
                <a:gd name="connsiteX124" fmla="*/ 5209 w 10000"/>
                <a:gd name="connsiteY124" fmla="*/ 21 h 10000"/>
                <a:gd name="connsiteX125" fmla="*/ 5195 w 10000"/>
                <a:gd name="connsiteY125" fmla="*/ 93 h 10000"/>
                <a:gd name="connsiteX126" fmla="*/ 5209 w 10000"/>
                <a:gd name="connsiteY126" fmla="*/ 176 h 10000"/>
                <a:gd name="connsiteX127" fmla="*/ 5333 w 10000"/>
                <a:gd name="connsiteY127" fmla="*/ 248 h 10000"/>
                <a:gd name="connsiteX128" fmla="*/ 9394 w 10000"/>
                <a:gd name="connsiteY128" fmla="*/ 1611 h 10000"/>
                <a:gd name="connsiteX129" fmla="*/ 9621 w 10000"/>
                <a:gd name="connsiteY129" fmla="*/ 1507 h 10000"/>
                <a:gd name="connsiteX130" fmla="*/ 9903 w 10000"/>
                <a:gd name="connsiteY130" fmla="*/ 1538 h 10000"/>
                <a:gd name="connsiteX131" fmla="*/ 10000 w 10000"/>
                <a:gd name="connsiteY13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408 w 10000"/>
                <a:gd name="connsiteY107" fmla="*/ 1166 h 10000"/>
                <a:gd name="connsiteX108" fmla="*/ 3380 w 10000"/>
                <a:gd name="connsiteY108" fmla="*/ 1115 h 10000"/>
                <a:gd name="connsiteX109" fmla="*/ 3983 w 10000"/>
                <a:gd name="connsiteY109" fmla="*/ 1383 h 10000"/>
                <a:gd name="connsiteX110" fmla="*/ 4051 w 10000"/>
                <a:gd name="connsiteY110" fmla="*/ 1362 h 10000"/>
                <a:gd name="connsiteX111" fmla="*/ 3784 w 10000"/>
                <a:gd name="connsiteY111" fmla="*/ 1115 h 10000"/>
                <a:gd name="connsiteX112" fmla="*/ 3853 w 10000"/>
                <a:gd name="connsiteY112" fmla="*/ 888 h 10000"/>
                <a:gd name="connsiteX113" fmla="*/ 4151 w 10000"/>
                <a:gd name="connsiteY113" fmla="*/ 888 h 10000"/>
                <a:gd name="connsiteX114" fmla="*/ 4121 w 10000"/>
                <a:gd name="connsiteY114" fmla="*/ 713 h 10000"/>
                <a:gd name="connsiteX115" fmla="*/ 4220 w 10000"/>
                <a:gd name="connsiteY115" fmla="*/ 589 h 10000"/>
                <a:gd name="connsiteX116" fmla="*/ 4278 w 10000"/>
                <a:gd name="connsiteY116" fmla="*/ 548 h 10000"/>
                <a:gd name="connsiteX117" fmla="*/ 4498 w 10000"/>
                <a:gd name="connsiteY117" fmla="*/ 423 h 10000"/>
                <a:gd name="connsiteX118" fmla="*/ 4553 w 10000"/>
                <a:gd name="connsiteY118" fmla="*/ 371 h 10000"/>
                <a:gd name="connsiteX119" fmla="*/ 4544 w 10000"/>
                <a:gd name="connsiteY119" fmla="*/ 444 h 10000"/>
                <a:gd name="connsiteX120" fmla="*/ 4780 w 10000"/>
                <a:gd name="connsiteY120" fmla="*/ 371 h 10000"/>
                <a:gd name="connsiteX121" fmla="*/ 4971 w 10000"/>
                <a:gd name="connsiteY121" fmla="*/ 248 h 10000"/>
                <a:gd name="connsiteX122" fmla="*/ 5000 w 10000"/>
                <a:gd name="connsiteY122" fmla="*/ 0 h 10000"/>
                <a:gd name="connsiteX123" fmla="*/ 5209 w 10000"/>
                <a:gd name="connsiteY123" fmla="*/ 21 h 10000"/>
                <a:gd name="connsiteX124" fmla="*/ 5195 w 10000"/>
                <a:gd name="connsiteY124" fmla="*/ 93 h 10000"/>
                <a:gd name="connsiteX125" fmla="*/ 5209 w 10000"/>
                <a:gd name="connsiteY125" fmla="*/ 176 h 10000"/>
                <a:gd name="connsiteX126" fmla="*/ 5333 w 10000"/>
                <a:gd name="connsiteY126" fmla="*/ 248 h 10000"/>
                <a:gd name="connsiteX127" fmla="*/ 9394 w 10000"/>
                <a:gd name="connsiteY127" fmla="*/ 1611 h 10000"/>
                <a:gd name="connsiteX128" fmla="*/ 9621 w 10000"/>
                <a:gd name="connsiteY128" fmla="*/ 1507 h 10000"/>
                <a:gd name="connsiteX129" fmla="*/ 9903 w 10000"/>
                <a:gd name="connsiteY129" fmla="*/ 1538 h 10000"/>
                <a:gd name="connsiteX130" fmla="*/ 10000 w 10000"/>
                <a:gd name="connsiteY13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408 w 10000"/>
                <a:gd name="connsiteY107" fmla="*/ 1166 h 10000"/>
                <a:gd name="connsiteX108" fmla="*/ 3983 w 10000"/>
                <a:gd name="connsiteY108" fmla="*/ 1383 h 10000"/>
                <a:gd name="connsiteX109" fmla="*/ 4051 w 10000"/>
                <a:gd name="connsiteY109" fmla="*/ 1362 h 10000"/>
                <a:gd name="connsiteX110" fmla="*/ 3784 w 10000"/>
                <a:gd name="connsiteY110" fmla="*/ 1115 h 10000"/>
                <a:gd name="connsiteX111" fmla="*/ 3853 w 10000"/>
                <a:gd name="connsiteY111" fmla="*/ 888 h 10000"/>
                <a:gd name="connsiteX112" fmla="*/ 4151 w 10000"/>
                <a:gd name="connsiteY112" fmla="*/ 888 h 10000"/>
                <a:gd name="connsiteX113" fmla="*/ 4121 w 10000"/>
                <a:gd name="connsiteY113" fmla="*/ 713 h 10000"/>
                <a:gd name="connsiteX114" fmla="*/ 4220 w 10000"/>
                <a:gd name="connsiteY114" fmla="*/ 589 h 10000"/>
                <a:gd name="connsiteX115" fmla="*/ 4278 w 10000"/>
                <a:gd name="connsiteY115" fmla="*/ 548 h 10000"/>
                <a:gd name="connsiteX116" fmla="*/ 4498 w 10000"/>
                <a:gd name="connsiteY116" fmla="*/ 423 h 10000"/>
                <a:gd name="connsiteX117" fmla="*/ 4553 w 10000"/>
                <a:gd name="connsiteY117" fmla="*/ 371 h 10000"/>
                <a:gd name="connsiteX118" fmla="*/ 4544 w 10000"/>
                <a:gd name="connsiteY118" fmla="*/ 444 h 10000"/>
                <a:gd name="connsiteX119" fmla="*/ 4780 w 10000"/>
                <a:gd name="connsiteY119" fmla="*/ 371 h 10000"/>
                <a:gd name="connsiteX120" fmla="*/ 4971 w 10000"/>
                <a:gd name="connsiteY120" fmla="*/ 248 h 10000"/>
                <a:gd name="connsiteX121" fmla="*/ 5000 w 10000"/>
                <a:gd name="connsiteY121" fmla="*/ 0 h 10000"/>
                <a:gd name="connsiteX122" fmla="*/ 5209 w 10000"/>
                <a:gd name="connsiteY122" fmla="*/ 21 h 10000"/>
                <a:gd name="connsiteX123" fmla="*/ 5195 w 10000"/>
                <a:gd name="connsiteY123" fmla="*/ 93 h 10000"/>
                <a:gd name="connsiteX124" fmla="*/ 5209 w 10000"/>
                <a:gd name="connsiteY124" fmla="*/ 176 h 10000"/>
                <a:gd name="connsiteX125" fmla="*/ 5333 w 10000"/>
                <a:gd name="connsiteY125" fmla="*/ 248 h 10000"/>
                <a:gd name="connsiteX126" fmla="*/ 9394 w 10000"/>
                <a:gd name="connsiteY126" fmla="*/ 1611 h 10000"/>
                <a:gd name="connsiteX127" fmla="*/ 9621 w 10000"/>
                <a:gd name="connsiteY127" fmla="*/ 1507 h 10000"/>
                <a:gd name="connsiteX128" fmla="*/ 9903 w 10000"/>
                <a:gd name="connsiteY128" fmla="*/ 1538 h 10000"/>
                <a:gd name="connsiteX129" fmla="*/ 10000 w 10000"/>
                <a:gd name="connsiteY12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784 w 10000"/>
                <a:gd name="connsiteY109" fmla="*/ 1115 h 10000"/>
                <a:gd name="connsiteX110" fmla="*/ 3853 w 10000"/>
                <a:gd name="connsiteY110" fmla="*/ 888 h 10000"/>
                <a:gd name="connsiteX111" fmla="*/ 4151 w 10000"/>
                <a:gd name="connsiteY111" fmla="*/ 888 h 10000"/>
                <a:gd name="connsiteX112" fmla="*/ 4121 w 10000"/>
                <a:gd name="connsiteY112" fmla="*/ 713 h 10000"/>
                <a:gd name="connsiteX113" fmla="*/ 4220 w 10000"/>
                <a:gd name="connsiteY113" fmla="*/ 589 h 10000"/>
                <a:gd name="connsiteX114" fmla="*/ 4278 w 10000"/>
                <a:gd name="connsiteY114" fmla="*/ 548 h 10000"/>
                <a:gd name="connsiteX115" fmla="*/ 4498 w 10000"/>
                <a:gd name="connsiteY115" fmla="*/ 423 h 10000"/>
                <a:gd name="connsiteX116" fmla="*/ 4553 w 10000"/>
                <a:gd name="connsiteY116" fmla="*/ 371 h 10000"/>
                <a:gd name="connsiteX117" fmla="*/ 4544 w 10000"/>
                <a:gd name="connsiteY117" fmla="*/ 444 h 10000"/>
                <a:gd name="connsiteX118" fmla="*/ 4780 w 10000"/>
                <a:gd name="connsiteY118" fmla="*/ 371 h 10000"/>
                <a:gd name="connsiteX119" fmla="*/ 4971 w 10000"/>
                <a:gd name="connsiteY119" fmla="*/ 248 h 10000"/>
                <a:gd name="connsiteX120" fmla="*/ 5000 w 10000"/>
                <a:gd name="connsiteY120" fmla="*/ 0 h 10000"/>
                <a:gd name="connsiteX121" fmla="*/ 5209 w 10000"/>
                <a:gd name="connsiteY121" fmla="*/ 21 h 10000"/>
                <a:gd name="connsiteX122" fmla="*/ 5195 w 10000"/>
                <a:gd name="connsiteY122" fmla="*/ 93 h 10000"/>
                <a:gd name="connsiteX123" fmla="*/ 5209 w 10000"/>
                <a:gd name="connsiteY123" fmla="*/ 176 h 10000"/>
                <a:gd name="connsiteX124" fmla="*/ 5333 w 10000"/>
                <a:gd name="connsiteY124" fmla="*/ 248 h 10000"/>
                <a:gd name="connsiteX125" fmla="*/ 9394 w 10000"/>
                <a:gd name="connsiteY125" fmla="*/ 1611 h 10000"/>
                <a:gd name="connsiteX126" fmla="*/ 9621 w 10000"/>
                <a:gd name="connsiteY126" fmla="*/ 1507 h 10000"/>
                <a:gd name="connsiteX127" fmla="*/ 9903 w 10000"/>
                <a:gd name="connsiteY127" fmla="*/ 1538 h 10000"/>
                <a:gd name="connsiteX128" fmla="*/ 10000 w 10000"/>
                <a:gd name="connsiteY12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853 w 10000"/>
                <a:gd name="connsiteY109" fmla="*/ 888 h 10000"/>
                <a:gd name="connsiteX110" fmla="*/ 4151 w 10000"/>
                <a:gd name="connsiteY110" fmla="*/ 888 h 10000"/>
                <a:gd name="connsiteX111" fmla="*/ 4121 w 10000"/>
                <a:gd name="connsiteY111" fmla="*/ 713 h 10000"/>
                <a:gd name="connsiteX112" fmla="*/ 4220 w 10000"/>
                <a:gd name="connsiteY112" fmla="*/ 589 h 10000"/>
                <a:gd name="connsiteX113" fmla="*/ 4278 w 10000"/>
                <a:gd name="connsiteY113" fmla="*/ 548 h 10000"/>
                <a:gd name="connsiteX114" fmla="*/ 4498 w 10000"/>
                <a:gd name="connsiteY114" fmla="*/ 423 h 10000"/>
                <a:gd name="connsiteX115" fmla="*/ 4553 w 10000"/>
                <a:gd name="connsiteY115" fmla="*/ 371 h 10000"/>
                <a:gd name="connsiteX116" fmla="*/ 4544 w 10000"/>
                <a:gd name="connsiteY116" fmla="*/ 444 h 10000"/>
                <a:gd name="connsiteX117" fmla="*/ 4780 w 10000"/>
                <a:gd name="connsiteY117" fmla="*/ 371 h 10000"/>
                <a:gd name="connsiteX118" fmla="*/ 4971 w 10000"/>
                <a:gd name="connsiteY118" fmla="*/ 248 h 10000"/>
                <a:gd name="connsiteX119" fmla="*/ 5000 w 10000"/>
                <a:gd name="connsiteY119" fmla="*/ 0 h 10000"/>
                <a:gd name="connsiteX120" fmla="*/ 5209 w 10000"/>
                <a:gd name="connsiteY120" fmla="*/ 21 h 10000"/>
                <a:gd name="connsiteX121" fmla="*/ 5195 w 10000"/>
                <a:gd name="connsiteY121" fmla="*/ 93 h 10000"/>
                <a:gd name="connsiteX122" fmla="*/ 5209 w 10000"/>
                <a:gd name="connsiteY122" fmla="*/ 176 h 10000"/>
                <a:gd name="connsiteX123" fmla="*/ 5333 w 10000"/>
                <a:gd name="connsiteY123" fmla="*/ 248 h 10000"/>
                <a:gd name="connsiteX124" fmla="*/ 9394 w 10000"/>
                <a:gd name="connsiteY124" fmla="*/ 1611 h 10000"/>
                <a:gd name="connsiteX125" fmla="*/ 9621 w 10000"/>
                <a:gd name="connsiteY125" fmla="*/ 1507 h 10000"/>
                <a:gd name="connsiteX126" fmla="*/ 9903 w 10000"/>
                <a:gd name="connsiteY126" fmla="*/ 1538 h 10000"/>
                <a:gd name="connsiteX127" fmla="*/ 10000 w 10000"/>
                <a:gd name="connsiteY12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853 w 10000"/>
                <a:gd name="connsiteY109" fmla="*/ 888 h 10000"/>
                <a:gd name="connsiteX110" fmla="*/ 4151 w 10000"/>
                <a:gd name="connsiteY110" fmla="*/ 888 h 10000"/>
                <a:gd name="connsiteX111" fmla="*/ 4121 w 10000"/>
                <a:gd name="connsiteY111" fmla="*/ 713 h 10000"/>
                <a:gd name="connsiteX112" fmla="*/ 4220 w 10000"/>
                <a:gd name="connsiteY112" fmla="*/ 589 h 10000"/>
                <a:gd name="connsiteX113" fmla="*/ 4498 w 10000"/>
                <a:gd name="connsiteY113" fmla="*/ 423 h 10000"/>
                <a:gd name="connsiteX114" fmla="*/ 4553 w 10000"/>
                <a:gd name="connsiteY114" fmla="*/ 371 h 10000"/>
                <a:gd name="connsiteX115" fmla="*/ 4544 w 10000"/>
                <a:gd name="connsiteY115" fmla="*/ 444 h 10000"/>
                <a:gd name="connsiteX116" fmla="*/ 4780 w 10000"/>
                <a:gd name="connsiteY116" fmla="*/ 371 h 10000"/>
                <a:gd name="connsiteX117" fmla="*/ 4971 w 10000"/>
                <a:gd name="connsiteY117" fmla="*/ 248 h 10000"/>
                <a:gd name="connsiteX118" fmla="*/ 5000 w 10000"/>
                <a:gd name="connsiteY118" fmla="*/ 0 h 10000"/>
                <a:gd name="connsiteX119" fmla="*/ 5209 w 10000"/>
                <a:gd name="connsiteY119" fmla="*/ 21 h 10000"/>
                <a:gd name="connsiteX120" fmla="*/ 5195 w 10000"/>
                <a:gd name="connsiteY120" fmla="*/ 93 h 10000"/>
                <a:gd name="connsiteX121" fmla="*/ 5209 w 10000"/>
                <a:gd name="connsiteY121" fmla="*/ 176 h 10000"/>
                <a:gd name="connsiteX122" fmla="*/ 5333 w 10000"/>
                <a:gd name="connsiteY122" fmla="*/ 248 h 10000"/>
                <a:gd name="connsiteX123" fmla="*/ 9394 w 10000"/>
                <a:gd name="connsiteY123" fmla="*/ 1611 h 10000"/>
                <a:gd name="connsiteX124" fmla="*/ 9621 w 10000"/>
                <a:gd name="connsiteY124" fmla="*/ 1507 h 10000"/>
                <a:gd name="connsiteX125" fmla="*/ 9903 w 10000"/>
                <a:gd name="connsiteY125" fmla="*/ 1538 h 10000"/>
                <a:gd name="connsiteX126" fmla="*/ 10000 w 10000"/>
                <a:gd name="connsiteY126"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853 w 10000"/>
                <a:gd name="connsiteY109" fmla="*/ 888 h 10000"/>
                <a:gd name="connsiteX110" fmla="*/ 4151 w 10000"/>
                <a:gd name="connsiteY110" fmla="*/ 888 h 10000"/>
                <a:gd name="connsiteX111" fmla="*/ 4121 w 10000"/>
                <a:gd name="connsiteY111" fmla="*/ 713 h 10000"/>
                <a:gd name="connsiteX112" fmla="*/ 4220 w 10000"/>
                <a:gd name="connsiteY112" fmla="*/ 589 h 10000"/>
                <a:gd name="connsiteX113" fmla="*/ 4498 w 10000"/>
                <a:gd name="connsiteY113" fmla="*/ 423 h 10000"/>
                <a:gd name="connsiteX114" fmla="*/ 4553 w 10000"/>
                <a:gd name="connsiteY114" fmla="*/ 371 h 10000"/>
                <a:gd name="connsiteX115" fmla="*/ 4780 w 10000"/>
                <a:gd name="connsiteY115" fmla="*/ 371 h 10000"/>
                <a:gd name="connsiteX116" fmla="*/ 4971 w 10000"/>
                <a:gd name="connsiteY116" fmla="*/ 248 h 10000"/>
                <a:gd name="connsiteX117" fmla="*/ 5000 w 10000"/>
                <a:gd name="connsiteY117" fmla="*/ 0 h 10000"/>
                <a:gd name="connsiteX118" fmla="*/ 5209 w 10000"/>
                <a:gd name="connsiteY118" fmla="*/ 21 h 10000"/>
                <a:gd name="connsiteX119" fmla="*/ 5195 w 10000"/>
                <a:gd name="connsiteY119" fmla="*/ 93 h 10000"/>
                <a:gd name="connsiteX120" fmla="*/ 5209 w 10000"/>
                <a:gd name="connsiteY120" fmla="*/ 176 h 10000"/>
                <a:gd name="connsiteX121" fmla="*/ 5333 w 10000"/>
                <a:gd name="connsiteY121" fmla="*/ 248 h 10000"/>
                <a:gd name="connsiteX122" fmla="*/ 9394 w 10000"/>
                <a:gd name="connsiteY122" fmla="*/ 1611 h 10000"/>
                <a:gd name="connsiteX123" fmla="*/ 9621 w 10000"/>
                <a:gd name="connsiteY123" fmla="*/ 1507 h 10000"/>
                <a:gd name="connsiteX124" fmla="*/ 9903 w 10000"/>
                <a:gd name="connsiteY124" fmla="*/ 1538 h 10000"/>
                <a:gd name="connsiteX125" fmla="*/ 10000 w 10000"/>
                <a:gd name="connsiteY125"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853 w 10000"/>
                <a:gd name="connsiteY109" fmla="*/ 888 h 10000"/>
                <a:gd name="connsiteX110" fmla="*/ 4151 w 10000"/>
                <a:gd name="connsiteY110" fmla="*/ 888 h 10000"/>
                <a:gd name="connsiteX111" fmla="*/ 4121 w 10000"/>
                <a:gd name="connsiteY111" fmla="*/ 713 h 10000"/>
                <a:gd name="connsiteX112" fmla="*/ 4220 w 10000"/>
                <a:gd name="connsiteY112" fmla="*/ 589 h 10000"/>
                <a:gd name="connsiteX113" fmla="*/ 4498 w 10000"/>
                <a:gd name="connsiteY113" fmla="*/ 423 h 10000"/>
                <a:gd name="connsiteX114" fmla="*/ 4553 w 10000"/>
                <a:gd name="connsiteY114" fmla="*/ 371 h 10000"/>
                <a:gd name="connsiteX115" fmla="*/ 4971 w 10000"/>
                <a:gd name="connsiteY115" fmla="*/ 248 h 10000"/>
                <a:gd name="connsiteX116" fmla="*/ 5000 w 10000"/>
                <a:gd name="connsiteY116" fmla="*/ 0 h 10000"/>
                <a:gd name="connsiteX117" fmla="*/ 5209 w 10000"/>
                <a:gd name="connsiteY117" fmla="*/ 21 h 10000"/>
                <a:gd name="connsiteX118" fmla="*/ 5195 w 10000"/>
                <a:gd name="connsiteY118" fmla="*/ 93 h 10000"/>
                <a:gd name="connsiteX119" fmla="*/ 5209 w 10000"/>
                <a:gd name="connsiteY119" fmla="*/ 176 h 10000"/>
                <a:gd name="connsiteX120" fmla="*/ 5333 w 10000"/>
                <a:gd name="connsiteY120" fmla="*/ 248 h 10000"/>
                <a:gd name="connsiteX121" fmla="*/ 9394 w 10000"/>
                <a:gd name="connsiteY121" fmla="*/ 1611 h 10000"/>
                <a:gd name="connsiteX122" fmla="*/ 9621 w 10000"/>
                <a:gd name="connsiteY122" fmla="*/ 1507 h 10000"/>
                <a:gd name="connsiteX123" fmla="*/ 9903 w 10000"/>
                <a:gd name="connsiteY123" fmla="*/ 1538 h 10000"/>
                <a:gd name="connsiteX124" fmla="*/ 10000 w 10000"/>
                <a:gd name="connsiteY124"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853 w 10000"/>
                <a:gd name="connsiteY109" fmla="*/ 888 h 10000"/>
                <a:gd name="connsiteX110" fmla="*/ 4151 w 10000"/>
                <a:gd name="connsiteY110" fmla="*/ 888 h 10000"/>
                <a:gd name="connsiteX111" fmla="*/ 4121 w 10000"/>
                <a:gd name="connsiteY111" fmla="*/ 713 h 10000"/>
                <a:gd name="connsiteX112" fmla="*/ 4220 w 10000"/>
                <a:gd name="connsiteY112" fmla="*/ 589 h 10000"/>
                <a:gd name="connsiteX113" fmla="*/ 4498 w 10000"/>
                <a:gd name="connsiteY113" fmla="*/ 423 h 10000"/>
                <a:gd name="connsiteX114" fmla="*/ 4971 w 10000"/>
                <a:gd name="connsiteY114" fmla="*/ 248 h 10000"/>
                <a:gd name="connsiteX115" fmla="*/ 5000 w 10000"/>
                <a:gd name="connsiteY115" fmla="*/ 0 h 10000"/>
                <a:gd name="connsiteX116" fmla="*/ 5209 w 10000"/>
                <a:gd name="connsiteY116" fmla="*/ 21 h 10000"/>
                <a:gd name="connsiteX117" fmla="*/ 5195 w 10000"/>
                <a:gd name="connsiteY117" fmla="*/ 93 h 10000"/>
                <a:gd name="connsiteX118" fmla="*/ 5209 w 10000"/>
                <a:gd name="connsiteY118" fmla="*/ 176 h 10000"/>
                <a:gd name="connsiteX119" fmla="*/ 5333 w 10000"/>
                <a:gd name="connsiteY119" fmla="*/ 248 h 10000"/>
                <a:gd name="connsiteX120" fmla="*/ 9394 w 10000"/>
                <a:gd name="connsiteY120" fmla="*/ 1611 h 10000"/>
                <a:gd name="connsiteX121" fmla="*/ 9621 w 10000"/>
                <a:gd name="connsiteY121" fmla="*/ 1507 h 10000"/>
                <a:gd name="connsiteX122" fmla="*/ 9903 w 10000"/>
                <a:gd name="connsiteY122" fmla="*/ 1538 h 10000"/>
                <a:gd name="connsiteX123" fmla="*/ 10000 w 10000"/>
                <a:gd name="connsiteY123"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853 w 10000"/>
                <a:gd name="connsiteY109" fmla="*/ 888 h 10000"/>
                <a:gd name="connsiteX110" fmla="*/ 4151 w 10000"/>
                <a:gd name="connsiteY110" fmla="*/ 888 h 10000"/>
                <a:gd name="connsiteX111" fmla="*/ 4121 w 10000"/>
                <a:gd name="connsiteY111" fmla="*/ 713 h 10000"/>
                <a:gd name="connsiteX112" fmla="*/ 4220 w 10000"/>
                <a:gd name="connsiteY112" fmla="*/ 589 h 10000"/>
                <a:gd name="connsiteX113" fmla="*/ 4971 w 10000"/>
                <a:gd name="connsiteY113" fmla="*/ 248 h 10000"/>
                <a:gd name="connsiteX114" fmla="*/ 5000 w 10000"/>
                <a:gd name="connsiteY114" fmla="*/ 0 h 10000"/>
                <a:gd name="connsiteX115" fmla="*/ 5209 w 10000"/>
                <a:gd name="connsiteY115" fmla="*/ 21 h 10000"/>
                <a:gd name="connsiteX116" fmla="*/ 5195 w 10000"/>
                <a:gd name="connsiteY116" fmla="*/ 93 h 10000"/>
                <a:gd name="connsiteX117" fmla="*/ 5209 w 10000"/>
                <a:gd name="connsiteY117" fmla="*/ 176 h 10000"/>
                <a:gd name="connsiteX118" fmla="*/ 5333 w 10000"/>
                <a:gd name="connsiteY118" fmla="*/ 248 h 10000"/>
                <a:gd name="connsiteX119" fmla="*/ 9394 w 10000"/>
                <a:gd name="connsiteY119" fmla="*/ 1611 h 10000"/>
                <a:gd name="connsiteX120" fmla="*/ 9621 w 10000"/>
                <a:gd name="connsiteY120" fmla="*/ 1507 h 10000"/>
                <a:gd name="connsiteX121" fmla="*/ 9903 w 10000"/>
                <a:gd name="connsiteY121" fmla="*/ 1538 h 10000"/>
                <a:gd name="connsiteX122" fmla="*/ 10000 w 10000"/>
                <a:gd name="connsiteY122"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4051 w 10000"/>
                <a:gd name="connsiteY108" fmla="*/ 1362 h 10000"/>
                <a:gd name="connsiteX109" fmla="*/ 3853 w 10000"/>
                <a:gd name="connsiteY109" fmla="*/ 888 h 10000"/>
                <a:gd name="connsiteX110" fmla="*/ 4151 w 10000"/>
                <a:gd name="connsiteY110" fmla="*/ 888 h 10000"/>
                <a:gd name="connsiteX111" fmla="*/ 4220 w 10000"/>
                <a:gd name="connsiteY111" fmla="*/ 589 h 10000"/>
                <a:gd name="connsiteX112" fmla="*/ 4971 w 10000"/>
                <a:gd name="connsiteY112" fmla="*/ 248 h 10000"/>
                <a:gd name="connsiteX113" fmla="*/ 5000 w 10000"/>
                <a:gd name="connsiteY113" fmla="*/ 0 h 10000"/>
                <a:gd name="connsiteX114" fmla="*/ 5209 w 10000"/>
                <a:gd name="connsiteY114" fmla="*/ 21 h 10000"/>
                <a:gd name="connsiteX115" fmla="*/ 5195 w 10000"/>
                <a:gd name="connsiteY115" fmla="*/ 93 h 10000"/>
                <a:gd name="connsiteX116" fmla="*/ 5209 w 10000"/>
                <a:gd name="connsiteY116" fmla="*/ 176 h 10000"/>
                <a:gd name="connsiteX117" fmla="*/ 5333 w 10000"/>
                <a:gd name="connsiteY117" fmla="*/ 248 h 10000"/>
                <a:gd name="connsiteX118" fmla="*/ 9394 w 10000"/>
                <a:gd name="connsiteY118" fmla="*/ 1611 h 10000"/>
                <a:gd name="connsiteX119" fmla="*/ 9621 w 10000"/>
                <a:gd name="connsiteY119" fmla="*/ 1507 h 10000"/>
                <a:gd name="connsiteX120" fmla="*/ 9903 w 10000"/>
                <a:gd name="connsiteY120" fmla="*/ 1538 h 10000"/>
                <a:gd name="connsiteX121" fmla="*/ 10000 w 10000"/>
                <a:gd name="connsiteY121"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3853 w 10000"/>
                <a:gd name="connsiteY108" fmla="*/ 888 h 10000"/>
                <a:gd name="connsiteX109" fmla="*/ 4151 w 10000"/>
                <a:gd name="connsiteY109" fmla="*/ 888 h 10000"/>
                <a:gd name="connsiteX110" fmla="*/ 4220 w 10000"/>
                <a:gd name="connsiteY110" fmla="*/ 589 h 10000"/>
                <a:gd name="connsiteX111" fmla="*/ 4971 w 10000"/>
                <a:gd name="connsiteY111" fmla="*/ 248 h 10000"/>
                <a:gd name="connsiteX112" fmla="*/ 5000 w 10000"/>
                <a:gd name="connsiteY112" fmla="*/ 0 h 10000"/>
                <a:gd name="connsiteX113" fmla="*/ 5209 w 10000"/>
                <a:gd name="connsiteY113" fmla="*/ 21 h 10000"/>
                <a:gd name="connsiteX114" fmla="*/ 5195 w 10000"/>
                <a:gd name="connsiteY114" fmla="*/ 93 h 10000"/>
                <a:gd name="connsiteX115" fmla="*/ 5209 w 10000"/>
                <a:gd name="connsiteY115" fmla="*/ 176 h 10000"/>
                <a:gd name="connsiteX116" fmla="*/ 5333 w 10000"/>
                <a:gd name="connsiteY116" fmla="*/ 248 h 10000"/>
                <a:gd name="connsiteX117" fmla="*/ 9394 w 10000"/>
                <a:gd name="connsiteY117" fmla="*/ 1611 h 10000"/>
                <a:gd name="connsiteX118" fmla="*/ 9621 w 10000"/>
                <a:gd name="connsiteY118" fmla="*/ 1507 h 10000"/>
                <a:gd name="connsiteX119" fmla="*/ 9903 w 10000"/>
                <a:gd name="connsiteY119" fmla="*/ 1538 h 10000"/>
                <a:gd name="connsiteX120" fmla="*/ 10000 w 10000"/>
                <a:gd name="connsiteY120"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3853 w 10000"/>
                <a:gd name="connsiteY108" fmla="*/ 888 h 10000"/>
                <a:gd name="connsiteX109" fmla="*/ 4151 w 10000"/>
                <a:gd name="connsiteY109" fmla="*/ 888 h 10000"/>
                <a:gd name="connsiteX110" fmla="*/ 4971 w 10000"/>
                <a:gd name="connsiteY110" fmla="*/ 248 h 10000"/>
                <a:gd name="connsiteX111" fmla="*/ 5000 w 10000"/>
                <a:gd name="connsiteY111" fmla="*/ 0 h 10000"/>
                <a:gd name="connsiteX112" fmla="*/ 5209 w 10000"/>
                <a:gd name="connsiteY112" fmla="*/ 21 h 10000"/>
                <a:gd name="connsiteX113" fmla="*/ 5195 w 10000"/>
                <a:gd name="connsiteY113" fmla="*/ 93 h 10000"/>
                <a:gd name="connsiteX114" fmla="*/ 5209 w 10000"/>
                <a:gd name="connsiteY114" fmla="*/ 176 h 10000"/>
                <a:gd name="connsiteX115" fmla="*/ 5333 w 10000"/>
                <a:gd name="connsiteY115" fmla="*/ 248 h 10000"/>
                <a:gd name="connsiteX116" fmla="*/ 9394 w 10000"/>
                <a:gd name="connsiteY116" fmla="*/ 1611 h 10000"/>
                <a:gd name="connsiteX117" fmla="*/ 9621 w 10000"/>
                <a:gd name="connsiteY117" fmla="*/ 1507 h 10000"/>
                <a:gd name="connsiteX118" fmla="*/ 9903 w 10000"/>
                <a:gd name="connsiteY118" fmla="*/ 1538 h 10000"/>
                <a:gd name="connsiteX119" fmla="*/ 10000 w 10000"/>
                <a:gd name="connsiteY119"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3853 w 10000"/>
                <a:gd name="connsiteY108" fmla="*/ 888 h 10000"/>
                <a:gd name="connsiteX109" fmla="*/ 4971 w 10000"/>
                <a:gd name="connsiteY109" fmla="*/ 248 h 10000"/>
                <a:gd name="connsiteX110" fmla="*/ 5000 w 10000"/>
                <a:gd name="connsiteY110" fmla="*/ 0 h 10000"/>
                <a:gd name="connsiteX111" fmla="*/ 5209 w 10000"/>
                <a:gd name="connsiteY111" fmla="*/ 21 h 10000"/>
                <a:gd name="connsiteX112" fmla="*/ 5195 w 10000"/>
                <a:gd name="connsiteY112" fmla="*/ 93 h 10000"/>
                <a:gd name="connsiteX113" fmla="*/ 5209 w 10000"/>
                <a:gd name="connsiteY113" fmla="*/ 176 h 10000"/>
                <a:gd name="connsiteX114" fmla="*/ 5333 w 10000"/>
                <a:gd name="connsiteY114" fmla="*/ 248 h 10000"/>
                <a:gd name="connsiteX115" fmla="*/ 9394 w 10000"/>
                <a:gd name="connsiteY115" fmla="*/ 1611 h 10000"/>
                <a:gd name="connsiteX116" fmla="*/ 9621 w 10000"/>
                <a:gd name="connsiteY116" fmla="*/ 1507 h 10000"/>
                <a:gd name="connsiteX117" fmla="*/ 9903 w 10000"/>
                <a:gd name="connsiteY117" fmla="*/ 1538 h 10000"/>
                <a:gd name="connsiteX118" fmla="*/ 10000 w 10000"/>
                <a:gd name="connsiteY118"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3853 w 10000"/>
                <a:gd name="connsiteY108" fmla="*/ 888 h 10000"/>
                <a:gd name="connsiteX109" fmla="*/ 4971 w 10000"/>
                <a:gd name="connsiteY109" fmla="*/ 248 h 10000"/>
                <a:gd name="connsiteX110" fmla="*/ 5000 w 10000"/>
                <a:gd name="connsiteY110" fmla="*/ 0 h 10000"/>
                <a:gd name="connsiteX111" fmla="*/ 5209 w 10000"/>
                <a:gd name="connsiteY111" fmla="*/ 21 h 10000"/>
                <a:gd name="connsiteX112" fmla="*/ 5195 w 10000"/>
                <a:gd name="connsiteY112" fmla="*/ 93 h 10000"/>
                <a:gd name="connsiteX113" fmla="*/ 5333 w 10000"/>
                <a:gd name="connsiteY113" fmla="*/ 248 h 10000"/>
                <a:gd name="connsiteX114" fmla="*/ 9394 w 10000"/>
                <a:gd name="connsiteY114" fmla="*/ 1611 h 10000"/>
                <a:gd name="connsiteX115" fmla="*/ 9621 w 10000"/>
                <a:gd name="connsiteY115" fmla="*/ 1507 h 10000"/>
                <a:gd name="connsiteX116" fmla="*/ 9903 w 10000"/>
                <a:gd name="connsiteY116" fmla="*/ 1538 h 10000"/>
                <a:gd name="connsiteX117" fmla="*/ 10000 w 10000"/>
                <a:gd name="connsiteY117" fmla="*/ 1611 h 10000"/>
                <a:gd name="connsiteX0" fmla="*/ 2103 w 10000"/>
                <a:gd name="connsiteY0" fmla="*/ 7183 h 10000"/>
                <a:gd name="connsiteX1" fmla="*/ 2161 w 10000"/>
                <a:gd name="connsiteY1" fmla="*/ 7430 h 10000"/>
                <a:gd name="connsiteX2" fmla="*/ 2095 w 10000"/>
                <a:gd name="connsiteY2" fmla="*/ 7430 h 10000"/>
                <a:gd name="connsiteX3" fmla="*/ 2024 w 10000"/>
                <a:gd name="connsiteY3" fmla="*/ 7255 h 10000"/>
                <a:gd name="connsiteX4" fmla="*/ 1973 w 10000"/>
                <a:gd name="connsiteY4" fmla="*/ 7430 h 10000"/>
                <a:gd name="connsiteX5" fmla="*/ 1984 w 10000"/>
                <a:gd name="connsiteY5" fmla="*/ 7854 h 10000"/>
                <a:gd name="connsiteX6" fmla="*/ 2095 w 10000"/>
                <a:gd name="connsiteY6" fmla="*/ 8070 h 10000"/>
                <a:gd name="connsiteX7" fmla="*/ 2153 w 10000"/>
                <a:gd name="connsiteY7" fmla="*/ 8019 h 10000"/>
                <a:gd name="connsiteX8" fmla="*/ 2275 w 10000"/>
                <a:gd name="connsiteY8" fmla="*/ 8493 h 10000"/>
                <a:gd name="connsiteX9" fmla="*/ 2103 w 10000"/>
                <a:gd name="connsiteY9" fmla="*/ 8669 h 10000"/>
                <a:gd name="connsiteX10" fmla="*/ 2083 w 10000"/>
                <a:gd name="connsiteY10" fmla="*/ 9009 h 10000"/>
                <a:gd name="connsiteX11" fmla="*/ 2173 w 10000"/>
                <a:gd name="connsiteY11" fmla="*/ 9236 h 10000"/>
                <a:gd name="connsiteX12" fmla="*/ 2173 w 10000"/>
                <a:gd name="connsiteY12" fmla="*/ 9484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5 h 10000"/>
                <a:gd name="connsiteX17" fmla="*/ 1837 w 10000"/>
                <a:gd name="connsiteY17" fmla="*/ 9588 h 10000"/>
                <a:gd name="connsiteX18" fmla="*/ 1706 w 10000"/>
                <a:gd name="connsiteY18" fmla="*/ 9380 h 10000"/>
                <a:gd name="connsiteX19" fmla="*/ 1433 w 10000"/>
                <a:gd name="connsiteY19" fmla="*/ 9339 h 10000"/>
                <a:gd name="connsiteX20" fmla="*/ 1105 w 10000"/>
                <a:gd name="connsiteY20" fmla="*/ 8813 h 10000"/>
                <a:gd name="connsiteX21" fmla="*/ 1195 w 10000"/>
                <a:gd name="connsiteY21" fmla="*/ 8721 h 10000"/>
                <a:gd name="connsiteX22" fmla="*/ 1257 w 10000"/>
                <a:gd name="connsiteY22" fmla="*/ 8493 h 10000"/>
                <a:gd name="connsiteX23" fmla="*/ 1188 w 10000"/>
                <a:gd name="connsiteY23" fmla="*/ 8390 h 10000"/>
                <a:gd name="connsiteX24" fmla="*/ 1335 w 10000"/>
                <a:gd name="connsiteY24" fmla="*/ 8245 h 10000"/>
                <a:gd name="connsiteX25" fmla="*/ 1234 w 10000"/>
                <a:gd name="connsiteY25" fmla="*/ 8194 h 10000"/>
                <a:gd name="connsiteX26" fmla="*/ 1253 w 10000"/>
                <a:gd name="connsiteY26" fmla="*/ 8091 h 10000"/>
                <a:gd name="connsiteX27" fmla="*/ 1313 w 10000"/>
                <a:gd name="connsiteY27" fmla="*/ 8111 h 10000"/>
                <a:gd name="connsiteX28" fmla="*/ 1384 w 10000"/>
                <a:gd name="connsiteY28" fmla="*/ 8019 h 10000"/>
                <a:gd name="connsiteX29" fmla="*/ 1349 w 10000"/>
                <a:gd name="connsiteY29" fmla="*/ 7864 h 10000"/>
                <a:gd name="connsiteX30" fmla="*/ 1364 w 10000"/>
                <a:gd name="connsiteY30" fmla="*/ 7503 h 10000"/>
                <a:gd name="connsiteX31" fmla="*/ 1212 w 10000"/>
                <a:gd name="connsiteY31" fmla="*/ 7440 h 10000"/>
                <a:gd name="connsiteX32" fmla="*/ 1084 w 10000"/>
                <a:gd name="connsiteY32" fmla="*/ 7286 h 10000"/>
                <a:gd name="connsiteX33" fmla="*/ 916 w 10000"/>
                <a:gd name="connsiteY33" fmla="*/ 7275 h 10000"/>
                <a:gd name="connsiteX34" fmla="*/ 891 w 10000"/>
                <a:gd name="connsiteY34" fmla="*/ 7090 h 10000"/>
                <a:gd name="connsiteX35" fmla="*/ 780 w 10000"/>
                <a:gd name="connsiteY35" fmla="*/ 6945 h 10000"/>
                <a:gd name="connsiteX36" fmla="*/ 803 w 10000"/>
                <a:gd name="connsiteY36" fmla="*/ 6822 h 10000"/>
                <a:gd name="connsiteX37" fmla="*/ 733 w 10000"/>
                <a:gd name="connsiteY37" fmla="*/ 6698 h 10000"/>
                <a:gd name="connsiteX38" fmla="*/ 596 w 10000"/>
                <a:gd name="connsiteY38" fmla="*/ 6698 h 10000"/>
                <a:gd name="connsiteX39" fmla="*/ 556 w 10000"/>
                <a:gd name="connsiteY39" fmla="*/ 6791 h 10000"/>
                <a:gd name="connsiteX40" fmla="*/ 523 w 10000"/>
                <a:gd name="connsiteY40" fmla="*/ 6750 h 10000"/>
                <a:gd name="connsiteX41" fmla="*/ 494 w 10000"/>
                <a:gd name="connsiteY41" fmla="*/ 6439 h 10000"/>
                <a:gd name="connsiteX42" fmla="*/ 549 w 10000"/>
                <a:gd name="connsiteY42" fmla="*/ 6470 h 10000"/>
                <a:gd name="connsiteX43" fmla="*/ 609 w 10000"/>
                <a:gd name="connsiteY43" fmla="*/ 6347 h 10000"/>
                <a:gd name="connsiteX44" fmla="*/ 523 w 10000"/>
                <a:gd name="connsiteY44" fmla="*/ 6233 h 10000"/>
                <a:gd name="connsiteX45" fmla="*/ 412 w 10000"/>
                <a:gd name="connsiteY45" fmla="*/ 6017 h 10000"/>
                <a:gd name="connsiteX46" fmla="*/ 434 w 10000"/>
                <a:gd name="connsiteY46" fmla="*/ 5821 h 10000"/>
                <a:gd name="connsiteX47" fmla="*/ 356 w 10000"/>
                <a:gd name="connsiteY47" fmla="*/ 5697 h 10000"/>
                <a:gd name="connsiteX48" fmla="*/ 293 w 10000"/>
                <a:gd name="connsiteY48" fmla="*/ 5728 h 10000"/>
                <a:gd name="connsiteX49" fmla="*/ 262 w 10000"/>
                <a:gd name="connsiteY49" fmla="*/ 5604 h 10000"/>
                <a:gd name="connsiteX50" fmla="*/ 214 w 10000"/>
                <a:gd name="connsiteY50" fmla="*/ 5645 h 10000"/>
                <a:gd name="connsiteX51" fmla="*/ 151 w 10000"/>
                <a:gd name="connsiteY51" fmla="*/ 5604 h 10000"/>
                <a:gd name="connsiteX52" fmla="*/ 89 w 10000"/>
                <a:gd name="connsiteY52" fmla="*/ 5181 h 10000"/>
                <a:gd name="connsiteX53" fmla="*/ 112 w 10000"/>
                <a:gd name="connsiteY53" fmla="*/ 5057 h 10000"/>
                <a:gd name="connsiteX54" fmla="*/ 52 w 10000"/>
                <a:gd name="connsiteY54" fmla="*/ 4892 h 10000"/>
                <a:gd name="connsiteX55" fmla="*/ 85 w 10000"/>
                <a:gd name="connsiteY55" fmla="*/ 4655 h 10000"/>
                <a:gd name="connsiteX56" fmla="*/ 275 w 10000"/>
                <a:gd name="connsiteY56" fmla="*/ 4510 h 10000"/>
                <a:gd name="connsiteX57" fmla="*/ 169 w 10000"/>
                <a:gd name="connsiteY57" fmla="*/ 4406 h 10000"/>
                <a:gd name="connsiteX58" fmla="*/ 109 w 10000"/>
                <a:gd name="connsiteY58" fmla="*/ 4283 h 10000"/>
                <a:gd name="connsiteX59" fmla="*/ 267 w 10000"/>
                <a:gd name="connsiteY59" fmla="*/ 3912 h 10000"/>
                <a:gd name="connsiteX60" fmla="*/ 328 w 10000"/>
                <a:gd name="connsiteY60" fmla="*/ 3664 h 10000"/>
                <a:gd name="connsiteX61" fmla="*/ 198 w 10000"/>
                <a:gd name="connsiteY61" fmla="*/ 3488 h 10000"/>
                <a:gd name="connsiteX62" fmla="*/ 248 w 10000"/>
                <a:gd name="connsiteY62" fmla="*/ 3344 h 10000"/>
                <a:gd name="connsiteX63" fmla="*/ 146 w 10000"/>
                <a:gd name="connsiteY63" fmla="*/ 3148 h 10000"/>
                <a:gd name="connsiteX64" fmla="*/ 146 w 10000"/>
                <a:gd name="connsiteY64" fmla="*/ 2972 h 10000"/>
                <a:gd name="connsiteX65" fmla="*/ 79 w 10000"/>
                <a:gd name="connsiteY65" fmla="*/ 2622 h 10000"/>
                <a:gd name="connsiteX66" fmla="*/ 129 w 10000"/>
                <a:gd name="connsiteY66" fmla="*/ 2404 h 10000"/>
                <a:gd name="connsiteX67" fmla="*/ 49 w 10000"/>
                <a:gd name="connsiteY67" fmla="*/ 2301 h 10000"/>
                <a:gd name="connsiteX68" fmla="*/ 0 w 10000"/>
                <a:gd name="connsiteY68" fmla="*/ 2178 h 10000"/>
                <a:gd name="connsiteX69" fmla="*/ 71 w 10000"/>
                <a:gd name="connsiteY69" fmla="*/ 1951 h 10000"/>
                <a:gd name="connsiteX70" fmla="*/ 155 w 10000"/>
                <a:gd name="connsiteY70" fmla="*/ 1910 h 10000"/>
                <a:gd name="connsiteX71" fmla="*/ 255 w 10000"/>
                <a:gd name="connsiteY71" fmla="*/ 1858 h 10000"/>
                <a:gd name="connsiteX72" fmla="*/ 404 w 10000"/>
                <a:gd name="connsiteY72" fmla="*/ 1951 h 10000"/>
                <a:gd name="connsiteX73" fmla="*/ 627 w 10000"/>
                <a:gd name="connsiteY73" fmla="*/ 2054 h 10000"/>
                <a:gd name="connsiteX74" fmla="*/ 826 w 10000"/>
                <a:gd name="connsiteY74" fmla="*/ 2229 h 10000"/>
                <a:gd name="connsiteX75" fmla="*/ 987 w 10000"/>
                <a:gd name="connsiteY75" fmla="*/ 2373 h 10000"/>
                <a:gd name="connsiteX76" fmla="*/ 948 w 10000"/>
                <a:gd name="connsiteY76" fmla="*/ 2777 h 10000"/>
                <a:gd name="connsiteX77" fmla="*/ 471 w 10000"/>
                <a:gd name="connsiteY77" fmla="*/ 2673 h 10000"/>
                <a:gd name="connsiteX78" fmla="*/ 320 w 10000"/>
                <a:gd name="connsiteY78" fmla="*/ 2550 h 10000"/>
                <a:gd name="connsiteX79" fmla="*/ 375 w 10000"/>
                <a:gd name="connsiteY79" fmla="*/ 2622 h 10000"/>
                <a:gd name="connsiteX80" fmla="*/ 431 w 10000"/>
                <a:gd name="connsiteY80" fmla="*/ 2797 h 10000"/>
                <a:gd name="connsiteX81" fmla="*/ 523 w 10000"/>
                <a:gd name="connsiteY81" fmla="*/ 2921 h 10000"/>
                <a:gd name="connsiteX82" fmla="*/ 544 w 10000"/>
                <a:gd name="connsiteY82" fmla="*/ 3189 h 10000"/>
                <a:gd name="connsiteX83" fmla="*/ 663 w 10000"/>
                <a:gd name="connsiteY83" fmla="*/ 3313 h 10000"/>
                <a:gd name="connsiteX84" fmla="*/ 761 w 10000"/>
                <a:gd name="connsiteY84" fmla="*/ 3436 h 10000"/>
                <a:gd name="connsiteX85" fmla="*/ 790 w 10000"/>
                <a:gd name="connsiteY85" fmla="*/ 3467 h 10000"/>
                <a:gd name="connsiteX86" fmla="*/ 850 w 10000"/>
                <a:gd name="connsiteY86" fmla="*/ 3436 h 10000"/>
                <a:gd name="connsiteX87" fmla="*/ 826 w 10000"/>
                <a:gd name="connsiteY87" fmla="*/ 3364 h 10000"/>
                <a:gd name="connsiteX88" fmla="*/ 711 w 10000"/>
                <a:gd name="connsiteY88" fmla="*/ 3189 h 10000"/>
                <a:gd name="connsiteX89" fmla="*/ 1047 w 10000"/>
                <a:gd name="connsiteY89" fmla="*/ 3344 h 10000"/>
                <a:gd name="connsiteX90" fmla="*/ 1057 w 10000"/>
                <a:gd name="connsiteY90" fmla="*/ 3271 h 10000"/>
                <a:gd name="connsiteX91" fmla="*/ 1025 w 10000"/>
                <a:gd name="connsiteY91" fmla="*/ 3220 h 10000"/>
                <a:gd name="connsiteX92" fmla="*/ 966 w 10000"/>
                <a:gd name="connsiteY92" fmla="*/ 2993 h 10000"/>
                <a:gd name="connsiteX93" fmla="*/ 1134 w 10000"/>
                <a:gd name="connsiteY93" fmla="*/ 2777 h 10000"/>
                <a:gd name="connsiteX94" fmla="*/ 1266 w 10000"/>
                <a:gd name="connsiteY94" fmla="*/ 2921 h 10000"/>
                <a:gd name="connsiteX95" fmla="*/ 1304 w 10000"/>
                <a:gd name="connsiteY95" fmla="*/ 2725 h 10000"/>
                <a:gd name="connsiteX96" fmla="*/ 1242 w 10000"/>
                <a:gd name="connsiteY96" fmla="*/ 2653 h 10000"/>
                <a:gd name="connsiteX97" fmla="*/ 1220 w 10000"/>
                <a:gd name="connsiteY97" fmla="*/ 2281 h 10000"/>
                <a:gd name="connsiteX98" fmla="*/ 1195 w 10000"/>
                <a:gd name="connsiteY98" fmla="*/ 2229 h 10000"/>
                <a:gd name="connsiteX99" fmla="*/ 1352 w 10000"/>
                <a:gd name="connsiteY99" fmla="*/ 2250 h 10000"/>
                <a:gd name="connsiteX100" fmla="*/ 1420 w 10000"/>
                <a:gd name="connsiteY100" fmla="*/ 2404 h 10000"/>
                <a:gd name="connsiteX101" fmla="*/ 1335 w 10000"/>
                <a:gd name="connsiteY101" fmla="*/ 2529 h 10000"/>
                <a:gd name="connsiteX102" fmla="*/ 1481 w 10000"/>
                <a:gd name="connsiteY102" fmla="*/ 2694 h 10000"/>
                <a:gd name="connsiteX103" fmla="*/ 1601 w 10000"/>
                <a:gd name="connsiteY103" fmla="*/ 2529 h 10000"/>
                <a:gd name="connsiteX104" fmla="*/ 1750 w 10000"/>
                <a:gd name="connsiteY104" fmla="*/ 2301 h 10000"/>
                <a:gd name="connsiteX105" fmla="*/ 1907 w 10000"/>
                <a:gd name="connsiteY105" fmla="*/ 2157 h 10000"/>
                <a:gd name="connsiteX106" fmla="*/ 3415 w 10000"/>
                <a:gd name="connsiteY106" fmla="*/ 1331 h 10000"/>
                <a:gd name="connsiteX107" fmla="*/ 3983 w 10000"/>
                <a:gd name="connsiteY107" fmla="*/ 1383 h 10000"/>
                <a:gd name="connsiteX108" fmla="*/ 3853 w 10000"/>
                <a:gd name="connsiteY108" fmla="*/ 888 h 10000"/>
                <a:gd name="connsiteX109" fmla="*/ 4971 w 10000"/>
                <a:gd name="connsiteY109" fmla="*/ 248 h 10000"/>
                <a:gd name="connsiteX110" fmla="*/ 5000 w 10000"/>
                <a:gd name="connsiteY110" fmla="*/ 0 h 10000"/>
                <a:gd name="connsiteX111" fmla="*/ 5209 w 10000"/>
                <a:gd name="connsiteY111" fmla="*/ 21 h 10000"/>
                <a:gd name="connsiteX112" fmla="*/ 5333 w 10000"/>
                <a:gd name="connsiteY112" fmla="*/ 248 h 10000"/>
                <a:gd name="connsiteX113" fmla="*/ 9394 w 10000"/>
                <a:gd name="connsiteY113" fmla="*/ 1611 h 10000"/>
                <a:gd name="connsiteX114" fmla="*/ 9621 w 10000"/>
                <a:gd name="connsiteY114" fmla="*/ 1507 h 10000"/>
                <a:gd name="connsiteX115" fmla="*/ 9903 w 10000"/>
                <a:gd name="connsiteY115" fmla="*/ 1538 h 10000"/>
                <a:gd name="connsiteX116" fmla="*/ 10000 w 10000"/>
                <a:gd name="connsiteY116" fmla="*/ 1611 h 10000"/>
                <a:gd name="connsiteX0" fmla="*/ 2103 w 10000"/>
                <a:gd name="connsiteY0" fmla="*/ 7164 h 9981"/>
                <a:gd name="connsiteX1" fmla="*/ 2161 w 10000"/>
                <a:gd name="connsiteY1" fmla="*/ 7411 h 9981"/>
                <a:gd name="connsiteX2" fmla="*/ 2095 w 10000"/>
                <a:gd name="connsiteY2" fmla="*/ 7411 h 9981"/>
                <a:gd name="connsiteX3" fmla="*/ 2024 w 10000"/>
                <a:gd name="connsiteY3" fmla="*/ 7236 h 9981"/>
                <a:gd name="connsiteX4" fmla="*/ 1973 w 10000"/>
                <a:gd name="connsiteY4" fmla="*/ 7411 h 9981"/>
                <a:gd name="connsiteX5" fmla="*/ 1984 w 10000"/>
                <a:gd name="connsiteY5" fmla="*/ 7835 h 9981"/>
                <a:gd name="connsiteX6" fmla="*/ 2095 w 10000"/>
                <a:gd name="connsiteY6" fmla="*/ 8051 h 9981"/>
                <a:gd name="connsiteX7" fmla="*/ 2153 w 10000"/>
                <a:gd name="connsiteY7" fmla="*/ 8000 h 9981"/>
                <a:gd name="connsiteX8" fmla="*/ 2275 w 10000"/>
                <a:gd name="connsiteY8" fmla="*/ 8474 h 9981"/>
                <a:gd name="connsiteX9" fmla="*/ 2103 w 10000"/>
                <a:gd name="connsiteY9" fmla="*/ 8650 h 9981"/>
                <a:gd name="connsiteX10" fmla="*/ 2083 w 10000"/>
                <a:gd name="connsiteY10" fmla="*/ 8990 h 9981"/>
                <a:gd name="connsiteX11" fmla="*/ 2173 w 10000"/>
                <a:gd name="connsiteY11" fmla="*/ 9217 h 9981"/>
                <a:gd name="connsiteX12" fmla="*/ 2173 w 10000"/>
                <a:gd name="connsiteY12" fmla="*/ 9465 h 9981"/>
                <a:gd name="connsiteX13" fmla="*/ 2310 w 10000"/>
                <a:gd name="connsiteY13" fmla="*/ 9816 h 9981"/>
                <a:gd name="connsiteX14" fmla="*/ 2225 w 10000"/>
                <a:gd name="connsiteY14" fmla="*/ 9981 h 9981"/>
                <a:gd name="connsiteX15" fmla="*/ 2095 w 10000"/>
                <a:gd name="connsiteY15" fmla="*/ 9734 h 9981"/>
                <a:gd name="connsiteX16" fmla="*/ 1914 w 10000"/>
                <a:gd name="connsiteY16" fmla="*/ 9486 h 9981"/>
                <a:gd name="connsiteX17" fmla="*/ 1837 w 10000"/>
                <a:gd name="connsiteY17" fmla="*/ 9569 h 9981"/>
                <a:gd name="connsiteX18" fmla="*/ 1706 w 10000"/>
                <a:gd name="connsiteY18" fmla="*/ 9361 h 9981"/>
                <a:gd name="connsiteX19" fmla="*/ 1433 w 10000"/>
                <a:gd name="connsiteY19" fmla="*/ 9320 h 9981"/>
                <a:gd name="connsiteX20" fmla="*/ 1105 w 10000"/>
                <a:gd name="connsiteY20" fmla="*/ 8794 h 9981"/>
                <a:gd name="connsiteX21" fmla="*/ 1195 w 10000"/>
                <a:gd name="connsiteY21" fmla="*/ 8702 h 9981"/>
                <a:gd name="connsiteX22" fmla="*/ 1257 w 10000"/>
                <a:gd name="connsiteY22" fmla="*/ 8474 h 9981"/>
                <a:gd name="connsiteX23" fmla="*/ 1188 w 10000"/>
                <a:gd name="connsiteY23" fmla="*/ 8371 h 9981"/>
                <a:gd name="connsiteX24" fmla="*/ 1335 w 10000"/>
                <a:gd name="connsiteY24" fmla="*/ 8226 h 9981"/>
                <a:gd name="connsiteX25" fmla="*/ 1234 w 10000"/>
                <a:gd name="connsiteY25" fmla="*/ 8175 h 9981"/>
                <a:gd name="connsiteX26" fmla="*/ 1253 w 10000"/>
                <a:gd name="connsiteY26" fmla="*/ 8072 h 9981"/>
                <a:gd name="connsiteX27" fmla="*/ 1313 w 10000"/>
                <a:gd name="connsiteY27" fmla="*/ 8092 h 9981"/>
                <a:gd name="connsiteX28" fmla="*/ 1384 w 10000"/>
                <a:gd name="connsiteY28" fmla="*/ 8000 h 9981"/>
                <a:gd name="connsiteX29" fmla="*/ 1349 w 10000"/>
                <a:gd name="connsiteY29" fmla="*/ 7845 h 9981"/>
                <a:gd name="connsiteX30" fmla="*/ 1364 w 10000"/>
                <a:gd name="connsiteY30" fmla="*/ 7484 h 9981"/>
                <a:gd name="connsiteX31" fmla="*/ 1212 w 10000"/>
                <a:gd name="connsiteY31" fmla="*/ 7421 h 9981"/>
                <a:gd name="connsiteX32" fmla="*/ 1084 w 10000"/>
                <a:gd name="connsiteY32" fmla="*/ 7267 h 9981"/>
                <a:gd name="connsiteX33" fmla="*/ 916 w 10000"/>
                <a:gd name="connsiteY33" fmla="*/ 7256 h 9981"/>
                <a:gd name="connsiteX34" fmla="*/ 891 w 10000"/>
                <a:gd name="connsiteY34" fmla="*/ 7071 h 9981"/>
                <a:gd name="connsiteX35" fmla="*/ 780 w 10000"/>
                <a:gd name="connsiteY35" fmla="*/ 6926 h 9981"/>
                <a:gd name="connsiteX36" fmla="*/ 803 w 10000"/>
                <a:gd name="connsiteY36" fmla="*/ 6803 h 9981"/>
                <a:gd name="connsiteX37" fmla="*/ 733 w 10000"/>
                <a:gd name="connsiteY37" fmla="*/ 6679 h 9981"/>
                <a:gd name="connsiteX38" fmla="*/ 596 w 10000"/>
                <a:gd name="connsiteY38" fmla="*/ 6679 h 9981"/>
                <a:gd name="connsiteX39" fmla="*/ 556 w 10000"/>
                <a:gd name="connsiteY39" fmla="*/ 6772 h 9981"/>
                <a:gd name="connsiteX40" fmla="*/ 523 w 10000"/>
                <a:gd name="connsiteY40" fmla="*/ 6731 h 9981"/>
                <a:gd name="connsiteX41" fmla="*/ 494 w 10000"/>
                <a:gd name="connsiteY41" fmla="*/ 6420 h 9981"/>
                <a:gd name="connsiteX42" fmla="*/ 549 w 10000"/>
                <a:gd name="connsiteY42" fmla="*/ 6451 h 9981"/>
                <a:gd name="connsiteX43" fmla="*/ 609 w 10000"/>
                <a:gd name="connsiteY43" fmla="*/ 6328 h 9981"/>
                <a:gd name="connsiteX44" fmla="*/ 523 w 10000"/>
                <a:gd name="connsiteY44" fmla="*/ 6214 h 9981"/>
                <a:gd name="connsiteX45" fmla="*/ 412 w 10000"/>
                <a:gd name="connsiteY45" fmla="*/ 5998 h 9981"/>
                <a:gd name="connsiteX46" fmla="*/ 434 w 10000"/>
                <a:gd name="connsiteY46" fmla="*/ 5802 h 9981"/>
                <a:gd name="connsiteX47" fmla="*/ 356 w 10000"/>
                <a:gd name="connsiteY47" fmla="*/ 5678 h 9981"/>
                <a:gd name="connsiteX48" fmla="*/ 293 w 10000"/>
                <a:gd name="connsiteY48" fmla="*/ 5709 h 9981"/>
                <a:gd name="connsiteX49" fmla="*/ 262 w 10000"/>
                <a:gd name="connsiteY49" fmla="*/ 5585 h 9981"/>
                <a:gd name="connsiteX50" fmla="*/ 214 w 10000"/>
                <a:gd name="connsiteY50" fmla="*/ 5626 h 9981"/>
                <a:gd name="connsiteX51" fmla="*/ 151 w 10000"/>
                <a:gd name="connsiteY51" fmla="*/ 5585 h 9981"/>
                <a:gd name="connsiteX52" fmla="*/ 89 w 10000"/>
                <a:gd name="connsiteY52" fmla="*/ 5162 h 9981"/>
                <a:gd name="connsiteX53" fmla="*/ 112 w 10000"/>
                <a:gd name="connsiteY53" fmla="*/ 5038 h 9981"/>
                <a:gd name="connsiteX54" fmla="*/ 52 w 10000"/>
                <a:gd name="connsiteY54" fmla="*/ 4873 h 9981"/>
                <a:gd name="connsiteX55" fmla="*/ 85 w 10000"/>
                <a:gd name="connsiteY55" fmla="*/ 4636 h 9981"/>
                <a:gd name="connsiteX56" fmla="*/ 275 w 10000"/>
                <a:gd name="connsiteY56" fmla="*/ 4491 h 9981"/>
                <a:gd name="connsiteX57" fmla="*/ 169 w 10000"/>
                <a:gd name="connsiteY57" fmla="*/ 4387 h 9981"/>
                <a:gd name="connsiteX58" fmla="*/ 109 w 10000"/>
                <a:gd name="connsiteY58" fmla="*/ 4264 h 9981"/>
                <a:gd name="connsiteX59" fmla="*/ 267 w 10000"/>
                <a:gd name="connsiteY59" fmla="*/ 3893 h 9981"/>
                <a:gd name="connsiteX60" fmla="*/ 328 w 10000"/>
                <a:gd name="connsiteY60" fmla="*/ 3645 h 9981"/>
                <a:gd name="connsiteX61" fmla="*/ 198 w 10000"/>
                <a:gd name="connsiteY61" fmla="*/ 3469 h 9981"/>
                <a:gd name="connsiteX62" fmla="*/ 248 w 10000"/>
                <a:gd name="connsiteY62" fmla="*/ 3325 h 9981"/>
                <a:gd name="connsiteX63" fmla="*/ 146 w 10000"/>
                <a:gd name="connsiteY63" fmla="*/ 3129 h 9981"/>
                <a:gd name="connsiteX64" fmla="*/ 146 w 10000"/>
                <a:gd name="connsiteY64" fmla="*/ 2953 h 9981"/>
                <a:gd name="connsiteX65" fmla="*/ 79 w 10000"/>
                <a:gd name="connsiteY65" fmla="*/ 2603 h 9981"/>
                <a:gd name="connsiteX66" fmla="*/ 129 w 10000"/>
                <a:gd name="connsiteY66" fmla="*/ 2385 h 9981"/>
                <a:gd name="connsiteX67" fmla="*/ 49 w 10000"/>
                <a:gd name="connsiteY67" fmla="*/ 2282 h 9981"/>
                <a:gd name="connsiteX68" fmla="*/ 0 w 10000"/>
                <a:gd name="connsiteY68" fmla="*/ 2159 h 9981"/>
                <a:gd name="connsiteX69" fmla="*/ 71 w 10000"/>
                <a:gd name="connsiteY69" fmla="*/ 1932 h 9981"/>
                <a:gd name="connsiteX70" fmla="*/ 155 w 10000"/>
                <a:gd name="connsiteY70" fmla="*/ 1891 h 9981"/>
                <a:gd name="connsiteX71" fmla="*/ 255 w 10000"/>
                <a:gd name="connsiteY71" fmla="*/ 1839 h 9981"/>
                <a:gd name="connsiteX72" fmla="*/ 404 w 10000"/>
                <a:gd name="connsiteY72" fmla="*/ 1932 h 9981"/>
                <a:gd name="connsiteX73" fmla="*/ 627 w 10000"/>
                <a:gd name="connsiteY73" fmla="*/ 2035 h 9981"/>
                <a:gd name="connsiteX74" fmla="*/ 826 w 10000"/>
                <a:gd name="connsiteY74" fmla="*/ 2210 h 9981"/>
                <a:gd name="connsiteX75" fmla="*/ 987 w 10000"/>
                <a:gd name="connsiteY75" fmla="*/ 2354 h 9981"/>
                <a:gd name="connsiteX76" fmla="*/ 948 w 10000"/>
                <a:gd name="connsiteY76" fmla="*/ 2758 h 9981"/>
                <a:gd name="connsiteX77" fmla="*/ 471 w 10000"/>
                <a:gd name="connsiteY77" fmla="*/ 2654 h 9981"/>
                <a:gd name="connsiteX78" fmla="*/ 320 w 10000"/>
                <a:gd name="connsiteY78" fmla="*/ 2531 h 9981"/>
                <a:gd name="connsiteX79" fmla="*/ 375 w 10000"/>
                <a:gd name="connsiteY79" fmla="*/ 2603 h 9981"/>
                <a:gd name="connsiteX80" fmla="*/ 431 w 10000"/>
                <a:gd name="connsiteY80" fmla="*/ 2778 h 9981"/>
                <a:gd name="connsiteX81" fmla="*/ 523 w 10000"/>
                <a:gd name="connsiteY81" fmla="*/ 2902 h 9981"/>
                <a:gd name="connsiteX82" fmla="*/ 544 w 10000"/>
                <a:gd name="connsiteY82" fmla="*/ 3170 h 9981"/>
                <a:gd name="connsiteX83" fmla="*/ 663 w 10000"/>
                <a:gd name="connsiteY83" fmla="*/ 3294 h 9981"/>
                <a:gd name="connsiteX84" fmla="*/ 761 w 10000"/>
                <a:gd name="connsiteY84" fmla="*/ 3417 h 9981"/>
                <a:gd name="connsiteX85" fmla="*/ 790 w 10000"/>
                <a:gd name="connsiteY85" fmla="*/ 3448 h 9981"/>
                <a:gd name="connsiteX86" fmla="*/ 850 w 10000"/>
                <a:gd name="connsiteY86" fmla="*/ 3417 h 9981"/>
                <a:gd name="connsiteX87" fmla="*/ 826 w 10000"/>
                <a:gd name="connsiteY87" fmla="*/ 3345 h 9981"/>
                <a:gd name="connsiteX88" fmla="*/ 711 w 10000"/>
                <a:gd name="connsiteY88" fmla="*/ 3170 h 9981"/>
                <a:gd name="connsiteX89" fmla="*/ 1047 w 10000"/>
                <a:gd name="connsiteY89" fmla="*/ 3325 h 9981"/>
                <a:gd name="connsiteX90" fmla="*/ 1057 w 10000"/>
                <a:gd name="connsiteY90" fmla="*/ 3252 h 9981"/>
                <a:gd name="connsiteX91" fmla="*/ 1025 w 10000"/>
                <a:gd name="connsiteY91" fmla="*/ 3201 h 9981"/>
                <a:gd name="connsiteX92" fmla="*/ 966 w 10000"/>
                <a:gd name="connsiteY92" fmla="*/ 2974 h 9981"/>
                <a:gd name="connsiteX93" fmla="*/ 1134 w 10000"/>
                <a:gd name="connsiteY93" fmla="*/ 2758 h 9981"/>
                <a:gd name="connsiteX94" fmla="*/ 1266 w 10000"/>
                <a:gd name="connsiteY94" fmla="*/ 2902 h 9981"/>
                <a:gd name="connsiteX95" fmla="*/ 1304 w 10000"/>
                <a:gd name="connsiteY95" fmla="*/ 2706 h 9981"/>
                <a:gd name="connsiteX96" fmla="*/ 1242 w 10000"/>
                <a:gd name="connsiteY96" fmla="*/ 2634 h 9981"/>
                <a:gd name="connsiteX97" fmla="*/ 1220 w 10000"/>
                <a:gd name="connsiteY97" fmla="*/ 2262 h 9981"/>
                <a:gd name="connsiteX98" fmla="*/ 1195 w 10000"/>
                <a:gd name="connsiteY98" fmla="*/ 2210 h 9981"/>
                <a:gd name="connsiteX99" fmla="*/ 1352 w 10000"/>
                <a:gd name="connsiteY99" fmla="*/ 2231 h 9981"/>
                <a:gd name="connsiteX100" fmla="*/ 1420 w 10000"/>
                <a:gd name="connsiteY100" fmla="*/ 2385 h 9981"/>
                <a:gd name="connsiteX101" fmla="*/ 1335 w 10000"/>
                <a:gd name="connsiteY101" fmla="*/ 2510 h 9981"/>
                <a:gd name="connsiteX102" fmla="*/ 1481 w 10000"/>
                <a:gd name="connsiteY102" fmla="*/ 2675 h 9981"/>
                <a:gd name="connsiteX103" fmla="*/ 1601 w 10000"/>
                <a:gd name="connsiteY103" fmla="*/ 2510 h 9981"/>
                <a:gd name="connsiteX104" fmla="*/ 1750 w 10000"/>
                <a:gd name="connsiteY104" fmla="*/ 2282 h 9981"/>
                <a:gd name="connsiteX105" fmla="*/ 1907 w 10000"/>
                <a:gd name="connsiteY105" fmla="*/ 2138 h 9981"/>
                <a:gd name="connsiteX106" fmla="*/ 3415 w 10000"/>
                <a:gd name="connsiteY106" fmla="*/ 1312 h 9981"/>
                <a:gd name="connsiteX107" fmla="*/ 3983 w 10000"/>
                <a:gd name="connsiteY107" fmla="*/ 1364 h 9981"/>
                <a:gd name="connsiteX108" fmla="*/ 3853 w 10000"/>
                <a:gd name="connsiteY108" fmla="*/ 869 h 9981"/>
                <a:gd name="connsiteX109" fmla="*/ 4971 w 10000"/>
                <a:gd name="connsiteY109" fmla="*/ 229 h 9981"/>
                <a:gd name="connsiteX110" fmla="*/ 5209 w 10000"/>
                <a:gd name="connsiteY110" fmla="*/ 2 h 9981"/>
                <a:gd name="connsiteX111" fmla="*/ 5333 w 10000"/>
                <a:gd name="connsiteY111" fmla="*/ 229 h 9981"/>
                <a:gd name="connsiteX112" fmla="*/ 9394 w 10000"/>
                <a:gd name="connsiteY112" fmla="*/ 1592 h 9981"/>
                <a:gd name="connsiteX113" fmla="*/ 9621 w 10000"/>
                <a:gd name="connsiteY113" fmla="*/ 1488 h 9981"/>
                <a:gd name="connsiteX114" fmla="*/ 9903 w 10000"/>
                <a:gd name="connsiteY114" fmla="*/ 1519 h 9981"/>
                <a:gd name="connsiteX115" fmla="*/ 10000 w 10000"/>
                <a:gd name="connsiteY115" fmla="*/ 1592 h 9981"/>
                <a:gd name="connsiteX0" fmla="*/ 2103 w 10000"/>
                <a:gd name="connsiteY0" fmla="*/ 7224 h 10046"/>
                <a:gd name="connsiteX1" fmla="*/ 2161 w 10000"/>
                <a:gd name="connsiteY1" fmla="*/ 7471 h 10046"/>
                <a:gd name="connsiteX2" fmla="*/ 2095 w 10000"/>
                <a:gd name="connsiteY2" fmla="*/ 7471 h 10046"/>
                <a:gd name="connsiteX3" fmla="*/ 2024 w 10000"/>
                <a:gd name="connsiteY3" fmla="*/ 7296 h 10046"/>
                <a:gd name="connsiteX4" fmla="*/ 1973 w 10000"/>
                <a:gd name="connsiteY4" fmla="*/ 7471 h 10046"/>
                <a:gd name="connsiteX5" fmla="*/ 1984 w 10000"/>
                <a:gd name="connsiteY5" fmla="*/ 7896 h 10046"/>
                <a:gd name="connsiteX6" fmla="*/ 2095 w 10000"/>
                <a:gd name="connsiteY6" fmla="*/ 8112 h 10046"/>
                <a:gd name="connsiteX7" fmla="*/ 2153 w 10000"/>
                <a:gd name="connsiteY7" fmla="*/ 8061 h 10046"/>
                <a:gd name="connsiteX8" fmla="*/ 2275 w 10000"/>
                <a:gd name="connsiteY8" fmla="*/ 8536 h 10046"/>
                <a:gd name="connsiteX9" fmla="*/ 2103 w 10000"/>
                <a:gd name="connsiteY9" fmla="*/ 8712 h 10046"/>
                <a:gd name="connsiteX10" fmla="*/ 2083 w 10000"/>
                <a:gd name="connsiteY10" fmla="*/ 9053 h 10046"/>
                <a:gd name="connsiteX11" fmla="*/ 2173 w 10000"/>
                <a:gd name="connsiteY11" fmla="*/ 9281 h 10046"/>
                <a:gd name="connsiteX12" fmla="*/ 2173 w 10000"/>
                <a:gd name="connsiteY12" fmla="*/ 9529 h 10046"/>
                <a:gd name="connsiteX13" fmla="*/ 2310 w 10000"/>
                <a:gd name="connsiteY13" fmla="*/ 9881 h 10046"/>
                <a:gd name="connsiteX14" fmla="*/ 2225 w 10000"/>
                <a:gd name="connsiteY14" fmla="*/ 10046 h 10046"/>
                <a:gd name="connsiteX15" fmla="*/ 2095 w 10000"/>
                <a:gd name="connsiteY15" fmla="*/ 9799 h 10046"/>
                <a:gd name="connsiteX16" fmla="*/ 1914 w 10000"/>
                <a:gd name="connsiteY16" fmla="*/ 9550 h 10046"/>
                <a:gd name="connsiteX17" fmla="*/ 1837 w 10000"/>
                <a:gd name="connsiteY17" fmla="*/ 9633 h 10046"/>
                <a:gd name="connsiteX18" fmla="*/ 1706 w 10000"/>
                <a:gd name="connsiteY18" fmla="*/ 9425 h 10046"/>
                <a:gd name="connsiteX19" fmla="*/ 1433 w 10000"/>
                <a:gd name="connsiteY19" fmla="*/ 9384 h 10046"/>
                <a:gd name="connsiteX20" fmla="*/ 1105 w 10000"/>
                <a:gd name="connsiteY20" fmla="*/ 8857 h 10046"/>
                <a:gd name="connsiteX21" fmla="*/ 1195 w 10000"/>
                <a:gd name="connsiteY21" fmla="*/ 8765 h 10046"/>
                <a:gd name="connsiteX22" fmla="*/ 1257 w 10000"/>
                <a:gd name="connsiteY22" fmla="*/ 8536 h 10046"/>
                <a:gd name="connsiteX23" fmla="*/ 1188 w 10000"/>
                <a:gd name="connsiteY23" fmla="*/ 8433 h 10046"/>
                <a:gd name="connsiteX24" fmla="*/ 1335 w 10000"/>
                <a:gd name="connsiteY24" fmla="*/ 8288 h 10046"/>
                <a:gd name="connsiteX25" fmla="*/ 1234 w 10000"/>
                <a:gd name="connsiteY25" fmla="*/ 8237 h 10046"/>
                <a:gd name="connsiteX26" fmla="*/ 1253 w 10000"/>
                <a:gd name="connsiteY26" fmla="*/ 8133 h 10046"/>
                <a:gd name="connsiteX27" fmla="*/ 1313 w 10000"/>
                <a:gd name="connsiteY27" fmla="*/ 8153 h 10046"/>
                <a:gd name="connsiteX28" fmla="*/ 1384 w 10000"/>
                <a:gd name="connsiteY28" fmla="*/ 8061 h 10046"/>
                <a:gd name="connsiteX29" fmla="*/ 1349 w 10000"/>
                <a:gd name="connsiteY29" fmla="*/ 7906 h 10046"/>
                <a:gd name="connsiteX30" fmla="*/ 1364 w 10000"/>
                <a:gd name="connsiteY30" fmla="*/ 7544 h 10046"/>
                <a:gd name="connsiteX31" fmla="*/ 1212 w 10000"/>
                <a:gd name="connsiteY31" fmla="*/ 7481 h 10046"/>
                <a:gd name="connsiteX32" fmla="*/ 1084 w 10000"/>
                <a:gd name="connsiteY32" fmla="*/ 7327 h 10046"/>
                <a:gd name="connsiteX33" fmla="*/ 916 w 10000"/>
                <a:gd name="connsiteY33" fmla="*/ 7316 h 10046"/>
                <a:gd name="connsiteX34" fmla="*/ 891 w 10000"/>
                <a:gd name="connsiteY34" fmla="*/ 7130 h 10046"/>
                <a:gd name="connsiteX35" fmla="*/ 780 w 10000"/>
                <a:gd name="connsiteY35" fmla="*/ 6985 h 10046"/>
                <a:gd name="connsiteX36" fmla="*/ 803 w 10000"/>
                <a:gd name="connsiteY36" fmla="*/ 6862 h 10046"/>
                <a:gd name="connsiteX37" fmla="*/ 733 w 10000"/>
                <a:gd name="connsiteY37" fmla="*/ 6738 h 10046"/>
                <a:gd name="connsiteX38" fmla="*/ 596 w 10000"/>
                <a:gd name="connsiteY38" fmla="*/ 6738 h 10046"/>
                <a:gd name="connsiteX39" fmla="*/ 556 w 10000"/>
                <a:gd name="connsiteY39" fmla="*/ 6831 h 10046"/>
                <a:gd name="connsiteX40" fmla="*/ 523 w 10000"/>
                <a:gd name="connsiteY40" fmla="*/ 6790 h 10046"/>
                <a:gd name="connsiteX41" fmla="*/ 494 w 10000"/>
                <a:gd name="connsiteY41" fmla="*/ 6478 h 10046"/>
                <a:gd name="connsiteX42" fmla="*/ 549 w 10000"/>
                <a:gd name="connsiteY42" fmla="*/ 6509 h 10046"/>
                <a:gd name="connsiteX43" fmla="*/ 609 w 10000"/>
                <a:gd name="connsiteY43" fmla="*/ 6386 h 10046"/>
                <a:gd name="connsiteX44" fmla="*/ 523 w 10000"/>
                <a:gd name="connsiteY44" fmla="*/ 6272 h 10046"/>
                <a:gd name="connsiteX45" fmla="*/ 412 w 10000"/>
                <a:gd name="connsiteY45" fmla="*/ 6055 h 10046"/>
                <a:gd name="connsiteX46" fmla="*/ 434 w 10000"/>
                <a:gd name="connsiteY46" fmla="*/ 5859 h 10046"/>
                <a:gd name="connsiteX47" fmla="*/ 356 w 10000"/>
                <a:gd name="connsiteY47" fmla="*/ 5735 h 10046"/>
                <a:gd name="connsiteX48" fmla="*/ 293 w 10000"/>
                <a:gd name="connsiteY48" fmla="*/ 5766 h 10046"/>
                <a:gd name="connsiteX49" fmla="*/ 262 w 10000"/>
                <a:gd name="connsiteY49" fmla="*/ 5642 h 10046"/>
                <a:gd name="connsiteX50" fmla="*/ 214 w 10000"/>
                <a:gd name="connsiteY50" fmla="*/ 5683 h 10046"/>
                <a:gd name="connsiteX51" fmla="*/ 151 w 10000"/>
                <a:gd name="connsiteY51" fmla="*/ 5642 h 10046"/>
                <a:gd name="connsiteX52" fmla="*/ 89 w 10000"/>
                <a:gd name="connsiteY52" fmla="*/ 5218 h 10046"/>
                <a:gd name="connsiteX53" fmla="*/ 112 w 10000"/>
                <a:gd name="connsiteY53" fmla="*/ 5094 h 10046"/>
                <a:gd name="connsiteX54" fmla="*/ 52 w 10000"/>
                <a:gd name="connsiteY54" fmla="*/ 4928 h 10046"/>
                <a:gd name="connsiteX55" fmla="*/ 85 w 10000"/>
                <a:gd name="connsiteY55" fmla="*/ 4691 h 10046"/>
                <a:gd name="connsiteX56" fmla="*/ 275 w 10000"/>
                <a:gd name="connsiteY56" fmla="*/ 4546 h 10046"/>
                <a:gd name="connsiteX57" fmla="*/ 169 w 10000"/>
                <a:gd name="connsiteY57" fmla="*/ 4441 h 10046"/>
                <a:gd name="connsiteX58" fmla="*/ 109 w 10000"/>
                <a:gd name="connsiteY58" fmla="*/ 4318 h 10046"/>
                <a:gd name="connsiteX59" fmla="*/ 267 w 10000"/>
                <a:gd name="connsiteY59" fmla="*/ 3946 h 10046"/>
                <a:gd name="connsiteX60" fmla="*/ 328 w 10000"/>
                <a:gd name="connsiteY60" fmla="*/ 3698 h 10046"/>
                <a:gd name="connsiteX61" fmla="*/ 198 w 10000"/>
                <a:gd name="connsiteY61" fmla="*/ 3522 h 10046"/>
                <a:gd name="connsiteX62" fmla="*/ 248 w 10000"/>
                <a:gd name="connsiteY62" fmla="*/ 3377 h 10046"/>
                <a:gd name="connsiteX63" fmla="*/ 146 w 10000"/>
                <a:gd name="connsiteY63" fmla="*/ 3181 h 10046"/>
                <a:gd name="connsiteX64" fmla="*/ 146 w 10000"/>
                <a:gd name="connsiteY64" fmla="*/ 3005 h 10046"/>
                <a:gd name="connsiteX65" fmla="*/ 79 w 10000"/>
                <a:gd name="connsiteY65" fmla="*/ 2654 h 10046"/>
                <a:gd name="connsiteX66" fmla="*/ 129 w 10000"/>
                <a:gd name="connsiteY66" fmla="*/ 2436 h 10046"/>
                <a:gd name="connsiteX67" fmla="*/ 49 w 10000"/>
                <a:gd name="connsiteY67" fmla="*/ 2332 h 10046"/>
                <a:gd name="connsiteX68" fmla="*/ 0 w 10000"/>
                <a:gd name="connsiteY68" fmla="*/ 2209 h 10046"/>
                <a:gd name="connsiteX69" fmla="*/ 71 w 10000"/>
                <a:gd name="connsiteY69" fmla="*/ 1982 h 10046"/>
                <a:gd name="connsiteX70" fmla="*/ 155 w 10000"/>
                <a:gd name="connsiteY70" fmla="*/ 1941 h 10046"/>
                <a:gd name="connsiteX71" fmla="*/ 255 w 10000"/>
                <a:gd name="connsiteY71" fmla="*/ 1889 h 10046"/>
                <a:gd name="connsiteX72" fmla="*/ 404 w 10000"/>
                <a:gd name="connsiteY72" fmla="*/ 1982 h 10046"/>
                <a:gd name="connsiteX73" fmla="*/ 627 w 10000"/>
                <a:gd name="connsiteY73" fmla="*/ 2085 h 10046"/>
                <a:gd name="connsiteX74" fmla="*/ 826 w 10000"/>
                <a:gd name="connsiteY74" fmla="*/ 2260 h 10046"/>
                <a:gd name="connsiteX75" fmla="*/ 987 w 10000"/>
                <a:gd name="connsiteY75" fmla="*/ 2404 h 10046"/>
                <a:gd name="connsiteX76" fmla="*/ 948 w 10000"/>
                <a:gd name="connsiteY76" fmla="*/ 2809 h 10046"/>
                <a:gd name="connsiteX77" fmla="*/ 471 w 10000"/>
                <a:gd name="connsiteY77" fmla="*/ 2705 h 10046"/>
                <a:gd name="connsiteX78" fmla="*/ 320 w 10000"/>
                <a:gd name="connsiteY78" fmla="*/ 2582 h 10046"/>
                <a:gd name="connsiteX79" fmla="*/ 375 w 10000"/>
                <a:gd name="connsiteY79" fmla="*/ 2654 h 10046"/>
                <a:gd name="connsiteX80" fmla="*/ 431 w 10000"/>
                <a:gd name="connsiteY80" fmla="*/ 2829 h 10046"/>
                <a:gd name="connsiteX81" fmla="*/ 523 w 10000"/>
                <a:gd name="connsiteY81" fmla="*/ 2954 h 10046"/>
                <a:gd name="connsiteX82" fmla="*/ 544 w 10000"/>
                <a:gd name="connsiteY82" fmla="*/ 3222 h 10046"/>
                <a:gd name="connsiteX83" fmla="*/ 663 w 10000"/>
                <a:gd name="connsiteY83" fmla="*/ 3346 h 10046"/>
                <a:gd name="connsiteX84" fmla="*/ 761 w 10000"/>
                <a:gd name="connsiteY84" fmla="*/ 3470 h 10046"/>
                <a:gd name="connsiteX85" fmla="*/ 790 w 10000"/>
                <a:gd name="connsiteY85" fmla="*/ 3501 h 10046"/>
                <a:gd name="connsiteX86" fmla="*/ 850 w 10000"/>
                <a:gd name="connsiteY86" fmla="*/ 3470 h 10046"/>
                <a:gd name="connsiteX87" fmla="*/ 826 w 10000"/>
                <a:gd name="connsiteY87" fmla="*/ 3397 h 10046"/>
                <a:gd name="connsiteX88" fmla="*/ 711 w 10000"/>
                <a:gd name="connsiteY88" fmla="*/ 3222 h 10046"/>
                <a:gd name="connsiteX89" fmla="*/ 1047 w 10000"/>
                <a:gd name="connsiteY89" fmla="*/ 3377 h 10046"/>
                <a:gd name="connsiteX90" fmla="*/ 1057 w 10000"/>
                <a:gd name="connsiteY90" fmla="*/ 3304 h 10046"/>
                <a:gd name="connsiteX91" fmla="*/ 1025 w 10000"/>
                <a:gd name="connsiteY91" fmla="*/ 3253 h 10046"/>
                <a:gd name="connsiteX92" fmla="*/ 966 w 10000"/>
                <a:gd name="connsiteY92" fmla="*/ 3026 h 10046"/>
                <a:gd name="connsiteX93" fmla="*/ 1134 w 10000"/>
                <a:gd name="connsiteY93" fmla="*/ 2809 h 10046"/>
                <a:gd name="connsiteX94" fmla="*/ 1266 w 10000"/>
                <a:gd name="connsiteY94" fmla="*/ 2954 h 10046"/>
                <a:gd name="connsiteX95" fmla="*/ 1304 w 10000"/>
                <a:gd name="connsiteY95" fmla="*/ 2757 h 10046"/>
                <a:gd name="connsiteX96" fmla="*/ 1242 w 10000"/>
                <a:gd name="connsiteY96" fmla="*/ 2685 h 10046"/>
                <a:gd name="connsiteX97" fmla="*/ 1220 w 10000"/>
                <a:gd name="connsiteY97" fmla="*/ 2312 h 10046"/>
                <a:gd name="connsiteX98" fmla="*/ 1195 w 10000"/>
                <a:gd name="connsiteY98" fmla="*/ 2260 h 10046"/>
                <a:gd name="connsiteX99" fmla="*/ 1352 w 10000"/>
                <a:gd name="connsiteY99" fmla="*/ 2281 h 10046"/>
                <a:gd name="connsiteX100" fmla="*/ 1420 w 10000"/>
                <a:gd name="connsiteY100" fmla="*/ 2436 h 10046"/>
                <a:gd name="connsiteX101" fmla="*/ 1335 w 10000"/>
                <a:gd name="connsiteY101" fmla="*/ 2561 h 10046"/>
                <a:gd name="connsiteX102" fmla="*/ 1481 w 10000"/>
                <a:gd name="connsiteY102" fmla="*/ 2726 h 10046"/>
                <a:gd name="connsiteX103" fmla="*/ 1601 w 10000"/>
                <a:gd name="connsiteY103" fmla="*/ 2561 h 10046"/>
                <a:gd name="connsiteX104" fmla="*/ 1750 w 10000"/>
                <a:gd name="connsiteY104" fmla="*/ 2332 h 10046"/>
                <a:gd name="connsiteX105" fmla="*/ 1907 w 10000"/>
                <a:gd name="connsiteY105" fmla="*/ 2188 h 10046"/>
                <a:gd name="connsiteX106" fmla="*/ 3415 w 10000"/>
                <a:gd name="connsiteY106" fmla="*/ 1360 h 10046"/>
                <a:gd name="connsiteX107" fmla="*/ 3983 w 10000"/>
                <a:gd name="connsiteY107" fmla="*/ 1413 h 10046"/>
                <a:gd name="connsiteX108" fmla="*/ 3853 w 10000"/>
                <a:gd name="connsiteY108" fmla="*/ 917 h 10046"/>
                <a:gd name="connsiteX109" fmla="*/ 5209 w 10000"/>
                <a:gd name="connsiteY109" fmla="*/ 48 h 10046"/>
                <a:gd name="connsiteX110" fmla="*/ 5333 w 10000"/>
                <a:gd name="connsiteY110" fmla="*/ 275 h 10046"/>
                <a:gd name="connsiteX111" fmla="*/ 9394 w 10000"/>
                <a:gd name="connsiteY111" fmla="*/ 1641 h 10046"/>
                <a:gd name="connsiteX112" fmla="*/ 9621 w 10000"/>
                <a:gd name="connsiteY112" fmla="*/ 1537 h 10046"/>
                <a:gd name="connsiteX113" fmla="*/ 9903 w 10000"/>
                <a:gd name="connsiteY113" fmla="*/ 1568 h 10046"/>
                <a:gd name="connsiteX114" fmla="*/ 10000 w 10000"/>
                <a:gd name="connsiteY114" fmla="*/ 1641 h 10046"/>
                <a:gd name="connsiteX0" fmla="*/ 2103 w 10000"/>
                <a:gd name="connsiteY0" fmla="*/ 7189 h 10011"/>
                <a:gd name="connsiteX1" fmla="*/ 2161 w 10000"/>
                <a:gd name="connsiteY1" fmla="*/ 7436 h 10011"/>
                <a:gd name="connsiteX2" fmla="*/ 2095 w 10000"/>
                <a:gd name="connsiteY2" fmla="*/ 7436 h 10011"/>
                <a:gd name="connsiteX3" fmla="*/ 2024 w 10000"/>
                <a:gd name="connsiteY3" fmla="*/ 7261 h 10011"/>
                <a:gd name="connsiteX4" fmla="*/ 1973 w 10000"/>
                <a:gd name="connsiteY4" fmla="*/ 7436 h 10011"/>
                <a:gd name="connsiteX5" fmla="*/ 1984 w 10000"/>
                <a:gd name="connsiteY5" fmla="*/ 7861 h 10011"/>
                <a:gd name="connsiteX6" fmla="*/ 2095 w 10000"/>
                <a:gd name="connsiteY6" fmla="*/ 8077 h 10011"/>
                <a:gd name="connsiteX7" fmla="*/ 2153 w 10000"/>
                <a:gd name="connsiteY7" fmla="*/ 8026 h 10011"/>
                <a:gd name="connsiteX8" fmla="*/ 2275 w 10000"/>
                <a:gd name="connsiteY8" fmla="*/ 8501 h 10011"/>
                <a:gd name="connsiteX9" fmla="*/ 2103 w 10000"/>
                <a:gd name="connsiteY9" fmla="*/ 8677 h 10011"/>
                <a:gd name="connsiteX10" fmla="*/ 2083 w 10000"/>
                <a:gd name="connsiteY10" fmla="*/ 9018 h 10011"/>
                <a:gd name="connsiteX11" fmla="*/ 2173 w 10000"/>
                <a:gd name="connsiteY11" fmla="*/ 9246 h 10011"/>
                <a:gd name="connsiteX12" fmla="*/ 2173 w 10000"/>
                <a:gd name="connsiteY12" fmla="*/ 9494 h 10011"/>
                <a:gd name="connsiteX13" fmla="*/ 2310 w 10000"/>
                <a:gd name="connsiteY13" fmla="*/ 9846 h 10011"/>
                <a:gd name="connsiteX14" fmla="*/ 2225 w 10000"/>
                <a:gd name="connsiteY14" fmla="*/ 10011 h 10011"/>
                <a:gd name="connsiteX15" fmla="*/ 2095 w 10000"/>
                <a:gd name="connsiteY15" fmla="*/ 9764 h 10011"/>
                <a:gd name="connsiteX16" fmla="*/ 1914 w 10000"/>
                <a:gd name="connsiteY16" fmla="*/ 9515 h 10011"/>
                <a:gd name="connsiteX17" fmla="*/ 1837 w 10000"/>
                <a:gd name="connsiteY17" fmla="*/ 9598 h 10011"/>
                <a:gd name="connsiteX18" fmla="*/ 1706 w 10000"/>
                <a:gd name="connsiteY18" fmla="*/ 9390 h 10011"/>
                <a:gd name="connsiteX19" fmla="*/ 1433 w 10000"/>
                <a:gd name="connsiteY19" fmla="*/ 9349 h 10011"/>
                <a:gd name="connsiteX20" fmla="*/ 1105 w 10000"/>
                <a:gd name="connsiteY20" fmla="*/ 8822 h 10011"/>
                <a:gd name="connsiteX21" fmla="*/ 1195 w 10000"/>
                <a:gd name="connsiteY21" fmla="*/ 8730 h 10011"/>
                <a:gd name="connsiteX22" fmla="*/ 1257 w 10000"/>
                <a:gd name="connsiteY22" fmla="*/ 8501 h 10011"/>
                <a:gd name="connsiteX23" fmla="*/ 1188 w 10000"/>
                <a:gd name="connsiteY23" fmla="*/ 8398 h 10011"/>
                <a:gd name="connsiteX24" fmla="*/ 1335 w 10000"/>
                <a:gd name="connsiteY24" fmla="*/ 8253 h 10011"/>
                <a:gd name="connsiteX25" fmla="*/ 1234 w 10000"/>
                <a:gd name="connsiteY25" fmla="*/ 8202 h 10011"/>
                <a:gd name="connsiteX26" fmla="*/ 1253 w 10000"/>
                <a:gd name="connsiteY26" fmla="*/ 8098 h 10011"/>
                <a:gd name="connsiteX27" fmla="*/ 1313 w 10000"/>
                <a:gd name="connsiteY27" fmla="*/ 8118 h 10011"/>
                <a:gd name="connsiteX28" fmla="*/ 1384 w 10000"/>
                <a:gd name="connsiteY28" fmla="*/ 8026 h 10011"/>
                <a:gd name="connsiteX29" fmla="*/ 1349 w 10000"/>
                <a:gd name="connsiteY29" fmla="*/ 7871 h 10011"/>
                <a:gd name="connsiteX30" fmla="*/ 1364 w 10000"/>
                <a:gd name="connsiteY30" fmla="*/ 7509 h 10011"/>
                <a:gd name="connsiteX31" fmla="*/ 1212 w 10000"/>
                <a:gd name="connsiteY31" fmla="*/ 7446 h 10011"/>
                <a:gd name="connsiteX32" fmla="*/ 1084 w 10000"/>
                <a:gd name="connsiteY32" fmla="*/ 7292 h 10011"/>
                <a:gd name="connsiteX33" fmla="*/ 916 w 10000"/>
                <a:gd name="connsiteY33" fmla="*/ 7281 h 10011"/>
                <a:gd name="connsiteX34" fmla="*/ 891 w 10000"/>
                <a:gd name="connsiteY34" fmla="*/ 7095 h 10011"/>
                <a:gd name="connsiteX35" fmla="*/ 780 w 10000"/>
                <a:gd name="connsiteY35" fmla="*/ 6950 h 10011"/>
                <a:gd name="connsiteX36" fmla="*/ 803 w 10000"/>
                <a:gd name="connsiteY36" fmla="*/ 6827 h 10011"/>
                <a:gd name="connsiteX37" fmla="*/ 733 w 10000"/>
                <a:gd name="connsiteY37" fmla="*/ 6703 h 10011"/>
                <a:gd name="connsiteX38" fmla="*/ 596 w 10000"/>
                <a:gd name="connsiteY38" fmla="*/ 6703 h 10011"/>
                <a:gd name="connsiteX39" fmla="*/ 556 w 10000"/>
                <a:gd name="connsiteY39" fmla="*/ 6796 h 10011"/>
                <a:gd name="connsiteX40" fmla="*/ 523 w 10000"/>
                <a:gd name="connsiteY40" fmla="*/ 6755 h 10011"/>
                <a:gd name="connsiteX41" fmla="*/ 494 w 10000"/>
                <a:gd name="connsiteY41" fmla="*/ 6443 h 10011"/>
                <a:gd name="connsiteX42" fmla="*/ 549 w 10000"/>
                <a:gd name="connsiteY42" fmla="*/ 6474 h 10011"/>
                <a:gd name="connsiteX43" fmla="*/ 609 w 10000"/>
                <a:gd name="connsiteY43" fmla="*/ 6351 h 10011"/>
                <a:gd name="connsiteX44" fmla="*/ 523 w 10000"/>
                <a:gd name="connsiteY44" fmla="*/ 6237 h 10011"/>
                <a:gd name="connsiteX45" fmla="*/ 412 w 10000"/>
                <a:gd name="connsiteY45" fmla="*/ 6020 h 10011"/>
                <a:gd name="connsiteX46" fmla="*/ 434 w 10000"/>
                <a:gd name="connsiteY46" fmla="*/ 5824 h 10011"/>
                <a:gd name="connsiteX47" fmla="*/ 356 w 10000"/>
                <a:gd name="connsiteY47" fmla="*/ 5700 h 10011"/>
                <a:gd name="connsiteX48" fmla="*/ 293 w 10000"/>
                <a:gd name="connsiteY48" fmla="*/ 5731 h 10011"/>
                <a:gd name="connsiteX49" fmla="*/ 262 w 10000"/>
                <a:gd name="connsiteY49" fmla="*/ 5607 h 10011"/>
                <a:gd name="connsiteX50" fmla="*/ 214 w 10000"/>
                <a:gd name="connsiteY50" fmla="*/ 5648 h 10011"/>
                <a:gd name="connsiteX51" fmla="*/ 151 w 10000"/>
                <a:gd name="connsiteY51" fmla="*/ 5607 h 10011"/>
                <a:gd name="connsiteX52" fmla="*/ 89 w 10000"/>
                <a:gd name="connsiteY52" fmla="*/ 5183 h 10011"/>
                <a:gd name="connsiteX53" fmla="*/ 112 w 10000"/>
                <a:gd name="connsiteY53" fmla="*/ 5059 h 10011"/>
                <a:gd name="connsiteX54" fmla="*/ 52 w 10000"/>
                <a:gd name="connsiteY54" fmla="*/ 4893 h 10011"/>
                <a:gd name="connsiteX55" fmla="*/ 85 w 10000"/>
                <a:gd name="connsiteY55" fmla="*/ 4656 h 10011"/>
                <a:gd name="connsiteX56" fmla="*/ 275 w 10000"/>
                <a:gd name="connsiteY56" fmla="*/ 4511 h 10011"/>
                <a:gd name="connsiteX57" fmla="*/ 169 w 10000"/>
                <a:gd name="connsiteY57" fmla="*/ 4406 h 10011"/>
                <a:gd name="connsiteX58" fmla="*/ 109 w 10000"/>
                <a:gd name="connsiteY58" fmla="*/ 4283 h 10011"/>
                <a:gd name="connsiteX59" fmla="*/ 267 w 10000"/>
                <a:gd name="connsiteY59" fmla="*/ 3911 h 10011"/>
                <a:gd name="connsiteX60" fmla="*/ 328 w 10000"/>
                <a:gd name="connsiteY60" fmla="*/ 3663 h 10011"/>
                <a:gd name="connsiteX61" fmla="*/ 198 w 10000"/>
                <a:gd name="connsiteY61" fmla="*/ 3487 h 10011"/>
                <a:gd name="connsiteX62" fmla="*/ 248 w 10000"/>
                <a:gd name="connsiteY62" fmla="*/ 3342 h 10011"/>
                <a:gd name="connsiteX63" fmla="*/ 146 w 10000"/>
                <a:gd name="connsiteY63" fmla="*/ 3146 h 10011"/>
                <a:gd name="connsiteX64" fmla="*/ 146 w 10000"/>
                <a:gd name="connsiteY64" fmla="*/ 2970 h 10011"/>
                <a:gd name="connsiteX65" fmla="*/ 79 w 10000"/>
                <a:gd name="connsiteY65" fmla="*/ 2619 h 10011"/>
                <a:gd name="connsiteX66" fmla="*/ 129 w 10000"/>
                <a:gd name="connsiteY66" fmla="*/ 2401 h 10011"/>
                <a:gd name="connsiteX67" fmla="*/ 49 w 10000"/>
                <a:gd name="connsiteY67" fmla="*/ 2297 h 10011"/>
                <a:gd name="connsiteX68" fmla="*/ 0 w 10000"/>
                <a:gd name="connsiteY68" fmla="*/ 2174 h 10011"/>
                <a:gd name="connsiteX69" fmla="*/ 71 w 10000"/>
                <a:gd name="connsiteY69" fmla="*/ 1947 h 10011"/>
                <a:gd name="connsiteX70" fmla="*/ 155 w 10000"/>
                <a:gd name="connsiteY70" fmla="*/ 1906 h 10011"/>
                <a:gd name="connsiteX71" fmla="*/ 255 w 10000"/>
                <a:gd name="connsiteY71" fmla="*/ 1854 h 10011"/>
                <a:gd name="connsiteX72" fmla="*/ 404 w 10000"/>
                <a:gd name="connsiteY72" fmla="*/ 1947 h 10011"/>
                <a:gd name="connsiteX73" fmla="*/ 627 w 10000"/>
                <a:gd name="connsiteY73" fmla="*/ 2050 h 10011"/>
                <a:gd name="connsiteX74" fmla="*/ 826 w 10000"/>
                <a:gd name="connsiteY74" fmla="*/ 2225 h 10011"/>
                <a:gd name="connsiteX75" fmla="*/ 987 w 10000"/>
                <a:gd name="connsiteY75" fmla="*/ 2369 h 10011"/>
                <a:gd name="connsiteX76" fmla="*/ 948 w 10000"/>
                <a:gd name="connsiteY76" fmla="*/ 2774 h 10011"/>
                <a:gd name="connsiteX77" fmla="*/ 471 w 10000"/>
                <a:gd name="connsiteY77" fmla="*/ 2670 h 10011"/>
                <a:gd name="connsiteX78" fmla="*/ 320 w 10000"/>
                <a:gd name="connsiteY78" fmla="*/ 2547 h 10011"/>
                <a:gd name="connsiteX79" fmla="*/ 375 w 10000"/>
                <a:gd name="connsiteY79" fmla="*/ 2619 h 10011"/>
                <a:gd name="connsiteX80" fmla="*/ 431 w 10000"/>
                <a:gd name="connsiteY80" fmla="*/ 2794 h 10011"/>
                <a:gd name="connsiteX81" fmla="*/ 523 w 10000"/>
                <a:gd name="connsiteY81" fmla="*/ 2919 h 10011"/>
                <a:gd name="connsiteX82" fmla="*/ 544 w 10000"/>
                <a:gd name="connsiteY82" fmla="*/ 3187 h 10011"/>
                <a:gd name="connsiteX83" fmla="*/ 663 w 10000"/>
                <a:gd name="connsiteY83" fmla="*/ 3311 h 10011"/>
                <a:gd name="connsiteX84" fmla="*/ 761 w 10000"/>
                <a:gd name="connsiteY84" fmla="*/ 3435 h 10011"/>
                <a:gd name="connsiteX85" fmla="*/ 790 w 10000"/>
                <a:gd name="connsiteY85" fmla="*/ 3466 h 10011"/>
                <a:gd name="connsiteX86" fmla="*/ 850 w 10000"/>
                <a:gd name="connsiteY86" fmla="*/ 3435 h 10011"/>
                <a:gd name="connsiteX87" fmla="*/ 826 w 10000"/>
                <a:gd name="connsiteY87" fmla="*/ 3362 h 10011"/>
                <a:gd name="connsiteX88" fmla="*/ 711 w 10000"/>
                <a:gd name="connsiteY88" fmla="*/ 3187 h 10011"/>
                <a:gd name="connsiteX89" fmla="*/ 1047 w 10000"/>
                <a:gd name="connsiteY89" fmla="*/ 3342 h 10011"/>
                <a:gd name="connsiteX90" fmla="*/ 1057 w 10000"/>
                <a:gd name="connsiteY90" fmla="*/ 3269 h 10011"/>
                <a:gd name="connsiteX91" fmla="*/ 1025 w 10000"/>
                <a:gd name="connsiteY91" fmla="*/ 3218 h 10011"/>
                <a:gd name="connsiteX92" fmla="*/ 966 w 10000"/>
                <a:gd name="connsiteY92" fmla="*/ 2991 h 10011"/>
                <a:gd name="connsiteX93" fmla="*/ 1134 w 10000"/>
                <a:gd name="connsiteY93" fmla="*/ 2774 h 10011"/>
                <a:gd name="connsiteX94" fmla="*/ 1266 w 10000"/>
                <a:gd name="connsiteY94" fmla="*/ 2919 h 10011"/>
                <a:gd name="connsiteX95" fmla="*/ 1304 w 10000"/>
                <a:gd name="connsiteY95" fmla="*/ 2722 h 10011"/>
                <a:gd name="connsiteX96" fmla="*/ 1242 w 10000"/>
                <a:gd name="connsiteY96" fmla="*/ 2650 h 10011"/>
                <a:gd name="connsiteX97" fmla="*/ 1220 w 10000"/>
                <a:gd name="connsiteY97" fmla="*/ 2277 h 10011"/>
                <a:gd name="connsiteX98" fmla="*/ 1195 w 10000"/>
                <a:gd name="connsiteY98" fmla="*/ 2225 h 10011"/>
                <a:gd name="connsiteX99" fmla="*/ 1352 w 10000"/>
                <a:gd name="connsiteY99" fmla="*/ 2246 h 10011"/>
                <a:gd name="connsiteX100" fmla="*/ 1420 w 10000"/>
                <a:gd name="connsiteY100" fmla="*/ 2401 h 10011"/>
                <a:gd name="connsiteX101" fmla="*/ 1335 w 10000"/>
                <a:gd name="connsiteY101" fmla="*/ 2526 h 10011"/>
                <a:gd name="connsiteX102" fmla="*/ 1481 w 10000"/>
                <a:gd name="connsiteY102" fmla="*/ 2691 h 10011"/>
                <a:gd name="connsiteX103" fmla="*/ 1601 w 10000"/>
                <a:gd name="connsiteY103" fmla="*/ 2526 h 10011"/>
                <a:gd name="connsiteX104" fmla="*/ 1750 w 10000"/>
                <a:gd name="connsiteY104" fmla="*/ 2297 h 10011"/>
                <a:gd name="connsiteX105" fmla="*/ 1907 w 10000"/>
                <a:gd name="connsiteY105" fmla="*/ 2153 h 10011"/>
                <a:gd name="connsiteX106" fmla="*/ 3415 w 10000"/>
                <a:gd name="connsiteY106" fmla="*/ 1325 h 10011"/>
                <a:gd name="connsiteX107" fmla="*/ 3983 w 10000"/>
                <a:gd name="connsiteY107" fmla="*/ 1378 h 10011"/>
                <a:gd name="connsiteX108" fmla="*/ 3853 w 10000"/>
                <a:gd name="connsiteY108" fmla="*/ 882 h 10011"/>
                <a:gd name="connsiteX109" fmla="*/ 5209 w 10000"/>
                <a:gd name="connsiteY109" fmla="*/ 13 h 10011"/>
                <a:gd name="connsiteX110" fmla="*/ 9394 w 10000"/>
                <a:gd name="connsiteY110" fmla="*/ 1606 h 10011"/>
                <a:gd name="connsiteX111" fmla="*/ 9621 w 10000"/>
                <a:gd name="connsiteY111" fmla="*/ 1502 h 10011"/>
                <a:gd name="connsiteX112" fmla="*/ 9903 w 10000"/>
                <a:gd name="connsiteY112" fmla="*/ 1533 h 10011"/>
                <a:gd name="connsiteX113" fmla="*/ 10000 w 10000"/>
                <a:gd name="connsiteY113" fmla="*/ 1606 h 10011"/>
                <a:gd name="connsiteX0" fmla="*/ 2103 w 10000"/>
                <a:gd name="connsiteY0" fmla="*/ 7189 h 10011"/>
                <a:gd name="connsiteX1" fmla="*/ 2161 w 10000"/>
                <a:gd name="connsiteY1" fmla="*/ 7436 h 10011"/>
                <a:gd name="connsiteX2" fmla="*/ 2095 w 10000"/>
                <a:gd name="connsiteY2" fmla="*/ 7436 h 10011"/>
                <a:gd name="connsiteX3" fmla="*/ 2024 w 10000"/>
                <a:gd name="connsiteY3" fmla="*/ 7261 h 10011"/>
                <a:gd name="connsiteX4" fmla="*/ 1973 w 10000"/>
                <a:gd name="connsiteY4" fmla="*/ 7436 h 10011"/>
                <a:gd name="connsiteX5" fmla="*/ 1984 w 10000"/>
                <a:gd name="connsiteY5" fmla="*/ 7861 h 10011"/>
                <a:gd name="connsiteX6" fmla="*/ 2095 w 10000"/>
                <a:gd name="connsiteY6" fmla="*/ 8077 h 10011"/>
                <a:gd name="connsiteX7" fmla="*/ 2153 w 10000"/>
                <a:gd name="connsiteY7" fmla="*/ 8026 h 10011"/>
                <a:gd name="connsiteX8" fmla="*/ 2275 w 10000"/>
                <a:gd name="connsiteY8" fmla="*/ 8501 h 10011"/>
                <a:gd name="connsiteX9" fmla="*/ 2103 w 10000"/>
                <a:gd name="connsiteY9" fmla="*/ 8677 h 10011"/>
                <a:gd name="connsiteX10" fmla="*/ 2083 w 10000"/>
                <a:gd name="connsiteY10" fmla="*/ 9018 h 10011"/>
                <a:gd name="connsiteX11" fmla="*/ 2173 w 10000"/>
                <a:gd name="connsiteY11" fmla="*/ 9246 h 10011"/>
                <a:gd name="connsiteX12" fmla="*/ 2173 w 10000"/>
                <a:gd name="connsiteY12" fmla="*/ 9494 h 10011"/>
                <a:gd name="connsiteX13" fmla="*/ 2310 w 10000"/>
                <a:gd name="connsiteY13" fmla="*/ 9846 h 10011"/>
                <a:gd name="connsiteX14" fmla="*/ 2225 w 10000"/>
                <a:gd name="connsiteY14" fmla="*/ 10011 h 10011"/>
                <a:gd name="connsiteX15" fmla="*/ 2095 w 10000"/>
                <a:gd name="connsiteY15" fmla="*/ 9764 h 10011"/>
                <a:gd name="connsiteX16" fmla="*/ 1914 w 10000"/>
                <a:gd name="connsiteY16" fmla="*/ 9515 h 10011"/>
                <a:gd name="connsiteX17" fmla="*/ 1837 w 10000"/>
                <a:gd name="connsiteY17" fmla="*/ 9598 h 10011"/>
                <a:gd name="connsiteX18" fmla="*/ 1706 w 10000"/>
                <a:gd name="connsiteY18" fmla="*/ 9390 h 10011"/>
                <a:gd name="connsiteX19" fmla="*/ 1433 w 10000"/>
                <a:gd name="connsiteY19" fmla="*/ 9349 h 10011"/>
                <a:gd name="connsiteX20" fmla="*/ 1105 w 10000"/>
                <a:gd name="connsiteY20" fmla="*/ 8822 h 10011"/>
                <a:gd name="connsiteX21" fmla="*/ 1195 w 10000"/>
                <a:gd name="connsiteY21" fmla="*/ 8730 h 10011"/>
                <a:gd name="connsiteX22" fmla="*/ 1257 w 10000"/>
                <a:gd name="connsiteY22" fmla="*/ 8501 h 10011"/>
                <a:gd name="connsiteX23" fmla="*/ 1188 w 10000"/>
                <a:gd name="connsiteY23" fmla="*/ 8398 h 10011"/>
                <a:gd name="connsiteX24" fmla="*/ 1335 w 10000"/>
                <a:gd name="connsiteY24" fmla="*/ 8253 h 10011"/>
                <a:gd name="connsiteX25" fmla="*/ 1234 w 10000"/>
                <a:gd name="connsiteY25" fmla="*/ 8202 h 10011"/>
                <a:gd name="connsiteX26" fmla="*/ 1253 w 10000"/>
                <a:gd name="connsiteY26" fmla="*/ 8098 h 10011"/>
                <a:gd name="connsiteX27" fmla="*/ 1313 w 10000"/>
                <a:gd name="connsiteY27" fmla="*/ 8118 h 10011"/>
                <a:gd name="connsiteX28" fmla="*/ 1384 w 10000"/>
                <a:gd name="connsiteY28" fmla="*/ 8026 h 10011"/>
                <a:gd name="connsiteX29" fmla="*/ 1349 w 10000"/>
                <a:gd name="connsiteY29" fmla="*/ 7871 h 10011"/>
                <a:gd name="connsiteX30" fmla="*/ 1364 w 10000"/>
                <a:gd name="connsiteY30" fmla="*/ 7509 h 10011"/>
                <a:gd name="connsiteX31" fmla="*/ 1212 w 10000"/>
                <a:gd name="connsiteY31" fmla="*/ 7446 h 10011"/>
                <a:gd name="connsiteX32" fmla="*/ 1084 w 10000"/>
                <a:gd name="connsiteY32" fmla="*/ 7292 h 10011"/>
                <a:gd name="connsiteX33" fmla="*/ 916 w 10000"/>
                <a:gd name="connsiteY33" fmla="*/ 7281 h 10011"/>
                <a:gd name="connsiteX34" fmla="*/ 891 w 10000"/>
                <a:gd name="connsiteY34" fmla="*/ 7095 h 10011"/>
                <a:gd name="connsiteX35" fmla="*/ 780 w 10000"/>
                <a:gd name="connsiteY35" fmla="*/ 6950 h 10011"/>
                <a:gd name="connsiteX36" fmla="*/ 803 w 10000"/>
                <a:gd name="connsiteY36" fmla="*/ 6827 h 10011"/>
                <a:gd name="connsiteX37" fmla="*/ 733 w 10000"/>
                <a:gd name="connsiteY37" fmla="*/ 6703 h 10011"/>
                <a:gd name="connsiteX38" fmla="*/ 596 w 10000"/>
                <a:gd name="connsiteY38" fmla="*/ 6703 h 10011"/>
                <a:gd name="connsiteX39" fmla="*/ 556 w 10000"/>
                <a:gd name="connsiteY39" fmla="*/ 6796 h 10011"/>
                <a:gd name="connsiteX40" fmla="*/ 523 w 10000"/>
                <a:gd name="connsiteY40" fmla="*/ 6755 h 10011"/>
                <a:gd name="connsiteX41" fmla="*/ 494 w 10000"/>
                <a:gd name="connsiteY41" fmla="*/ 6443 h 10011"/>
                <a:gd name="connsiteX42" fmla="*/ 549 w 10000"/>
                <a:gd name="connsiteY42" fmla="*/ 6474 h 10011"/>
                <a:gd name="connsiteX43" fmla="*/ 609 w 10000"/>
                <a:gd name="connsiteY43" fmla="*/ 6351 h 10011"/>
                <a:gd name="connsiteX44" fmla="*/ 523 w 10000"/>
                <a:gd name="connsiteY44" fmla="*/ 6237 h 10011"/>
                <a:gd name="connsiteX45" fmla="*/ 412 w 10000"/>
                <a:gd name="connsiteY45" fmla="*/ 6020 h 10011"/>
                <a:gd name="connsiteX46" fmla="*/ 434 w 10000"/>
                <a:gd name="connsiteY46" fmla="*/ 5824 h 10011"/>
                <a:gd name="connsiteX47" fmla="*/ 356 w 10000"/>
                <a:gd name="connsiteY47" fmla="*/ 5700 h 10011"/>
                <a:gd name="connsiteX48" fmla="*/ 293 w 10000"/>
                <a:gd name="connsiteY48" fmla="*/ 5731 h 10011"/>
                <a:gd name="connsiteX49" fmla="*/ 262 w 10000"/>
                <a:gd name="connsiteY49" fmla="*/ 5607 h 10011"/>
                <a:gd name="connsiteX50" fmla="*/ 214 w 10000"/>
                <a:gd name="connsiteY50" fmla="*/ 5648 h 10011"/>
                <a:gd name="connsiteX51" fmla="*/ 151 w 10000"/>
                <a:gd name="connsiteY51" fmla="*/ 5607 h 10011"/>
                <a:gd name="connsiteX52" fmla="*/ 89 w 10000"/>
                <a:gd name="connsiteY52" fmla="*/ 5183 h 10011"/>
                <a:gd name="connsiteX53" fmla="*/ 112 w 10000"/>
                <a:gd name="connsiteY53" fmla="*/ 5059 h 10011"/>
                <a:gd name="connsiteX54" fmla="*/ 52 w 10000"/>
                <a:gd name="connsiteY54" fmla="*/ 4893 h 10011"/>
                <a:gd name="connsiteX55" fmla="*/ 85 w 10000"/>
                <a:gd name="connsiteY55" fmla="*/ 4656 h 10011"/>
                <a:gd name="connsiteX56" fmla="*/ 275 w 10000"/>
                <a:gd name="connsiteY56" fmla="*/ 4511 h 10011"/>
                <a:gd name="connsiteX57" fmla="*/ 169 w 10000"/>
                <a:gd name="connsiteY57" fmla="*/ 4406 h 10011"/>
                <a:gd name="connsiteX58" fmla="*/ 109 w 10000"/>
                <a:gd name="connsiteY58" fmla="*/ 4283 h 10011"/>
                <a:gd name="connsiteX59" fmla="*/ 267 w 10000"/>
                <a:gd name="connsiteY59" fmla="*/ 3911 h 10011"/>
                <a:gd name="connsiteX60" fmla="*/ 328 w 10000"/>
                <a:gd name="connsiteY60" fmla="*/ 3663 h 10011"/>
                <a:gd name="connsiteX61" fmla="*/ 198 w 10000"/>
                <a:gd name="connsiteY61" fmla="*/ 3487 h 10011"/>
                <a:gd name="connsiteX62" fmla="*/ 248 w 10000"/>
                <a:gd name="connsiteY62" fmla="*/ 3342 h 10011"/>
                <a:gd name="connsiteX63" fmla="*/ 146 w 10000"/>
                <a:gd name="connsiteY63" fmla="*/ 3146 h 10011"/>
                <a:gd name="connsiteX64" fmla="*/ 146 w 10000"/>
                <a:gd name="connsiteY64" fmla="*/ 2970 h 10011"/>
                <a:gd name="connsiteX65" fmla="*/ 79 w 10000"/>
                <a:gd name="connsiteY65" fmla="*/ 2619 h 10011"/>
                <a:gd name="connsiteX66" fmla="*/ 129 w 10000"/>
                <a:gd name="connsiteY66" fmla="*/ 2401 h 10011"/>
                <a:gd name="connsiteX67" fmla="*/ 49 w 10000"/>
                <a:gd name="connsiteY67" fmla="*/ 2297 h 10011"/>
                <a:gd name="connsiteX68" fmla="*/ 0 w 10000"/>
                <a:gd name="connsiteY68" fmla="*/ 2174 h 10011"/>
                <a:gd name="connsiteX69" fmla="*/ 71 w 10000"/>
                <a:gd name="connsiteY69" fmla="*/ 1947 h 10011"/>
                <a:gd name="connsiteX70" fmla="*/ 155 w 10000"/>
                <a:gd name="connsiteY70" fmla="*/ 1906 h 10011"/>
                <a:gd name="connsiteX71" fmla="*/ 255 w 10000"/>
                <a:gd name="connsiteY71" fmla="*/ 1854 h 10011"/>
                <a:gd name="connsiteX72" fmla="*/ 404 w 10000"/>
                <a:gd name="connsiteY72" fmla="*/ 1947 h 10011"/>
                <a:gd name="connsiteX73" fmla="*/ 627 w 10000"/>
                <a:gd name="connsiteY73" fmla="*/ 2050 h 10011"/>
                <a:gd name="connsiteX74" fmla="*/ 826 w 10000"/>
                <a:gd name="connsiteY74" fmla="*/ 2225 h 10011"/>
                <a:gd name="connsiteX75" fmla="*/ 987 w 10000"/>
                <a:gd name="connsiteY75" fmla="*/ 2369 h 10011"/>
                <a:gd name="connsiteX76" fmla="*/ 948 w 10000"/>
                <a:gd name="connsiteY76" fmla="*/ 2774 h 10011"/>
                <a:gd name="connsiteX77" fmla="*/ 471 w 10000"/>
                <a:gd name="connsiteY77" fmla="*/ 2670 h 10011"/>
                <a:gd name="connsiteX78" fmla="*/ 320 w 10000"/>
                <a:gd name="connsiteY78" fmla="*/ 2547 h 10011"/>
                <a:gd name="connsiteX79" fmla="*/ 375 w 10000"/>
                <a:gd name="connsiteY79" fmla="*/ 2619 h 10011"/>
                <a:gd name="connsiteX80" fmla="*/ 431 w 10000"/>
                <a:gd name="connsiteY80" fmla="*/ 2794 h 10011"/>
                <a:gd name="connsiteX81" fmla="*/ 523 w 10000"/>
                <a:gd name="connsiteY81" fmla="*/ 2919 h 10011"/>
                <a:gd name="connsiteX82" fmla="*/ 544 w 10000"/>
                <a:gd name="connsiteY82" fmla="*/ 3187 h 10011"/>
                <a:gd name="connsiteX83" fmla="*/ 663 w 10000"/>
                <a:gd name="connsiteY83" fmla="*/ 3311 h 10011"/>
                <a:gd name="connsiteX84" fmla="*/ 761 w 10000"/>
                <a:gd name="connsiteY84" fmla="*/ 3435 h 10011"/>
                <a:gd name="connsiteX85" fmla="*/ 790 w 10000"/>
                <a:gd name="connsiteY85" fmla="*/ 3466 h 10011"/>
                <a:gd name="connsiteX86" fmla="*/ 850 w 10000"/>
                <a:gd name="connsiteY86" fmla="*/ 3435 h 10011"/>
                <a:gd name="connsiteX87" fmla="*/ 826 w 10000"/>
                <a:gd name="connsiteY87" fmla="*/ 3362 h 10011"/>
                <a:gd name="connsiteX88" fmla="*/ 711 w 10000"/>
                <a:gd name="connsiteY88" fmla="*/ 3187 h 10011"/>
                <a:gd name="connsiteX89" fmla="*/ 1047 w 10000"/>
                <a:gd name="connsiteY89" fmla="*/ 3342 h 10011"/>
                <a:gd name="connsiteX90" fmla="*/ 1057 w 10000"/>
                <a:gd name="connsiteY90" fmla="*/ 3269 h 10011"/>
                <a:gd name="connsiteX91" fmla="*/ 1025 w 10000"/>
                <a:gd name="connsiteY91" fmla="*/ 3218 h 10011"/>
                <a:gd name="connsiteX92" fmla="*/ 966 w 10000"/>
                <a:gd name="connsiteY92" fmla="*/ 2991 h 10011"/>
                <a:gd name="connsiteX93" fmla="*/ 1134 w 10000"/>
                <a:gd name="connsiteY93" fmla="*/ 2774 h 10011"/>
                <a:gd name="connsiteX94" fmla="*/ 1266 w 10000"/>
                <a:gd name="connsiteY94" fmla="*/ 2919 h 10011"/>
                <a:gd name="connsiteX95" fmla="*/ 1304 w 10000"/>
                <a:gd name="connsiteY95" fmla="*/ 2722 h 10011"/>
                <a:gd name="connsiteX96" fmla="*/ 1242 w 10000"/>
                <a:gd name="connsiteY96" fmla="*/ 2650 h 10011"/>
                <a:gd name="connsiteX97" fmla="*/ 1220 w 10000"/>
                <a:gd name="connsiteY97" fmla="*/ 2277 h 10011"/>
                <a:gd name="connsiteX98" fmla="*/ 1195 w 10000"/>
                <a:gd name="connsiteY98" fmla="*/ 2225 h 10011"/>
                <a:gd name="connsiteX99" fmla="*/ 1352 w 10000"/>
                <a:gd name="connsiteY99" fmla="*/ 2246 h 10011"/>
                <a:gd name="connsiteX100" fmla="*/ 1420 w 10000"/>
                <a:gd name="connsiteY100" fmla="*/ 2401 h 10011"/>
                <a:gd name="connsiteX101" fmla="*/ 1335 w 10000"/>
                <a:gd name="connsiteY101" fmla="*/ 2526 h 10011"/>
                <a:gd name="connsiteX102" fmla="*/ 1481 w 10000"/>
                <a:gd name="connsiteY102" fmla="*/ 2691 h 10011"/>
                <a:gd name="connsiteX103" fmla="*/ 1601 w 10000"/>
                <a:gd name="connsiteY103" fmla="*/ 2526 h 10011"/>
                <a:gd name="connsiteX104" fmla="*/ 1750 w 10000"/>
                <a:gd name="connsiteY104" fmla="*/ 2297 h 10011"/>
                <a:gd name="connsiteX105" fmla="*/ 1907 w 10000"/>
                <a:gd name="connsiteY105" fmla="*/ 2153 h 10011"/>
                <a:gd name="connsiteX106" fmla="*/ 3415 w 10000"/>
                <a:gd name="connsiteY106" fmla="*/ 1325 h 10011"/>
                <a:gd name="connsiteX107" fmla="*/ 3853 w 10000"/>
                <a:gd name="connsiteY107" fmla="*/ 882 h 10011"/>
                <a:gd name="connsiteX108" fmla="*/ 5209 w 10000"/>
                <a:gd name="connsiteY108" fmla="*/ 13 h 10011"/>
                <a:gd name="connsiteX109" fmla="*/ 9394 w 10000"/>
                <a:gd name="connsiteY109" fmla="*/ 1606 h 10011"/>
                <a:gd name="connsiteX110" fmla="*/ 9621 w 10000"/>
                <a:gd name="connsiteY110" fmla="*/ 1502 h 10011"/>
                <a:gd name="connsiteX111" fmla="*/ 9903 w 10000"/>
                <a:gd name="connsiteY111" fmla="*/ 1533 h 10011"/>
                <a:gd name="connsiteX112" fmla="*/ 10000 w 10000"/>
                <a:gd name="connsiteY112" fmla="*/ 1606 h 10011"/>
                <a:gd name="connsiteX0" fmla="*/ 2103 w 10000"/>
                <a:gd name="connsiteY0" fmla="*/ 7178 h 10000"/>
                <a:gd name="connsiteX1" fmla="*/ 2161 w 10000"/>
                <a:gd name="connsiteY1" fmla="*/ 7425 h 10000"/>
                <a:gd name="connsiteX2" fmla="*/ 2095 w 10000"/>
                <a:gd name="connsiteY2" fmla="*/ 7425 h 10000"/>
                <a:gd name="connsiteX3" fmla="*/ 2024 w 10000"/>
                <a:gd name="connsiteY3" fmla="*/ 7250 h 10000"/>
                <a:gd name="connsiteX4" fmla="*/ 1973 w 10000"/>
                <a:gd name="connsiteY4" fmla="*/ 7425 h 10000"/>
                <a:gd name="connsiteX5" fmla="*/ 1984 w 10000"/>
                <a:gd name="connsiteY5" fmla="*/ 7850 h 10000"/>
                <a:gd name="connsiteX6" fmla="*/ 2095 w 10000"/>
                <a:gd name="connsiteY6" fmla="*/ 8066 h 10000"/>
                <a:gd name="connsiteX7" fmla="*/ 2153 w 10000"/>
                <a:gd name="connsiteY7" fmla="*/ 8015 h 10000"/>
                <a:gd name="connsiteX8" fmla="*/ 2275 w 10000"/>
                <a:gd name="connsiteY8" fmla="*/ 8490 h 10000"/>
                <a:gd name="connsiteX9" fmla="*/ 2103 w 10000"/>
                <a:gd name="connsiteY9" fmla="*/ 8666 h 10000"/>
                <a:gd name="connsiteX10" fmla="*/ 2083 w 10000"/>
                <a:gd name="connsiteY10" fmla="*/ 9007 h 10000"/>
                <a:gd name="connsiteX11" fmla="*/ 2173 w 10000"/>
                <a:gd name="connsiteY11" fmla="*/ 9235 h 10000"/>
                <a:gd name="connsiteX12" fmla="*/ 2173 w 10000"/>
                <a:gd name="connsiteY12" fmla="*/ 9483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4 h 10000"/>
                <a:gd name="connsiteX17" fmla="*/ 1837 w 10000"/>
                <a:gd name="connsiteY17" fmla="*/ 9587 h 10000"/>
                <a:gd name="connsiteX18" fmla="*/ 1706 w 10000"/>
                <a:gd name="connsiteY18" fmla="*/ 9379 h 10000"/>
                <a:gd name="connsiteX19" fmla="*/ 1433 w 10000"/>
                <a:gd name="connsiteY19" fmla="*/ 9338 h 10000"/>
                <a:gd name="connsiteX20" fmla="*/ 1105 w 10000"/>
                <a:gd name="connsiteY20" fmla="*/ 8811 h 10000"/>
                <a:gd name="connsiteX21" fmla="*/ 1195 w 10000"/>
                <a:gd name="connsiteY21" fmla="*/ 8719 h 10000"/>
                <a:gd name="connsiteX22" fmla="*/ 1257 w 10000"/>
                <a:gd name="connsiteY22" fmla="*/ 8490 h 10000"/>
                <a:gd name="connsiteX23" fmla="*/ 1188 w 10000"/>
                <a:gd name="connsiteY23" fmla="*/ 8387 h 10000"/>
                <a:gd name="connsiteX24" fmla="*/ 1335 w 10000"/>
                <a:gd name="connsiteY24" fmla="*/ 8242 h 10000"/>
                <a:gd name="connsiteX25" fmla="*/ 1234 w 10000"/>
                <a:gd name="connsiteY25" fmla="*/ 8191 h 10000"/>
                <a:gd name="connsiteX26" fmla="*/ 1253 w 10000"/>
                <a:gd name="connsiteY26" fmla="*/ 8087 h 10000"/>
                <a:gd name="connsiteX27" fmla="*/ 1313 w 10000"/>
                <a:gd name="connsiteY27" fmla="*/ 8107 h 10000"/>
                <a:gd name="connsiteX28" fmla="*/ 1384 w 10000"/>
                <a:gd name="connsiteY28" fmla="*/ 8015 h 10000"/>
                <a:gd name="connsiteX29" fmla="*/ 1349 w 10000"/>
                <a:gd name="connsiteY29" fmla="*/ 7860 h 10000"/>
                <a:gd name="connsiteX30" fmla="*/ 1364 w 10000"/>
                <a:gd name="connsiteY30" fmla="*/ 7498 h 10000"/>
                <a:gd name="connsiteX31" fmla="*/ 1212 w 10000"/>
                <a:gd name="connsiteY31" fmla="*/ 7435 h 10000"/>
                <a:gd name="connsiteX32" fmla="*/ 1084 w 10000"/>
                <a:gd name="connsiteY32" fmla="*/ 7281 h 10000"/>
                <a:gd name="connsiteX33" fmla="*/ 916 w 10000"/>
                <a:gd name="connsiteY33" fmla="*/ 7270 h 10000"/>
                <a:gd name="connsiteX34" fmla="*/ 891 w 10000"/>
                <a:gd name="connsiteY34" fmla="*/ 7084 h 10000"/>
                <a:gd name="connsiteX35" fmla="*/ 780 w 10000"/>
                <a:gd name="connsiteY35" fmla="*/ 6939 h 10000"/>
                <a:gd name="connsiteX36" fmla="*/ 803 w 10000"/>
                <a:gd name="connsiteY36" fmla="*/ 6816 h 10000"/>
                <a:gd name="connsiteX37" fmla="*/ 733 w 10000"/>
                <a:gd name="connsiteY37" fmla="*/ 6692 h 10000"/>
                <a:gd name="connsiteX38" fmla="*/ 596 w 10000"/>
                <a:gd name="connsiteY38" fmla="*/ 6692 h 10000"/>
                <a:gd name="connsiteX39" fmla="*/ 556 w 10000"/>
                <a:gd name="connsiteY39" fmla="*/ 6785 h 10000"/>
                <a:gd name="connsiteX40" fmla="*/ 523 w 10000"/>
                <a:gd name="connsiteY40" fmla="*/ 6744 h 10000"/>
                <a:gd name="connsiteX41" fmla="*/ 494 w 10000"/>
                <a:gd name="connsiteY41" fmla="*/ 6432 h 10000"/>
                <a:gd name="connsiteX42" fmla="*/ 549 w 10000"/>
                <a:gd name="connsiteY42" fmla="*/ 6463 h 10000"/>
                <a:gd name="connsiteX43" fmla="*/ 609 w 10000"/>
                <a:gd name="connsiteY43" fmla="*/ 6340 h 10000"/>
                <a:gd name="connsiteX44" fmla="*/ 523 w 10000"/>
                <a:gd name="connsiteY44" fmla="*/ 6226 h 10000"/>
                <a:gd name="connsiteX45" fmla="*/ 412 w 10000"/>
                <a:gd name="connsiteY45" fmla="*/ 6009 h 10000"/>
                <a:gd name="connsiteX46" fmla="*/ 434 w 10000"/>
                <a:gd name="connsiteY46" fmla="*/ 5813 h 10000"/>
                <a:gd name="connsiteX47" fmla="*/ 356 w 10000"/>
                <a:gd name="connsiteY47" fmla="*/ 5689 h 10000"/>
                <a:gd name="connsiteX48" fmla="*/ 293 w 10000"/>
                <a:gd name="connsiteY48" fmla="*/ 5720 h 10000"/>
                <a:gd name="connsiteX49" fmla="*/ 262 w 10000"/>
                <a:gd name="connsiteY49" fmla="*/ 5596 h 10000"/>
                <a:gd name="connsiteX50" fmla="*/ 214 w 10000"/>
                <a:gd name="connsiteY50" fmla="*/ 5637 h 10000"/>
                <a:gd name="connsiteX51" fmla="*/ 151 w 10000"/>
                <a:gd name="connsiteY51" fmla="*/ 5596 h 10000"/>
                <a:gd name="connsiteX52" fmla="*/ 89 w 10000"/>
                <a:gd name="connsiteY52" fmla="*/ 5172 h 10000"/>
                <a:gd name="connsiteX53" fmla="*/ 112 w 10000"/>
                <a:gd name="connsiteY53" fmla="*/ 5048 h 10000"/>
                <a:gd name="connsiteX54" fmla="*/ 52 w 10000"/>
                <a:gd name="connsiteY54" fmla="*/ 4882 h 10000"/>
                <a:gd name="connsiteX55" fmla="*/ 85 w 10000"/>
                <a:gd name="connsiteY55" fmla="*/ 4645 h 10000"/>
                <a:gd name="connsiteX56" fmla="*/ 275 w 10000"/>
                <a:gd name="connsiteY56" fmla="*/ 4500 h 10000"/>
                <a:gd name="connsiteX57" fmla="*/ 169 w 10000"/>
                <a:gd name="connsiteY57" fmla="*/ 4395 h 10000"/>
                <a:gd name="connsiteX58" fmla="*/ 109 w 10000"/>
                <a:gd name="connsiteY58" fmla="*/ 4272 h 10000"/>
                <a:gd name="connsiteX59" fmla="*/ 267 w 10000"/>
                <a:gd name="connsiteY59" fmla="*/ 3900 h 10000"/>
                <a:gd name="connsiteX60" fmla="*/ 328 w 10000"/>
                <a:gd name="connsiteY60" fmla="*/ 3652 h 10000"/>
                <a:gd name="connsiteX61" fmla="*/ 198 w 10000"/>
                <a:gd name="connsiteY61" fmla="*/ 3476 h 10000"/>
                <a:gd name="connsiteX62" fmla="*/ 248 w 10000"/>
                <a:gd name="connsiteY62" fmla="*/ 3331 h 10000"/>
                <a:gd name="connsiteX63" fmla="*/ 146 w 10000"/>
                <a:gd name="connsiteY63" fmla="*/ 3135 h 10000"/>
                <a:gd name="connsiteX64" fmla="*/ 146 w 10000"/>
                <a:gd name="connsiteY64" fmla="*/ 2959 h 10000"/>
                <a:gd name="connsiteX65" fmla="*/ 79 w 10000"/>
                <a:gd name="connsiteY65" fmla="*/ 2608 h 10000"/>
                <a:gd name="connsiteX66" fmla="*/ 129 w 10000"/>
                <a:gd name="connsiteY66" fmla="*/ 2390 h 10000"/>
                <a:gd name="connsiteX67" fmla="*/ 49 w 10000"/>
                <a:gd name="connsiteY67" fmla="*/ 2286 h 10000"/>
                <a:gd name="connsiteX68" fmla="*/ 0 w 10000"/>
                <a:gd name="connsiteY68" fmla="*/ 2163 h 10000"/>
                <a:gd name="connsiteX69" fmla="*/ 71 w 10000"/>
                <a:gd name="connsiteY69" fmla="*/ 1936 h 10000"/>
                <a:gd name="connsiteX70" fmla="*/ 155 w 10000"/>
                <a:gd name="connsiteY70" fmla="*/ 1895 h 10000"/>
                <a:gd name="connsiteX71" fmla="*/ 255 w 10000"/>
                <a:gd name="connsiteY71" fmla="*/ 1843 h 10000"/>
                <a:gd name="connsiteX72" fmla="*/ 404 w 10000"/>
                <a:gd name="connsiteY72" fmla="*/ 1936 h 10000"/>
                <a:gd name="connsiteX73" fmla="*/ 627 w 10000"/>
                <a:gd name="connsiteY73" fmla="*/ 2039 h 10000"/>
                <a:gd name="connsiteX74" fmla="*/ 826 w 10000"/>
                <a:gd name="connsiteY74" fmla="*/ 2214 h 10000"/>
                <a:gd name="connsiteX75" fmla="*/ 987 w 10000"/>
                <a:gd name="connsiteY75" fmla="*/ 2358 h 10000"/>
                <a:gd name="connsiteX76" fmla="*/ 948 w 10000"/>
                <a:gd name="connsiteY76" fmla="*/ 2763 h 10000"/>
                <a:gd name="connsiteX77" fmla="*/ 471 w 10000"/>
                <a:gd name="connsiteY77" fmla="*/ 2659 h 10000"/>
                <a:gd name="connsiteX78" fmla="*/ 320 w 10000"/>
                <a:gd name="connsiteY78" fmla="*/ 2536 h 10000"/>
                <a:gd name="connsiteX79" fmla="*/ 375 w 10000"/>
                <a:gd name="connsiteY79" fmla="*/ 2608 h 10000"/>
                <a:gd name="connsiteX80" fmla="*/ 431 w 10000"/>
                <a:gd name="connsiteY80" fmla="*/ 2783 h 10000"/>
                <a:gd name="connsiteX81" fmla="*/ 523 w 10000"/>
                <a:gd name="connsiteY81" fmla="*/ 2908 h 10000"/>
                <a:gd name="connsiteX82" fmla="*/ 544 w 10000"/>
                <a:gd name="connsiteY82" fmla="*/ 3176 h 10000"/>
                <a:gd name="connsiteX83" fmla="*/ 663 w 10000"/>
                <a:gd name="connsiteY83" fmla="*/ 3300 h 10000"/>
                <a:gd name="connsiteX84" fmla="*/ 761 w 10000"/>
                <a:gd name="connsiteY84" fmla="*/ 3424 h 10000"/>
                <a:gd name="connsiteX85" fmla="*/ 790 w 10000"/>
                <a:gd name="connsiteY85" fmla="*/ 3455 h 10000"/>
                <a:gd name="connsiteX86" fmla="*/ 850 w 10000"/>
                <a:gd name="connsiteY86" fmla="*/ 3424 h 10000"/>
                <a:gd name="connsiteX87" fmla="*/ 826 w 10000"/>
                <a:gd name="connsiteY87" fmla="*/ 3351 h 10000"/>
                <a:gd name="connsiteX88" fmla="*/ 711 w 10000"/>
                <a:gd name="connsiteY88" fmla="*/ 3176 h 10000"/>
                <a:gd name="connsiteX89" fmla="*/ 1047 w 10000"/>
                <a:gd name="connsiteY89" fmla="*/ 3331 h 10000"/>
                <a:gd name="connsiteX90" fmla="*/ 1057 w 10000"/>
                <a:gd name="connsiteY90" fmla="*/ 3258 h 10000"/>
                <a:gd name="connsiteX91" fmla="*/ 1025 w 10000"/>
                <a:gd name="connsiteY91" fmla="*/ 3207 h 10000"/>
                <a:gd name="connsiteX92" fmla="*/ 966 w 10000"/>
                <a:gd name="connsiteY92" fmla="*/ 2980 h 10000"/>
                <a:gd name="connsiteX93" fmla="*/ 1134 w 10000"/>
                <a:gd name="connsiteY93" fmla="*/ 2763 h 10000"/>
                <a:gd name="connsiteX94" fmla="*/ 1266 w 10000"/>
                <a:gd name="connsiteY94" fmla="*/ 2908 h 10000"/>
                <a:gd name="connsiteX95" fmla="*/ 1304 w 10000"/>
                <a:gd name="connsiteY95" fmla="*/ 2711 h 10000"/>
                <a:gd name="connsiteX96" fmla="*/ 1242 w 10000"/>
                <a:gd name="connsiteY96" fmla="*/ 2639 h 10000"/>
                <a:gd name="connsiteX97" fmla="*/ 1220 w 10000"/>
                <a:gd name="connsiteY97" fmla="*/ 2266 h 10000"/>
                <a:gd name="connsiteX98" fmla="*/ 1195 w 10000"/>
                <a:gd name="connsiteY98" fmla="*/ 2214 h 10000"/>
                <a:gd name="connsiteX99" fmla="*/ 1352 w 10000"/>
                <a:gd name="connsiteY99" fmla="*/ 2235 h 10000"/>
                <a:gd name="connsiteX100" fmla="*/ 1420 w 10000"/>
                <a:gd name="connsiteY100" fmla="*/ 2390 h 10000"/>
                <a:gd name="connsiteX101" fmla="*/ 1335 w 10000"/>
                <a:gd name="connsiteY101" fmla="*/ 2515 h 10000"/>
                <a:gd name="connsiteX102" fmla="*/ 1481 w 10000"/>
                <a:gd name="connsiteY102" fmla="*/ 2680 h 10000"/>
                <a:gd name="connsiteX103" fmla="*/ 1601 w 10000"/>
                <a:gd name="connsiteY103" fmla="*/ 2515 h 10000"/>
                <a:gd name="connsiteX104" fmla="*/ 1750 w 10000"/>
                <a:gd name="connsiteY104" fmla="*/ 2286 h 10000"/>
                <a:gd name="connsiteX105" fmla="*/ 1907 w 10000"/>
                <a:gd name="connsiteY105" fmla="*/ 2142 h 10000"/>
                <a:gd name="connsiteX106" fmla="*/ 3415 w 10000"/>
                <a:gd name="connsiteY106" fmla="*/ 1314 h 10000"/>
                <a:gd name="connsiteX107" fmla="*/ 5209 w 10000"/>
                <a:gd name="connsiteY107" fmla="*/ 2 h 10000"/>
                <a:gd name="connsiteX108" fmla="*/ 9394 w 10000"/>
                <a:gd name="connsiteY108" fmla="*/ 1595 h 10000"/>
                <a:gd name="connsiteX109" fmla="*/ 9621 w 10000"/>
                <a:gd name="connsiteY109" fmla="*/ 1491 h 10000"/>
                <a:gd name="connsiteX110" fmla="*/ 9903 w 10000"/>
                <a:gd name="connsiteY110" fmla="*/ 1522 h 10000"/>
                <a:gd name="connsiteX111" fmla="*/ 10000 w 10000"/>
                <a:gd name="connsiteY111" fmla="*/ 1595 h 10000"/>
                <a:gd name="connsiteX0" fmla="*/ 2103 w 10000"/>
                <a:gd name="connsiteY0" fmla="*/ 7178 h 10000"/>
                <a:gd name="connsiteX1" fmla="*/ 2161 w 10000"/>
                <a:gd name="connsiteY1" fmla="*/ 7425 h 10000"/>
                <a:gd name="connsiteX2" fmla="*/ 2095 w 10000"/>
                <a:gd name="connsiteY2" fmla="*/ 7425 h 10000"/>
                <a:gd name="connsiteX3" fmla="*/ 2024 w 10000"/>
                <a:gd name="connsiteY3" fmla="*/ 7250 h 10000"/>
                <a:gd name="connsiteX4" fmla="*/ 1973 w 10000"/>
                <a:gd name="connsiteY4" fmla="*/ 7425 h 10000"/>
                <a:gd name="connsiteX5" fmla="*/ 1984 w 10000"/>
                <a:gd name="connsiteY5" fmla="*/ 7850 h 10000"/>
                <a:gd name="connsiteX6" fmla="*/ 2095 w 10000"/>
                <a:gd name="connsiteY6" fmla="*/ 8066 h 10000"/>
                <a:gd name="connsiteX7" fmla="*/ 2153 w 10000"/>
                <a:gd name="connsiteY7" fmla="*/ 8015 h 10000"/>
                <a:gd name="connsiteX8" fmla="*/ 2275 w 10000"/>
                <a:gd name="connsiteY8" fmla="*/ 8490 h 10000"/>
                <a:gd name="connsiteX9" fmla="*/ 2103 w 10000"/>
                <a:gd name="connsiteY9" fmla="*/ 8666 h 10000"/>
                <a:gd name="connsiteX10" fmla="*/ 2083 w 10000"/>
                <a:gd name="connsiteY10" fmla="*/ 9007 h 10000"/>
                <a:gd name="connsiteX11" fmla="*/ 2173 w 10000"/>
                <a:gd name="connsiteY11" fmla="*/ 9235 h 10000"/>
                <a:gd name="connsiteX12" fmla="*/ 2173 w 10000"/>
                <a:gd name="connsiteY12" fmla="*/ 9483 h 10000"/>
                <a:gd name="connsiteX13" fmla="*/ 2310 w 10000"/>
                <a:gd name="connsiteY13" fmla="*/ 9835 h 10000"/>
                <a:gd name="connsiteX14" fmla="*/ 2225 w 10000"/>
                <a:gd name="connsiteY14" fmla="*/ 10000 h 10000"/>
                <a:gd name="connsiteX15" fmla="*/ 2095 w 10000"/>
                <a:gd name="connsiteY15" fmla="*/ 9753 h 10000"/>
                <a:gd name="connsiteX16" fmla="*/ 1914 w 10000"/>
                <a:gd name="connsiteY16" fmla="*/ 9504 h 10000"/>
                <a:gd name="connsiteX17" fmla="*/ 1837 w 10000"/>
                <a:gd name="connsiteY17" fmla="*/ 9587 h 10000"/>
                <a:gd name="connsiteX18" fmla="*/ 1706 w 10000"/>
                <a:gd name="connsiteY18" fmla="*/ 9379 h 10000"/>
                <a:gd name="connsiteX19" fmla="*/ 1433 w 10000"/>
                <a:gd name="connsiteY19" fmla="*/ 9338 h 10000"/>
                <a:gd name="connsiteX20" fmla="*/ 1105 w 10000"/>
                <a:gd name="connsiteY20" fmla="*/ 8811 h 10000"/>
                <a:gd name="connsiteX21" fmla="*/ 1195 w 10000"/>
                <a:gd name="connsiteY21" fmla="*/ 8719 h 10000"/>
                <a:gd name="connsiteX22" fmla="*/ 1257 w 10000"/>
                <a:gd name="connsiteY22" fmla="*/ 8490 h 10000"/>
                <a:gd name="connsiteX23" fmla="*/ 1188 w 10000"/>
                <a:gd name="connsiteY23" fmla="*/ 8387 h 10000"/>
                <a:gd name="connsiteX24" fmla="*/ 1335 w 10000"/>
                <a:gd name="connsiteY24" fmla="*/ 8242 h 10000"/>
                <a:gd name="connsiteX25" fmla="*/ 1234 w 10000"/>
                <a:gd name="connsiteY25" fmla="*/ 8191 h 10000"/>
                <a:gd name="connsiteX26" fmla="*/ 1253 w 10000"/>
                <a:gd name="connsiteY26" fmla="*/ 8087 h 10000"/>
                <a:gd name="connsiteX27" fmla="*/ 1313 w 10000"/>
                <a:gd name="connsiteY27" fmla="*/ 8107 h 10000"/>
                <a:gd name="connsiteX28" fmla="*/ 1384 w 10000"/>
                <a:gd name="connsiteY28" fmla="*/ 8015 h 10000"/>
                <a:gd name="connsiteX29" fmla="*/ 1349 w 10000"/>
                <a:gd name="connsiteY29" fmla="*/ 7860 h 10000"/>
                <a:gd name="connsiteX30" fmla="*/ 1364 w 10000"/>
                <a:gd name="connsiteY30" fmla="*/ 7498 h 10000"/>
                <a:gd name="connsiteX31" fmla="*/ 1212 w 10000"/>
                <a:gd name="connsiteY31" fmla="*/ 7435 h 10000"/>
                <a:gd name="connsiteX32" fmla="*/ 1084 w 10000"/>
                <a:gd name="connsiteY32" fmla="*/ 7281 h 10000"/>
                <a:gd name="connsiteX33" fmla="*/ 916 w 10000"/>
                <a:gd name="connsiteY33" fmla="*/ 7270 h 10000"/>
                <a:gd name="connsiteX34" fmla="*/ 891 w 10000"/>
                <a:gd name="connsiteY34" fmla="*/ 7084 h 10000"/>
                <a:gd name="connsiteX35" fmla="*/ 780 w 10000"/>
                <a:gd name="connsiteY35" fmla="*/ 6939 h 10000"/>
                <a:gd name="connsiteX36" fmla="*/ 803 w 10000"/>
                <a:gd name="connsiteY36" fmla="*/ 6816 h 10000"/>
                <a:gd name="connsiteX37" fmla="*/ 733 w 10000"/>
                <a:gd name="connsiteY37" fmla="*/ 6692 h 10000"/>
                <a:gd name="connsiteX38" fmla="*/ 596 w 10000"/>
                <a:gd name="connsiteY38" fmla="*/ 6692 h 10000"/>
                <a:gd name="connsiteX39" fmla="*/ 556 w 10000"/>
                <a:gd name="connsiteY39" fmla="*/ 6785 h 10000"/>
                <a:gd name="connsiteX40" fmla="*/ 523 w 10000"/>
                <a:gd name="connsiteY40" fmla="*/ 6744 h 10000"/>
                <a:gd name="connsiteX41" fmla="*/ 494 w 10000"/>
                <a:gd name="connsiteY41" fmla="*/ 6432 h 10000"/>
                <a:gd name="connsiteX42" fmla="*/ 549 w 10000"/>
                <a:gd name="connsiteY42" fmla="*/ 6463 h 10000"/>
                <a:gd name="connsiteX43" fmla="*/ 609 w 10000"/>
                <a:gd name="connsiteY43" fmla="*/ 6340 h 10000"/>
                <a:gd name="connsiteX44" fmla="*/ 523 w 10000"/>
                <a:gd name="connsiteY44" fmla="*/ 6226 h 10000"/>
                <a:gd name="connsiteX45" fmla="*/ 412 w 10000"/>
                <a:gd name="connsiteY45" fmla="*/ 6009 h 10000"/>
                <a:gd name="connsiteX46" fmla="*/ 434 w 10000"/>
                <a:gd name="connsiteY46" fmla="*/ 5813 h 10000"/>
                <a:gd name="connsiteX47" fmla="*/ 356 w 10000"/>
                <a:gd name="connsiteY47" fmla="*/ 5689 h 10000"/>
                <a:gd name="connsiteX48" fmla="*/ 293 w 10000"/>
                <a:gd name="connsiteY48" fmla="*/ 5720 h 10000"/>
                <a:gd name="connsiteX49" fmla="*/ 262 w 10000"/>
                <a:gd name="connsiteY49" fmla="*/ 5596 h 10000"/>
                <a:gd name="connsiteX50" fmla="*/ 214 w 10000"/>
                <a:gd name="connsiteY50" fmla="*/ 5637 h 10000"/>
                <a:gd name="connsiteX51" fmla="*/ 151 w 10000"/>
                <a:gd name="connsiteY51" fmla="*/ 5596 h 10000"/>
                <a:gd name="connsiteX52" fmla="*/ 89 w 10000"/>
                <a:gd name="connsiteY52" fmla="*/ 5172 h 10000"/>
                <a:gd name="connsiteX53" fmla="*/ 112 w 10000"/>
                <a:gd name="connsiteY53" fmla="*/ 5048 h 10000"/>
                <a:gd name="connsiteX54" fmla="*/ 52 w 10000"/>
                <a:gd name="connsiteY54" fmla="*/ 4882 h 10000"/>
                <a:gd name="connsiteX55" fmla="*/ 85 w 10000"/>
                <a:gd name="connsiteY55" fmla="*/ 4645 h 10000"/>
                <a:gd name="connsiteX56" fmla="*/ 275 w 10000"/>
                <a:gd name="connsiteY56" fmla="*/ 4500 h 10000"/>
                <a:gd name="connsiteX57" fmla="*/ 169 w 10000"/>
                <a:gd name="connsiteY57" fmla="*/ 4395 h 10000"/>
                <a:gd name="connsiteX58" fmla="*/ 109 w 10000"/>
                <a:gd name="connsiteY58" fmla="*/ 4272 h 10000"/>
                <a:gd name="connsiteX59" fmla="*/ 267 w 10000"/>
                <a:gd name="connsiteY59" fmla="*/ 3900 h 10000"/>
                <a:gd name="connsiteX60" fmla="*/ 328 w 10000"/>
                <a:gd name="connsiteY60" fmla="*/ 3652 h 10000"/>
                <a:gd name="connsiteX61" fmla="*/ 198 w 10000"/>
                <a:gd name="connsiteY61" fmla="*/ 3476 h 10000"/>
                <a:gd name="connsiteX62" fmla="*/ 248 w 10000"/>
                <a:gd name="connsiteY62" fmla="*/ 3331 h 10000"/>
                <a:gd name="connsiteX63" fmla="*/ 146 w 10000"/>
                <a:gd name="connsiteY63" fmla="*/ 3135 h 10000"/>
                <a:gd name="connsiteX64" fmla="*/ 146 w 10000"/>
                <a:gd name="connsiteY64" fmla="*/ 2959 h 10000"/>
                <a:gd name="connsiteX65" fmla="*/ 79 w 10000"/>
                <a:gd name="connsiteY65" fmla="*/ 2608 h 10000"/>
                <a:gd name="connsiteX66" fmla="*/ 129 w 10000"/>
                <a:gd name="connsiteY66" fmla="*/ 2390 h 10000"/>
                <a:gd name="connsiteX67" fmla="*/ 49 w 10000"/>
                <a:gd name="connsiteY67" fmla="*/ 2286 h 10000"/>
                <a:gd name="connsiteX68" fmla="*/ 0 w 10000"/>
                <a:gd name="connsiteY68" fmla="*/ 2163 h 10000"/>
                <a:gd name="connsiteX69" fmla="*/ 71 w 10000"/>
                <a:gd name="connsiteY69" fmla="*/ 1936 h 10000"/>
                <a:gd name="connsiteX70" fmla="*/ 155 w 10000"/>
                <a:gd name="connsiteY70" fmla="*/ 1895 h 10000"/>
                <a:gd name="connsiteX71" fmla="*/ 255 w 10000"/>
                <a:gd name="connsiteY71" fmla="*/ 1843 h 10000"/>
                <a:gd name="connsiteX72" fmla="*/ 404 w 10000"/>
                <a:gd name="connsiteY72" fmla="*/ 1936 h 10000"/>
                <a:gd name="connsiteX73" fmla="*/ 627 w 10000"/>
                <a:gd name="connsiteY73" fmla="*/ 2039 h 10000"/>
                <a:gd name="connsiteX74" fmla="*/ 826 w 10000"/>
                <a:gd name="connsiteY74" fmla="*/ 2214 h 10000"/>
                <a:gd name="connsiteX75" fmla="*/ 987 w 10000"/>
                <a:gd name="connsiteY75" fmla="*/ 2358 h 10000"/>
                <a:gd name="connsiteX76" fmla="*/ 948 w 10000"/>
                <a:gd name="connsiteY76" fmla="*/ 2763 h 10000"/>
                <a:gd name="connsiteX77" fmla="*/ 471 w 10000"/>
                <a:gd name="connsiteY77" fmla="*/ 2659 h 10000"/>
                <a:gd name="connsiteX78" fmla="*/ 320 w 10000"/>
                <a:gd name="connsiteY78" fmla="*/ 2536 h 10000"/>
                <a:gd name="connsiteX79" fmla="*/ 375 w 10000"/>
                <a:gd name="connsiteY79" fmla="*/ 2608 h 10000"/>
                <a:gd name="connsiteX80" fmla="*/ 431 w 10000"/>
                <a:gd name="connsiteY80" fmla="*/ 2783 h 10000"/>
                <a:gd name="connsiteX81" fmla="*/ 523 w 10000"/>
                <a:gd name="connsiteY81" fmla="*/ 2908 h 10000"/>
                <a:gd name="connsiteX82" fmla="*/ 544 w 10000"/>
                <a:gd name="connsiteY82" fmla="*/ 3176 h 10000"/>
                <a:gd name="connsiteX83" fmla="*/ 663 w 10000"/>
                <a:gd name="connsiteY83" fmla="*/ 3300 h 10000"/>
                <a:gd name="connsiteX84" fmla="*/ 761 w 10000"/>
                <a:gd name="connsiteY84" fmla="*/ 3424 h 10000"/>
                <a:gd name="connsiteX85" fmla="*/ 790 w 10000"/>
                <a:gd name="connsiteY85" fmla="*/ 3455 h 10000"/>
                <a:gd name="connsiteX86" fmla="*/ 850 w 10000"/>
                <a:gd name="connsiteY86" fmla="*/ 3424 h 10000"/>
                <a:gd name="connsiteX87" fmla="*/ 826 w 10000"/>
                <a:gd name="connsiteY87" fmla="*/ 3351 h 10000"/>
                <a:gd name="connsiteX88" fmla="*/ 711 w 10000"/>
                <a:gd name="connsiteY88" fmla="*/ 3176 h 10000"/>
                <a:gd name="connsiteX89" fmla="*/ 1047 w 10000"/>
                <a:gd name="connsiteY89" fmla="*/ 3331 h 10000"/>
                <a:gd name="connsiteX90" fmla="*/ 1057 w 10000"/>
                <a:gd name="connsiteY90" fmla="*/ 3258 h 10000"/>
                <a:gd name="connsiteX91" fmla="*/ 1025 w 10000"/>
                <a:gd name="connsiteY91" fmla="*/ 3207 h 10000"/>
                <a:gd name="connsiteX92" fmla="*/ 966 w 10000"/>
                <a:gd name="connsiteY92" fmla="*/ 2980 h 10000"/>
                <a:gd name="connsiteX93" fmla="*/ 1134 w 10000"/>
                <a:gd name="connsiteY93" fmla="*/ 2763 h 10000"/>
                <a:gd name="connsiteX94" fmla="*/ 1266 w 10000"/>
                <a:gd name="connsiteY94" fmla="*/ 2908 h 10000"/>
                <a:gd name="connsiteX95" fmla="*/ 1304 w 10000"/>
                <a:gd name="connsiteY95" fmla="*/ 2711 h 10000"/>
                <a:gd name="connsiteX96" fmla="*/ 1242 w 10000"/>
                <a:gd name="connsiteY96" fmla="*/ 2639 h 10000"/>
                <a:gd name="connsiteX97" fmla="*/ 1220 w 10000"/>
                <a:gd name="connsiteY97" fmla="*/ 2266 h 10000"/>
                <a:gd name="connsiteX98" fmla="*/ 1195 w 10000"/>
                <a:gd name="connsiteY98" fmla="*/ 2214 h 10000"/>
                <a:gd name="connsiteX99" fmla="*/ 1352 w 10000"/>
                <a:gd name="connsiteY99" fmla="*/ 2235 h 10000"/>
                <a:gd name="connsiteX100" fmla="*/ 1420 w 10000"/>
                <a:gd name="connsiteY100" fmla="*/ 2390 h 10000"/>
                <a:gd name="connsiteX101" fmla="*/ 1335 w 10000"/>
                <a:gd name="connsiteY101" fmla="*/ 2515 h 10000"/>
                <a:gd name="connsiteX102" fmla="*/ 1481 w 10000"/>
                <a:gd name="connsiteY102" fmla="*/ 2680 h 10000"/>
                <a:gd name="connsiteX103" fmla="*/ 1601 w 10000"/>
                <a:gd name="connsiteY103" fmla="*/ 2515 h 10000"/>
                <a:gd name="connsiteX104" fmla="*/ 1750 w 10000"/>
                <a:gd name="connsiteY104" fmla="*/ 2286 h 10000"/>
                <a:gd name="connsiteX105" fmla="*/ 1907 w 10000"/>
                <a:gd name="connsiteY105" fmla="*/ 2142 h 10000"/>
                <a:gd name="connsiteX106" fmla="*/ 3415 w 10000"/>
                <a:gd name="connsiteY106" fmla="*/ 1314 h 10000"/>
                <a:gd name="connsiteX107" fmla="*/ 5209 w 10000"/>
                <a:gd name="connsiteY107" fmla="*/ 2 h 10000"/>
                <a:gd name="connsiteX108" fmla="*/ 9394 w 10000"/>
                <a:gd name="connsiteY108" fmla="*/ 1595 h 10000"/>
                <a:gd name="connsiteX109" fmla="*/ 9621 w 10000"/>
                <a:gd name="connsiteY109" fmla="*/ 1491 h 10000"/>
                <a:gd name="connsiteX110" fmla="*/ 9903 w 10000"/>
                <a:gd name="connsiteY110" fmla="*/ 1522 h 10000"/>
                <a:gd name="connsiteX111" fmla="*/ 10000 w 10000"/>
                <a:gd name="connsiteY111" fmla="*/ 1595 h 10000"/>
                <a:gd name="connsiteX0" fmla="*/ 2103 w 10000"/>
                <a:gd name="connsiteY0" fmla="*/ 7176 h 9998"/>
                <a:gd name="connsiteX1" fmla="*/ 2161 w 10000"/>
                <a:gd name="connsiteY1" fmla="*/ 7423 h 9998"/>
                <a:gd name="connsiteX2" fmla="*/ 2095 w 10000"/>
                <a:gd name="connsiteY2" fmla="*/ 7423 h 9998"/>
                <a:gd name="connsiteX3" fmla="*/ 2024 w 10000"/>
                <a:gd name="connsiteY3" fmla="*/ 7248 h 9998"/>
                <a:gd name="connsiteX4" fmla="*/ 1973 w 10000"/>
                <a:gd name="connsiteY4" fmla="*/ 7423 h 9998"/>
                <a:gd name="connsiteX5" fmla="*/ 1984 w 10000"/>
                <a:gd name="connsiteY5" fmla="*/ 7848 h 9998"/>
                <a:gd name="connsiteX6" fmla="*/ 2095 w 10000"/>
                <a:gd name="connsiteY6" fmla="*/ 8064 h 9998"/>
                <a:gd name="connsiteX7" fmla="*/ 2153 w 10000"/>
                <a:gd name="connsiteY7" fmla="*/ 8013 h 9998"/>
                <a:gd name="connsiteX8" fmla="*/ 2275 w 10000"/>
                <a:gd name="connsiteY8" fmla="*/ 8488 h 9998"/>
                <a:gd name="connsiteX9" fmla="*/ 2103 w 10000"/>
                <a:gd name="connsiteY9" fmla="*/ 8664 h 9998"/>
                <a:gd name="connsiteX10" fmla="*/ 2083 w 10000"/>
                <a:gd name="connsiteY10" fmla="*/ 9005 h 9998"/>
                <a:gd name="connsiteX11" fmla="*/ 2173 w 10000"/>
                <a:gd name="connsiteY11" fmla="*/ 9233 h 9998"/>
                <a:gd name="connsiteX12" fmla="*/ 2173 w 10000"/>
                <a:gd name="connsiteY12" fmla="*/ 9481 h 9998"/>
                <a:gd name="connsiteX13" fmla="*/ 2310 w 10000"/>
                <a:gd name="connsiteY13" fmla="*/ 9833 h 9998"/>
                <a:gd name="connsiteX14" fmla="*/ 2225 w 10000"/>
                <a:gd name="connsiteY14" fmla="*/ 9998 h 9998"/>
                <a:gd name="connsiteX15" fmla="*/ 2095 w 10000"/>
                <a:gd name="connsiteY15" fmla="*/ 9751 h 9998"/>
                <a:gd name="connsiteX16" fmla="*/ 1914 w 10000"/>
                <a:gd name="connsiteY16" fmla="*/ 9502 h 9998"/>
                <a:gd name="connsiteX17" fmla="*/ 1837 w 10000"/>
                <a:gd name="connsiteY17" fmla="*/ 9585 h 9998"/>
                <a:gd name="connsiteX18" fmla="*/ 1706 w 10000"/>
                <a:gd name="connsiteY18" fmla="*/ 9377 h 9998"/>
                <a:gd name="connsiteX19" fmla="*/ 1433 w 10000"/>
                <a:gd name="connsiteY19" fmla="*/ 9336 h 9998"/>
                <a:gd name="connsiteX20" fmla="*/ 1105 w 10000"/>
                <a:gd name="connsiteY20" fmla="*/ 8809 h 9998"/>
                <a:gd name="connsiteX21" fmla="*/ 1195 w 10000"/>
                <a:gd name="connsiteY21" fmla="*/ 8717 h 9998"/>
                <a:gd name="connsiteX22" fmla="*/ 1257 w 10000"/>
                <a:gd name="connsiteY22" fmla="*/ 8488 h 9998"/>
                <a:gd name="connsiteX23" fmla="*/ 1188 w 10000"/>
                <a:gd name="connsiteY23" fmla="*/ 8385 h 9998"/>
                <a:gd name="connsiteX24" fmla="*/ 1335 w 10000"/>
                <a:gd name="connsiteY24" fmla="*/ 8240 h 9998"/>
                <a:gd name="connsiteX25" fmla="*/ 1234 w 10000"/>
                <a:gd name="connsiteY25" fmla="*/ 8189 h 9998"/>
                <a:gd name="connsiteX26" fmla="*/ 1253 w 10000"/>
                <a:gd name="connsiteY26" fmla="*/ 8085 h 9998"/>
                <a:gd name="connsiteX27" fmla="*/ 1313 w 10000"/>
                <a:gd name="connsiteY27" fmla="*/ 8105 h 9998"/>
                <a:gd name="connsiteX28" fmla="*/ 1384 w 10000"/>
                <a:gd name="connsiteY28" fmla="*/ 8013 h 9998"/>
                <a:gd name="connsiteX29" fmla="*/ 1349 w 10000"/>
                <a:gd name="connsiteY29" fmla="*/ 7858 h 9998"/>
                <a:gd name="connsiteX30" fmla="*/ 1364 w 10000"/>
                <a:gd name="connsiteY30" fmla="*/ 7496 h 9998"/>
                <a:gd name="connsiteX31" fmla="*/ 1212 w 10000"/>
                <a:gd name="connsiteY31" fmla="*/ 7433 h 9998"/>
                <a:gd name="connsiteX32" fmla="*/ 1084 w 10000"/>
                <a:gd name="connsiteY32" fmla="*/ 7279 h 9998"/>
                <a:gd name="connsiteX33" fmla="*/ 916 w 10000"/>
                <a:gd name="connsiteY33" fmla="*/ 7268 h 9998"/>
                <a:gd name="connsiteX34" fmla="*/ 891 w 10000"/>
                <a:gd name="connsiteY34" fmla="*/ 7082 h 9998"/>
                <a:gd name="connsiteX35" fmla="*/ 780 w 10000"/>
                <a:gd name="connsiteY35" fmla="*/ 6937 h 9998"/>
                <a:gd name="connsiteX36" fmla="*/ 803 w 10000"/>
                <a:gd name="connsiteY36" fmla="*/ 6814 h 9998"/>
                <a:gd name="connsiteX37" fmla="*/ 733 w 10000"/>
                <a:gd name="connsiteY37" fmla="*/ 6690 h 9998"/>
                <a:gd name="connsiteX38" fmla="*/ 596 w 10000"/>
                <a:gd name="connsiteY38" fmla="*/ 6690 h 9998"/>
                <a:gd name="connsiteX39" fmla="*/ 556 w 10000"/>
                <a:gd name="connsiteY39" fmla="*/ 6783 h 9998"/>
                <a:gd name="connsiteX40" fmla="*/ 523 w 10000"/>
                <a:gd name="connsiteY40" fmla="*/ 6742 h 9998"/>
                <a:gd name="connsiteX41" fmla="*/ 494 w 10000"/>
                <a:gd name="connsiteY41" fmla="*/ 6430 h 9998"/>
                <a:gd name="connsiteX42" fmla="*/ 549 w 10000"/>
                <a:gd name="connsiteY42" fmla="*/ 6461 h 9998"/>
                <a:gd name="connsiteX43" fmla="*/ 609 w 10000"/>
                <a:gd name="connsiteY43" fmla="*/ 6338 h 9998"/>
                <a:gd name="connsiteX44" fmla="*/ 523 w 10000"/>
                <a:gd name="connsiteY44" fmla="*/ 6224 h 9998"/>
                <a:gd name="connsiteX45" fmla="*/ 412 w 10000"/>
                <a:gd name="connsiteY45" fmla="*/ 6007 h 9998"/>
                <a:gd name="connsiteX46" fmla="*/ 434 w 10000"/>
                <a:gd name="connsiteY46" fmla="*/ 5811 h 9998"/>
                <a:gd name="connsiteX47" fmla="*/ 356 w 10000"/>
                <a:gd name="connsiteY47" fmla="*/ 5687 h 9998"/>
                <a:gd name="connsiteX48" fmla="*/ 293 w 10000"/>
                <a:gd name="connsiteY48" fmla="*/ 5718 h 9998"/>
                <a:gd name="connsiteX49" fmla="*/ 262 w 10000"/>
                <a:gd name="connsiteY49" fmla="*/ 5594 h 9998"/>
                <a:gd name="connsiteX50" fmla="*/ 214 w 10000"/>
                <a:gd name="connsiteY50" fmla="*/ 5635 h 9998"/>
                <a:gd name="connsiteX51" fmla="*/ 151 w 10000"/>
                <a:gd name="connsiteY51" fmla="*/ 5594 h 9998"/>
                <a:gd name="connsiteX52" fmla="*/ 89 w 10000"/>
                <a:gd name="connsiteY52" fmla="*/ 5170 h 9998"/>
                <a:gd name="connsiteX53" fmla="*/ 112 w 10000"/>
                <a:gd name="connsiteY53" fmla="*/ 5046 h 9998"/>
                <a:gd name="connsiteX54" fmla="*/ 52 w 10000"/>
                <a:gd name="connsiteY54" fmla="*/ 4880 h 9998"/>
                <a:gd name="connsiteX55" fmla="*/ 85 w 10000"/>
                <a:gd name="connsiteY55" fmla="*/ 4643 h 9998"/>
                <a:gd name="connsiteX56" fmla="*/ 275 w 10000"/>
                <a:gd name="connsiteY56" fmla="*/ 4498 h 9998"/>
                <a:gd name="connsiteX57" fmla="*/ 169 w 10000"/>
                <a:gd name="connsiteY57" fmla="*/ 4393 h 9998"/>
                <a:gd name="connsiteX58" fmla="*/ 109 w 10000"/>
                <a:gd name="connsiteY58" fmla="*/ 4270 h 9998"/>
                <a:gd name="connsiteX59" fmla="*/ 267 w 10000"/>
                <a:gd name="connsiteY59" fmla="*/ 3898 h 9998"/>
                <a:gd name="connsiteX60" fmla="*/ 328 w 10000"/>
                <a:gd name="connsiteY60" fmla="*/ 3650 h 9998"/>
                <a:gd name="connsiteX61" fmla="*/ 198 w 10000"/>
                <a:gd name="connsiteY61" fmla="*/ 3474 h 9998"/>
                <a:gd name="connsiteX62" fmla="*/ 248 w 10000"/>
                <a:gd name="connsiteY62" fmla="*/ 3329 h 9998"/>
                <a:gd name="connsiteX63" fmla="*/ 146 w 10000"/>
                <a:gd name="connsiteY63" fmla="*/ 3133 h 9998"/>
                <a:gd name="connsiteX64" fmla="*/ 146 w 10000"/>
                <a:gd name="connsiteY64" fmla="*/ 2957 h 9998"/>
                <a:gd name="connsiteX65" fmla="*/ 79 w 10000"/>
                <a:gd name="connsiteY65" fmla="*/ 2606 h 9998"/>
                <a:gd name="connsiteX66" fmla="*/ 129 w 10000"/>
                <a:gd name="connsiteY66" fmla="*/ 2388 h 9998"/>
                <a:gd name="connsiteX67" fmla="*/ 49 w 10000"/>
                <a:gd name="connsiteY67" fmla="*/ 2284 h 9998"/>
                <a:gd name="connsiteX68" fmla="*/ 0 w 10000"/>
                <a:gd name="connsiteY68" fmla="*/ 2161 h 9998"/>
                <a:gd name="connsiteX69" fmla="*/ 71 w 10000"/>
                <a:gd name="connsiteY69" fmla="*/ 1934 h 9998"/>
                <a:gd name="connsiteX70" fmla="*/ 155 w 10000"/>
                <a:gd name="connsiteY70" fmla="*/ 1893 h 9998"/>
                <a:gd name="connsiteX71" fmla="*/ 255 w 10000"/>
                <a:gd name="connsiteY71" fmla="*/ 1841 h 9998"/>
                <a:gd name="connsiteX72" fmla="*/ 404 w 10000"/>
                <a:gd name="connsiteY72" fmla="*/ 1934 h 9998"/>
                <a:gd name="connsiteX73" fmla="*/ 627 w 10000"/>
                <a:gd name="connsiteY73" fmla="*/ 2037 h 9998"/>
                <a:gd name="connsiteX74" fmla="*/ 826 w 10000"/>
                <a:gd name="connsiteY74" fmla="*/ 2212 h 9998"/>
                <a:gd name="connsiteX75" fmla="*/ 987 w 10000"/>
                <a:gd name="connsiteY75" fmla="*/ 2356 h 9998"/>
                <a:gd name="connsiteX76" fmla="*/ 948 w 10000"/>
                <a:gd name="connsiteY76" fmla="*/ 2761 h 9998"/>
                <a:gd name="connsiteX77" fmla="*/ 471 w 10000"/>
                <a:gd name="connsiteY77" fmla="*/ 2657 h 9998"/>
                <a:gd name="connsiteX78" fmla="*/ 320 w 10000"/>
                <a:gd name="connsiteY78" fmla="*/ 2534 h 9998"/>
                <a:gd name="connsiteX79" fmla="*/ 375 w 10000"/>
                <a:gd name="connsiteY79" fmla="*/ 2606 h 9998"/>
                <a:gd name="connsiteX80" fmla="*/ 431 w 10000"/>
                <a:gd name="connsiteY80" fmla="*/ 2781 h 9998"/>
                <a:gd name="connsiteX81" fmla="*/ 523 w 10000"/>
                <a:gd name="connsiteY81" fmla="*/ 2906 h 9998"/>
                <a:gd name="connsiteX82" fmla="*/ 544 w 10000"/>
                <a:gd name="connsiteY82" fmla="*/ 3174 h 9998"/>
                <a:gd name="connsiteX83" fmla="*/ 663 w 10000"/>
                <a:gd name="connsiteY83" fmla="*/ 3298 h 9998"/>
                <a:gd name="connsiteX84" fmla="*/ 761 w 10000"/>
                <a:gd name="connsiteY84" fmla="*/ 3422 h 9998"/>
                <a:gd name="connsiteX85" fmla="*/ 790 w 10000"/>
                <a:gd name="connsiteY85" fmla="*/ 3453 h 9998"/>
                <a:gd name="connsiteX86" fmla="*/ 850 w 10000"/>
                <a:gd name="connsiteY86" fmla="*/ 3422 h 9998"/>
                <a:gd name="connsiteX87" fmla="*/ 826 w 10000"/>
                <a:gd name="connsiteY87" fmla="*/ 3349 h 9998"/>
                <a:gd name="connsiteX88" fmla="*/ 711 w 10000"/>
                <a:gd name="connsiteY88" fmla="*/ 3174 h 9998"/>
                <a:gd name="connsiteX89" fmla="*/ 1047 w 10000"/>
                <a:gd name="connsiteY89" fmla="*/ 3329 h 9998"/>
                <a:gd name="connsiteX90" fmla="*/ 1057 w 10000"/>
                <a:gd name="connsiteY90" fmla="*/ 3256 h 9998"/>
                <a:gd name="connsiteX91" fmla="*/ 1025 w 10000"/>
                <a:gd name="connsiteY91" fmla="*/ 3205 h 9998"/>
                <a:gd name="connsiteX92" fmla="*/ 966 w 10000"/>
                <a:gd name="connsiteY92" fmla="*/ 2978 h 9998"/>
                <a:gd name="connsiteX93" fmla="*/ 1134 w 10000"/>
                <a:gd name="connsiteY93" fmla="*/ 2761 h 9998"/>
                <a:gd name="connsiteX94" fmla="*/ 1266 w 10000"/>
                <a:gd name="connsiteY94" fmla="*/ 2906 h 9998"/>
                <a:gd name="connsiteX95" fmla="*/ 1304 w 10000"/>
                <a:gd name="connsiteY95" fmla="*/ 2709 h 9998"/>
                <a:gd name="connsiteX96" fmla="*/ 1242 w 10000"/>
                <a:gd name="connsiteY96" fmla="*/ 2637 h 9998"/>
                <a:gd name="connsiteX97" fmla="*/ 1220 w 10000"/>
                <a:gd name="connsiteY97" fmla="*/ 2264 h 9998"/>
                <a:gd name="connsiteX98" fmla="*/ 1195 w 10000"/>
                <a:gd name="connsiteY98" fmla="*/ 2212 h 9998"/>
                <a:gd name="connsiteX99" fmla="*/ 1352 w 10000"/>
                <a:gd name="connsiteY99" fmla="*/ 2233 h 9998"/>
                <a:gd name="connsiteX100" fmla="*/ 1420 w 10000"/>
                <a:gd name="connsiteY100" fmla="*/ 2388 h 9998"/>
                <a:gd name="connsiteX101" fmla="*/ 1335 w 10000"/>
                <a:gd name="connsiteY101" fmla="*/ 2513 h 9998"/>
                <a:gd name="connsiteX102" fmla="*/ 1481 w 10000"/>
                <a:gd name="connsiteY102" fmla="*/ 2678 h 9998"/>
                <a:gd name="connsiteX103" fmla="*/ 1601 w 10000"/>
                <a:gd name="connsiteY103" fmla="*/ 2513 h 9998"/>
                <a:gd name="connsiteX104" fmla="*/ 1750 w 10000"/>
                <a:gd name="connsiteY104" fmla="*/ 2284 h 9998"/>
                <a:gd name="connsiteX105" fmla="*/ 1907 w 10000"/>
                <a:gd name="connsiteY105" fmla="*/ 2140 h 9998"/>
                <a:gd name="connsiteX106" fmla="*/ 5209 w 10000"/>
                <a:gd name="connsiteY106" fmla="*/ 0 h 9998"/>
                <a:gd name="connsiteX107" fmla="*/ 9394 w 10000"/>
                <a:gd name="connsiteY107" fmla="*/ 1593 h 9998"/>
                <a:gd name="connsiteX108" fmla="*/ 9621 w 10000"/>
                <a:gd name="connsiteY108" fmla="*/ 1489 h 9998"/>
                <a:gd name="connsiteX109" fmla="*/ 9903 w 10000"/>
                <a:gd name="connsiteY109" fmla="*/ 1520 h 9998"/>
                <a:gd name="connsiteX110" fmla="*/ 10000 w 10000"/>
                <a:gd name="connsiteY110" fmla="*/ 1593 h 9998"/>
                <a:gd name="connsiteX0" fmla="*/ 2103 w 10000"/>
                <a:gd name="connsiteY0" fmla="*/ 5688 h 8511"/>
                <a:gd name="connsiteX1" fmla="*/ 2161 w 10000"/>
                <a:gd name="connsiteY1" fmla="*/ 5935 h 8511"/>
                <a:gd name="connsiteX2" fmla="*/ 2095 w 10000"/>
                <a:gd name="connsiteY2" fmla="*/ 5935 h 8511"/>
                <a:gd name="connsiteX3" fmla="*/ 2024 w 10000"/>
                <a:gd name="connsiteY3" fmla="*/ 5760 h 8511"/>
                <a:gd name="connsiteX4" fmla="*/ 1973 w 10000"/>
                <a:gd name="connsiteY4" fmla="*/ 5935 h 8511"/>
                <a:gd name="connsiteX5" fmla="*/ 1984 w 10000"/>
                <a:gd name="connsiteY5" fmla="*/ 6361 h 8511"/>
                <a:gd name="connsiteX6" fmla="*/ 2095 w 10000"/>
                <a:gd name="connsiteY6" fmla="*/ 6577 h 8511"/>
                <a:gd name="connsiteX7" fmla="*/ 2153 w 10000"/>
                <a:gd name="connsiteY7" fmla="*/ 6526 h 8511"/>
                <a:gd name="connsiteX8" fmla="*/ 2275 w 10000"/>
                <a:gd name="connsiteY8" fmla="*/ 7001 h 8511"/>
                <a:gd name="connsiteX9" fmla="*/ 2103 w 10000"/>
                <a:gd name="connsiteY9" fmla="*/ 7177 h 8511"/>
                <a:gd name="connsiteX10" fmla="*/ 2083 w 10000"/>
                <a:gd name="connsiteY10" fmla="*/ 7518 h 8511"/>
                <a:gd name="connsiteX11" fmla="*/ 2173 w 10000"/>
                <a:gd name="connsiteY11" fmla="*/ 7746 h 8511"/>
                <a:gd name="connsiteX12" fmla="*/ 2173 w 10000"/>
                <a:gd name="connsiteY12" fmla="*/ 7994 h 8511"/>
                <a:gd name="connsiteX13" fmla="*/ 2310 w 10000"/>
                <a:gd name="connsiteY13" fmla="*/ 8346 h 8511"/>
                <a:gd name="connsiteX14" fmla="*/ 2225 w 10000"/>
                <a:gd name="connsiteY14" fmla="*/ 8511 h 8511"/>
                <a:gd name="connsiteX15" fmla="*/ 2095 w 10000"/>
                <a:gd name="connsiteY15" fmla="*/ 8264 h 8511"/>
                <a:gd name="connsiteX16" fmla="*/ 1914 w 10000"/>
                <a:gd name="connsiteY16" fmla="*/ 8015 h 8511"/>
                <a:gd name="connsiteX17" fmla="*/ 1837 w 10000"/>
                <a:gd name="connsiteY17" fmla="*/ 8098 h 8511"/>
                <a:gd name="connsiteX18" fmla="*/ 1706 w 10000"/>
                <a:gd name="connsiteY18" fmla="*/ 7890 h 8511"/>
                <a:gd name="connsiteX19" fmla="*/ 1433 w 10000"/>
                <a:gd name="connsiteY19" fmla="*/ 7849 h 8511"/>
                <a:gd name="connsiteX20" fmla="*/ 1105 w 10000"/>
                <a:gd name="connsiteY20" fmla="*/ 7322 h 8511"/>
                <a:gd name="connsiteX21" fmla="*/ 1195 w 10000"/>
                <a:gd name="connsiteY21" fmla="*/ 7230 h 8511"/>
                <a:gd name="connsiteX22" fmla="*/ 1257 w 10000"/>
                <a:gd name="connsiteY22" fmla="*/ 7001 h 8511"/>
                <a:gd name="connsiteX23" fmla="*/ 1188 w 10000"/>
                <a:gd name="connsiteY23" fmla="*/ 6898 h 8511"/>
                <a:gd name="connsiteX24" fmla="*/ 1335 w 10000"/>
                <a:gd name="connsiteY24" fmla="*/ 6753 h 8511"/>
                <a:gd name="connsiteX25" fmla="*/ 1234 w 10000"/>
                <a:gd name="connsiteY25" fmla="*/ 6702 h 8511"/>
                <a:gd name="connsiteX26" fmla="*/ 1253 w 10000"/>
                <a:gd name="connsiteY26" fmla="*/ 6598 h 8511"/>
                <a:gd name="connsiteX27" fmla="*/ 1313 w 10000"/>
                <a:gd name="connsiteY27" fmla="*/ 6618 h 8511"/>
                <a:gd name="connsiteX28" fmla="*/ 1384 w 10000"/>
                <a:gd name="connsiteY28" fmla="*/ 6526 h 8511"/>
                <a:gd name="connsiteX29" fmla="*/ 1349 w 10000"/>
                <a:gd name="connsiteY29" fmla="*/ 6371 h 8511"/>
                <a:gd name="connsiteX30" fmla="*/ 1364 w 10000"/>
                <a:gd name="connsiteY30" fmla="*/ 6008 h 8511"/>
                <a:gd name="connsiteX31" fmla="*/ 1212 w 10000"/>
                <a:gd name="connsiteY31" fmla="*/ 5945 h 8511"/>
                <a:gd name="connsiteX32" fmla="*/ 1084 w 10000"/>
                <a:gd name="connsiteY32" fmla="*/ 5791 h 8511"/>
                <a:gd name="connsiteX33" fmla="*/ 916 w 10000"/>
                <a:gd name="connsiteY33" fmla="*/ 5780 h 8511"/>
                <a:gd name="connsiteX34" fmla="*/ 891 w 10000"/>
                <a:gd name="connsiteY34" fmla="*/ 5594 h 8511"/>
                <a:gd name="connsiteX35" fmla="*/ 780 w 10000"/>
                <a:gd name="connsiteY35" fmla="*/ 5449 h 8511"/>
                <a:gd name="connsiteX36" fmla="*/ 803 w 10000"/>
                <a:gd name="connsiteY36" fmla="*/ 5326 h 8511"/>
                <a:gd name="connsiteX37" fmla="*/ 733 w 10000"/>
                <a:gd name="connsiteY37" fmla="*/ 5202 h 8511"/>
                <a:gd name="connsiteX38" fmla="*/ 596 w 10000"/>
                <a:gd name="connsiteY38" fmla="*/ 5202 h 8511"/>
                <a:gd name="connsiteX39" fmla="*/ 556 w 10000"/>
                <a:gd name="connsiteY39" fmla="*/ 5295 h 8511"/>
                <a:gd name="connsiteX40" fmla="*/ 523 w 10000"/>
                <a:gd name="connsiteY40" fmla="*/ 5254 h 8511"/>
                <a:gd name="connsiteX41" fmla="*/ 494 w 10000"/>
                <a:gd name="connsiteY41" fmla="*/ 4942 h 8511"/>
                <a:gd name="connsiteX42" fmla="*/ 549 w 10000"/>
                <a:gd name="connsiteY42" fmla="*/ 4973 h 8511"/>
                <a:gd name="connsiteX43" fmla="*/ 609 w 10000"/>
                <a:gd name="connsiteY43" fmla="*/ 4850 h 8511"/>
                <a:gd name="connsiteX44" fmla="*/ 523 w 10000"/>
                <a:gd name="connsiteY44" fmla="*/ 4736 h 8511"/>
                <a:gd name="connsiteX45" fmla="*/ 412 w 10000"/>
                <a:gd name="connsiteY45" fmla="*/ 4519 h 8511"/>
                <a:gd name="connsiteX46" fmla="*/ 434 w 10000"/>
                <a:gd name="connsiteY46" fmla="*/ 4323 h 8511"/>
                <a:gd name="connsiteX47" fmla="*/ 356 w 10000"/>
                <a:gd name="connsiteY47" fmla="*/ 4199 h 8511"/>
                <a:gd name="connsiteX48" fmla="*/ 293 w 10000"/>
                <a:gd name="connsiteY48" fmla="*/ 4230 h 8511"/>
                <a:gd name="connsiteX49" fmla="*/ 262 w 10000"/>
                <a:gd name="connsiteY49" fmla="*/ 4106 h 8511"/>
                <a:gd name="connsiteX50" fmla="*/ 214 w 10000"/>
                <a:gd name="connsiteY50" fmla="*/ 4147 h 8511"/>
                <a:gd name="connsiteX51" fmla="*/ 151 w 10000"/>
                <a:gd name="connsiteY51" fmla="*/ 4106 h 8511"/>
                <a:gd name="connsiteX52" fmla="*/ 89 w 10000"/>
                <a:gd name="connsiteY52" fmla="*/ 3682 h 8511"/>
                <a:gd name="connsiteX53" fmla="*/ 112 w 10000"/>
                <a:gd name="connsiteY53" fmla="*/ 3558 h 8511"/>
                <a:gd name="connsiteX54" fmla="*/ 52 w 10000"/>
                <a:gd name="connsiteY54" fmla="*/ 3392 h 8511"/>
                <a:gd name="connsiteX55" fmla="*/ 85 w 10000"/>
                <a:gd name="connsiteY55" fmla="*/ 3155 h 8511"/>
                <a:gd name="connsiteX56" fmla="*/ 275 w 10000"/>
                <a:gd name="connsiteY56" fmla="*/ 3010 h 8511"/>
                <a:gd name="connsiteX57" fmla="*/ 169 w 10000"/>
                <a:gd name="connsiteY57" fmla="*/ 2905 h 8511"/>
                <a:gd name="connsiteX58" fmla="*/ 109 w 10000"/>
                <a:gd name="connsiteY58" fmla="*/ 2782 h 8511"/>
                <a:gd name="connsiteX59" fmla="*/ 267 w 10000"/>
                <a:gd name="connsiteY59" fmla="*/ 2410 h 8511"/>
                <a:gd name="connsiteX60" fmla="*/ 328 w 10000"/>
                <a:gd name="connsiteY60" fmla="*/ 2162 h 8511"/>
                <a:gd name="connsiteX61" fmla="*/ 198 w 10000"/>
                <a:gd name="connsiteY61" fmla="*/ 1986 h 8511"/>
                <a:gd name="connsiteX62" fmla="*/ 248 w 10000"/>
                <a:gd name="connsiteY62" fmla="*/ 1841 h 8511"/>
                <a:gd name="connsiteX63" fmla="*/ 146 w 10000"/>
                <a:gd name="connsiteY63" fmla="*/ 1645 h 8511"/>
                <a:gd name="connsiteX64" fmla="*/ 146 w 10000"/>
                <a:gd name="connsiteY64" fmla="*/ 1469 h 8511"/>
                <a:gd name="connsiteX65" fmla="*/ 79 w 10000"/>
                <a:gd name="connsiteY65" fmla="*/ 1118 h 8511"/>
                <a:gd name="connsiteX66" fmla="*/ 129 w 10000"/>
                <a:gd name="connsiteY66" fmla="*/ 899 h 8511"/>
                <a:gd name="connsiteX67" fmla="*/ 49 w 10000"/>
                <a:gd name="connsiteY67" fmla="*/ 795 h 8511"/>
                <a:gd name="connsiteX68" fmla="*/ 0 w 10000"/>
                <a:gd name="connsiteY68" fmla="*/ 672 h 8511"/>
                <a:gd name="connsiteX69" fmla="*/ 71 w 10000"/>
                <a:gd name="connsiteY69" fmla="*/ 445 h 8511"/>
                <a:gd name="connsiteX70" fmla="*/ 155 w 10000"/>
                <a:gd name="connsiteY70" fmla="*/ 404 h 8511"/>
                <a:gd name="connsiteX71" fmla="*/ 255 w 10000"/>
                <a:gd name="connsiteY71" fmla="*/ 352 h 8511"/>
                <a:gd name="connsiteX72" fmla="*/ 404 w 10000"/>
                <a:gd name="connsiteY72" fmla="*/ 445 h 8511"/>
                <a:gd name="connsiteX73" fmla="*/ 627 w 10000"/>
                <a:gd name="connsiteY73" fmla="*/ 548 h 8511"/>
                <a:gd name="connsiteX74" fmla="*/ 826 w 10000"/>
                <a:gd name="connsiteY74" fmla="*/ 723 h 8511"/>
                <a:gd name="connsiteX75" fmla="*/ 987 w 10000"/>
                <a:gd name="connsiteY75" fmla="*/ 867 h 8511"/>
                <a:gd name="connsiteX76" fmla="*/ 948 w 10000"/>
                <a:gd name="connsiteY76" fmla="*/ 1273 h 8511"/>
                <a:gd name="connsiteX77" fmla="*/ 471 w 10000"/>
                <a:gd name="connsiteY77" fmla="*/ 1169 h 8511"/>
                <a:gd name="connsiteX78" fmla="*/ 320 w 10000"/>
                <a:gd name="connsiteY78" fmla="*/ 1046 h 8511"/>
                <a:gd name="connsiteX79" fmla="*/ 375 w 10000"/>
                <a:gd name="connsiteY79" fmla="*/ 1118 h 8511"/>
                <a:gd name="connsiteX80" fmla="*/ 431 w 10000"/>
                <a:gd name="connsiteY80" fmla="*/ 1293 h 8511"/>
                <a:gd name="connsiteX81" fmla="*/ 523 w 10000"/>
                <a:gd name="connsiteY81" fmla="*/ 1418 h 8511"/>
                <a:gd name="connsiteX82" fmla="*/ 544 w 10000"/>
                <a:gd name="connsiteY82" fmla="*/ 1686 h 8511"/>
                <a:gd name="connsiteX83" fmla="*/ 663 w 10000"/>
                <a:gd name="connsiteY83" fmla="*/ 1810 h 8511"/>
                <a:gd name="connsiteX84" fmla="*/ 761 w 10000"/>
                <a:gd name="connsiteY84" fmla="*/ 1934 h 8511"/>
                <a:gd name="connsiteX85" fmla="*/ 790 w 10000"/>
                <a:gd name="connsiteY85" fmla="*/ 1965 h 8511"/>
                <a:gd name="connsiteX86" fmla="*/ 850 w 10000"/>
                <a:gd name="connsiteY86" fmla="*/ 1934 h 8511"/>
                <a:gd name="connsiteX87" fmla="*/ 826 w 10000"/>
                <a:gd name="connsiteY87" fmla="*/ 1861 h 8511"/>
                <a:gd name="connsiteX88" fmla="*/ 711 w 10000"/>
                <a:gd name="connsiteY88" fmla="*/ 1686 h 8511"/>
                <a:gd name="connsiteX89" fmla="*/ 1047 w 10000"/>
                <a:gd name="connsiteY89" fmla="*/ 1841 h 8511"/>
                <a:gd name="connsiteX90" fmla="*/ 1057 w 10000"/>
                <a:gd name="connsiteY90" fmla="*/ 1768 h 8511"/>
                <a:gd name="connsiteX91" fmla="*/ 1025 w 10000"/>
                <a:gd name="connsiteY91" fmla="*/ 1717 h 8511"/>
                <a:gd name="connsiteX92" fmla="*/ 966 w 10000"/>
                <a:gd name="connsiteY92" fmla="*/ 1490 h 8511"/>
                <a:gd name="connsiteX93" fmla="*/ 1134 w 10000"/>
                <a:gd name="connsiteY93" fmla="*/ 1273 h 8511"/>
                <a:gd name="connsiteX94" fmla="*/ 1266 w 10000"/>
                <a:gd name="connsiteY94" fmla="*/ 1418 h 8511"/>
                <a:gd name="connsiteX95" fmla="*/ 1304 w 10000"/>
                <a:gd name="connsiteY95" fmla="*/ 1221 h 8511"/>
                <a:gd name="connsiteX96" fmla="*/ 1242 w 10000"/>
                <a:gd name="connsiteY96" fmla="*/ 1149 h 8511"/>
                <a:gd name="connsiteX97" fmla="*/ 1220 w 10000"/>
                <a:gd name="connsiteY97" fmla="*/ 775 h 8511"/>
                <a:gd name="connsiteX98" fmla="*/ 1195 w 10000"/>
                <a:gd name="connsiteY98" fmla="*/ 723 h 8511"/>
                <a:gd name="connsiteX99" fmla="*/ 1352 w 10000"/>
                <a:gd name="connsiteY99" fmla="*/ 744 h 8511"/>
                <a:gd name="connsiteX100" fmla="*/ 1420 w 10000"/>
                <a:gd name="connsiteY100" fmla="*/ 899 h 8511"/>
                <a:gd name="connsiteX101" fmla="*/ 1335 w 10000"/>
                <a:gd name="connsiteY101" fmla="*/ 1025 h 8511"/>
                <a:gd name="connsiteX102" fmla="*/ 1481 w 10000"/>
                <a:gd name="connsiteY102" fmla="*/ 1190 h 8511"/>
                <a:gd name="connsiteX103" fmla="*/ 1601 w 10000"/>
                <a:gd name="connsiteY103" fmla="*/ 1025 h 8511"/>
                <a:gd name="connsiteX104" fmla="*/ 1750 w 10000"/>
                <a:gd name="connsiteY104" fmla="*/ 795 h 8511"/>
                <a:gd name="connsiteX105" fmla="*/ 1907 w 10000"/>
                <a:gd name="connsiteY105" fmla="*/ 651 h 8511"/>
                <a:gd name="connsiteX106" fmla="*/ 9394 w 10000"/>
                <a:gd name="connsiteY106" fmla="*/ 104 h 8511"/>
                <a:gd name="connsiteX107" fmla="*/ 9621 w 10000"/>
                <a:gd name="connsiteY107" fmla="*/ 0 h 8511"/>
                <a:gd name="connsiteX108" fmla="*/ 9903 w 10000"/>
                <a:gd name="connsiteY108" fmla="*/ 31 h 8511"/>
                <a:gd name="connsiteX109" fmla="*/ 10000 w 10000"/>
                <a:gd name="connsiteY109" fmla="*/ 104 h 8511"/>
                <a:gd name="connsiteX0" fmla="*/ 2103 w 10000"/>
                <a:gd name="connsiteY0" fmla="*/ 6683 h 10000"/>
                <a:gd name="connsiteX1" fmla="*/ 2161 w 10000"/>
                <a:gd name="connsiteY1" fmla="*/ 6973 h 10000"/>
                <a:gd name="connsiteX2" fmla="*/ 2095 w 10000"/>
                <a:gd name="connsiteY2" fmla="*/ 6973 h 10000"/>
                <a:gd name="connsiteX3" fmla="*/ 2024 w 10000"/>
                <a:gd name="connsiteY3" fmla="*/ 6768 h 10000"/>
                <a:gd name="connsiteX4" fmla="*/ 1973 w 10000"/>
                <a:gd name="connsiteY4" fmla="*/ 6973 h 10000"/>
                <a:gd name="connsiteX5" fmla="*/ 1984 w 10000"/>
                <a:gd name="connsiteY5" fmla="*/ 7474 h 10000"/>
                <a:gd name="connsiteX6" fmla="*/ 2095 w 10000"/>
                <a:gd name="connsiteY6" fmla="*/ 7728 h 10000"/>
                <a:gd name="connsiteX7" fmla="*/ 2153 w 10000"/>
                <a:gd name="connsiteY7" fmla="*/ 7668 h 10000"/>
                <a:gd name="connsiteX8" fmla="*/ 2275 w 10000"/>
                <a:gd name="connsiteY8" fmla="*/ 8226 h 10000"/>
                <a:gd name="connsiteX9" fmla="*/ 2103 w 10000"/>
                <a:gd name="connsiteY9" fmla="*/ 8433 h 10000"/>
                <a:gd name="connsiteX10" fmla="*/ 2083 w 10000"/>
                <a:gd name="connsiteY10" fmla="*/ 8833 h 10000"/>
                <a:gd name="connsiteX11" fmla="*/ 2173 w 10000"/>
                <a:gd name="connsiteY11" fmla="*/ 9101 h 10000"/>
                <a:gd name="connsiteX12" fmla="*/ 2173 w 10000"/>
                <a:gd name="connsiteY12" fmla="*/ 9393 h 10000"/>
                <a:gd name="connsiteX13" fmla="*/ 2310 w 10000"/>
                <a:gd name="connsiteY13" fmla="*/ 9806 h 10000"/>
                <a:gd name="connsiteX14" fmla="*/ 2225 w 10000"/>
                <a:gd name="connsiteY14" fmla="*/ 10000 h 10000"/>
                <a:gd name="connsiteX15" fmla="*/ 2095 w 10000"/>
                <a:gd name="connsiteY15" fmla="*/ 9710 h 10000"/>
                <a:gd name="connsiteX16" fmla="*/ 1914 w 10000"/>
                <a:gd name="connsiteY16" fmla="*/ 9417 h 10000"/>
                <a:gd name="connsiteX17" fmla="*/ 1837 w 10000"/>
                <a:gd name="connsiteY17" fmla="*/ 9515 h 10000"/>
                <a:gd name="connsiteX18" fmla="*/ 1706 w 10000"/>
                <a:gd name="connsiteY18" fmla="*/ 9270 h 10000"/>
                <a:gd name="connsiteX19" fmla="*/ 1433 w 10000"/>
                <a:gd name="connsiteY19" fmla="*/ 9222 h 10000"/>
                <a:gd name="connsiteX20" fmla="*/ 1105 w 10000"/>
                <a:gd name="connsiteY20" fmla="*/ 8603 h 10000"/>
                <a:gd name="connsiteX21" fmla="*/ 1195 w 10000"/>
                <a:gd name="connsiteY21" fmla="*/ 8495 h 10000"/>
                <a:gd name="connsiteX22" fmla="*/ 1257 w 10000"/>
                <a:gd name="connsiteY22" fmla="*/ 8226 h 10000"/>
                <a:gd name="connsiteX23" fmla="*/ 1188 w 10000"/>
                <a:gd name="connsiteY23" fmla="*/ 8105 h 10000"/>
                <a:gd name="connsiteX24" fmla="*/ 1335 w 10000"/>
                <a:gd name="connsiteY24" fmla="*/ 7934 h 10000"/>
                <a:gd name="connsiteX25" fmla="*/ 1234 w 10000"/>
                <a:gd name="connsiteY25" fmla="*/ 7875 h 10000"/>
                <a:gd name="connsiteX26" fmla="*/ 1253 w 10000"/>
                <a:gd name="connsiteY26" fmla="*/ 7752 h 10000"/>
                <a:gd name="connsiteX27" fmla="*/ 1313 w 10000"/>
                <a:gd name="connsiteY27" fmla="*/ 7776 h 10000"/>
                <a:gd name="connsiteX28" fmla="*/ 1384 w 10000"/>
                <a:gd name="connsiteY28" fmla="*/ 7668 h 10000"/>
                <a:gd name="connsiteX29" fmla="*/ 1349 w 10000"/>
                <a:gd name="connsiteY29" fmla="*/ 7486 h 10000"/>
                <a:gd name="connsiteX30" fmla="*/ 1364 w 10000"/>
                <a:gd name="connsiteY30" fmla="*/ 7059 h 10000"/>
                <a:gd name="connsiteX31" fmla="*/ 1212 w 10000"/>
                <a:gd name="connsiteY31" fmla="*/ 6985 h 10000"/>
                <a:gd name="connsiteX32" fmla="*/ 1084 w 10000"/>
                <a:gd name="connsiteY32" fmla="*/ 6804 h 10000"/>
                <a:gd name="connsiteX33" fmla="*/ 916 w 10000"/>
                <a:gd name="connsiteY33" fmla="*/ 6791 h 10000"/>
                <a:gd name="connsiteX34" fmla="*/ 891 w 10000"/>
                <a:gd name="connsiteY34" fmla="*/ 6573 h 10000"/>
                <a:gd name="connsiteX35" fmla="*/ 780 w 10000"/>
                <a:gd name="connsiteY35" fmla="*/ 6402 h 10000"/>
                <a:gd name="connsiteX36" fmla="*/ 803 w 10000"/>
                <a:gd name="connsiteY36" fmla="*/ 6258 h 10000"/>
                <a:gd name="connsiteX37" fmla="*/ 733 w 10000"/>
                <a:gd name="connsiteY37" fmla="*/ 6112 h 10000"/>
                <a:gd name="connsiteX38" fmla="*/ 596 w 10000"/>
                <a:gd name="connsiteY38" fmla="*/ 6112 h 10000"/>
                <a:gd name="connsiteX39" fmla="*/ 556 w 10000"/>
                <a:gd name="connsiteY39" fmla="*/ 6221 h 10000"/>
                <a:gd name="connsiteX40" fmla="*/ 523 w 10000"/>
                <a:gd name="connsiteY40" fmla="*/ 6173 h 10000"/>
                <a:gd name="connsiteX41" fmla="*/ 494 w 10000"/>
                <a:gd name="connsiteY41" fmla="*/ 5807 h 10000"/>
                <a:gd name="connsiteX42" fmla="*/ 549 w 10000"/>
                <a:gd name="connsiteY42" fmla="*/ 5843 h 10000"/>
                <a:gd name="connsiteX43" fmla="*/ 609 w 10000"/>
                <a:gd name="connsiteY43" fmla="*/ 5699 h 10000"/>
                <a:gd name="connsiteX44" fmla="*/ 523 w 10000"/>
                <a:gd name="connsiteY44" fmla="*/ 5565 h 10000"/>
                <a:gd name="connsiteX45" fmla="*/ 412 w 10000"/>
                <a:gd name="connsiteY45" fmla="*/ 5310 h 10000"/>
                <a:gd name="connsiteX46" fmla="*/ 434 w 10000"/>
                <a:gd name="connsiteY46" fmla="*/ 5079 h 10000"/>
                <a:gd name="connsiteX47" fmla="*/ 356 w 10000"/>
                <a:gd name="connsiteY47" fmla="*/ 4934 h 10000"/>
                <a:gd name="connsiteX48" fmla="*/ 293 w 10000"/>
                <a:gd name="connsiteY48" fmla="*/ 4970 h 10000"/>
                <a:gd name="connsiteX49" fmla="*/ 262 w 10000"/>
                <a:gd name="connsiteY49" fmla="*/ 4824 h 10000"/>
                <a:gd name="connsiteX50" fmla="*/ 214 w 10000"/>
                <a:gd name="connsiteY50" fmla="*/ 4873 h 10000"/>
                <a:gd name="connsiteX51" fmla="*/ 151 w 10000"/>
                <a:gd name="connsiteY51" fmla="*/ 4824 h 10000"/>
                <a:gd name="connsiteX52" fmla="*/ 89 w 10000"/>
                <a:gd name="connsiteY52" fmla="*/ 4326 h 10000"/>
                <a:gd name="connsiteX53" fmla="*/ 112 w 10000"/>
                <a:gd name="connsiteY53" fmla="*/ 4180 h 10000"/>
                <a:gd name="connsiteX54" fmla="*/ 52 w 10000"/>
                <a:gd name="connsiteY54" fmla="*/ 3985 h 10000"/>
                <a:gd name="connsiteX55" fmla="*/ 85 w 10000"/>
                <a:gd name="connsiteY55" fmla="*/ 3707 h 10000"/>
                <a:gd name="connsiteX56" fmla="*/ 275 w 10000"/>
                <a:gd name="connsiteY56" fmla="*/ 3537 h 10000"/>
                <a:gd name="connsiteX57" fmla="*/ 169 w 10000"/>
                <a:gd name="connsiteY57" fmla="*/ 3413 h 10000"/>
                <a:gd name="connsiteX58" fmla="*/ 109 w 10000"/>
                <a:gd name="connsiteY58" fmla="*/ 3269 h 10000"/>
                <a:gd name="connsiteX59" fmla="*/ 267 w 10000"/>
                <a:gd name="connsiteY59" fmla="*/ 2832 h 10000"/>
                <a:gd name="connsiteX60" fmla="*/ 328 w 10000"/>
                <a:gd name="connsiteY60" fmla="*/ 2540 h 10000"/>
                <a:gd name="connsiteX61" fmla="*/ 198 w 10000"/>
                <a:gd name="connsiteY61" fmla="*/ 2333 h 10000"/>
                <a:gd name="connsiteX62" fmla="*/ 248 w 10000"/>
                <a:gd name="connsiteY62" fmla="*/ 2163 h 10000"/>
                <a:gd name="connsiteX63" fmla="*/ 146 w 10000"/>
                <a:gd name="connsiteY63" fmla="*/ 1933 h 10000"/>
                <a:gd name="connsiteX64" fmla="*/ 146 w 10000"/>
                <a:gd name="connsiteY64" fmla="*/ 1726 h 10000"/>
                <a:gd name="connsiteX65" fmla="*/ 79 w 10000"/>
                <a:gd name="connsiteY65" fmla="*/ 1314 h 10000"/>
                <a:gd name="connsiteX66" fmla="*/ 129 w 10000"/>
                <a:gd name="connsiteY66" fmla="*/ 1056 h 10000"/>
                <a:gd name="connsiteX67" fmla="*/ 49 w 10000"/>
                <a:gd name="connsiteY67" fmla="*/ 934 h 10000"/>
                <a:gd name="connsiteX68" fmla="*/ 0 w 10000"/>
                <a:gd name="connsiteY68" fmla="*/ 790 h 10000"/>
                <a:gd name="connsiteX69" fmla="*/ 71 w 10000"/>
                <a:gd name="connsiteY69" fmla="*/ 523 h 10000"/>
                <a:gd name="connsiteX70" fmla="*/ 155 w 10000"/>
                <a:gd name="connsiteY70" fmla="*/ 475 h 10000"/>
                <a:gd name="connsiteX71" fmla="*/ 255 w 10000"/>
                <a:gd name="connsiteY71" fmla="*/ 414 h 10000"/>
                <a:gd name="connsiteX72" fmla="*/ 404 w 10000"/>
                <a:gd name="connsiteY72" fmla="*/ 523 h 10000"/>
                <a:gd name="connsiteX73" fmla="*/ 627 w 10000"/>
                <a:gd name="connsiteY73" fmla="*/ 644 h 10000"/>
                <a:gd name="connsiteX74" fmla="*/ 826 w 10000"/>
                <a:gd name="connsiteY74" fmla="*/ 849 h 10000"/>
                <a:gd name="connsiteX75" fmla="*/ 987 w 10000"/>
                <a:gd name="connsiteY75" fmla="*/ 1019 h 10000"/>
                <a:gd name="connsiteX76" fmla="*/ 948 w 10000"/>
                <a:gd name="connsiteY76" fmla="*/ 1496 h 10000"/>
                <a:gd name="connsiteX77" fmla="*/ 471 w 10000"/>
                <a:gd name="connsiteY77" fmla="*/ 1374 h 10000"/>
                <a:gd name="connsiteX78" fmla="*/ 320 w 10000"/>
                <a:gd name="connsiteY78" fmla="*/ 1229 h 10000"/>
                <a:gd name="connsiteX79" fmla="*/ 375 w 10000"/>
                <a:gd name="connsiteY79" fmla="*/ 1314 h 10000"/>
                <a:gd name="connsiteX80" fmla="*/ 431 w 10000"/>
                <a:gd name="connsiteY80" fmla="*/ 1519 h 10000"/>
                <a:gd name="connsiteX81" fmla="*/ 523 w 10000"/>
                <a:gd name="connsiteY81" fmla="*/ 1666 h 10000"/>
                <a:gd name="connsiteX82" fmla="*/ 544 w 10000"/>
                <a:gd name="connsiteY82" fmla="*/ 1981 h 10000"/>
                <a:gd name="connsiteX83" fmla="*/ 663 w 10000"/>
                <a:gd name="connsiteY83" fmla="*/ 2127 h 10000"/>
                <a:gd name="connsiteX84" fmla="*/ 761 w 10000"/>
                <a:gd name="connsiteY84" fmla="*/ 2272 h 10000"/>
                <a:gd name="connsiteX85" fmla="*/ 790 w 10000"/>
                <a:gd name="connsiteY85" fmla="*/ 2309 h 10000"/>
                <a:gd name="connsiteX86" fmla="*/ 850 w 10000"/>
                <a:gd name="connsiteY86" fmla="*/ 2272 h 10000"/>
                <a:gd name="connsiteX87" fmla="*/ 826 w 10000"/>
                <a:gd name="connsiteY87" fmla="*/ 2187 h 10000"/>
                <a:gd name="connsiteX88" fmla="*/ 711 w 10000"/>
                <a:gd name="connsiteY88" fmla="*/ 1981 h 10000"/>
                <a:gd name="connsiteX89" fmla="*/ 1047 w 10000"/>
                <a:gd name="connsiteY89" fmla="*/ 2163 h 10000"/>
                <a:gd name="connsiteX90" fmla="*/ 1057 w 10000"/>
                <a:gd name="connsiteY90" fmla="*/ 2077 h 10000"/>
                <a:gd name="connsiteX91" fmla="*/ 1025 w 10000"/>
                <a:gd name="connsiteY91" fmla="*/ 2017 h 10000"/>
                <a:gd name="connsiteX92" fmla="*/ 966 w 10000"/>
                <a:gd name="connsiteY92" fmla="*/ 1751 h 10000"/>
                <a:gd name="connsiteX93" fmla="*/ 1134 w 10000"/>
                <a:gd name="connsiteY93" fmla="*/ 1496 h 10000"/>
                <a:gd name="connsiteX94" fmla="*/ 1266 w 10000"/>
                <a:gd name="connsiteY94" fmla="*/ 1666 h 10000"/>
                <a:gd name="connsiteX95" fmla="*/ 1304 w 10000"/>
                <a:gd name="connsiteY95" fmla="*/ 1435 h 10000"/>
                <a:gd name="connsiteX96" fmla="*/ 1242 w 10000"/>
                <a:gd name="connsiteY96" fmla="*/ 1350 h 10000"/>
                <a:gd name="connsiteX97" fmla="*/ 1220 w 10000"/>
                <a:gd name="connsiteY97" fmla="*/ 911 h 10000"/>
                <a:gd name="connsiteX98" fmla="*/ 1195 w 10000"/>
                <a:gd name="connsiteY98" fmla="*/ 849 h 10000"/>
                <a:gd name="connsiteX99" fmla="*/ 1352 w 10000"/>
                <a:gd name="connsiteY99" fmla="*/ 874 h 10000"/>
                <a:gd name="connsiteX100" fmla="*/ 1420 w 10000"/>
                <a:gd name="connsiteY100" fmla="*/ 1056 h 10000"/>
                <a:gd name="connsiteX101" fmla="*/ 1335 w 10000"/>
                <a:gd name="connsiteY101" fmla="*/ 1204 h 10000"/>
                <a:gd name="connsiteX102" fmla="*/ 1481 w 10000"/>
                <a:gd name="connsiteY102" fmla="*/ 1398 h 10000"/>
                <a:gd name="connsiteX103" fmla="*/ 1601 w 10000"/>
                <a:gd name="connsiteY103" fmla="*/ 1204 h 10000"/>
                <a:gd name="connsiteX104" fmla="*/ 1750 w 10000"/>
                <a:gd name="connsiteY104" fmla="*/ 934 h 10000"/>
                <a:gd name="connsiteX105" fmla="*/ 1907 w 10000"/>
                <a:gd name="connsiteY105" fmla="*/ 765 h 10000"/>
                <a:gd name="connsiteX106" fmla="*/ 9621 w 10000"/>
                <a:gd name="connsiteY106" fmla="*/ 0 h 10000"/>
                <a:gd name="connsiteX107" fmla="*/ 9903 w 10000"/>
                <a:gd name="connsiteY107" fmla="*/ 36 h 10000"/>
                <a:gd name="connsiteX108" fmla="*/ 10000 w 10000"/>
                <a:gd name="connsiteY108" fmla="*/ 122 h 10000"/>
                <a:gd name="connsiteX0" fmla="*/ 2103 w 10000"/>
                <a:gd name="connsiteY0" fmla="*/ 6647 h 9964"/>
                <a:gd name="connsiteX1" fmla="*/ 2161 w 10000"/>
                <a:gd name="connsiteY1" fmla="*/ 6937 h 9964"/>
                <a:gd name="connsiteX2" fmla="*/ 2095 w 10000"/>
                <a:gd name="connsiteY2" fmla="*/ 6937 h 9964"/>
                <a:gd name="connsiteX3" fmla="*/ 2024 w 10000"/>
                <a:gd name="connsiteY3" fmla="*/ 6732 h 9964"/>
                <a:gd name="connsiteX4" fmla="*/ 1973 w 10000"/>
                <a:gd name="connsiteY4" fmla="*/ 6937 h 9964"/>
                <a:gd name="connsiteX5" fmla="*/ 1984 w 10000"/>
                <a:gd name="connsiteY5" fmla="*/ 7438 h 9964"/>
                <a:gd name="connsiteX6" fmla="*/ 2095 w 10000"/>
                <a:gd name="connsiteY6" fmla="*/ 7692 h 9964"/>
                <a:gd name="connsiteX7" fmla="*/ 2153 w 10000"/>
                <a:gd name="connsiteY7" fmla="*/ 7632 h 9964"/>
                <a:gd name="connsiteX8" fmla="*/ 2275 w 10000"/>
                <a:gd name="connsiteY8" fmla="*/ 8190 h 9964"/>
                <a:gd name="connsiteX9" fmla="*/ 2103 w 10000"/>
                <a:gd name="connsiteY9" fmla="*/ 8397 h 9964"/>
                <a:gd name="connsiteX10" fmla="*/ 2083 w 10000"/>
                <a:gd name="connsiteY10" fmla="*/ 8797 h 9964"/>
                <a:gd name="connsiteX11" fmla="*/ 2173 w 10000"/>
                <a:gd name="connsiteY11" fmla="*/ 9065 h 9964"/>
                <a:gd name="connsiteX12" fmla="*/ 2173 w 10000"/>
                <a:gd name="connsiteY12" fmla="*/ 9357 h 9964"/>
                <a:gd name="connsiteX13" fmla="*/ 2310 w 10000"/>
                <a:gd name="connsiteY13" fmla="*/ 9770 h 9964"/>
                <a:gd name="connsiteX14" fmla="*/ 2225 w 10000"/>
                <a:gd name="connsiteY14" fmla="*/ 9964 h 9964"/>
                <a:gd name="connsiteX15" fmla="*/ 2095 w 10000"/>
                <a:gd name="connsiteY15" fmla="*/ 9674 h 9964"/>
                <a:gd name="connsiteX16" fmla="*/ 1914 w 10000"/>
                <a:gd name="connsiteY16" fmla="*/ 9381 h 9964"/>
                <a:gd name="connsiteX17" fmla="*/ 1837 w 10000"/>
                <a:gd name="connsiteY17" fmla="*/ 9479 h 9964"/>
                <a:gd name="connsiteX18" fmla="*/ 1706 w 10000"/>
                <a:gd name="connsiteY18" fmla="*/ 9234 h 9964"/>
                <a:gd name="connsiteX19" fmla="*/ 1433 w 10000"/>
                <a:gd name="connsiteY19" fmla="*/ 9186 h 9964"/>
                <a:gd name="connsiteX20" fmla="*/ 1105 w 10000"/>
                <a:gd name="connsiteY20" fmla="*/ 8567 h 9964"/>
                <a:gd name="connsiteX21" fmla="*/ 1195 w 10000"/>
                <a:gd name="connsiteY21" fmla="*/ 8459 h 9964"/>
                <a:gd name="connsiteX22" fmla="*/ 1257 w 10000"/>
                <a:gd name="connsiteY22" fmla="*/ 8190 h 9964"/>
                <a:gd name="connsiteX23" fmla="*/ 1188 w 10000"/>
                <a:gd name="connsiteY23" fmla="*/ 8069 h 9964"/>
                <a:gd name="connsiteX24" fmla="*/ 1335 w 10000"/>
                <a:gd name="connsiteY24" fmla="*/ 7898 h 9964"/>
                <a:gd name="connsiteX25" fmla="*/ 1234 w 10000"/>
                <a:gd name="connsiteY25" fmla="*/ 7839 h 9964"/>
                <a:gd name="connsiteX26" fmla="*/ 1253 w 10000"/>
                <a:gd name="connsiteY26" fmla="*/ 7716 h 9964"/>
                <a:gd name="connsiteX27" fmla="*/ 1313 w 10000"/>
                <a:gd name="connsiteY27" fmla="*/ 7740 h 9964"/>
                <a:gd name="connsiteX28" fmla="*/ 1384 w 10000"/>
                <a:gd name="connsiteY28" fmla="*/ 7632 h 9964"/>
                <a:gd name="connsiteX29" fmla="*/ 1349 w 10000"/>
                <a:gd name="connsiteY29" fmla="*/ 7450 h 9964"/>
                <a:gd name="connsiteX30" fmla="*/ 1364 w 10000"/>
                <a:gd name="connsiteY30" fmla="*/ 7023 h 9964"/>
                <a:gd name="connsiteX31" fmla="*/ 1212 w 10000"/>
                <a:gd name="connsiteY31" fmla="*/ 6949 h 9964"/>
                <a:gd name="connsiteX32" fmla="*/ 1084 w 10000"/>
                <a:gd name="connsiteY32" fmla="*/ 6768 h 9964"/>
                <a:gd name="connsiteX33" fmla="*/ 916 w 10000"/>
                <a:gd name="connsiteY33" fmla="*/ 6755 h 9964"/>
                <a:gd name="connsiteX34" fmla="*/ 891 w 10000"/>
                <a:gd name="connsiteY34" fmla="*/ 6537 h 9964"/>
                <a:gd name="connsiteX35" fmla="*/ 780 w 10000"/>
                <a:gd name="connsiteY35" fmla="*/ 6366 h 9964"/>
                <a:gd name="connsiteX36" fmla="*/ 803 w 10000"/>
                <a:gd name="connsiteY36" fmla="*/ 6222 h 9964"/>
                <a:gd name="connsiteX37" fmla="*/ 733 w 10000"/>
                <a:gd name="connsiteY37" fmla="*/ 6076 h 9964"/>
                <a:gd name="connsiteX38" fmla="*/ 596 w 10000"/>
                <a:gd name="connsiteY38" fmla="*/ 6076 h 9964"/>
                <a:gd name="connsiteX39" fmla="*/ 556 w 10000"/>
                <a:gd name="connsiteY39" fmla="*/ 6185 h 9964"/>
                <a:gd name="connsiteX40" fmla="*/ 523 w 10000"/>
                <a:gd name="connsiteY40" fmla="*/ 6137 h 9964"/>
                <a:gd name="connsiteX41" fmla="*/ 494 w 10000"/>
                <a:gd name="connsiteY41" fmla="*/ 5771 h 9964"/>
                <a:gd name="connsiteX42" fmla="*/ 549 w 10000"/>
                <a:gd name="connsiteY42" fmla="*/ 5807 h 9964"/>
                <a:gd name="connsiteX43" fmla="*/ 609 w 10000"/>
                <a:gd name="connsiteY43" fmla="*/ 5663 h 9964"/>
                <a:gd name="connsiteX44" fmla="*/ 523 w 10000"/>
                <a:gd name="connsiteY44" fmla="*/ 5529 h 9964"/>
                <a:gd name="connsiteX45" fmla="*/ 412 w 10000"/>
                <a:gd name="connsiteY45" fmla="*/ 5274 h 9964"/>
                <a:gd name="connsiteX46" fmla="*/ 434 w 10000"/>
                <a:gd name="connsiteY46" fmla="*/ 5043 h 9964"/>
                <a:gd name="connsiteX47" fmla="*/ 356 w 10000"/>
                <a:gd name="connsiteY47" fmla="*/ 4898 h 9964"/>
                <a:gd name="connsiteX48" fmla="*/ 293 w 10000"/>
                <a:gd name="connsiteY48" fmla="*/ 4934 h 9964"/>
                <a:gd name="connsiteX49" fmla="*/ 262 w 10000"/>
                <a:gd name="connsiteY49" fmla="*/ 4788 h 9964"/>
                <a:gd name="connsiteX50" fmla="*/ 214 w 10000"/>
                <a:gd name="connsiteY50" fmla="*/ 4837 h 9964"/>
                <a:gd name="connsiteX51" fmla="*/ 151 w 10000"/>
                <a:gd name="connsiteY51" fmla="*/ 4788 h 9964"/>
                <a:gd name="connsiteX52" fmla="*/ 89 w 10000"/>
                <a:gd name="connsiteY52" fmla="*/ 4290 h 9964"/>
                <a:gd name="connsiteX53" fmla="*/ 112 w 10000"/>
                <a:gd name="connsiteY53" fmla="*/ 4144 h 9964"/>
                <a:gd name="connsiteX54" fmla="*/ 52 w 10000"/>
                <a:gd name="connsiteY54" fmla="*/ 3949 h 9964"/>
                <a:gd name="connsiteX55" fmla="*/ 85 w 10000"/>
                <a:gd name="connsiteY55" fmla="*/ 3671 h 9964"/>
                <a:gd name="connsiteX56" fmla="*/ 275 w 10000"/>
                <a:gd name="connsiteY56" fmla="*/ 3501 h 9964"/>
                <a:gd name="connsiteX57" fmla="*/ 169 w 10000"/>
                <a:gd name="connsiteY57" fmla="*/ 3377 h 9964"/>
                <a:gd name="connsiteX58" fmla="*/ 109 w 10000"/>
                <a:gd name="connsiteY58" fmla="*/ 3233 h 9964"/>
                <a:gd name="connsiteX59" fmla="*/ 267 w 10000"/>
                <a:gd name="connsiteY59" fmla="*/ 2796 h 9964"/>
                <a:gd name="connsiteX60" fmla="*/ 328 w 10000"/>
                <a:gd name="connsiteY60" fmla="*/ 2504 h 9964"/>
                <a:gd name="connsiteX61" fmla="*/ 198 w 10000"/>
                <a:gd name="connsiteY61" fmla="*/ 2297 h 9964"/>
                <a:gd name="connsiteX62" fmla="*/ 248 w 10000"/>
                <a:gd name="connsiteY62" fmla="*/ 2127 h 9964"/>
                <a:gd name="connsiteX63" fmla="*/ 146 w 10000"/>
                <a:gd name="connsiteY63" fmla="*/ 1897 h 9964"/>
                <a:gd name="connsiteX64" fmla="*/ 146 w 10000"/>
                <a:gd name="connsiteY64" fmla="*/ 1690 h 9964"/>
                <a:gd name="connsiteX65" fmla="*/ 79 w 10000"/>
                <a:gd name="connsiteY65" fmla="*/ 1278 h 9964"/>
                <a:gd name="connsiteX66" fmla="*/ 129 w 10000"/>
                <a:gd name="connsiteY66" fmla="*/ 1020 h 9964"/>
                <a:gd name="connsiteX67" fmla="*/ 49 w 10000"/>
                <a:gd name="connsiteY67" fmla="*/ 898 h 9964"/>
                <a:gd name="connsiteX68" fmla="*/ 0 w 10000"/>
                <a:gd name="connsiteY68" fmla="*/ 754 h 9964"/>
                <a:gd name="connsiteX69" fmla="*/ 71 w 10000"/>
                <a:gd name="connsiteY69" fmla="*/ 487 h 9964"/>
                <a:gd name="connsiteX70" fmla="*/ 155 w 10000"/>
                <a:gd name="connsiteY70" fmla="*/ 439 h 9964"/>
                <a:gd name="connsiteX71" fmla="*/ 255 w 10000"/>
                <a:gd name="connsiteY71" fmla="*/ 378 h 9964"/>
                <a:gd name="connsiteX72" fmla="*/ 404 w 10000"/>
                <a:gd name="connsiteY72" fmla="*/ 487 h 9964"/>
                <a:gd name="connsiteX73" fmla="*/ 627 w 10000"/>
                <a:gd name="connsiteY73" fmla="*/ 608 h 9964"/>
                <a:gd name="connsiteX74" fmla="*/ 826 w 10000"/>
                <a:gd name="connsiteY74" fmla="*/ 813 h 9964"/>
                <a:gd name="connsiteX75" fmla="*/ 987 w 10000"/>
                <a:gd name="connsiteY75" fmla="*/ 983 h 9964"/>
                <a:gd name="connsiteX76" fmla="*/ 948 w 10000"/>
                <a:gd name="connsiteY76" fmla="*/ 1460 h 9964"/>
                <a:gd name="connsiteX77" fmla="*/ 471 w 10000"/>
                <a:gd name="connsiteY77" fmla="*/ 1338 h 9964"/>
                <a:gd name="connsiteX78" fmla="*/ 320 w 10000"/>
                <a:gd name="connsiteY78" fmla="*/ 1193 h 9964"/>
                <a:gd name="connsiteX79" fmla="*/ 375 w 10000"/>
                <a:gd name="connsiteY79" fmla="*/ 1278 h 9964"/>
                <a:gd name="connsiteX80" fmla="*/ 431 w 10000"/>
                <a:gd name="connsiteY80" fmla="*/ 1483 h 9964"/>
                <a:gd name="connsiteX81" fmla="*/ 523 w 10000"/>
                <a:gd name="connsiteY81" fmla="*/ 1630 h 9964"/>
                <a:gd name="connsiteX82" fmla="*/ 544 w 10000"/>
                <a:gd name="connsiteY82" fmla="*/ 1945 h 9964"/>
                <a:gd name="connsiteX83" fmla="*/ 663 w 10000"/>
                <a:gd name="connsiteY83" fmla="*/ 2091 h 9964"/>
                <a:gd name="connsiteX84" fmla="*/ 761 w 10000"/>
                <a:gd name="connsiteY84" fmla="*/ 2236 h 9964"/>
                <a:gd name="connsiteX85" fmla="*/ 790 w 10000"/>
                <a:gd name="connsiteY85" fmla="*/ 2273 h 9964"/>
                <a:gd name="connsiteX86" fmla="*/ 850 w 10000"/>
                <a:gd name="connsiteY86" fmla="*/ 2236 h 9964"/>
                <a:gd name="connsiteX87" fmla="*/ 826 w 10000"/>
                <a:gd name="connsiteY87" fmla="*/ 2151 h 9964"/>
                <a:gd name="connsiteX88" fmla="*/ 711 w 10000"/>
                <a:gd name="connsiteY88" fmla="*/ 1945 h 9964"/>
                <a:gd name="connsiteX89" fmla="*/ 1047 w 10000"/>
                <a:gd name="connsiteY89" fmla="*/ 2127 h 9964"/>
                <a:gd name="connsiteX90" fmla="*/ 1057 w 10000"/>
                <a:gd name="connsiteY90" fmla="*/ 2041 h 9964"/>
                <a:gd name="connsiteX91" fmla="*/ 1025 w 10000"/>
                <a:gd name="connsiteY91" fmla="*/ 1981 h 9964"/>
                <a:gd name="connsiteX92" fmla="*/ 966 w 10000"/>
                <a:gd name="connsiteY92" fmla="*/ 1715 h 9964"/>
                <a:gd name="connsiteX93" fmla="*/ 1134 w 10000"/>
                <a:gd name="connsiteY93" fmla="*/ 1460 h 9964"/>
                <a:gd name="connsiteX94" fmla="*/ 1266 w 10000"/>
                <a:gd name="connsiteY94" fmla="*/ 1630 h 9964"/>
                <a:gd name="connsiteX95" fmla="*/ 1304 w 10000"/>
                <a:gd name="connsiteY95" fmla="*/ 1399 h 9964"/>
                <a:gd name="connsiteX96" fmla="*/ 1242 w 10000"/>
                <a:gd name="connsiteY96" fmla="*/ 1314 h 9964"/>
                <a:gd name="connsiteX97" fmla="*/ 1220 w 10000"/>
                <a:gd name="connsiteY97" fmla="*/ 875 h 9964"/>
                <a:gd name="connsiteX98" fmla="*/ 1195 w 10000"/>
                <a:gd name="connsiteY98" fmla="*/ 813 h 9964"/>
                <a:gd name="connsiteX99" fmla="*/ 1352 w 10000"/>
                <a:gd name="connsiteY99" fmla="*/ 838 h 9964"/>
                <a:gd name="connsiteX100" fmla="*/ 1420 w 10000"/>
                <a:gd name="connsiteY100" fmla="*/ 1020 h 9964"/>
                <a:gd name="connsiteX101" fmla="*/ 1335 w 10000"/>
                <a:gd name="connsiteY101" fmla="*/ 1168 h 9964"/>
                <a:gd name="connsiteX102" fmla="*/ 1481 w 10000"/>
                <a:gd name="connsiteY102" fmla="*/ 1362 h 9964"/>
                <a:gd name="connsiteX103" fmla="*/ 1601 w 10000"/>
                <a:gd name="connsiteY103" fmla="*/ 1168 h 9964"/>
                <a:gd name="connsiteX104" fmla="*/ 1750 w 10000"/>
                <a:gd name="connsiteY104" fmla="*/ 898 h 9964"/>
                <a:gd name="connsiteX105" fmla="*/ 1907 w 10000"/>
                <a:gd name="connsiteY105" fmla="*/ 729 h 9964"/>
                <a:gd name="connsiteX106" fmla="*/ 9903 w 10000"/>
                <a:gd name="connsiteY106" fmla="*/ 0 h 9964"/>
                <a:gd name="connsiteX107" fmla="*/ 10000 w 10000"/>
                <a:gd name="connsiteY107" fmla="*/ 86 h 9964"/>
                <a:gd name="connsiteX0" fmla="*/ 2103 w 10000"/>
                <a:gd name="connsiteY0" fmla="*/ 6585 h 9914"/>
                <a:gd name="connsiteX1" fmla="*/ 2161 w 10000"/>
                <a:gd name="connsiteY1" fmla="*/ 6876 h 9914"/>
                <a:gd name="connsiteX2" fmla="*/ 2095 w 10000"/>
                <a:gd name="connsiteY2" fmla="*/ 6876 h 9914"/>
                <a:gd name="connsiteX3" fmla="*/ 2024 w 10000"/>
                <a:gd name="connsiteY3" fmla="*/ 6670 h 9914"/>
                <a:gd name="connsiteX4" fmla="*/ 1973 w 10000"/>
                <a:gd name="connsiteY4" fmla="*/ 6876 h 9914"/>
                <a:gd name="connsiteX5" fmla="*/ 1984 w 10000"/>
                <a:gd name="connsiteY5" fmla="*/ 7379 h 9914"/>
                <a:gd name="connsiteX6" fmla="*/ 2095 w 10000"/>
                <a:gd name="connsiteY6" fmla="*/ 7634 h 9914"/>
                <a:gd name="connsiteX7" fmla="*/ 2153 w 10000"/>
                <a:gd name="connsiteY7" fmla="*/ 7574 h 9914"/>
                <a:gd name="connsiteX8" fmla="*/ 2275 w 10000"/>
                <a:gd name="connsiteY8" fmla="*/ 8134 h 9914"/>
                <a:gd name="connsiteX9" fmla="*/ 2103 w 10000"/>
                <a:gd name="connsiteY9" fmla="*/ 8341 h 9914"/>
                <a:gd name="connsiteX10" fmla="*/ 2083 w 10000"/>
                <a:gd name="connsiteY10" fmla="*/ 8743 h 9914"/>
                <a:gd name="connsiteX11" fmla="*/ 2173 w 10000"/>
                <a:gd name="connsiteY11" fmla="*/ 9012 h 9914"/>
                <a:gd name="connsiteX12" fmla="*/ 2173 w 10000"/>
                <a:gd name="connsiteY12" fmla="*/ 9305 h 9914"/>
                <a:gd name="connsiteX13" fmla="*/ 2310 w 10000"/>
                <a:gd name="connsiteY13" fmla="*/ 9719 h 9914"/>
                <a:gd name="connsiteX14" fmla="*/ 2225 w 10000"/>
                <a:gd name="connsiteY14" fmla="*/ 9914 h 9914"/>
                <a:gd name="connsiteX15" fmla="*/ 2095 w 10000"/>
                <a:gd name="connsiteY15" fmla="*/ 9623 h 9914"/>
                <a:gd name="connsiteX16" fmla="*/ 1914 w 10000"/>
                <a:gd name="connsiteY16" fmla="*/ 9329 h 9914"/>
                <a:gd name="connsiteX17" fmla="*/ 1837 w 10000"/>
                <a:gd name="connsiteY17" fmla="*/ 9427 h 9914"/>
                <a:gd name="connsiteX18" fmla="*/ 1706 w 10000"/>
                <a:gd name="connsiteY18" fmla="*/ 9181 h 9914"/>
                <a:gd name="connsiteX19" fmla="*/ 1433 w 10000"/>
                <a:gd name="connsiteY19" fmla="*/ 9133 h 9914"/>
                <a:gd name="connsiteX20" fmla="*/ 1105 w 10000"/>
                <a:gd name="connsiteY20" fmla="*/ 8512 h 9914"/>
                <a:gd name="connsiteX21" fmla="*/ 1195 w 10000"/>
                <a:gd name="connsiteY21" fmla="*/ 8404 h 9914"/>
                <a:gd name="connsiteX22" fmla="*/ 1257 w 10000"/>
                <a:gd name="connsiteY22" fmla="*/ 8134 h 9914"/>
                <a:gd name="connsiteX23" fmla="*/ 1188 w 10000"/>
                <a:gd name="connsiteY23" fmla="*/ 8012 h 9914"/>
                <a:gd name="connsiteX24" fmla="*/ 1335 w 10000"/>
                <a:gd name="connsiteY24" fmla="*/ 7841 h 9914"/>
                <a:gd name="connsiteX25" fmla="*/ 1234 w 10000"/>
                <a:gd name="connsiteY25" fmla="*/ 7781 h 9914"/>
                <a:gd name="connsiteX26" fmla="*/ 1253 w 10000"/>
                <a:gd name="connsiteY26" fmla="*/ 7658 h 9914"/>
                <a:gd name="connsiteX27" fmla="*/ 1313 w 10000"/>
                <a:gd name="connsiteY27" fmla="*/ 7682 h 9914"/>
                <a:gd name="connsiteX28" fmla="*/ 1384 w 10000"/>
                <a:gd name="connsiteY28" fmla="*/ 7574 h 9914"/>
                <a:gd name="connsiteX29" fmla="*/ 1349 w 10000"/>
                <a:gd name="connsiteY29" fmla="*/ 7391 h 9914"/>
                <a:gd name="connsiteX30" fmla="*/ 1364 w 10000"/>
                <a:gd name="connsiteY30" fmla="*/ 6962 h 9914"/>
                <a:gd name="connsiteX31" fmla="*/ 1212 w 10000"/>
                <a:gd name="connsiteY31" fmla="*/ 6888 h 9914"/>
                <a:gd name="connsiteX32" fmla="*/ 1084 w 10000"/>
                <a:gd name="connsiteY32" fmla="*/ 6706 h 9914"/>
                <a:gd name="connsiteX33" fmla="*/ 916 w 10000"/>
                <a:gd name="connsiteY33" fmla="*/ 6693 h 9914"/>
                <a:gd name="connsiteX34" fmla="*/ 891 w 10000"/>
                <a:gd name="connsiteY34" fmla="*/ 6475 h 9914"/>
                <a:gd name="connsiteX35" fmla="*/ 780 w 10000"/>
                <a:gd name="connsiteY35" fmla="*/ 6303 h 9914"/>
                <a:gd name="connsiteX36" fmla="*/ 803 w 10000"/>
                <a:gd name="connsiteY36" fmla="*/ 6158 h 9914"/>
                <a:gd name="connsiteX37" fmla="*/ 733 w 10000"/>
                <a:gd name="connsiteY37" fmla="*/ 6012 h 9914"/>
                <a:gd name="connsiteX38" fmla="*/ 596 w 10000"/>
                <a:gd name="connsiteY38" fmla="*/ 6012 h 9914"/>
                <a:gd name="connsiteX39" fmla="*/ 556 w 10000"/>
                <a:gd name="connsiteY39" fmla="*/ 6121 h 9914"/>
                <a:gd name="connsiteX40" fmla="*/ 523 w 10000"/>
                <a:gd name="connsiteY40" fmla="*/ 6073 h 9914"/>
                <a:gd name="connsiteX41" fmla="*/ 494 w 10000"/>
                <a:gd name="connsiteY41" fmla="*/ 5706 h 9914"/>
                <a:gd name="connsiteX42" fmla="*/ 549 w 10000"/>
                <a:gd name="connsiteY42" fmla="*/ 5742 h 9914"/>
                <a:gd name="connsiteX43" fmla="*/ 609 w 10000"/>
                <a:gd name="connsiteY43" fmla="*/ 5597 h 9914"/>
                <a:gd name="connsiteX44" fmla="*/ 523 w 10000"/>
                <a:gd name="connsiteY44" fmla="*/ 5463 h 9914"/>
                <a:gd name="connsiteX45" fmla="*/ 412 w 10000"/>
                <a:gd name="connsiteY45" fmla="*/ 5207 h 9914"/>
                <a:gd name="connsiteX46" fmla="*/ 434 w 10000"/>
                <a:gd name="connsiteY46" fmla="*/ 4975 h 9914"/>
                <a:gd name="connsiteX47" fmla="*/ 356 w 10000"/>
                <a:gd name="connsiteY47" fmla="*/ 4830 h 9914"/>
                <a:gd name="connsiteX48" fmla="*/ 293 w 10000"/>
                <a:gd name="connsiteY48" fmla="*/ 4866 h 9914"/>
                <a:gd name="connsiteX49" fmla="*/ 262 w 10000"/>
                <a:gd name="connsiteY49" fmla="*/ 4719 h 9914"/>
                <a:gd name="connsiteX50" fmla="*/ 214 w 10000"/>
                <a:gd name="connsiteY50" fmla="*/ 4768 h 9914"/>
                <a:gd name="connsiteX51" fmla="*/ 151 w 10000"/>
                <a:gd name="connsiteY51" fmla="*/ 4719 h 9914"/>
                <a:gd name="connsiteX52" fmla="*/ 89 w 10000"/>
                <a:gd name="connsiteY52" fmla="*/ 4219 h 9914"/>
                <a:gd name="connsiteX53" fmla="*/ 112 w 10000"/>
                <a:gd name="connsiteY53" fmla="*/ 4073 h 9914"/>
                <a:gd name="connsiteX54" fmla="*/ 52 w 10000"/>
                <a:gd name="connsiteY54" fmla="*/ 3877 h 9914"/>
                <a:gd name="connsiteX55" fmla="*/ 85 w 10000"/>
                <a:gd name="connsiteY55" fmla="*/ 3598 h 9914"/>
                <a:gd name="connsiteX56" fmla="*/ 275 w 10000"/>
                <a:gd name="connsiteY56" fmla="*/ 3428 h 9914"/>
                <a:gd name="connsiteX57" fmla="*/ 169 w 10000"/>
                <a:gd name="connsiteY57" fmla="*/ 3303 h 9914"/>
                <a:gd name="connsiteX58" fmla="*/ 109 w 10000"/>
                <a:gd name="connsiteY58" fmla="*/ 3159 h 9914"/>
                <a:gd name="connsiteX59" fmla="*/ 267 w 10000"/>
                <a:gd name="connsiteY59" fmla="*/ 2720 h 9914"/>
                <a:gd name="connsiteX60" fmla="*/ 328 w 10000"/>
                <a:gd name="connsiteY60" fmla="*/ 2427 h 9914"/>
                <a:gd name="connsiteX61" fmla="*/ 198 w 10000"/>
                <a:gd name="connsiteY61" fmla="*/ 2219 h 9914"/>
                <a:gd name="connsiteX62" fmla="*/ 248 w 10000"/>
                <a:gd name="connsiteY62" fmla="*/ 2049 h 9914"/>
                <a:gd name="connsiteX63" fmla="*/ 146 w 10000"/>
                <a:gd name="connsiteY63" fmla="*/ 1818 h 9914"/>
                <a:gd name="connsiteX64" fmla="*/ 146 w 10000"/>
                <a:gd name="connsiteY64" fmla="*/ 1610 h 9914"/>
                <a:gd name="connsiteX65" fmla="*/ 79 w 10000"/>
                <a:gd name="connsiteY65" fmla="*/ 1197 h 9914"/>
                <a:gd name="connsiteX66" fmla="*/ 129 w 10000"/>
                <a:gd name="connsiteY66" fmla="*/ 938 h 9914"/>
                <a:gd name="connsiteX67" fmla="*/ 49 w 10000"/>
                <a:gd name="connsiteY67" fmla="*/ 815 h 9914"/>
                <a:gd name="connsiteX68" fmla="*/ 0 w 10000"/>
                <a:gd name="connsiteY68" fmla="*/ 671 h 9914"/>
                <a:gd name="connsiteX69" fmla="*/ 71 w 10000"/>
                <a:gd name="connsiteY69" fmla="*/ 403 h 9914"/>
                <a:gd name="connsiteX70" fmla="*/ 155 w 10000"/>
                <a:gd name="connsiteY70" fmla="*/ 355 h 9914"/>
                <a:gd name="connsiteX71" fmla="*/ 255 w 10000"/>
                <a:gd name="connsiteY71" fmla="*/ 293 h 9914"/>
                <a:gd name="connsiteX72" fmla="*/ 404 w 10000"/>
                <a:gd name="connsiteY72" fmla="*/ 403 h 9914"/>
                <a:gd name="connsiteX73" fmla="*/ 627 w 10000"/>
                <a:gd name="connsiteY73" fmla="*/ 524 h 9914"/>
                <a:gd name="connsiteX74" fmla="*/ 826 w 10000"/>
                <a:gd name="connsiteY74" fmla="*/ 730 h 9914"/>
                <a:gd name="connsiteX75" fmla="*/ 987 w 10000"/>
                <a:gd name="connsiteY75" fmla="*/ 901 h 9914"/>
                <a:gd name="connsiteX76" fmla="*/ 948 w 10000"/>
                <a:gd name="connsiteY76" fmla="*/ 1379 h 9914"/>
                <a:gd name="connsiteX77" fmla="*/ 471 w 10000"/>
                <a:gd name="connsiteY77" fmla="*/ 1257 h 9914"/>
                <a:gd name="connsiteX78" fmla="*/ 320 w 10000"/>
                <a:gd name="connsiteY78" fmla="*/ 1111 h 9914"/>
                <a:gd name="connsiteX79" fmla="*/ 375 w 10000"/>
                <a:gd name="connsiteY79" fmla="*/ 1197 h 9914"/>
                <a:gd name="connsiteX80" fmla="*/ 431 w 10000"/>
                <a:gd name="connsiteY80" fmla="*/ 1402 h 9914"/>
                <a:gd name="connsiteX81" fmla="*/ 523 w 10000"/>
                <a:gd name="connsiteY81" fmla="*/ 1550 h 9914"/>
                <a:gd name="connsiteX82" fmla="*/ 544 w 10000"/>
                <a:gd name="connsiteY82" fmla="*/ 1866 h 9914"/>
                <a:gd name="connsiteX83" fmla="*/ 663 w 10000"/>
                <a:gd name="connsiteY83" fmla="*/ 2013 h 9914"/>
                <a:gd name="connsiteX84" fmla="*/ 761 w 10000"/>
                <a:gd name="connsiteY84" fmla="*/ 2158 h 9914"/>
                <a:gd name="connsiteX85" fmla="*/ 790 w 10000"/>
                <a:gd name="connsiteY85" fmla="*/ 2195 h 9914"/>
                <a:gd name="connsiteX86" fmla="*/ 850 w 10000"/>
                <a:gd name="connsiteY86" fmla="*/ 2158 h 9914"/>
                <a:gd name="connsiteX87" fmla="*/ 826 w 10000"/>
                <a:gd name="connsiteY87" fmla="*/ 2073 h 9914"/>
                <a:gd name="connsiteX88" fmla="*/ 711 w 10000"/>
                <a:gd name="connsiteY88" fmla="*/ 1866 h 9914"/>
                <a:gd name="connsiteX89" fmla="*/ 1047 w 10000"/>
                <a:gd name="connsiteY89" fmla="*/ 2049 h 9914"/>
                <a:gd name="connsiteX90" fmla="*/ 1057 w 10000"/>
                <a:gd name="connsiteY90" fmla="*/ 1962 h 9914"/>
                <a:gd name="connsiteX91" fmla="*/ 1025 w 10000"/>
                <a:gd name="connsiteY91" fmla="*/ 1902 h 9914"/>
                <a:gd name="connsiteX92" fmla="*/ 966 w 10000"/>
                <a:gd name="connsiteY92" fmla="*/ 1635 h 9914"/>
                <a:gd name="connsiteX93" fmla="*/ 1134 w 10000"/>
                <a:gd name="connsiteY93" fmla="*/ 1379 h 9914"/>
                <a:gd name="connsiteX94" fmla="*/ 1266 w 10000"/>
                <a:gd name="connsiteY94" fmla="*/ 1550 h 9914"/>
                <a:gd name="connsiteX95" fmla="*/ 1304 w 10000"/>
                <a:gd name="connsiteY95" fmla="*/ 1318 h 9914"/>
                <a:gd name="connsiteX96" fmla="*/ 1242 w 10000"/>
                <a:gd name="connsiteY96" fmla="*/ 1233 h 9914"/>
                <a:gd name="connsiteX97" fmla="*/ 1220 w 10000"/>
                <a:gd name="connsiteY97" fmla="*/ 792 h 9914"/>
                <a:gd name="connsiteX98" fmla="*/ 1195 w 10000"/>
                <a:gd name="connsiteY98" fmla="*/ 730 h 9914"/>
                <a:gd name="connsiteX99" fmla="*/ 1352 w 10000"/>
                <a:gd name="connsiteY99" fmla="*/ 755 h 9914"/>
                <a:gd name="connsiteX100" fmla="*/ 1420 w 10000"/>
                <a:gd name="connsiteY100" fmla="*/ 938 h 9914"/>
                <a:gd name="connsiteX101" fmla="*/ 1335 w 10000"/>
                <a:gd name="connsiteY101" fmla="*/ 1086 h 9914"/>
                <a:gd name="connsiteX102" fmla="*/ 1481 w 10000"/>
                <a:gd name="connsiteY102" fmla="*/ 1281 h 9914"/>
                <a:gd name="connsiteX103" fmla="*/ 1601 w 10000"/>
                <a:gd name="connsiteY103" fmla="*/ 1086 h 9914"/>
                <a:gd name="connsiteX104" fmla="*/ 1750 w 10000"/>
                <a:gd name="connsiteY104" fmla="*/ 815 h 9914"/>
                <a:gd name="connsiteX105" fmla="*/ 1907 w 10000"/>
                <a:gd name="connsiteY105" fmla="*/ 646 h 9914"/>
                <a:gd name="connsiteX106" fmla="*/ 10000 w 10000"/>
                <a:gd name="connsiteY106" fmla="*/ 0 h 9914"/>
                <a:gd name="connsiteX0" fmla="*/ 2103 w 3602"/>
                <a:gd name="connsiteY0" fmla="*/ 6346 h 9704"/>
                <a:gd name="connsiteX1" fmla="*/ 2161 w 3602"/>
                <a:gd name="connsiteY1" fmla="*/ 6640 h 9704"/>
                <a:gd name="connsiteX2" fmla="*/ 2095 w 3602"/>
                <a:gd name="connsiteY2" fmla="*/ 6640 h 9704"/>
                <a:gd name="connsiteX3" fmla="*/ 2024 w 3602"/>
                <a:gd name="connsiteY3" fmla="*/ 6432 h 9704"/>
                <a:gd name="connsiteX4" fmla="*/ 1973 w 3602"/>
                <a:gd name="connsiteY4" fmla="*/ 6640 h 9704"/>
                <a:gd name="connsiteX5" fmla="*/ 1984 w 3602"/>
                <a:gd name="connsiteY5" fmla="*/ 7147 h 9704"/>
                <a:gd name="connsiteX6" fmla="*/ 2095 w 3602"/>
                <a:gd name="connsiteY6" fmla="*/ 7404 h 9704"/>
                <a:gd name="connsiteX7" fmla="*/ 2153 w 3602"/>
                <a:gd name="connsiteY7" fmla="*/ 7344 h 9704"/>
                <a:gd name="connsiteX8" fmla="*/ 2275 w 3602"/>
                <a:gd name="connsiteY8" fmla="*/ 7909 h 9704"/>
                <a:gd name="connsiteX9" fmla="*/ 2103 w 3602"/>
                <a:gd name="connsiteY9" fmla="*/ 8117 h 9704"/>
                <a:gd name="connsiteX10" fmla="*/ 2083 w 3602"/>
                <a:gd name="connsiteY10" fmla="*/ 8523 h 9704"/>
                <a:gd name="connsiteX11" fmla="*/ 2173 w 3602"/>
                <a:gd name="connsiteY11" fmla="*/ 8794 h 9704"/>
                <a:gd name="connsiteX12" fmla="*/ 2173 w 3602"/>
                <a:gd name="connsiteY12" fmla="*/ 9090 h 9704"/>
                <a:gd name="connsiteX13" fmla="*/ 2310 w 3602"/>
                <a:gd name="connsiteY13" fmla="*/ 9507 h 9704"/>
                <a:gd name="connsiteX14" fmla="*/ 2225 w 3602"/>
                <a:gd name="connsiteY14" fmla="*/ 9704 h 9704"/>
                <a:gd name="connsiteX15" fmla="*/ 2095 w 3602"/>
                <a:gd name="connsiteY15" fmla="*/ 9410 h 9704"/>
                <a:gd name="connsiteX16" fmla="*/ 1914 w 3602"/>
                <a:gd name="connsiteY16" fmla="*/ 9114 h 9704"/>
                <a:gd name="connsiteX17" fmla="*/ 1837 w 3602"/>
                <a:gd name="connsiteY17" fmla="*/ 9213 h 9704"/>
                <a:gd name="connsiteX18" fmla="*/ 1706 w 3602"/>
                <a:gd name="connsiteY18" fmla="*/ 8965 h 9704"/>
                <a:gd name="connsiteX19" fmla="*/ 1433 w 3602"/>
                <a:gd name="connsiteY19" fmla="*/ 8916 h 9704"/>
                <a:gd name="connsiteX20" fmla="*/ 1105 w 3602"/>
                <a:gd name="connsiteY20" fmla="*/ 8290 h 9704"/>
                <a:gd name="connsiteX21" fmla="*/ 1195 w 3602"/>
                <a:gd name="connsiteY21" fmla="*/ 8181 h 9704"/>
                <a:gd name="connsiteX22" fmla="*/ 1257 w 3602"/>
                <a:gd name="connsiteY22" fmla="*/ 7909 h 9704"/>
                <a:gd name="connsiteX23" fmla="*/ 1188 w 3602"/>
                <a:gd name="connsiteY23" fmla="*/ 7786 h 9704"/>
                <a:gd name="connsiteX24" fmla="*/ 1335 w 3602"/>
                <a:gd name="connsiteY24" fmla="*/ 7613 h 9704"/>
                <a:gd name="connsiteX25" fmla="*/ 1234 w 3602"/>
                <a:gd name="connsiteY25" fmla="*/ 7552 h 9704"/>
                <a:gd name="connsiteX26" fmla="*/ 1253 w 3602"/>
                <a:gd name="connsiteY26" fmla="*/ 7428 h 9704"/>
                <a:gd name="connsiteX27" fmla="*/ 1313 w 3602"/>
                <a:gd name="connsiteY27" fmla="*/ 7453 h 9704"/>
                <a:gd name="connsiteX28" fmla="*/ 1384 w 3602"/>
                <a:gd name="connsiteY28" fmla="*/ 7344 h 9704"/>
                <a:gd name="connsiteX29" fmla="*/ 1349 w 3602"/>
                <a:gd name="connsiteY29" fmla="*/ 7159 h 9704"/>
                <a:gd name="connsiteX30" fmla="*/ 1364 w 3602"/>
                <a:gd name="connsiteY30" fmla="*/ 6726 h 9704"/>
                <a:gd name="connsiteX31" fmla="*/ 1212 w 3602"/>
                <a:gd name="connsiteY31" fmla="*/ 6652 h 9704"/>
                <a:gd name="connsiteX32" fmla="*/ 1084 w 3602"/>
                <a:gd name="connsiteY32" fmla="*/ 6468 h 9704"/>
                <a:gd name="connsiteX33" fmla="*/ 916 w 3602"/>
                <a:gd name="connsiteY33" fmla="*/ 6455 h 9704"/>
                <a:gd name="connsiteX34" fmla="*/ 891 w 3602"/>
                <a:gd name="connsiteY34" fmla="*/ 6235 h 9704"/>
                <a:gd name="connsiteX35" fmla="*/ 780 w 3602"/>
                <a:gd name="connsiteY35" fmla="*/ 6062 h 9704"/>
                <a:gd name="connsiteX36" fmla="*/ 803 w 3602"/>
                <a:gd name="connsiteY36" fmla="*/ 5915 h 9704"/>
                <a:gd name="connsiteX37" fmla="*/ 733 w 3602"/>
                <a:gd name="connsiteY37" fmla="*/ 5768 h 9704"/>
                <a:gd name="connsiteX38" fmla="*/ 596 w 3602"/>
                <a:gd name="connsiteY38" fmla="*/ 5768 h 9704"/>
                <a:gd name="connsiteX39" fmla="*/ 556 w 3602"/>
                <a:gd name="connsiteY39" fmla="*/ 5878 h 9704"/>
                <a:gd name="connsiteX40" fmla="*/ 523 w 3602"/>
                <a:gd name="connsiteY40" fmla="*/ 5830 h 9704"/>
                <a:gd name="connsiteX41" fmla="*/ 494 w 3602"/>
                <a:gd name="connsiteY41" fmla="*/ 5459 h 9704"/>
                <a:gd name="connsiteX42" fmla="*/ 549 w 3602"/>
                <a:gd name="connsiteY42" fmla="*/ 5496 h 9704"/>
                <a:gd name="connsiteX43" fmla="*/ 609 w 3602"/>
                <a:gd name="connsiteY43" fmla="*/ 5350 h 9704"/>
                <a:gd name="connsiteX44" fmla="*/ 523 w 3602"/>
                <a:gd name="connsiteY44" fmla="*/ 5214 h 9704"/>
                <a:gd name="connsiteX45" fmla="*/ 412 w 3602"/>
                <a:gd name="connsiteY45" fmla="*/ 4956 h 9704"/>
                <a:gd name="connsiteX46" fmla="*/ 434 w 3602"/>
                <a:gd name="connsiteY46" fmla="*/ 4722 h 9704"/>
                <a:gd name="connsiteX47" fmla="*/ 356 w 3602"/>
                <a:gd name="connsiteY47" fmla="*/ 4576 h 9704"/>
                <a:gd name="connsiteX48" fmla="*/ 293 w 3602"/>
                <a:gd name="connsiteY48" fmla="*/ 4612 h 9704"/>
                <a:gd name="connsiteX49" fmla="*/ 262 w 3602"/>
                <a:gd name="connsiteY49" fmla="*/ 4464 h 9704"/>
                <a:gd name="connsiteX50" fmla="*/ 214 w 3602"/>
                <a:gd name="connsiteY50" fmla="*/ 4513 h 9704"/>
                <a:gd name="connsiteX51" fmla="*/ 151 w 3602"/>
                <a:gd name="connsiteY51" fmla="*/ 4464 h 9704"/>
                <a:gd name="connsiteX52" fmla="*/ 89 w 3602"/>
                <a:gd name="connsiteY52" fmla="*/ 3960 h 9704"/>
                <a:gd name="connsiteX53" fmla="*/ 112 w 3602"/>
                <a:gd name="connsiteY53" fmla="*/ 3812 h 9704"/>
                <a:gd name="connsiteX54" fmla="*/ 52 w 3602"/>
                <a:gd name="connsiteY54" fmla="*/ 3615 h 9704"/>
                <a:gd name="connsiteX55" fmla="*/ 85 w 3602"/>
                <a:gd name="connsiteY55" fmla="*/ 3333 h 9704"/>
                <a:gd name="connsiteX56" fmla="*/ 275 w 3602"/>
                <a:gd name="connsiteY56" fmla="*/ 3162 h 9704"/>
                <a:gd name="connsiteX57" fmla="*/ 169 w 3602"/>
                <a:gd name="connsiteY57" fmla="*/ 3036 h 9704"/>
                <a:gd name="connsiteX58" fmla="*/ 109 w 3602"/>
                <a:gd name="connsiteY58" fmla="*/ 2890 h 9704"/>
                <a:gd name="connsiteX59" fmla="*/ 267 w 3602"/>
                <a:gd name="connsiteY59" fmla="*/ 2448 h 9704"/>
                <a:gd name="connsiteX60" fmla="*/ 328 w 3602"/>
                <a:gd name="connsiteY60" fmla="*/ 2152 h 9704"/>
                <a:gd name="connsiteX61" fmla="*/ 198 w 3602"/>
                <a:gd name="connsiteY61" fmla="*/ 1942 h 9704"/>
                <a:gd name="connsiteX62" fmla="*/ 248 w 3602"/>
                <a:gd name="connsiteY62" fmla="*/ 1771 h 9704"/>
                <a:gd name="connsiteX63" fmla="*/ 146 w 3602"/>
                <a:gd name="connsiteY63" fmla="*/ 1538 h 9704"/>
                <a:gd name="connsiteX64" fmla="*/ 146 w 3602"/>
                <a:gd name="connsiteY64" fmla="*/ 1328 h 9704"/>
                <a:gd name="connsiteX65" fmla="*/ 79 w 3602"/>
                <a:gd name="connsiteY65" fmla="*/ 911 h 9704"/>
                <a:gd name="connsiteX66" fmla="*/ 129 w 3602"/>
                <a:gd name="connsiteY66" fmla="*/ 650 h 9704"/>
                <a:gd name="connsiteX67" fmla="*/ 49 w 3602"/>
                <a:gd name="connsiteY67" fmla="*/ 526 h 9704"/>
                <a:gd name="connsiteX68" fmla="*/ 0 w 3602"/>
                <a:gd name="connsiteY68" fmla="*/ 381 h 9704"/>
                <a:gd name="connsiteX69" fmla="*/ 71 w 3602"/>
                <a:gd name="connsiteY69" fmla="*/ 110 h 9704"/>
                <a:gd name="connsiteX70" fmla="*/ 155 w 3602"/>
                <a:gd name="connsiteY70" fmla="*/ 62 h 9704"/>
                <a:gd name="connsiteX71" fmla="*/ 255 w 3602"/>
                <a:gd name="connsiteY71" fmla="*/ 0 h 9704"/>
                <a:gd name="connsiteX72" fmla="*/ 404 w 3602"/>
                <a:gd name="connsiteY72" fmla="*/ 110 h 9704"/>
                <a:gd name="connsiteX73" fmla="*/ 627 w 3602"/>
                <a:gd name="connsiteY73" fmla="*/ 233 h 9704"/>
                <a:gd name="connsiteX74" fmla="*/ 826 w 3602"/>
                <a:gd name="connsiteY74" fmla="*/ 440 h 9704"/>
                <a:gd name="connsiteX75" fmla="*/ 987 w 3602"/>
                <a:gd name="connsiteY75" fmla="*/ 613 h 9704"/>
                <a:gd name="connsiteX76" fmla="*/ 948 w 3602"/>
                <a:gd name="connsiteY76" fmla="*/ 1095 h 9704"/>
                <a:gd name="connsiteX77" fmla="*/ 471 w 3602"/>
                <a:gd name="connsiteY77" fmla="*/ 972 h 9704"/>
                <a:gd name="connsiteX78" fmla="*/ 320 w 3602"/>
                <a:gd name="connsiteY78" fmla="*/ 825 h 9704"/>
                <a:gd name="connsiteX79" fmla="*/ 375 w 3602"/>
                <a:gd name="connsiteY79" fmla="*/ 911 h 9704"/>
                <a:gd name="connsiteX80" fmla="*/ 431 w 3602"/>
                <a:gd name="connsiteY80" fmla="*/ 1118 h 9704"/>
                <a:gd name="connsiteX81" fmla="*/ 523 w 3602"/>
                <a:gd name="connsiteY81" fmla="*/ 1267 h 9704"/>
                <a:gd name="connsiteX82" fmla="*/ 544 w 3602"/>
                <a:gd name="connsiteY82" fmla="*/ 1586 h 9704"/>
                <a:gd name="connsiteX83" fmla="*/ 663 w 3602"/>
                <a:gd name="connsiteY83" fmla="*/ 1734 h 9704"/>
                <a:gd name="connsiteX84" fmla="*/ 761 w 3602"/>
                <a:gd name="connsiteY84" fmla="*/ 1881 h 9704"/>
                <a:gd name="connsiteX85" fmla="*/ 790 w 3602"/>
                <a:gd name="connsiteY85" fmla="*/ 1918 h 9704"/>
                <a:gd name="connsiteX86" fmla="*/ 850 w 3602"/>
                <a:gd name="connsiteY86" fmla="*/ 1881 h 9704"/>
                <a:gd name="connsiteX87" fmla="*/ 826 w 3602"/>
                <a:gd name="connsiteY87" fmla="*/ 1795 h 9704"/>
                <a:gd name="connsiteX88" fmla="*/ 711 w 3602"/>
                <a:gd name="connsiteY88" fmla="*/ 1586 h 9704"/>
                <a:gd name="connsiteX89" fmla="*/ 1047 w 3602"/>
                <a:gd name="connsiteY89" fmla="*/ 1771 h 9704"/>
                <a:gd name="connsiteX90" fmla="*/ 1057 w 3602"/>
                <a:gd name="connsiteY90" fmla="*/ 1683 h 9704"/>
                <a:gd name="connsiteX91" fmla="*/ 1025 w 3602"/>
                <a:gd name="connsiteY91" fmla="*/ 1622 h 9704"/>
                <a:gd name="connsiteX92" fmla="*/ 966 w 3602"/>
                <a:gd name="connsiteY92" fmla="*/ 1353 h 9704"/>
                <a:gd name="connsiteX93" fmla="*/ 1134 w 3602"/>
                <a:gd name="connsiteY93" fmla="*/ 1095 h 9704"/>
                <a:gd name="connsiteX94" fmla="*/ 1266 w 3602"/>
                <a:gd name="connsiteY94" fmla="*/ 1267 h 9704"/>
                <a:gd name="connsiteX95" fmla="*/ 1304 w 3602"/>
                <a:gd name="connsiteY95" fmla="*/ 1033 h 9704"/>
                <a:gd name="connsiteX96" fmla="*/ 1242 w 3602"/>
                <a:gd name="connsiteY96" fmla="*/ 948 h 9704"/>
                <a:gd name="connsiteX97" fmla="*/ 1220 w 3602"/>
                <a:gd name="connsiteY97" fmla="*/ 503 h 9704"/>
                <a:gd name="connsiteX98" fmla="*/ 1195 w 3602"/>
                <a:gd name="connsiteY98" fmla="*/ 440 h 9704"/>
                <a:gd name="connsiteX99" fmla="*/ 1352 w 3602"/>
                <a:gd name="connsiteY99" fmla="*/ 466 h 9704"/>
                <a:gd name="connsiteX100" fmla="*/ 1420 w 3602"/>
                <a:gd name="connsiteY100" fmla="*/ 650 h 9704"/>
                <a:gd name="connsiteX101" fmla="*/ 1335 w 3602"/>
                <a:gd name="connsiteY101" fmla="*/ 799 h 9704"/>
                <a:gd name="connsiteX102" fmla="*/ 1481 w 3602"/>
                <a:gd name="connsiteY102" fmla="*/ 996 h 9704"/>
                <a:gd name="connsiteX103" fmla="*/ 1601 w 3602"/>
                <a:gd name="connsiteY103" fmla="*/ 799 h 9704"/>
                <a:gd name="connsiteX104" fmla="*/ 1750 w 3602"/>
                <a:gd name="connsiteY104" fmla="*/ 526 h 9704"/>
                <a:gd name="connsiteX105" fmla="*/ 1907 w 3602"/>
                <a:gd name="connsiteY105" fmla="*/ 356 h 9704"/>
                <a:gd name="connsiteX106" fmla="*/ 3602 w 3602"/>
                <a:gd name="connsiteY106" fmla="*/ 3242 h 9704"/>
                <a:gd name="connsiteX0" fmla="*/ 5838 w 6413"/>
                <a:gd name="connsiteY0" fmla="*/ 6540 h 10000"/>
                <a:gd name="connsiteX1" fmla="*/ 5999 w 6413"/>
                <a:gd name="connsiteY1" fmla="*/ 6843 h 10000"/>
                <a:gd name="connsiteX2" fmla="*/ 5816 w 6413"/>
                <a:gd name="connsiteY2" fmla="*/ 6843 h 10000"/>
                <a:gd name="connsiteX3" fmla="*/ 5619 w 6413"/>
                <a:gd name="connsiteY3" fmla="*/ 6628 h 10000"/>
                <a:gd name="connsiteX4" fmla="*/ 5478 w 6413"/>
                <a:gd name="connsiteY4" fmla="*/ 6843 h 10000"/>
                <a:gd name="connsiteX5" fmla="*/ 5508 w 6413"/>
                <a:gd name="connsiteY5" fmla="*/ 7365 h 10000"/>
                <a:gd name="connsiteX6" fmla="*/ 5816 w 6413"/>
                <a:gd name="connsiteY6" fmla="*/ 7630 h 10000"/>
                <a:gd name="connsiteX7" fmla="*/ 5977 w 6413"/>
                <a:gd name="connsiteY7" fmla="*/ 7568 h 10000"/>
                <a:gd name="connsiteX8" fmla="*/ 6316 w 6413"/>
                <a:gd name="connsiteY8" fmla="*/ 8150 h 10000"/>
                <a:gd name="connsiteX9" fmla="*/ 5838 w 6413"/>
                <a:gd name="connsiteY9" fmla="*/ 8365 h 10000"/>
                <a:gd name="connsiteX10" fmla="*/ 5783 w 6413"/>
                <a:gd name="connsiteY10" fmla="*/ 8783 h 10000"/>
                <a:gd name="connsiteX11" fmla="*/ 6033 w 6413"/>
                <a:gd name="connsiteY11" fmla="*/ 9062 h 10000"/>
                <a:gd name="connsiteX12" fmla="*/ 6033 w 6413"/>
                <a:gd name="connsiteY12" fmla="*/ 9367 h 10000"/>
                <a:gd name="connsiteX13" fmla="*/ 6413 w 6413"/>
                <a:gd name="connsiteY13" fmla="*/ 9797 h 10000"/>
                <a:gd name="connsiteX14" fmla="*/ 6177 w 6413"/>
                <a:gd name="connsiteY14" fmla="*/ 10000 h 10000"/>
                <a:gd name="connsiteX15" fmla="*/ 5816 w 6413"/>
                <a:gd name="connsiteY15" fmla="*/ 9697 h 10000"/>
                <a:gd name="connsiteX16" fmla="*/ 5314 w 6413"/>
                <a:gd name="connsiteY16" fmla="*/ 9392 h 10000"/>
                <a:gd name="connsiteX17" fmla="*/ 5100 w 6413"/>
                <a:gd name="connsiteY17" fmla="*/ 9494 h 10000"/>
                <a:gd name="connsiteX18" fmla="*/ 4736 w 6413"/>
                <a:gd name="connsiteY18" fmla="*/ 9238 h 10000"/>
                <a:gd name="connsiteX19" fmla="*/ 3978 w 6413"/>
                <a:gd name="connsiteY19" fmla="*/ 9188 h 10000"/>
                <a:gd name="connsiteX20" fmla="*/ 3068 w 6413"/>
                <a:gd name="connsiteY20" fmla="*/ 8543 h 10000"/>
                <a:gd name="connsiteX21" fmla="*/ 3318 w 6413"/>
                <a:gd name="connsiteY21" fmla="*/ 8431 h 10000"/>
                <a:gd name="connsiteX22" fmla="*/ 3490 w 6413"/>
                <a:gd name="connsiteY22" fmla="*/ 8150 h 10000"/>
                <a:gd name="connsiteX23" fmla="*/ 3298 w 6413"/>
                <a:gd name="connsiteY23" fmla="*/ 8023 h 10000"/>
                <a:gd name="connsiteX24" fmla="*/ 3706 w 6413"/>
                <a:gd name="connsiteY24" fmla="*/ 7845 h 10000"/>
                <a:gd name="connsiteX25" fmla="*/ 3426 w 6413"/>
                <a:gd name="connsiteY25" fmla="*/ 7782 h 10000"/>
                <a:gd name="connsiteX26" fmla="*/ 3479 w 6413"/>
                <a:gd name="connsiteY26" fmla="*/ 7655 h 10000"/>
                <a:gd name="connsiteX27" fmla="*/ 3645 w 6413"/>
                <a:gd name="connsiteY27" fmla="*/ 7680 h 10000"/>
                <a:gd name="connsiteX28" fmla="*/ 3842 w 6413"/>
                <a:gd name="connsiteY28" fmla="*/ 7568 h 10000"/>
                <a:gd name="connsiteX29" fmla="*/ 3745 w 6413"/>
                <a:gd name="connsiteY29" fmla="*/ 7377 h 10000"/>
                <a:gd name="connsiteX30" fmla="*/ 3787 w 6413"/>
                <a:gd name="connsiteY30" fmla="*/ 6931 h 10000"/>
                <a:gd name="connsiteX31" fmla="*/ 3365 w 6413"/>
                <a:gd name="connsiteY31" fmla="*/ 6855 h 10000"/>
                <a:gd name="connsiteX32" fmla="*/ 3009 w 6413"/>
                <a:gd name="connsiteY32" fmla="*/ 6665 h 10000"/>
                <a:gd name="connsiteX33" fmla="*/ 2543 w 6413"/>
                <a:gd name="connsiteY33" fmla="*/ 6652 h 10000"/>
                <a:gd name="connsiteX34" fmla="*/ 2474 w 6413"/>
                <a:gd name="connsiteY34" fmla="*/ 6425 h 10000"/>
                <a:gd name="connsiteX35" fmla="*/ 2165 w 6413"/>
                <a:gd name="connsiteY35" fmla="*/ 6247 h 10000"/>
                <a:gd name="connsiteX36" fmla="*/ 2229 w 6413"/>
                <a:gd name="connsiteY36" fmla="*/ 6095 h 10000"/>
                <a:gd name="connsiteX37" fmla="*/ 2035 w 6413"/>
                <a:gd name="connsiteY37" fmla="*/ 5944 h 10000"/>
                <a:gd name="connsiteX38" fmla="*/ 1655 w 6413"/>
                <a:gd name="connsiteY38" fmla="*/ 5944 h 10000"/>
                <a:gd name="connsiteX39" fmla="*/ 1544 w 6413"/>
                <a:gd name="connsiteY39" fmla="*/ 6057 h 10000"/>
                <a:gd name="connsiteX40" fmla="*/ 1452 w 6413"/>
                <a:gd name="connsiteY40" fmla="*/ 6008 h 10000"/>
                <a:gd name="connsiteX41" fmla="*/ 1371 w 6413"/>
                <a:gd name="connsiteY41" fmla="*/ 5626 h 10000"/>
                <a:gd name="connsiteX42" fmla="*/ 1524 w 6413"/>
                <a:gd name="connsiteY42" fmla="*/ 5664 h 10000"/>
                <a:gd name="connsiteX43" fmla="*/ 1691 w 6413"/>
                <a:gd name="connsiteY43" fmla="*/ 5513 h 10000"/>
                <a:gd name="connsiteX44" fmla="*/ 1452 w 6413"/>
                <a:gd name="connsiteY44" fmla="*/ 5373 h 10000"/>
                <a:gd name="connsiteX45" fmla="*/ 1144 w 6413"/>
                <a:gd name="connsiteY45" fmla="*/ 5107 h 10000"/>
                <a:gd name="connsiteX46" fmla="*/ 1205 w 6413"/>
                <a:gd name="connsiteY46" fmla="*/ 4866 h 10000"/>
                <a:gd name="connsiteX47" fmla="*/ 988 w 6413"/>
                <a:gd name="connsiteY47" fmla="*/ 4716 h 10000"/>
                <a:gd name="connsiteX48" fmla="*/ 813 w 6413"/>
                <a:gd name="connsiteY48" fmla="*/ 4753 h 10000"/>
                <a:gd name="connsiteX49" fmla="*/ 727 w 6413"/>
                <a:gd name="connsiteY49" fmla="*/ 4600 h 10000"/>
                <a:gd name="connsiteX50" fmla="*/ 594 w 6413"/>
                <a:gd name="connsiteY50" fmla="*/ 4651 h 10000"/>
                <a:gd name="connsiteX51" fmla="*/ 419 w 6413"/>
                <a:gd name="connsiteY51" fmla="*/ 4600 h 10000"/>
                <a:gd name="connsiteX52" fmla="*/ 247 w 6413"/>
                <a:gd name="connsiteY52" fmla="*/ 4081 h 10000"/>
                <a:gd name="connsiteX53" fmla="*/ 311 w 6413"/>
                <a:gd name="connsiteY53" fmla="*/ 3928 h 10000"/>
                <a:gd name="connsiteX54" fmla="*/ 144 w 6413"/>
                <a:gd name="connsiteY54" fmla="*/ 3725 h 10000"/>
                <a:gd name="connsiteX55" fmla="*/ 236 w 6413"/>
                <a:gd name="connsiteY55" fmla="*/ 3435 h 10000"/>
                <a:gd name="connsiteX56" fmla="*/ 763 w 6413"/>
                <a:gd name="connsiteY56" fmla="*/ 3258 h 10000"/>
                <a:gd name="connsiteX57" fmla="*/ 469 w 6413"/>
                <a:gd name="connsiteY57" fmla="*/ 3129 h 10000"/>
                <a:gd name="connsiteX58" fmla="*/ 303 w 6413"/>
                <a:gd name="connsiteY58" fmla="*/ 2978 h 10000"/>
                <a:gd name="connsiteX59" fmla="*/ 741 w 6413"/>
                <a:gd name="connsiteY59" fmla="*/ 2523 h 10000"/>
                <a:gd name="connsiteX60" fmla="*/ 911 w 6413"/>
                <a:gd name="connsiteY60" fmla="*/ 2218 h 10000"/>
                <a:gd name="connsiteX61" fmla="*/ 550 w 6413"/>
                <a:gd name="connsiteY61" fmla="*/ 2001 h 10000"/>
                <a:gd name="connsiteX62" fmla="*/ 689 w 6413"/>
                <a:gd name="connsiteY62" fmla="*/ 1825 h 10000"/>
                <a:gd name="connsiteX63" fmla="*/ 405 w 6413"/>
                <a:gd name="connsiteY63" fmla="*/ 1585 h 10000"/>
                <a:gd name="connsiteX64" fmla="*/ 405 w 6413"/>
                <a:gd name="connsiteY64" fmla="*/ 1369 h 10000"/>
                <a:gd name="connsiteX65" fmla="*/ 219 w 6413"/>
                <a:gd name="connsiteY65" fmla="*/ 939 h 10000"/>
                <a:gd name="connsiteX66" fmla="*/ 358 w 6413"/>
                <a:gd name="connsiteY66" fmla="*/ 670 h 10000"/>
                <a:gd name="connsiteX67" fmla="*/ 136 w 6413"/>
                <a:gd name="connsiteY67" fmla="*/ 542 h 10000"/>
                <a:gd name="connsiteX68" fmla="*/ 0 w 6413"/>
                <a:gd name="connsiteY68" fmla="*/ 393 h 10000"/>
                <a:gd name="connsiteX69" fmla="*/ 197 w 6413"/>
                <a:gd name="connsiteY69" fmla="*/ 113 h 10000"/>
                <a:gd name="connsiteX70" fmla="*/ 430 w 6413"/>
                <a:gd name="connsiteY70" fmla="*/ 64 h 10000"/>
                <a:gd name="connsiteX71" fmla="*/ 708 w 6413"/>
                <a:gd name="connsiteY71" fmla="*/ 0 h 10000"/>
                <a:gd name="connsiteX72" fmla="*/ 1122 w 6413"/>
                <a:gd name="connsiteY72" fmla="*/ 113 h 10000"/>
                <a:gd name="connsiteX73" fmla="*/ 1741 w 6413"/>
                <a:gd name="connsiteY73" fmla="*/ 240 h 10000"/>
                <a:gd name="connsiteX74" fmla="*/ 2293 w 6413"/>
                <a:gd name="connsiteY74" fmla="*/ 453 h 10000"/>
                <a:gd name="connsiteX75" fmla="*/ 2740 w 6413"/>
                <a:gd name="connsiteY75" fmla="*/ 632 h 10000"/>
                <a:gd name="connsiteX76" fmla="*/ 2632 w 6413"/>
                <a:gd name="connsiteY76" fmla="*/ 1128 h 10000"/>
                <a:gd name="connsiteX77" fmla="*/ 1308 w 6413"/>
                <a:gd name="connsiteY77" fmla="*/ 1002 h 10000"/>
                <a:gd name="connsiteX78" fmla="*/ 888 w 6413"/>
                <a:gd name="connsiteY78" fmla="*/ 850 h 10000"/>
                <a:gd name="connsiteX79" fmla="*/ 1041 w 6413"/>
                <a:gd name="connsiteY79" fmla="*/ 939 h 10000"/>
                <a:gd name="connsiteX80" fmla="*/ 1197 w 6413"/>
                <a:gd name="connsiteY80" fmla="*/ 1152 h 10000"/>
                <a:gd name="connsiteX81" fmla="*/ 1452 w 6413"/>
                <a:gd name="connsiteY81" fmla="*/ 1306 h 10000"/>
                <a:gd name="connsiteX82" fmla="*/ 1510 w 6413"/>
                <a:gd name="connsiteY82" fmla="*/ 1634 h 10000"/>
                <a:gd name="connsiteX83" fmla="*/ 1841 w 6413"/>
                <a:gd name="connsiteY83" fmla="*/ 1787 h 10000"/>
                <a:gd name="connsiteX84" fmla="*/ 2113 w 6413"/>
                <a:gd name="connsiteY84" fmla="*/ 1938 h 10000"/>
                <a:gd name="connsiteX85" fmla="*/ 2193 w 6413"/>
                <a:gd name="connsiteY85" fmla="*/ 1977 h 10000"/>
                <a:gd name="connsiteX86" fmla="*/ 2360 w 6413"/>
                <a:gd name="connsiteY86" fmla="*/ 1938 h 10000"/>
                <a:gd name="connsiteX87" fmla="*/ 2293 w 6413"/>
                <a:gd name="connsiteY87" fmla="*/ 1850 h 10000"/>
                <a:gd name="connsiteX88" fmla="*/ 1974 w 6413"/>
                <a:gd name="connsiteY88" fmla="*/ 1634 h 10000"/>
                <a:gd name="connsiteX89" fmla="*/ 2907 w 6413"/>
                <a:gd name="connsiteY89" fmla="*/ 1825 h 10000"/>
                <a:gd name="connsiteX90" fmla="*/ 2934 w 6413"/>
                <a:gd name="connsiteY90" fmla="*/ 1734 h 10000"/>
                <a:gd name="connsiteX91" fmla="*/ 2846 w 6413"/>
                <a:gd name="connsiteY91" fmla="*/ 1671 h 10000"/>
                <a:gd name="connsiteX92" fmla="*/ 2682 w 6413"/>
                <a:gd name="connsiteY92" fmla="*/ 1394 h 10000"/>
                <a:gd name="connsiteX93" fmla="*/ 3148 w 6413"/>
                <a:gd name="connsiteY93" fmla="*/ 1128 h 10000"/>
                <a:gd name="connsiteX94" fmla="*/ 3515 w 6413"/>
                <a:gd name="connsiteY94" fmla="*/ 1306 h 10000"/>
                <a:gd name="connsiteX95" fmla="*/ 3620 w 6413"/>
                <a:gd name="connsiteY95" fmla="*/ 1065 h 10000"/>
                <a:gd name="connsiteX96" fmla="*/ 3448 w 6413"/>
                <a:gd name="connsiteY96" fmla="*/ 977 h 10000"/>
                <a:gd name="connsiteX97" fmla="*/ 3387 w 6413"/>
                <a:gd name="connsiteY97" fmla="*/ 518 h 10000"/>
                <a:gd name="connsiteX98" fmla="*/ 3318 w 6413"/>
                <a:gd name="connsiteY98" fmla="*/ 453 h 10000"/>
                <a:gd name="connsiteX99" fmla="*/ 3753 w 6413"/>
                <a:gd name="connsiteY99" fmla="*/ 480 h 10000"/>
                <a:gd name="connsiteX100" fmla="*/ 3942 w 6413"/>
                <a:gd name="connsiteY100" fmla="*/ 670 h 10000"/>
                <a:gd name="connsiteX101" fmla="*/ 3706 w 6413"/>
                <a:gd name="connsiteY101" fmla="*/ 823 h 10000"/>
                <a:gd name="connsiteX102" fmla="*/ 4112 w 6413"/>
                <a:gd name="connsiteY102" fmla="*/ 1026 h 10000"/>
                <a:gd name="connsiteX103" fmla="*/ 4445 w 6413"/>
                <a:gd name="connsiteY103" fmla="*/ 823 h 10000"/>
                <a:gd name="connsiteX104" fmla="*/ 4858 w 6413"/>
                <a:gd name="connsiteY104" fmla="*/ 542 h 10000"/>
                <a:gd name="connsiteX105" fmla="*/ 5294 w 6413"/>
                <a:gd name="connsiteY105" fmla="*/ 367 h 10000"/>
                <a:gd name="connsiteX0" fmla="*/ 9103 w 10000"/>
                <a:gd name="connsiteY0" fmla="*/ 6540 h 10000"/>
                <a:gd name="connsiteX1" fmla="*/ 9354 w 10000"/>
                <a:gd name="connsiteY1" fmla="*/ 6843 h 10000"/>
                <a:gd name="connsiteX2" fmla="*/ 9069 w 10000"/>
                <a:gd name="connsiteY2" fmla="*/ 6843 h 10000"/>
                <a:gd name="connsiteX3" fmla="*/ 8762 w 10000"/>
                <a:gd name="connsiteY3" fmla="*/ 6628 h 10000"/>
                <a:gd name="connsiteX4" fmla="*/ 8542 w 10000"/>
                <a:gd name="connsiteY4" fmla="*/ 6843 h 10000"/>
                <a:gd name="connsiteX5" fmla="*/ 8589 w 10000"/>
                <a:gd name="connsiteY5" fmla="*/ 7365 h 10000"/>
                <a:gd name="connsiteX6" fmla="*/ 9069 w 10000"/>
                <a:gd name="connsiteY6" fmla="*/ 7630 h 10000"/>
                <a:gd name="connsiteX7" fmla="*/ 9320 w 10000"/>
                <a:gd name="connsiteY7" fmla="*/ 7568 h 10000"/>
                <a:gd name="connsiteX8" fmla="*/ 9849 w 10000"/>
                <a:gd name="connsiteY8" fmla="*/ 8150 h 10000"/>
                <a:gd name="connsiteX9" fmla="*/ 9103 w 10000"/>
                <a:gd name="connsiteY9" fmla="*/ 8365 h 10000"/>
                <a:gd name="connsiteX10" fmla="*/ 9018 w 10000"/>
                <a:gd name="connsiteY10" fmla="*/ 8783 h 10000"/>
                <a:gd name="connsiteX11" fmla="*/ 9407 w 10000"/>
                <a:gd name="connsiteY11" fmla="*/ 9062 h 10000"/>
                <a:gd name="connsiteX12" fmla="*/ 9407 w 10000"/>
                <a:gd name="connsiteY12" fmla="*/ 9367 h 10000"/>
                <a:gd name="connsiteX13" fmla="*/ 10000 w 10000"/>
                <a:gd name="connsiteY13" fmla="*/ 9797 h 10000"/>
                <a:gd name="connsiteX14" fmla="*/ 9632 w 10000"/>
                <a:gd name="connsiteY14" fmla="*/ 10000 h 10000"/>
                <a:gd name="connsiteX15" fmla="*/ 9069 w 10000"/>
                <a:gd name="connsiteY15" fmla="*/ 9697 h 10000"/>
                <a:gd name="connsiteX16" fmla="*/ 8286 w 10000"/>
                <a:gd name="connsiteY16" fmla="*/ 9392 h 10000"/>
                <a:gd name="connsiteX17" fmla="*/ 7953 w 10000"/>
                <a:gd name="connsiteY17" fmla="*/ 9494 h 10000"/>
                <a:gd name="connsiteX18" fmla="*/ 7385 w 10000"/>
                <a:gd name="connsiteY18" fmla="*/ 9238 h 10000"/>
                <a:gd name="connsiteX19" fmla="*/ 6203 w 10000"/>
                <a:gd name="connsiteY19" fmla="*/ 9188 h 10000"/>
                <a:gd name="connsiteX20" fmla="*/ 4784 w 10000"/>
                <a:gd name="connsiteY20" fmla="*/ 8543 h 10000"/>
                <a:gd name="connsiteX21" fmla="*/ 5174 w 10000"/>
                <a:gd name="connsiteY21" fmla="*/ 8431 h 10000"/>
                <a:gd name="connsiteX22" fmla="*/ 5442 w 10000"/>
                <a:gd name="connsiteY22" fmla="*/ 8150 h 10000"/>
                <a:gd name="connsiteX23" fmla="*/ 5143 w 10000"/>
                <a:gd name="connsiteY23" fmla="*/ 8023 h 10000"/>
                <a:gd name="connsiteX24" fmla="*/ 5779 w 10000"/>
                <a:gd name="connsiteY24" fmla="*/ 7845 h 10000"/>
                <a:gd name="connsiteX25" fmla="*/ 5342 w 10000"/>
                <a:gd name="connsiteY25" fmla="*/ 7782 h 10000"/>
                <a:gd name="connsiteX26" fmla="*/ 5425 w 10000"/>
                <a:gd name="connsiteY26" fmla="*/ 7655 h 10000"/>
                <a:gd name="connsiteX27" fmla="*/ 5684 w 10000"/>
                <a:gd name="connsiteY27" fmla="*/ 7680 h 10000"/>
                <a:gd name="connsiteX28" fmla="*/ 5991 w 10000"/>
                <a:gd name="connsiteY28" fmla="*/ 7568 h 10000"/>
                <a:gd name="connsiteX29" fmla="*/ 5840 w 10000"/>
                <a:gd name="connsiteY29" fmla="*/ 7377 h 10000"/>
                <a:gd name="connsiteX30" fmla="*/ 5905 w 10000"/>
                <a:gd name="connsiteY30" fmla="*/ 6931 h 10000"/>
                <a:gd name="connsiteX31" fmla="*/ 5247 w 10000"/>
                <a:gd name="connsiteY31" fmla="*/ 6855 h 10000"/>
                <a:gd name="connsiteX32" fmla="*/ 4692 w 10000"/>
                <a:gd name="connsiteY32" fmla="*/ 6665 h 10000"/>
                <a:gd name="connsiteX33" fmla="*/ 3965 w 10000"/>
                <a:gd name="connsiteY33" fmla="*/ 6652 h 10000"/>
                <a:gd name="connsiteX34" fmla="*/ 3858 w 10000"/>
                <a:gd name="connsiteY34" fmla="*/ 6425 h 10000"/>
                <a:gd name="connsiteX35" fmla="*/ 3376 w 10000"/>
                <a:gd name="connsiteY35" fmla="*/ 6247 h 10000"/>
                <a:gd name="connsiteX36" fmla="*/ 3476 w 10000"/>
                <a:gd name="connsiteY36" fmla="*/ 6095 h 10000"/>
                <a:gd name="connsiteX37" fmla="*/ 3173 w 10000"/>
                <a:gd name="connsiteY37" fmla="*/ 5944 h 10000"/>
                <a:gd name="connsiteX38" fmla="*/ 2581 w 10000"/>
                <a:gd name="connsiteY38" fmla="*/ 5944 h 10000"/>
                <a:gd name="connsiteX39" fmla="*/ 2408 w 10000"/>
                <a:gd name="connsiteY39" fmla="*/ 6057 h 10000"/>
                <a:gd name="connsiteX40" fmla="*/ 2264 w 10000"/>
                <a:gd name="connsiteY40" fmla="*/ 6008 h 10000"/>
                <a:gd name="connsiteX41" fmla="*/ 2138 w 10000"/>
                <a:gd name="connsiteY41" fmla="*/ 5626 h 10000"/>
                <a:gd name="connsiteX42" fmla="*/ 2376 w 10000"/>
                <a:gd name="connsiteY42" fmla="*/ 5664 h 10000"/>
                <a:gd name="connsiteX43" fmla="*/ 2637 w 10000"/>
                <a:gd name="connsiteY43" fmla="*/ 5513 h 10000"/>
                <a:gd name="connsiteX44" fmla="*/ 2264 w 10000"/>
                <a:gd name="connsiteY44" fmla="*/ 5373 h 10000"/>
                <a:gd name="connsiteX45" fmla="*/ 1784 w 10000"/>
                <a:gd name="connsiteY45" fmla="*/ 5107 h 10000"/>
                <a:gd name="connsiteX46" fmla="*/ 1879 w 10000"/>
                <a:gd name="connsiteY46" fmla="*/ 4866 h 10000"/>
                <a:gd name="connsiteX47" fmla="*/ 1541 w 10000"/>
                <a:gd name="connsiteY47" fmla="*/ 4716 h 10000"/>
                <a:gd name="connsiteX48" fmla="*/ 1268 w 10000"/>
                <a:gd name="connsiteY48" fmla="*/ 4753 h 10000"/>
                <a:gd name="connsiteX49" fmla="*/ 1134 w 10000"/>
                <a:gd name="connsiteY49" fmla="*/ 4600 h 10000"/>
                <a:gd name="connsiteX50" fmla="*/ 926 w 10000"/>
                <a:gd name="connsiteY50" fmla="*/ 4651 h 10000"/>
                <a:gd name="connsiteX51" fmla="*/ 653 w 10000"/>
                <a:gd name="connsiteY51" fmla="*/ 4600 h 10000"/>
                <a:gd name="connsiteX52" fmla="*/ 385 w 10000"/>
                <a:gd name="connsiteY52" fmla="*/ 4081 h 10000"/>
                <a:gd name="connsiteX53" fmla="*/ 485 w 10000"/>
                <a:gd name="connsiteY53" fmla="*/ 3928 h 10000"/>
                <a:gd name="connsiteX54" fmla="*/ 225 w 10000"/>
                <a:gd name="connsiteY54" fmla="*/ 3725 h 10000"/>
                <a:gd name="connsiteX55" fmla="*/ 368 w 10000"/>
                <a:gd name="connsiteY55" fmla="*/ 3435 h 10000"/>
                <a:gd name="connsiteX56" fmla="*/ 1190 w 10000"/>
                <a:gd name="connsiteY56" fmla="*/ 3258 h 10000"/>
                <a:gd name="connsiteX57" fmla="*/ 731 w 10000"/>
                <a:gd name="connsiteY57" fmla="*/ 3129 h 10000"/>
                <a:gd name="connsiteX58" fmla="*/ 472 w 10000"/>
                <a:gd name="connsiteY58" fmla="*/ 2978 h 10000"/>
                <a:gd name="connsiteX59" fmla="*/ 1155 w 10000"/>
                <a:gd name="connsiteY59" fmla="*/ 2523 h 10000"/>
                <a:gd name="connsiteX60" fmla="*/ 1421 w 10000"/>
                <a:gd name="connsiteY60" fmla="*/ 2218 h 10000"/>
                <a:gd name="connsiteX61" fmla="*/ 858 w 10000"/>
                <a:gd name="connsiteY61" fmla="*/ 2001 h 10000"/>
                <a:gd name="connsiteX62" fmla="*/ 1074 w 10000"/>
                <a:gd name="connsiteY62" fmla="*/ 1825 h 10000"/>
                <a:gd name="connsiteX63" fmla="*/ 632 w 10000"/>
                <a:gd name="connsiteY63" fmla="*/ 1585 h 10000"/>
                <a:gd name="connsiteX64" fmla="*/ 632 w 10000"/>
                <a:gd name="connsiteY64" fmla="*/ 1369 h 10000"/>
                <a:gd name="connsiteX65" fmla="*/ 341 w 10000"/>
                <a:gd name="connsiteY65" fmla="*/ 939 h 10000"/>
                <a:gd name="connsiteX66" fmla="*/ 558 w 10000"/>
                <a:gd name="connsiteY66" fmla="*/ 670 h 10000"/>
                <a:gd name="connsiteX67" fmla="*/ 212 w 10000"/>
                <a:gd name="connsiteY67" fmla="*/ 542 h 10000"/>
                <a:gd name="connsiteX68" fmla="*/ 0 w 10000"/>
                <a:gd name="connsiteY68" fmla="*/ 393 h 10000"/>
                <a:gd name="connsiteX69" fmla="*/ 307 w 10000"/>
                <a:gd name="connsiteY69" fmla="*/ 113 h 10000"/>
                <a:gd name="connsiteX70" fmla="*/ 671 w 10000"/>
                <a:gd name="connsiteY70" fmla="*/ 64 h 10000"/>
                <a:gd name="connsiteX71" fmla="*/ 1104 w 10000"/>
                <a:gd name="connsiteY71" fmla="*/ 0 h 10000"/>
                <a:gd name="connsiteX72" fmla="*/ 1750 w 10000"/>
                <a:gd name="connsiteY72" fmla="*/ 113 h 10000"/>
                <a:gd name="connsiteX73" fmla="*/ 2715 w 10000"/>
                <a:gd name="connsiteY73" fmla="*/ 240 h 10000"/>
                <a:gd name="connsiteX74" fmla="*/ 3576 w 10000"/>
                <a:gd name="connsiteY74" fmla="*/ 453 h 10000"/>
                <a:gd name="connsiteX75" fmla="*/ 4273 w 10000"/>
                <a:gd name="connsiteY75" fmla="*/ 632 h 10000"/>
                <a:gd name="connsiteX76" fmla="*/ 4104 w 10000"/>
                <a:gd name="connsiteY76" fmla="*/ 1128 h 10000"/>
                <a:gd name="connsiteX77" fmla="*/ 2040 w 10000"/>
                <a:gd name="connsiteY77" fmla="*/ 1002 h 10000"/>
                <a:gd name="connsiteX78" fmla="*/ 1385 w 10000"/>
                <a:gd name="connsiteY78" fmla="*/ 850 h 10000"/>
                <a:gd name="connsiteX79" fmla="*/ 1623 w 10000"/>
                <a:gd name="connsiteY79" fmla="*/ 939 h 10000"/>
                <a:gd name="connsiteX80" fmla="*/ 1867 w 10000"/>
                <a:gd name="connsiteY80" fmla="*/ 1152 h 10000"/>
                <a:gd name="connsiteX81" fmla="*/ 2264 w 10000"/>
                <a:gd name="connsiteY81" fmla="*/ 1306 h 10000"/>
                <a:gd name="connsiteX82" fmla="*/ 2355 w 10000"/>
                <a:gd name="connsiteY82" fmla="*/ 1634 h 10000"/>
                <a:gd name="connsiteX83" fmla="*/ 2871 w 10000"/>
                <a:gd name="connsiteY83" fmla="*/ 1787 h 10000"/>
                <a:gd name="connsiteX84" fmla="*/ 3295 w 10000"/>
                <a:gd name="connsiteY84" fmla="*/ 1938 h 10000"/>
                <a:gd name="connsiteX85" fmla="*/ 3420 w 10000"/>
                <a:gd name="connsiteY85" fmla="*/ 1977 h 10000"/>
                <a:gd name="connsiteX86" fmla="*/ 3680 w 10000"/>
                <a:gd name="connsiteY86" fmla="*/ 1938 h 10000"/>
                <a:gd name="connsiteX87" fmla="*/ 3576 w 10000"/>
                <a:gd name="connsiteY87" fmla="*/ 1850 h 10000"/>
                <a:gd name="connsiteX88" fmla="*/ 3078 w 10000"/>
                <a:gd name="connsiteY88" fmla="*/ 1634 h 10000"/>
                <a:gd name="connsiteX89" fmla="*/ 4533 w 10000"/>
                <a:gd name="connsiteY89" fmla="*/ 1825 h 10000"/>
                <a:gd name="connsiteX90" fmla="*/ 4575 w 10000"/>
                <a:gd name="connsiteY90" fmla="*/ 1734 h 10000"/>
                <a:gd name="connsiteX91" fmla="*/ 4438 w 10000"/>
                <a:gd name="connsiteY91" fmla="*/ 1671 h 10000"/>
                <a:gd name="connsiteX92" fmla="*/ 4182 w 10000"/>
                <a:gd name="connsiteY92" fmla="*/ 1394 h 10000"/>
                <a:gd name="connsiteX93" fmla="*/ 4909 w 10000"/>
                <a:gd name="connsiteY93" fmla="*/ 1128 h 10000"/>
                <a:gd name="connsiteX94" fmla="*/ 5481 w 10000"/>
                <a:gd name="connsiteY94" fmla="*/ 1306 h 10000"/>
                <a:gd name="connsiteX95" fmla="*/ 5645 w 10000"/>
                <a:gd name="connsiteY95" fmla="*/ 1065 h 10000"/>
                <a:gd name="connsiteX96" fmla="*/ 5377 w 10000"/>
                <a:gd name="connsiteY96" fmla="*/ 977 h 10000"/>
                <a:gd name="connsiteX97" fmla="*/ 5281 w 10000"/>
                <a:gd name="connsiteY97" fmla="*/ 518 h 10000"/>
                <a:gd name="connsiteX98" fmla="*/ 5174 w 10000"/>
                <a:gd name="connsiteY98" fmla="*/ 453 h 10000"/>
                <a:gd name="connsiteX99" fmla="*/ 5852 w 10000"/>
                <a:gd name="connsiteY99" fmla="*/ 480 h 10000"/>
                <a:gd name="connsiteX100" fmla="*/ 6147 w 10000"/>
                <a:gd name="connsiteY100" fmla="*/ 670 h 10000"/>
                <a:gd name="connsiteX101" fmla="*/ 5779 w 10000"/>
                <a:gd name="connsiteY101" fmla="*/ 823 h 10000"/>
                <a:gd name="connsiteX102" fmla="*/ 6412 w 10000"/>
                <a:gd name="connsiteY102" fmla="*/ 1026 h 10000"/>
                <a:gd name="connsiteX103" fmla="*/ 6931 w 10000"/>
                <a:gd name="connsiteY103" fmla="*/ 823 h 10000"/>
                <a:gd name="connsiteX104" fmla="*/ 7575 w 10000"/>
                <a:gd name="connsiteY104" fmla="*/ 542 h 10000"/>
                <a:gd name="connsiteX105" fmla="*/ 9552 w 10000"/>
                <a:gd name="connsiteY105" fmla="*/ 367 h 10000"/>
                <a:gd name="connsiteX0" fmla="*/ 9103 w 10000"/>
                <a:gd name="connsiteY0" fmla="*/ 6540 h 10000"/>
                <a:gd name="connsiteX1" fmla="*/ 9354 w 10000"/>
                <a:gd name="connsiteY1" fmla="*/ 6843 h 10000"/>
                <a:gd name="connsiteX2" fmla="*/ 9069 w 10000"/>
                <a:gd name="connsiteY2" fmla="*/ 6843 h 10000"/>
                <a:gd name="connsiteX3" fmla="*/ 8762 w 10000"/>
                <a:gd name="connsiteY3" fmla="*/ 6628 h 10000"/>
                <a:gd name="connsiteX4" fmla="*/ 8542 w 10000"/>
                <a:gd name="connsiteY4" fmla="*/ 6843 h 10000"/>
                <a:gd name="connsiteX5" fmla="*/ 8589 w 10000"/>
                <a:gd name="connsiteY5" fmla="*/ 7365 h 10000"/>
                <a:gd name="connsiteX6" fmla="*/ 9069 w 10000"/>
                <a:gd name="connsiteY6" fmla="*/ 7630 h 10000"/>
                <a:gd name="connsiteX7" fmla="*/ 9320 w 10000"/>
                <a:gd name="connsiteY7" fmla="*/ 7568 h 10000"/>
                <a:gd name="connsiteX8" fmla="*/ 9849 w 10000"/>
                <a:gd name="connsiteY8" fmla="*/ 8150 h 10000"/>
                <a:gd name="connsiteX9" fmla="*/ 9103 w 10000"/>
                <a:gd name="connsiteY9" fmla="*/ 8365 h 10000"/>
                <a:gd name="connsiteX10" fmla="*/ 9018 w 10000"/>
                <a:gd name="connsiteY10" fmla="*/ 8783 h 10000"/>
                <a:gd name="connsiteX11" fmla="*/ 9407 w 10000"/>
                <a:gd name="connsiteY11" fmla="*/ 9062 h 10000"/>
                <a:gd name="connsiteX12" fmla="*/ 9407 w 10000"/>
                <a:gd name="connsiteY12" fmla="*/ 9367 h 10000"/>
                <a:gd name="connsiteX13" fmla="*/ 10000 w 10000"/>
                <a:gd name="connsiteY13" fmla="*/ 9797 h 10000"/>
                <a:gd name="connsiteX14" fmla="*/ 9632 w 10000"/>
                <a:gd name="connsiteY14" fmla="*/ 10000 h 10000"/>
                <a:gd name="connsiteX15" fmla="*/ 9069 w 10000"/>
                <a:gd name="connsiteY15" fmla="*/ 9697 h 10000"/>
                <a:gd name="connsiteX16" fmla="*/ 8286 w 10000"/>
                <a:gd name="connsiteY16" fmla="*/ 9392 h 10000"/>
                <a:gd name="connsiteX17" fmla="*/ 7953 w 10000"/>
                <a:gd name="connsiteY17" fmla="*/ 9494 h 10000"/>
                <a:gd name="connsiteX18" fmla="*/ 7385 w 10000"/>
                <a:gd name="connsiteY18" fmla="*/ 9238 h 10000"/>
                <a:gd name="connsiteX19" fmla="*/ 6203 w 10000"/>
                <a:gd name="connsiteY19" fmla="*/ 9188 h 10000"/>
                <a:gd name="connsiteX20" fmla="*/ 4784 w 10000"/>
                <a:gd name="connsiteY20" fmla="*/ 8543 h 10000"/>
                <a:gd name="connsiteX21" fmla="*/ 5174 w 10000"/>
                <a:gd name="connsiteY21" fmla="*/ 8431 h 10000"/>
                <a:gd name="connsiteX22" fmla="*/ 5442 w 10000"/>
                <a:gd name="connsiteY22" fmla="*/ 8150 h 10000"/>
                <a:gd name="connsiteX23" fmla="*/ 5143 w 10000"/>
                <a:gd name="connsiteY23" fmla="*/ 8023 h 10000"/>
                <a:gd name="connsiteX24" fmla="*/ 5779 w 10000"/>
                <a:gd name="connsiteY24" fmla="*/ 7845 h 10000"/>
                <a:gd name="connsiteX25" fmla="*/ 5342 w 10000"/>
                <a:gd name="connsiteY25" fmla="*/ 7782 h 10000"/>
                <a:gd name="connsiteX26" fmla="*/ 5425 w 10000"/>
                <a:gd name="connsiteY26" fmla="*/ 7655 h 10000"/>
                <a:gd name="connsiteX27" fmla="*/ 5684 w 10000"/>
                <a:gd name="connsiteY27" fmla="*/ 7680 h 10000"/>
                <a:gd name="connsiteX28" fmla="*/ 5991 w 10000"/>
                <a:gd name="connsiteY28" fmla="*/ 7568 h 10000"/>
                <a:gd name="connsiteX29" fmla="*/ 5840 w 10000"/>
                <a:gd name="connsiteY29" fmla="*/ 7377 h 10000"/>
                <a:gd name="connsiteX30" fmla="*/ 5905 w 10000"/>
                <a:gd name="connsiteY30" fmla="*/ 6931 h 10000"/>
                <a:gd name="connsiteX31" fmla="*/ 5247 w 10000"/>
                <a:gd name="connsiteY31" fmla="*/ 6855 h 10000"/>
                <a:gd name="connsiteX32" fmla="*/ 4692 w 10000"/>
                <a:gd name="connsiteY32" fmla="*/ 6665 h 10000"/>
                <a:gd name="connsiteX33" fmla="*/ 3965 w 10000"/>
                <a:gd name="connsiteY33" fmla="*/ 6652 h 10000"/>
                <a:gd name="connsiteX34" fmla="*/ 3858 w 10000"/>
                <a:gd name="connsiteY34" fmla="*/ 6425 h 10000"/>
                <a:gd name="connsiteX35" fmla="*/ 3376 w 10000"/>
                <a:gd name="connsiteY35" fmla="*/ 6247 h 10000"/>
                <a:gd name="connsiteX36" fmla="*/ 3476 w 10000"/>
                <a:gd name="connsiteY36" fmla="*/ 6095 h 10000"/>
                <a:gd name="connsiteX37" fmla="*/ 3173 w 10000"/>
                <a:gd name="connsiteY37" fmla="*/ 5944 h 10000"/>
                <a:gd name="connsiteX38" fmla="*/ 2581 w 10000"/>
                <a:gd name="connsiteY38" fmla="*/ 5944 h 10000"/>
                <a:gd name="connsiteX39" fmla="*/ 2408 w 10000"/>
                <a:gd name="connsiteY39" fmla="*/ 6057 h 10000"/>
                <a:gd name="connsiteX40" fmla="*/ 2264 w 10000"/>
                <a:gd name="connsiteY40" fmla="*/ 6008 h 10000"/>
                <a:gd name="connsiteX41" fmla="*/ 2138 w 10000"/>
                <a:gd name="connsiteY41" fmla="*/ 5626 h 10000"/>
                <a:gd name="connsiteX42" fmla="*/ 2376 w 10000"/>
                <a:gd name="connsiteY42" fmla="*/ 5664 h 10000"/>
                <a:gd name="connsiteX43" fmla="*/ 2637 w 10000"/>
                <a:gd name="connsiteY43" fmla="*/ 5513 h 10000"/>
                <a:gd name="connsiteX44" fmla="*/ 2264 w 10000"/>
                <a:gd name="connsiteY44" fmla="*/ 5373 h 10000"/>
                <a:gd name="connsiteX45" fmla="*/ 1784 w 10000"/>
                <a:gd name="connsiteY45" fmla="*/ 5107 h 10000"/>
                <a:gd name="connsiteX46" fmla="*/ 1879 w 10000"/>
                <a:gd name="connsiteY46" fmla="*/ 4866 h 10000"/>
                <a:gd name="connsiteX47" fmla="*/ 1541 w 10000"/>
                <a:gd name="connsiteY47" fmla="*/ 4716 h 10000"/>
                <a:gd name="connsiteX48" fmla="*/ 1268 w 10000"/>
                <a:gd name="connsiteY48" fmla="*/ 4753 h 10000"/>
                <a:gd name="connsiteX49" fmla="*/ 1134 w 10000"/>
                <a:gd name="connsiteY49" fmla="*/ 4600 h 10000"/>
                <a:gd name="connsiteX50" fmla="*/ 926 w 10000"/>
                <a:gd name="connsiteY50" fmla="*/ 4651 h 10000"/>
                <a:gd name="connsiteX51" fmla="*/ 653 w 10000"/>
                <a:gd name="connsiteY51" fmla="*/ 4600 h 10000"/>
                <a:gd name="connsiteX52" fmla="*/ 385 w 10000"/>
                <a:gd name="connsiteY52" fmla="*/ 4081 h 10000"/>
                <a:gd name="connsiteX53" fmla="*/ 485 w 10000"/>
                <a:gd name="connsiteY53" fmla="*/ 3928 h 10000"/>
                <a:gd name="connsiteX54" fmla="*/ 225 w 10000"/>
                <a:gd name="connsiteY54" fmla="*/ 3725 h 10000"/>
                <a:gd name="connsiteX55" fmla="*/ 368 w 10000"/>
                <a:gd name="connsiteY55" fmla="*/ 3435 h 10000"/>
                <a:gd name="connsiteX56" fmla="*/ 1190 w 10000"/>
                <a:gd name="connsiteY56" fmla="*/ 3258 h 10000"/>
                <a:gd name="connsiteX57" fmla="*/ 731 w 10000"/>
                <a:gd name="connsiteY57" fmla="*/ 3129 h 10000"/>
                <a:gd name="connsiteX58" fmla="*/ 472 w 10000"/>
                <a:gd name="connsiteY58" fmla="*/ 2978 h 10000"/>
                <a:gd name="connsiteX59" fmla="*/ 1155 w 10000"/>
                <a:gd name="connsiteY59" fmla="*/ 2523 h 10000"/>
                <a:gd name="connsiteX60" fmla="*/ 1421 w 10000"/>
                <a:gd name="connsiteY60" fmla="*/ 2218 h 10000"/>
                <a:gd name="connsiteX61" fmla="*/ 858 w 10000"/>
                <a:gd name="connsiteY61" fmla="*/ 2001 h 10000"/>
                <a:gd name="connsiteX62" fmla="*/ 1074 w 10000"/>
                <a:gd name="connsiteY62" fmla="*/ 1825 h 10000"/>
                <a:gd name="connsiteX63" fmla="*/ 632 w 10000"/>
                <a:gd name="connsiteY63" fmla="*/ 1585 h 10000"/>
                <a:gd name="connsiteX64" fmla="*/ 632 w 10000"/>
                <a:gd name="connsiteY64" fmla="*/ 1369 h 10000"/>
                <a:gd name="connsiteX65" fmla="*/ 341 w 10000"/>
                <a:gd name="connsiteY65" fmla="*/ 939 h 10000"/>
                <a:gd name="connsiteX66" fmla="*/ 558 w 10000"/>
                <a:gd name="connsiteY66" fmla="*/ 670 h 10000"/>
                <a:gd name="connsiteX67" fmla="*/ 212 w 10000"/>
                <a:gd name="connsiteY67" fmla="*/ 542 h 10000"/>
                <a:gd name="connsiteX68" fmla="*/ 0 w 10000"/>
                <a:gd name="connsiteY68" fmla="*/ 393 h 10000"/>
                <a:gd name="connsiteX69" fmla="*/ 307 w 10000"/>
                <a:gd name="connsiteY69" fmla="*/ 113 h 10000"/>
                <a:gd name="connsiteX70" fmla="*/ 671 w 10000"/>
                <a:gd name="connsiteY70" fmla="*/ 64 h 10000"/>
                <a:gd name="connsiteX71" fmla="*/ 1104 w 10000"/>
                <a:gd name="connsiteY71" fmla="*/ 0 h 10000"/>
                <a:gd name="connsiteX72" fmla="*/ 1750 w 10000"/>
                <a:gd name="connsiteY72" fmla="*/ 113 h 10000"/>
                <a:gd name="connsiteX73" fmla="*/ 2715 w 10000"/>
                <a:gd name="connsiteY73" fmla="*/ 240 h 10000"/>
                <a:gd name="connsiteX74" fmla="*/ 3576 w 10000"/>
                <a:gd name="connsiteY74" fmla="*/ 453 h 10000"/>
                <a:gd name="connsiteX75" fmla="*/ 4273 w 10000"/>
                <a:gd name="connsiteY75" fmla="*/ 632 h 10000"/>
                <a:gd name="connsiteX76" fmla="*/ 4104 w 10000"/>
                <a:gd name="connsiteY76" fmla="*/ 1128 h 10000"/>
                <a:gd name="connsiteX77" fmla="*/ 2040 w 10000"/>
                <a:gd name="connsiteY77" fmla="*/ 1002 h 10000"/>
                <a:gd name="connsiteX78" fmla="*/ 1385 w 10000"/>
                <a:gd name="connsiteY78" fmla="*/ 850 h 10000"/>
                <a:gd name="connsiteX79" fmla="*/ 1623 w 10000"/>
                <a:gd name="connsiteY79" fmla="*/ 939 h 10000"/>
                <a:gd name="connsiteX80" fmla="*/ 1867 w 10000"/>
                <a:gd name="connsiteY80" fmla="*/ 1152 h 10000"/>
                <a:gd name="connsiteX81" fmla="*/ 2264 w 10000"/>
                <a:gd name="connsiteY81" fmla="*/ 1306 h 10000"/>
                <a:gd name="connsiteX82" fmla="*/ 2355 w 10000"/>
                <a:gd name="connsiteY82" fmla="*/ 1634 h 10000"/>
                <a:gd name="connsiteX83" fmla="*/ 2871 w 10000"/>
                <a:gd name="connsiteY83" fmla="*/ 1787 h 10000"/>
                <a:gd name="connsiteX84" fmla="*/ 3295 w 10000"/>
                <a:gd name="connsiteY84" fmla="*/ 1938 h 10000"/>
                <a:gd name="connsiteX85" fmla="*/ 3420 w 10000"/>
                <a:gd name="connsiteY85" fmla="*/ 1977 h 10000"/>
                <a:gd name="connsiteX86" fmla="*/ 3680 w 10000"/>
                <a:gd name="connsiteY86" fmla="*/ 1938 h 10000"/>
                <a:gd name="connsiteX87" fmla="*/ 3576 w 10000"/>
                <a:gd name="connsiteY87" fmla="*/ 1850 h 10000"/>
                <a:gd name="connsiteX88" fmla="*/ 3078 w 10000"/>
                <a:gd name="connsiteY88" fmla="*/ 1634 h 10000"/>
                <a:gd name="connsiteX89" fmla="*/ 4533 w 10000"/>
                <a:gd name="connsiteY89" fmla="*/ 1825 h 10000"/>
                <a:gd name="connsiteX90" fmla="*/ 4575 w 10000"/>
                <a:gd name="connsiteY90" fmla="*/ 1734 h 10000"/>
                <a:gd name="connsiteX91" fmla="*/ 4438 w 10000"/>
                <a:gd name="connsiteY91" fmla="*/ 1671 h 10000"/>
                <a:gd name="connsiteX92" fmla="*/ 4182 w 10000"/>
                <a:gd name="connsiteY92" fmla="*/ 1394 h 10000"/>
                <a:gd name="connsiteX93" fmla="*/ 4909 w 10000"/>
                <a:gd name="connsiteY93" fmla="*/ 1128 h 10000"/>
                <a:gd name="connsiteX94" fmla="*/ 5481 w 10000"/>
                <a:gd name="connsiteY94" fmla="*/ 1306 h 10000"/>
                <a:gd name="connsiteX95" fmla="*/ 5645 w 10000"/>
                <a:gd name="connsiteY95" fmla="*/ 1065 h 10000"/>
                <a:gd name="connsiteX96" fmla="*/ 5377 w 10000"/>
                <a:gd name="connsiteY96" fmla="*/ 977 h 10000"/>
                <a:gd name="connsiteX97" fmla="*/ 5281 w 10000"/>
                <a:gd name="connsiteY97" fmla="*/ 518 h 10000"/>
                <a:gd name="connsiteX98" fmla="*/ 5174 w 10000"/>
                <a:gd name="connsiteY98" fmla="*/ 453 h 10000"/>
                <a:gd name="connsiteX99" fmla="*/ 5852 w 10000"/>
                <a:gd name="connsiteY99" fmla="*/ 480 h 10000"/>
                <a:gd name="connsiteX100" fmla="*/ 6147 w 10000"/>
                <a:gd name="connsiteY100" fmla="*/ 670 h 10000"/>
                <a:gd name="connsiteX101" fmla="*/ 5779 w 10000"/>
                <a:gd name="connsiteY101" fmla="*/ 823 h 10000"/>
                <a:gd name="connsiteX102" fmla="*/ 6412 w 10000"/>
                <a:gd name="connsiteY102" fmla="*/ 1026 h 10000"/>
                <a:gd name="connsiteX103" fmla="*/ 6931 w 10000"/>
                <a:gd name="connsiteY103" fmla="*/ 823 h 10000"/>
                <a:gd name="connsiteX104" fmla="*/ 7575 w 10000"/>
                <a:gd name="connsiteY104" fmla="*/ 542 h 10000"/>
                <a:gd name="connsiteX105" fmla="*/ 9022 w 10000"/>
                <a:gd name="connsiteY105" fmla="*/ 367 h 10000"/>
                <a:gd name="connsiteX0" fmla="*/ 9103 w 10000"/>
                <a:gd name="connsiteY0" fmla="*/ 6540 h 10000"/>
                <a:gd name="connsiteX1" fmla="*/ 9354 w 10000"/>
                <a:gd name="connsiteY1" fmla="*/ 6843 h 10000"/>
                <a:gd name="connsiteX2" fmla="*/ 9069 w 10000"/>
                <a:gd name="connsiteY2" fmla="*/ 6843 h 10000"/>
                <a:gd name="connsiteX3" fmla="*/ 8762 w 10000"/>
                <a:gd name="connsiteY3" fmla="*/ 6628 h 10000"/>
                <a:gd name="connsiteX4" fmla="*/ 8542 w 10000"/>
                <a:gd name="connsiteY4" fmla="*/ 6843 h 10000"/>
                <a:gd name="connsiteX5" fmla="*/ 8589 w 10000"/>
                <a:gd name="connsiteY5" fmla="*/ 7365 h 10000"/>
                <a:gd name="connsiteX6" fmla="*/ 9069 w 10000"/>
                <a:gd name="connsiteY6" fmla="*/ 7630 h 10000"/>
                <a:gd name="connsiteX7" fmla="*/ 9320 w 10000"/>
                <a:gd name="connsiteY7" fmla="*/ 7568 h 10000"/>
                <a:gd name="connsiteX8" fmla="*/ 9849 w 10000"/>
                <a:gd name="connsiteY8" fmla="*/ 8150 h 10000"/>
                <a:gd name="connsiteX9" fmla="*/ 9103 w 10000"/>
                <a:gd name="connsiteY9" fmla="*/ 8365 h 10000"/>
                <a:gd name="connsiteX10" fmla="*/ 9018 w 10000"/>
                <a:gd name="connsiteY10" fmla="*/ 8783 h 10000"/>
                <a:gd name="connsiteX11" fmla="*/ 9407 w 10000"/>
                <a:gd name="connsiteY11" fmla="*/ 9062 h 10000"/>
                <a:gd name="connsiteX12" fmla="*/ 9407 w 10000"/>
                <a:gd name="connsiteY12" fmla="*/ 9367 h 10000"/>
                <a:gd name="connsiteX13" fmla="*/ 10000 w 10000"/>
                <a:gd name="connsiteY13" fmla="*/ 9797 h 10000"/>
                <a:gd name="connsiteX14" fmla="*/ 9632 w 10000"/>
                <a:gd name="connsiteY14" fmla="*/ 10000 h 10000"/>
                <a:gd name="connsiteX15" fmla="*/ 9069 w 10000"/>
                <a:gd name="connsiteY15" fmla="*/ 9697 h 10000"/>
                <a:gd name="connsiteX16" fmla="*/ 8286 w 10000"/>
                <a:gd name="connsiteY16" fmla="*/ 9392 h 10000"/>
                <a:gd name="connsiteX17" fmla="*/ 7953 w 10000"/>
                <a:gd name="connsiteY17" fmla="*/ 9494 h 10000"/>
                <a:gd name="connsiteX18" fmla="*/ 7385 w 10000"/>
                <a:gd name="connsiteY18" fmla="*/ 9238 h 10000"/>
                <a:gd name="connsiteX19" fmla="*/ 6203 w 10000"/>
                <a:gd name="connsiteY19" fmla="*/ 9188 h 10000"/>
                <a:gd name="connsiteX20" fmla="*/ 4784 w 10000"/>
                <a:gd name="connsiteY20" fmla="*/ 8543 h 10000"/>
                <a:gd name="connsiteX21" fmla="*/ 5174 w 10000"/>
                <a:gd name="connsiteY21" fmla="*/ 8431 h 10000"/>
                <a:gd name="connsiteX22" fmla="*/ 5442 w 10000"/>
                <a:gd name="connsiteY22" fmla="*/ 8150 h 10000"/>
                <a:gd name="connsiteX23" fmla="*/ 5143 w 10000"/>
                <a:gd name="connsiteY23" fmla="*/ 8023 h 10000"/>
                <a:gd name="connsiteX24" fmla="*/ 5779 w 10000"/>
                <a:gd name="connsiteY24" fmla="*/ 7845 h 10000"/>
                <a:gd name="connsiteX25" fmla="*/ 5342 w 10000"/>
                <a:gd name="connsiteY25" fmla="*/ 7782 h 10000"/>
                <a:gd name="connsiteX26" fmla="*/ 5425 w 10000"/>
                <a:gd name="connsiteY26" fmla="*/ 7655 h 10000"/>
                <a:gd name="connsiteX27" fmla="*/ 5684 w 10000"/>
                <a:gd name="connsiteY27" fmla="*/ 7680 h 10000"/>
                <a:gd name="connsiteX28" fmla="*/ 5991 w 10000"/>
                <a:gd name="connsiteY28" fmla="*/ 7568 h 10000"/>
                <a:gd name="connsiteX29" fmla="*/ 5840 w 10000"/>
                <a:gd name="connsiteY29" fmla="*/ 7377 h 10000"/>
                <a:gd name="connsiteX30" fmla="*/ 5905 w 10000"/>
                <a:gd name="connsiteY30" fmla="*/ 6931 h 10000"/>
                <a:gd name="connsiteX31" fmla="*/ 5247 w 10000"/>
                <a:gd name="connsiteY31" fmla="*/ 6855 h 10000"/>
                <a:gd name="connsiteX32" fmla="*/ 4692 w 10000"/>
                <a:gd name="connsiteY32" fmla="*/ 6665 h 10000"/>
                <a:gd name="connsiteX33" fmla="*/ 3965 w 10000"/>
                <a:gd name="connsiteY33" fmla="*/ 6652 h 10000"/>
                <a:gd name="connsiteX34" fmla="*/ 3858 w 10000"/>
                <a:gd name="connsiteY34" fmla="*/ 6425 h 10000"/>
                <a:gd name="connsiteX35" fmla="*/ 3376 w 10000"/>
                <a:gd name="connsiteY35" fmla="*/ 6247 h 10000"/>
                <a:gd name="connsiteX36" fmla="*/ 3476 w 10000"/>
                <a:gd name="connsiteY36" fmla="*/ 6095 h 10000"/>
                <a:gd name="connsiteX37" fmla="*/ 3173 w 10000"/>
                <a:gd name="connsiteY37" fmla="*/ 5944 h 10000"/>
                <a:gd name="connsiteX38" fmla="*/ 2581 w 10000"/>
                <a:gd name="connsiteY38" fmla="*/ 5944 h 10000"/>
                <a:gd name="connsiteX39" fmla="*/ 2408 w 10000"/>
                <a:gd name="connsiteY39" fmla="*/ 6057 h 10000"/>
                <a:gd name="connsiteX40" fmla="*/ 2264 w 10000"/>
                <a:gd name="connsiteY40" fmla="*/ 6008 h 10000"/>
                <a:gd name="connsiteX41" fmla="*/ 2138 w 10000"/>
                <a:gd name="connsiteY41" fmla="*/ 5626 h 10000"/>
                <a:gd name="connsiteX42" fmla="*/ 2376 w 10000"/>
                <a:gd name="connsiteY42" fmla="*/ 5664 h 10000"/>
                <a:gd name="connsiteX43" fmla="*/ 2637 w 10000"/>
                <a:gd name="connsiteY43" fmla="*/ 5513 h 10000"/>
                <a:gd name="connsiteX44" fmla="*/ 2264 w 10000"/>
                <a:gd name="connsiteY44" fmla="*/ 5373 h 10000"/>
                <a:gd name="connsiteX45" fmla="*/ 1784 w 10000"/>
                <a:gd name="connsiteY45" fmla="*/ 5107 h 10000"/>
                <a:gd name="connsiteX46" fmla="*/ 1879 w 10000"/>
                <a:gd name="connsiteY46" fmla="*/ 4866 h 10000"/>
                <a:gd name="connsiteX47" fmla="*/ 1541 w 10000"/>
                <a:gd name="connsiteY47" fmla="*/ 4716 h 10000"/>
                <a:gd name="connsiteX48" fmla="*/ 1268 w 10000"/>
                <a:gd name="connsiteY48" fmla="*/ 4753 h 10000"/>
                <a:gd name="connsiteX49" fmla="*/ 1134 w 10000"/>
                <a:gd name="connsiteY49" fmla="*/ 4600 h 10000"/>
                <a:gd name="connsiteX50" fmla="*/ 926 w 10000"/>
                <a:gd name="connsiteY50" fmla="*/ 4651 h 10000"/>
                <a:gd name="connsiteX51" fmla="*/ 653 w 10000"/>
                <a:gd name="connsiteY51" fmla="*/ 4600 h 10000"/>
                <a:gd name="connsiteX52" fmla="*/ 385 w 10000"/>
                <a:gd name="connsiteY52" fmla="*/ 4081 h 10000"/>
                <a:gd name="connsiteX53" fmla="*/ 485 w 10000"/>
                <a:gd name="connsiteY53" fmla="*/ 3928 h 10000"/>
                <a:gd name="connsiteX54" fmla="*/ 225 w 10000"/>
                <a:gd name="connsiteY54" fmla="*/ 3725 h 10000"/>
                <a:gd name="connsiteX55" fmla="*/ 368 w 10000"/>
                <a:gd name="connsiteY55" fmla="*/ 3435 h 10000"/>
                <a:gd name="connsiteX56" fmla="*/ 1190 w 10000"/>
                <a:gd name="connsiteY56" fmla="*/ 3258 h 10000"/>
                <a:gd name="connsiteX57" fmla="*/ 731 w 10000"/>
                <a:gd name="connsiteY57" fmla="*/ 3129 h 10000"/>
                <a:gd name="connsiteX58" fmla="*/ 472 w 10000"/>
                <a:gd name="connsiteY58" fmla="*/ 2978 h 10000"/>
                <a:gd name="connsiteX59" fmla="*/ 1155 w 10000"/>
                <a:gd name="connsiteY59" fmla="*/ 2523 h 10000"/>
                <a:gd name="connsiteX60" fmla="*/ 1421 w 10000"/>
                <a:gd name="connsiteY60" fmla="*/ 2218 h 10000"/>
                <a:gd name="connsiteX61" fmla="*/ 858 w 10000"/>
                <a:gd name="connsiteY61" fmla="*/ 2001 h 10000"/>
                <a:gd name="connsiteX62" fmla="*/ 1074 w 10000"/>
                <a:gd name="connsiteY62" fmla="*/ 1825 h 10000"/>
                <a:gd name="connsiteX63" fmla="*/ 632 w 10000"/>
                <a:gd name="connsiteY63" fmla="*/ 1585 h 10000"/>
                <a:gd name="connsiteX64" fmla="*/ 632 w 10000"/>
                <a:gd name="connsiteY64" fmla="*/ 1369 h 10000"/>
                <a:gd name="connsiteX65" fmla="*/ 341 w 10000"/>
                <a:gd name="connsiteY65" fmla="*/ 939 h 10000"/>
                <a:gd name="connsiteX66" fmla="*/ 558 w 10000"/>
                <a:gd name="connsiteY66" fmla="*/ 670 h 10000"/>
                <a:gd name="connsiteX67" fmla="*/ 212 w 10000"/>
                <a:gd name="connsiteY67" fmla="*/ 542 h 10000"/>
                <a:gd name="connsiteX68" fmla="*/ 0 w 10000"/>
                <a:gd name="connsiteY68" fmla="*/ 393 h 10000"/>
                <a:gd name="connsiteX69" fmla="*/ 307 w 10000"/>
                <a:gd name="connsiteY69" fmla="*/ 113 h 10000"/>
                <a:gd name="connsiteX70" fmla="*/ 671 w 10000"/>
                <a:gd name="connsiteY70" fmla="*/ 64 h 10000"/>
                <a:gd name="connsiteX71" fmla="*/ 1104 w 10000"/>
                <a:gd name="connsiteY71" fmla="*/ 0 h 10000"/>
                <a:gd name="connsiteX72" fmla="*/ 1750 w 10000"/>
                <a:gd name="connsiteY72" fmla="*/ 113 h 10000"/>
                <a:gd name="connsiteX73" fmla="*/ 2715 w 10000"/>
                <a:gd name="connsiteY73" fmla="*/ 240 h 10000"/>
                <a:gd name="connsiteX74" fmla="*/ 3576 w 10000"/>
                <a:gd name="connsiteY74" fmla="*/ 453 h 10000"/>
                <a:gd name="connsiteX75" fmla="*/ 4273 w 10000"/>
                <a:gd name="connsiteY75" fmla="*/ 632 h 10000"/>
                <a:gd name="connsiteX76" fmla="*/ 4104 w 10000"/>
                <a:gd name="connsiteY76" fmla="*/ 1128 h 10000"/>
                <a:gd name="connsiteX77" fmla="*/ 2040 w 10000"/>
                <a:gd name="connsiteY77" fmla="*/ 1002 h 10000"/>
                <a:gd name="connsiteX78" fmla="*/ 1385 w 10000"/>
                <a:gd name="connsiteY78" fmla="*/ 850 h 10000"/>
                <a:gd name="connsiteX79" fmla="*/ 1623 w 10000"/>
                <a:gd name="connsiteY79" fmla="*/ 939 h 10000"/>
                <a:gd name="connsiteX80" fmla="*/ 1867 w 10000"/>
                <a:gd name="connsiteY80" fmla="*/ 1152 h 10000"/>
                <a:gd name="connsiteX81" fmla="*/ 2264 w 10000"/>
                <a:gd name="connsiteY81" fmla="*/ 1306 h 10000"/>
                <a:gd name="connsiteX82" fmla="*/ 2355 w 10000"/>
                <a:gd name="connsiteY82" fmla="*/ 1634 h 10000"/>
                <a:gd name="connsiteX83" fmla="*/ 2871 w 10000"/>
                <a:gd name="connsiteY83" fmla="*/ 1787 h 10000"/>
                <a:gd name="connsiteX84" fmla="*/ 3295 w 10000"/>
                <a:gd name="connsiteY84" fmla="*/ 1938 h 10000"/>
                <a:gd name="connsiteX85" fmla="*/ 3420 w 10000"/>
                <a:gd name="connsiteY85" fmla="*/ 1977 h 10000"/>
                <a:gd name="connsiteX86" fmla="*/ 3680 w 10000"/>
                <a:gd name="connsiteY86" fmla="*/ 1938 h 10000"/>
                <a:gd name="connsiteX87" fmla="*/ 3576 w 10000"/>
                <a:gd name="connsiteY87" fmla="*/ 1850 h 10000"/>
                <a:gd name="connsiteX88" fmla="*/ 3078 w 10000"/>
                <a:gd name="connsiteY88" fmla="*/ 1634 h 10000"/>
                <a:gd name="connsiteX89" fmla="*/ 4533 w 10000"/>
                <a:gd name="connsiteY89" fmla="*/ 1825 h 10000"/>
                <a:gd name="connsiteX90" fmla="*/ 4575 w 10000"/>
                <a:gd name="connsiteY90" fmla="*/ 1734 h 10000"/>
                <a:gd name="connsiteX91" fmla="*/ 4438 w 10000"/>
                <a:gd name="connsiteY91" fmla="*/ 1671 h 10000"/>
                <a:gd name="connsiteX92" fmla="*/ 4182 w 10000"/>
                <a:gd name="connsiteY92" fmla="*/ 1394 h 10000"/>
                <a:gd name="connsiteX93" fmla="*/ 4909 w 10000"/>
                <a:gd name="connsiteY93" fmla="*/ 1128 h 10000"/>
                <a:gd name="connsiteX94" fmla="*/ 5481 w 10000"/>
                <a:gd name="connsiteY94" fmla="*/ 1306 h 10000"/>
                <a:gd name="connsiteX95" fmla="*/ 5645 w 10000"/>
                <a:gd name="connsiteY95" fmla="*/ 1065 h 10000"/>
                <a:gd name="connsiteX96" fmla="*/ 5377 w 10000"/>
                <a:gd name="connsiteY96" fmla="*/ 977 h 10000"/>
                <a:gd name="connsiteX97" fmla="*/ 5281 w 10000"/>
                <a:gd name="connsiteY97" fmla="*/ 518 h 10000"/>
                <a:gd name="connsiteX98" fmla="*/ 5174 w 10000"/>
                <a:gd name="connsiteY98" fmla="*/ 453 h 10000"/>
                <a:gd name="connsiteX99" fmla="*/ 5852 w 10000"/>
                <a:gd name="connsiteY99" fmla="*/ 480 h 10000"/>
                <a:gd name="connsiteX100" fmla="*/ 6147 w 10000"/>
                <a:gd name="connsiteY100" fmla="*/ 670 h 10000"/>
                <a:gd name="connsiteX101" fmla="*/ 5779 w 10000"/>
                <a:gd name="connsiteY101" fmla="*/ 823 h 10000"/>
                <a:gd name="connsiteX102" fmla="*/ 6412 w 10000"/>
                <a:gd name="connsiteY102" fmla="*/ 1026 h 10000"/>
                <a:gd name="connsiteX103" fmla="*/ 6931 w 10000"/>
                <a:gd name="connsiteY103" fmla="*/ 823 h 10000"/>
                <a:gd name="connsiteX104" fmla="*/ 7575 w 10000"/>
                <a:gd name="connsiteY104" fmla="*/ 542 h 10000"/>
                <a:gd name="connsiteX105" fmla="*/ 9257 w 10000"/>
                <a:gd name="connsiteY105" fmla="*/ 367 h 10000"/>
                <a:gd name="connsiteX0" fmla="*/ 9103 w 10000"/>
                <a:gd name="connsiteY0" fmla="*/ 6540 h 10000"/>
                <a:gd name="connsiteX1" fmla="*/ 9354 w 10000"/>
                <a:gd name="connsiteY1" fmla="*/ 6843 h 10000"/>
                <a:gd name="connsiteX2" fmla="*/ 9069 w 10000"/>
                <a:gd name="connsiteY2" fmla="*/ 6843 h 10000"/>
                <a:gd name="connsiteX3" fmla="*/ 8762 w 10000"/>
                <a:gd name="connsiteY3" fmla="*/ 6628 h 10000"/>
                <a:gd name="connsiteX4" fmla="*/ 8542 w 10000"/>
                <a:gd name="connsiteY4" fmla="*/ 6843 h 10000"/>
                <a:gd name="connsiteX5" fmla="*/ 8589 w 10000"/>
                <a:gd name="connsiteY5" fmla="*/ 7365 h 10000"/>
                <a:gd name="connsiteX6" fmla="*/ 9069 w 10000"/>
                <a:gd name="connsiteY6" fmla="*/ 7630 h 10000"/>
                <a:gd name="connsiteX7" fmla="*/ 9320 w 10000"/>
                <a:gd name="connsiteY7" fmla="*/ 7568 h 10000"/>
                <a:gd name="connsiteX8" fmla="*/ 9849 w 10000"/>
                <a:gd name="connsiteY8" fmla="*/ 8150 h 10000"/>
                <a:gd name="connsiteX9" fmla="*/ 9103 w 10000"/>
                <a:gd name="connsiteY9" fmla="*/ 8365 h 10000"/>
                <a:gd name="connsiteX10" fmla="*/ 9018 w 10000"/>
                <a:gd name="connsiteY10" fmla="*/ 8783 h 10000"/>
                <a:gd name="connsiteX11" fmla="*/ 9407 w 10000"/>
                <a:gd name="connsiteY11" fmla="*/ 9062 h 10000"/>
                <a:gd name="connsiteX12" fmla="*/ 9407 w 10000"/>
                <a:gd name="connsiteY12" fmla="*/ 9367 h 10000"/>
                <a:gd name="connsiteX13" fmla="*/ 10000 w 10000"/>
                <a:gd name="connsiteY13" fmla="*/ 9797 h 10000"/>
                <a:gd name="connsiteX14" fmla="*/ 9632 w 10000"/>
                <a:gd name="connsiteY14" fmla="*/ 10000 h 10000"/>
                <a:gd name="connsiteX15" fmla="*/ 9069 w 10000"/>
                <a:gd name="connsiteY15" fmla="*/ 9697 h 10000"/>
                <a:gd name="connsiteX16" fmla="*/ 8286 w 10000"/>
                <a:gd name="connsiteY16" fmla="*/ 9392 h 10000"/>
                <a:gd name="connsiteX17" fmla="*/ 7953 w 10000"/>
                <a:gd name="connsiteY17" fmla="*/ 9494 h 10000"/>
                <a:gd name="connsiteX18" fmla="*/ 7385 w 10000"/>
                <a:gd name="connsiteY18" fmla="*/ 9238 h 10000"/>
                <a:gd name="connsiteX19" fmla="*/ 6203 w 10000"/>
                <a:gd name="connsiteY19" fmla="*/ 9188 h 10000"/>
                <a:gd name="connsiteX20" fmla="*/ 4784 w 10000"/>
                <a:gd name="connsiteY20" fmla="*/ 8543 h 10000"/>
                <a:gd name="connsiteX21" fmla="*/ 5174 w 10000"/>
                <a:gd name="connsiteY21" fmla="*/ 8431 h 10000"/>
                <a:gd name="connsiteX22" fmla="*/ 5442 w 10000"/>
                <a:gd name="connsiteY22" fmla="*/ 8150 h 10000"/>
                <a:gd name="connsiteX23" fmla="*/ 5143 w 10000"/>
                <a:gd name="connsiteY23" fmla="*/ 8023 h 10000"/>
                <a:gd name="connsiteX24" fmla="*/ 5779 w 10000"/>
                <a:gd name="connsiteY24" fmla="*/ 7845 h 10000"/>
                <a:gd name="connsiteX25" fmla="*/ 5342 w 10000"/>
                <a:gd name="connsiteY25" fmla="*/ 7782 h 10000"/>
                <a:gd name="connsiteX26" fmla="*/ 5425 w 10000"/>
                <a:gd name="connsiteY26" fmla="*/ 7655 h 10000"/>
                <a:gd name="connsiteX27" fmla="*/ 5684 w 10000"/>
                <a:gd name="connsiteY27" fmla="*/ 7680 h 10000"/>
                <a:gd name="connsiteX28" fmla="*/ 5991 w 10000"/>
                <a:gd name="connsiteY28" fmla="*/ 7568 h 10000"/>
                <a:gd name="connsiteX29" fmla="*/ 5840 w 10000"/>
                <a:gd name="connsiteY29" fmla="*/ 7377 h 10000"/>
                <a:gd name="connsiteX30" fmla="*/ 5905 w 10000"/>
                <a:gd name="connsiteY30" fmla="*/ 6931 h 10000"/>
                <a:gd name="connsiteX31" fmla="*/ 5247 w 10000"/>
                <a:gd name="connsiteY31" fmla="*/ 6855 h 10000"/>
                <a:gd name="connsiteX32" fmla="*/ 4692 w 10000"/>
                <a:gd name="connsiteY32" fmla="*/ 6665 h 10000"/>
                <a:gd name="connsiteX33" fmla="*/ 3965 w 10000"/>
                <a:gd name="connsiteY33" fmla="*/ 6652 h 10000"/>
                <a:gd name="connsiteX34" fmla="*/ 3858 w 10000"/>
                <a:gd name="connsiteY34" fmla="*/ 6425 h 10000"/>
                <a:gd name="connsiteX35" fmla="*/ 3376 w 10000"/>
                <a:gd name="connsiteY35" fmla="*/ 6247 h 10000"/>
                <a:gd name="connsiteX36" fmla="*/ 3476 w 10000"/>
                <a:gd name="connsiteY36" fmla="*/ 6095 h 10000"/>
                <a:gd name="connsiteX37" fmla="*/ 3173 w 10000"/>
                <a:gd name="connsiteY37" fmla="*/ 5944 h 10000"/>
                <a:gd name="connsiteX38" fmla="*/ 2581 w 10000"/>
                <a:gd name="connsiteY38" fmla="*/ 5944 h 10000"/>
                <a:gd name="connsiteX39" fmla="*/ 2408 w 10000"/>
                <a:gd name="connsiteY39" fmla="*/ 6057 h 10000"/>
                <a:gd name="connsiteX40" fmla="*/ 2264 w 10000"/>
                <a:gd name="connsiteY40" fmla="*/ 6008 h 10000"/>
                <a:gd name="connsiteX41" fmla="*/ 2138 w 10000"/>
                <a:gd name="connsiteY41" fmla="*/ 5626 h 10000"/>
                <a:gd name="connsiteX42" fmla="*/ 2376 w 10000"/>
                <a:gd name="connsiteY42" fmla="*/ 5664 h 10000"/>
                <a:gd name="connsiteX43" fmla="*/ 2637 w 10000"/>
                <a:gd name="connsiteY43" fmla="*/ 5513 h 10000"/>
                <a:gd name="connsiteX44" fmla="*/ 2264 w 10000"/>
                <a:gd name="connsiteY44" fmla="*/ 5373 h 10000"/>
                <a:gd name="connsiteX45" fmla="*/ 1784 w 10000"/>
                <a:gd name="connsiteY45" fmla="*/ 5107 h 10000"/>
                <a:gd name="connsiteX46" fmla="*/ 1879 w 10000"/>
                <a:gd name="connsiteY46" fmla="*/ 4866 h 10000"/>
                <a:gd name="connsiteX47" fmla="*/ 1541 w 10000"/>
                <a:gd name="connsiteY47" fmla="*/ 4716 h 10000"/>
                <a:gd name="connsiteX48" fmla="*/ 1268 w 10000"/>
                <a:gd name="connsiteY48" fmla="*/ 4753 h 10000"/>
                <a:gd name="connsiteX49" fmla="*/ 1134 w 10000"/>
                <a:gd name="connsiteY49" fmla="*/ 4600 h 10000"/>
                <a:gd name="connsiteX50" fmla="*/ 926 w 10000"/>
                <a:gd name="connsiteY50" fmla="*/ 4651 h 10000"/>
                <a:gd name="connsiteX51" fmla="*/ 653 w 10000"/>
                <a:gd name="connsiteY51" fmla="*/ 4600 h 10000"/>
                <a:gd name="connsiteX52" fmla="*/ 385 w 10000"/>
                <a:gd name="connsiteY52" fmla="*/ 4081 h 10000"/>
                <a:gd name="connsiteX53" fmla="*/ 485 w 10000"/>
                <a:gd name="connsiteY53" fmla="*/ 3928 h 10000"/>
                <a:gd name="connsiteX54" fmla="*/ 225 w 10000"/>
                <a:gd name="connsiteY54" fmla="*/ 3725 h 10000"/>
                <a:gd name="connsiteX55" fmla="*/ 368 w 10000"/>
                <a:gd name="connsiteY55" fmla="*/ 3435 h 10000"/>
                <a:gd name="connsiteX56" fmla="*/ 1190 w 10000"/>
                <a:gd name="connsiteY56" fmla="*/ 3258 h 10000"/>
                <a:gd name="connsiteX57" fmla="*/ 731 w 10000"/>
                <a:gd name="connsiteY57" fmla="*/ 3129 h 10000"/>
                <a:gd name="connsiteX58" fmla="*/ 472 w 10000"/>
                <a:gd name="connsiteY58" fmla="*/ 2978 h 10000"/>
                <a:gd name="connsiteX59" fmla="*/ 1155 w 10000"/>
                <a:gd name="connsiteY59" fmla="*/ 2523 h 10000"/>
                <a:gd name="connsiteX60" fmla="*/ 1421 w 10000"/>
                <a:gd name="connsiteY60" fmla="*/ 2218 h 10000"/>
                <a:gd name="connsiteX61" fmla="*/ 858 w 10000"/>
                <a:gd name="connsiteY61" fmla="*/ 2001 h 10000"/>
                <a:gd name="connsiteX62" fmla="*/ 1074 w 10000"/>
                <a:gd name="connsiteY62" fmla="*/ 1825 h 10000"/>
                <a:gd name="connsiteX63" fmla="*/ 632 w 10000"/>
                <a:gd name="connsiteY63" fmla="*/ 1585 h 10000"/>
                <a:gd name="connsiteX64" fmla="*/ 632 w 10000"/>
                <a:gd name="connsiteY64" fmla="*/ 1369 h 10000"/>
                <a:gd name="connsiteX65" fmla="*/ 341 w 10000"/>
                <a:gd name="connsiteY65" fmla="*/ 939 h 10000"/>
                <a:gd name="connsiteX66" fmla="*/ 558 w 10000"/>
                <a:gd name="connsiteY66" fmla="*/ 670 h 10000"/>
                <a:gd name="connsiteX67" fmla="*/ 212 w 10000"/>
                <a:gd name="connsiteY67" fmla="*/ 542 h 10000"/>
                <a:gd name="connsiteX68" fmla="*/ 0 w 10000"/>
                <a:gd name="connsiteY68" fmla="*/ 393 h 10000"/>
                <a:gd name="connsiteX69" fmla="*/ 307 w 10000"/>
                <a:gd name="connsiteY69" fmla="*/ 113 h 10000"/>
                <a:gd name="connsiteX70" fmla="*/ 671 w 10000"/>
                <a:gd name="connsiteY70" fmla="*/ 64 h 10000"/>
                <a:gd name="connsiteX71" fmla="*/ 1104 w 10000"/>
                <a:gd name="connsiteY71" fmla="*/ 0 h 10000"/>
                <a:gd name="connsiteX72" fmla="*/ 1750 w 10000"/>
                <a:gd name="connsiteY72" fmla="*/ 113 h 10000"/>
                <a:gd name="connsiteX73" fmla="*/ 2715 w 10000"/>
                <a:gd name="connsiteY73" fmla="*/ 240 h 10000"/>
                <a:gd name="connsiteX74" fmla="*/ 3576 w 10000"/>
                <a:gd name="connsiteY74" fmla="*/ 453 h 10000"/>
                <a:gd name="connsiteX75" fmla="*/ 4273 w 10000"/>
                <a:gd name="connsiteY75" fmla="*/ 632 h 10000"/>
                <a:gd name="connsiteX76" fmla="*/ 4104 w 10000"/>
                <a:gd name="connsiteY76" fmla="*/ 1128 h 10000"/>
                <a:gd name="connsiteX77" fmla="*/ 2040 w 10000"/>
                <a:gd name="connsiteY77" fmla="*/ 1002 h 10000"/>
                <a:gd name="connsiteX78" fmla="*/ 1385 w 10000"/>
                <a:gd name="connsiteY78" fmla="*/ 850 h 10000"/>
                <a:gd name="connsiteX79" fmla="*/ 1623 w 10000"/>
                <a:gd name="connsiteY79" fmla="*/ 939 h 10000"/>
                <a:gd name="connsiteX80" fmla="*/ 1867 w 10000"/>
                <a:gd name="connsiteY80" fmla="*/ 1152 h 10000"/>
                <a:gd name="connsiteX81" fmla="*/ 2264 w 10000"/>
                <a:gd name="connsiteY81" fmla="*/ 1306 h 10000"/>
                <a:gd name="connsiteX82" fmla="*/ 2355 w 10000"/>
                <a:gd name="connsiteY82" fmla="*/ 1634 h 10000"/>
                <a:gd name="connsiteX83" fmla="*/ 2871 w 10000"/>
                <a:gd name="connsiteY83" fmla="*/ 1787 h 10000"/>
                <a:gd name="connsiteX84" fmla="*/ 3295 w 10000"/>
                <a:gd name="connsiteY84" fmla="*/ 1938 h 10000"/>
                <a:gd name="connsiteX85" fmla="*/ 3420 w 10000"/>
                <a:gd name="connsiteY85" fmla="*/ 1977 h 10000"/>
                <a:gd name="connsiteX86" fmla="*/ 3680 w 10000"/>
                <a:gd name="connsiteY86" fmla="*/ 1938 h 10000"/>
                <a:gd name="connsiteX87" fmla="*/ 3576 w 10000"/>
                <a:gd name="connsiteY87" fmla="*/ 1850 h 10000"/>
                <a:gd name="connsiteX88" fmla="*/ 3078 w 10000"/>
                <a:gd name="connsiteY88" fmla="*/ 1634 h 10000"/>
                <a:gd name="connsiteX89" fmla="*/ 4533 w 10000"/>
                <a:gd name="connsiteY89" fmla="*/ 1825 h 10000"/>
                <a:gd name="connsiteX90" fmla="*/ 4575 w 10000"/>
                <a:gd name="connsiteY90" fmla="*/ 1734 h 10000"/>
                <a:gd name="connsiteX91" fmla="*/ 4438 w 10000"/>
                <a:gd name="connsiteY91" fmla="*/ 1671 h 10000"/>
                <a:gd name="connsiteX92" fmla="*/ 4182 w 10000"/>
                <a:gd name="connsiteY92" fmla="*/ 1394 h 10000"/>
                <a:gd name="connsiteX93" fmla="*/ 4909 w 10000"/>
                <a:gd name="connsiteY93" fmla="*/ 1128 h 10000"/>
                <a:gd name="connsiteX94" fmla="*/ 5481 w 10000"/>
                <a:gd name="connsiteY94" fmla="*/ 1306 h 10000"/>
                <a:gd name="connsiteX95" fmla="*/ 5645 w 10000"/>
                <a:gd name="connsiteY95" fmla="*/ 1065 h 10000"/>
                <a:gd name="connsiteX96" fmla="*/ 5377 w 10000"/>
                <a:gd name="connsiteY96" fmla="*/ 977 h 10000"/>
                <a:gd name="connsiteX97" fmla="*/ 5281 w 10000"/>
                <a:gd name="connsiteY97" fmla="*/ 518 h 10000"/>
                <a:gd name="connsiteX98" fmla="*/ 5174 w 10000"/>
                <a:gd name="connsiteY98" fmla="*/ 453 h 10000"/>
                <a:gd name="connsiteX99" fmla="*/ 5852 w 10000"/>
                <a:gd name="connsiteY99" fmla="*/ 480 h 10000"/>
                <a:gd name="connsiteX100" fmla="*/ 6147 w 10000"/>
                <a:gd name="connsiteY100" fmla="*/ 670 h 10000"/>
                <a:gd name="connsiteX101" fmla="*/ 5779 w 10000"/>
                <a:gd name="connsiteY101" fmla="*/ 823 h 10000"/>
                <a:gd name="connsiteX102" fmla="*/ 6412 w 10000"/>
                <a:gd name="connsiteY102" fmla="*/ 1026 h 10000"/>
                <a:gd name="connsiteX103" fmla="*/ 6931 w 10000"/>
                <a:gd name="connsiteY103" fmla="*/ 823 h 10000"/>
                <a:gd name="connsiteX104" fmla="*/ 7575 w 10000"/>
                <a:gd name="connsiteY104" fmla="*/ 542 h 10000"/>
                <a:gd name="connsiteX105" fmla="*/ 9069 w 10000"/>
                <a:gd name="connsiteY105" fmla="*/ 367 h 10000"/>
                <a:gd name="connsiteX0" fmla="*/ 9103 w 10076"/>
                <a:gd name="connsiteY0" fmla="*/ 6540 h 10000"/>
                <a:gd name="connsiteX1" fmla="*/ 9354 w 10076"/>
                <a:gd name="connsiteY1" fmla="*/ 6843 h 10000"/>
                <a:gd name="connsiteX2" fmla="*/ 9069 w 10076"/>
                <a:gd name="connsiteY2" fmla="*/ 6843 h 10000"/>
                <a:gd name="connsiteX3" fmla="*/ 8762 w 10076"/>
                <a:gd name="connsiteY3" fmla="*/ 6628 h 10000"/>
                <a:gd name="connsiteX4" fmla="*/ 8542 w 10076"/>
                <a:gd name="connsiteY4" fmla="*/ 6843 h 10000"/>
                <a:gd name="connsiteX5" fmla="*/ 8589 w 10076"/>
                <a:gd name="connsiteY5" fmla="*/ 7365 h 10000"/>
                <a:gd name="connsiteX6" fmla="*/ 9069 w 10076"/>
                <a:gd name="connsiteY6" fmla="*/ 7630 h 10000"/>
                <a:gd name="connsiteX7" fmla="*/ 9320 w 10076"/>
                <a:gd name="connsiteY7" fmla="*/ 7568 h 10000"/>
                <a:gd name="connsiteX8" fmla="*/ 9849 w 10076"/>
                <a:gd name="connsiteY8" fmla="*/ 8150 h 10000"/>
                <a:gd name="connsiteX9" fmla="*/ 9103 w 10076"/>
                <a:gd name="connsiteY9" fmla="*/ 8365 h 10000"/>
                <a:gd name="connsiteX10" fmla="*/ 9018 w 10076"/>
                <a:gd name="connsiteY10" fmla="*/ 8783 h 10000"/>
                <a:gd name="connsiteX11" fmla="*/ 9407 w 10076"/>
                <a:gd name="connsiteY11" fmla="*/ 9062 h 10000"/>
                <a:gd name="connsiteX12" fmla="*/ 9407 w 10076"/>
                <a:gd name="connsiteY12" fmla="*/ 9367 h 10000"/>
                <a:gd name="connsiteX13" fmla="*/ 10000 w 10076"/>
                <a:gd name="connsiteY13" fmla="*/ 9797 h 10000"/>
                <a:gd name="connsiteX14" fmla="*/ 9632 w 10076"/>
                <a:gd name="connsiteY14" fmla="*/ 10000 h 10000"/>
                <a:gd name="connsiteX15" fmla="*/ 9069 w 10076"/>
                <a:gd name="connsiteY15" fmla="*/ 9697 h 10000"/>
                <a:gd name="connsiteX16" fmla="*/ 8286 w 10076"/>
                <a:gd name="connsiteY16" fmla="*/ 9392 h 10000"/>
                <a:gd name="connsiteX17" fmla="*/ 7953 w 10076"/>
                <a:gd name="connsiteY17" fmla="*/ 9494 h 10000"/>
                <a:gd name="connsiteX18" fmla="*/ 7385 w 10076"/>
                <a:gd name="connsiteY18" fmla="*/ 9238 h 10000"/>
                <a:gd name="connsiteX19" fmla="*/ 6203 w 10076"/>
                <a:gd name="connsiteY19" fmla="*/ 9188 h 10000"/>
                <a:gd name="connsiteX20" fmla="*/ 4784 w 10076"/>
                <a:gd name="connsiteY20" fmla="*/ 8543 h 10000"/>
                <a:gd name="connsiteX21" fmla="*/ 5174 w 10076"/>
                <a:gd name="connsiteY21" fmla="*/ 8431 h 10000"/>
                <a:gd name="connsiteX22" fmla="*/ 5442 w 10076"/>
                <a:gd name="connsiteY22" fmla="*/ 8150 h 10000"/>
                <a:gd name="connsiteX23" fmla="*/ 5143 w 10076"/>
                <a:gd name="connsiteY23" fmla="*/ 8023 h 10000"/>
                <a:gd name="connsiteX24" fmla="*/ 5779 w 10076"/>
                <a:gd name="connsiteY24" fmla="*/ 7845 h 10000"/>
                <a:gd name="connsiteX25" fmla="*/ 5342 w 10076"/>
                <a:gd name="connsiteY25" fmla="*/ 7782 h 10000"/>
                <a:gd name="connsiteX26" fmla="*/ 5425 w 10076"/>
                <a:gd name="connsiteY26" fmla="*/ 7655 h 10000"/>
                <a:gd name="connsiteX27" fmla="*/ 5684 w 10076"/>
                <a:gd name="connsiteY27" fmla="*/ 7680 h 10000"/>
                <a:gd name="connsiteX28" fmla="*/ 5991 w 10076"/>
                <a:gd name="connsiteY28" fmla="*/ 7568 h 10000"/>
                <a:gd name="connsiteX29" fmla="*/ 5840 w 10076"/>
                <a:gd name="connsiteY29" fmla="*/ 7377 h 10000"/>
                <a:gd name="connsiteX30" fmla="*/ 5905 w 10076"/>
                <a:gd name="connsiteY30" fmla="*/ 6931 h 10000"/>
                <a:gd name="connsiteX31" fmla="*/ 5247 w 10076"/>
                <a:gd name="connsiteY31" fmla="*/ 6855 h 10000"/>
                <a:gd name="connsiteX32" fmla="*/ 4692 w 10076"/>
                <a:gd name="connsiteY32" fmla="*/ 6665 h 10000"/>
                <a:gd name="connsiteX33" fmla="*/ 3965 w 10076"/>
                <a:gd name="connsiteY33" fmla="*/ 6652 h 10000"/>
                <a:gd name="connsiteX34" fmla="*/ 3858 w 10076"/>
                <a:gd name="connsiteY34" fmla="*/ 6425 h 10000"/>
                <a:gd name="connsiteX35" fmla="*/ 3376 w 10076"/>
                <a:gd name="connsiteY35" fmla="*/ 6247 h 10000"/>
                <a:gd name="connsiteX36" fmla="*/ 3476 w 10076"/>
                <a:gd name="connsiteY36" fmla="*/ 6095 h 10000"/>
                <a:gd name="connsiteX37" fmla="*/ 3173 w 10076"/>
                <a:gd name="connsiteY37" fmla="*/ 5944 h 10000"/>
                <a:gd name="connsiteX38" fmla="*/ 2581 w 10076"/>
                <a:gd name="connsiteY38" fmla="*/ 5944 h 10000"/>
                <a:gd name="connsiteX39" fmla="*/ 2408 w 10076"/>
                <a:gd name="connsiteY39" fmla="*/ 6057 h 10000"/>
                <a:gd name="connsiteX40" fmla="*/ 2264 w 10076"/>
                <a:gd name="connsiteY40" fmla="*/ 6008 h 10000"/>
                <a:gd name="connsiteX41" fmla="*/ 2138 w 10076"/>
                <a:gd name="connsiteY41" fmla="*/ 5626 h 10000"/>
                <a:gd name="connsiteX42" fmla="*/ 2376 w 10076"/>
                <a:gd name="connsiteY42" fmla="*/ 5664 h 10000"/>
                <a:gd name="connsiteX43" fmla="*/ 2637 w 10076"/>
                <a:gd name="connsiteY43" fmla="*/ 5513 h 10000"/>
                <a:gd name="connsiteX44" fmla="*/ 2264 w 10076"/>
                <a:gd name="connsiteY44" fmla="*/ 5373 h 10000"/>
                <a:gd name="connsiteX45" fmla="*/ 1784 w 10076"/>
                <a:gd name="connsiteY45" fmla="*/ 5107 h 10000"/>
                <a:gd name="connsiteX46" fmla="*/ 1879 w 10076"/>
                <a:gd name="connsiteY46" fmla="*/ 4866 h 10000"/>
                <a:gd name="connsiteX47" fmla="*/ 1541 w 10076"/>
                <a:gd name="connsiteY47" fmla="*/ 4716 h 10000"/>
                <a:gd name="connsiteX48" fmla="*/ 1268 w 10076"/>
                <a:gd name="connsiteY48" fmla="*/ 4753 h 10000"/>
                <a:gd name="connsiteX49" fmla="*/ 1134 w 10076"/>
                <a:gd name="connsiteY49" fmla="*/ 4600 h 10000"/>
                <a:gd name="connsiteX50" fmla="*/ 926 w 10076"/>
                <a:gd name="connsiteY50" fmla="*/ 4651 h 10000"/>
                <a:gd name="connsiteX51" fmla="*/ 653 w 10076"/>
                <a:gd name="connsiteY51" fmla="*/ 4600 h 10000"/>
                <a:gd name="connsiteX52" fmla="*/ 385 w 10076"/>
                <a:gd name="connsiteY52" fmla="*/ 4081 h 10000"/>
                <a:gd name="connsiteX53" fmla="*/ 485 w 10076"/>
                <a:gd name="connsiteY53" fmla="*/ 3928 h 10000"/>
                <a:gd name="connsiteX54" fmla="*/ 225 w 10076"/>
                <a:gd name="connsiteY54" fmla="*/ 3725 h 10000"/>
                <a:gd name="connsiteX55" fmla="*/ 368 w 10076"/>
                <a:gd name="connsiteY55" fmla="*/ 3435 h 10000"/>
                <a:gd name="connsiteX56" fmla="*/ 1190 w 10076"/>
                <a:gd name="connsiteY56" fmla="*/ 3258 h 10000"/>
                <a:gd name="connsiteX57" fmla="*/ 731 w 10076"/>
                <a:gd name="connsiteY57" fmla="*/ 3129 h 10000"/>
                <a:gd name="connsiteX58" fmla="*/ 472 w 10076"/>
                <a:gd name="connsiteY58" fmla="*/ 2978 h 10000"/>
                <a:gd name="connsiteX59" fmla="*/ 1155 w 10076"/>
                <a:gd name="connsiteY59" fmla="*/ 2523 h 10000"/>
                <a:gd name="connsiteX60" fmla="*/ 1421 w 10076"/>
                <a:gd name="connsiteY60" fmla="*/ 2218 h 10000"/>
                <a:gd name="connsiteX61" fmla="*/ 858 w 10076"/>
                <a:gd name="connsiteY61" fmla="*/ 2001 h 10000"/>
                <a:gd name="connsiteX62" fmla="*/ 1074 w 10076"/>
                <a:gd name="connsiteY62" fmla="*/ 1825 h 10000"/>
                <a:gd name="connsiteX63" fmla="*/ 632 w 10076"/>
                <a:gd name="connsiteY63" fmla="*/ 1585 h 10000"/>
                <a:gd name="connsiteX64" fmla="*/ 632 w 10076"/>
                <a:gd name="connsiteY64" fmla="*/ 1369 h 10000"/>
                <a:gd name="connsiteX65" fmla="*/ 341 w 10076"/>
                <a:gd name="connsiteY65" fmla="*/ 939 h 10000"/>
                <a:gd name="connsiteX66" fmla="*/ 558 w 10076"/>
                <a:gd name="connsiteY66" fmla="*/ 670 h 10000"/>
                <a:gd name="connsiteX67" fmla="*/ 212 w 10076"/>
                <a:gd name="connsiteY67" fmla="*/ 542 h 10000"/>
                <a:gd name="connsiteX68" fmla="*/ 0 w 10076"/>
                <a:gd name="connsiteY68" fmla="*/ 393 h 10000"/>
                <a:gd name="connsiteX69" fmla="*/ 307 w 10076"/>
                <a:gd name="connsiteY69" fmla="*/ 113 h 10000"/>
                <a:gd name="connsiteX70" fmla="*/ 671 w 10076"/>
                <a:gd name="connsiteY70" fmla="*/ 64 h 10000"/>
                <a:gd name="connsiteX71" fmla="*/ 1104 w 10076"/>
                <a:gd name="connsiteY71" fmla="*/ 0 h 10000"/>
                <a:gd name="connsiteX72" fmla="*/ 1750 w 10076"/>
                <a:gd name="connsiteY72" fmla="*/ 113 h 10000"/>
                <a:gd name="connsiteX73" fmla="*/ 2715 w 10076"/>
                <a:gd name="connsiteY73" fmla="*/ 240 h 10000"/>
                <a:gd name="connsiteX74" fmla="*/ 3576 w 10076"/>
                <a:gd name="connsiteY74" fmla="*/ 453 h 10000"/>
                <a:gd name="connsiteX75" fmla="*/ 4273 w 10076"/>
                <a:gd name="connsiteY75" fmla="*/ 632 h 10000"/>
                <a:gd name="connsiteX76" fmla="*/ 4104 w 10076"/>
                <a:gd name="connsiteY76" fmla="*/ 1128 h 10000"/>
                <a:gd name="connsiteX77" fmla="*/ 2040 w 10076"/>
                <a:gd name="connsiteY77" fmla="*/ 1002 h 10000"/>
                <a:gd name="connsiteX78" fmla="*/ 1385 w 10076"/>
                <a:gd name="connsiteY78" fmla="*/ 850 h 10000"/>
                <a:gd name="connsiteX79" fmla="*/ 1623 w 10076"/>
                <a:gd name="connsiteY79" fmla="*/ 939 h 10000"/>
                <a:gd name="connsiteX80" fmla="*/ 1867 w 10076"/>
                <a:gd name="connsiteY80" fmla="*/ 1152 h 10000"/>
                <a:gd name="connsiteX81" fmla="*/ 2264 w 10076"/>
                <a:gd name="connsiteY81" fmla="*/ 1306 h 10000"/>
                <a:gd name="connsiteX82" fmla="*/ 2355 w 10076"/>
                <a:gd name="connsiteY82" fmla="*/ 1634 h 10000"/>
                <a:gd name="connsiteX83" fmla="*/ 2871 w 10076"/>
                <a:gd name="connsiteY83" fmla="*/ 1787 h 10000"/>
                <a:gd name="connsiteX84" fmla="*/ 3295 w 10076"/>
                <a:gd name="connsiteY84" fmla="*/ 1938 h 10000"/>
                <a:gd name="connsiteX85" fmla="*/ 3420 w 10076"/>
                <a:gd name="connsiteY85" fmla="*/ 1977 h 10000"/>
                <a:gd name="connsiteX86" fmla="*/ 3680 w 10076"/>
                <a:gd name="connsiteY86" fmla="*/ 1938 h 10000"/>
                <a:gd name="connsiteX87" fmla="*/ 3576 w 10076"/>
                <a:gd name="connsiteY87" fmla="*/ 1850 h 10000"/>
                <a:gd name="connsiteX88" fmla="*/ 3078 w 10076"/>
                <a:gd name="connsiteY88" fmla="*/ 1634 h 10000"/>
                <a:gd name="connsiteX89" fmla="*/ 4533 w 10076"/>
                <a:gd name="connsiteY89" fmla="*/ 1825 h 10000"/>
                <a:gd name="connsiteX90" fmla="*/ 4575 w 10076"/>
                <a:gd name="connsiteY90" fmla="*/ 1734 h 10000"/>
                <a:gd name="connsiteX91" fmla="*/ 4438 w 10076"/>
                <a:gd name="connsiteY91" fmla="*/ 1671 h 10000"/>
                <a:gd name="connsiteX92" fmla="*/ 4182 w 10076"/>
                <a:gd name="connsiteY92" fmla="*/ 1394 h 10000"/>
                <a:gd name="connsiteX93" fmla="*/ 4909 w 10076"/>
                <a:gd name="connsiteY93" fmla="*/ 1128 h 10000"/>
                <a:gd name="connsiteX94" fmla="*/ 5481 w 10076"/>
                <a:gd name="connsiteY94" fmla="*/ 1306 h 10000"/>
                <a:gd name="connsiteX95" fmla="*/ 5645 w 10076"/>
                <a:gd name="connsiteY95" fmla="*/ 1065 h 10000"/>
                <a:gd name="connsiteX96" fmla="*/ 5377 w 10076"/>
                <a:gd name="connsiteY96" fmla="*/ 977 h 10000"/>
                <a:gd name="connsiteX97" fmla="*/ 5281 w 10076"/>
                <a:gd name="connsiteY97" fmla="*/ 518 h 10000"/>
                <a:gd name="connsiteX98" fmla="*/ 5174 w 10076"/>
                <a:gd name="connsiteY98" fmla="*/ 453 h 10000"/>
                <a:gd name="connsiteX99" fmla="*/ 5852 w 10076"/>
                <a:gd name="connsiteY99" fmla="*/ 480 h 10000"/>
                <a:gd name="connsiteX100" fmla="*/ 6147 w 10076"/>
                <a:gd name="connsiteY100" fmla="*/ 670 h 10000"/>
                <a:gd name="connsiteX101" fmla="*/ 5779 w 10076"/>
                <a:gd name="connsiteY101" fmla="*/ 823 h 10000"/>
                <a:gd name="connsiteX102" fmla="*/ 6412 w 10076"/>
                <a:gd name="connsiteY102" fmla="*/ 1026 h 10000"/>
                <a:gd name="connsiteX103" fmla="*/ 6931 w 10076"/>
                <a:gd name="connsiteY103" fmla="*/ 823 h 10000"/>
                <a:gd name="connsiteX104" fmla="*/ 7575 w 10076"/>
                <a:gd name="connsiteY104" fmla="*/ 542 h 10000"/>
                <a:gd name="connsiteX105" fmla="*/ 10076 w 10076"/>
                <a:gd name="connsiteY105" fmla="*/ 412 h 10000"/>
                <a:gd name="connsiteX0" fmla="*/ 10047 w 10076"/>
                <a:gd name="connsiteY0" fmla="*/ 6428 h 10000"/>
                <a:gd name="connsiteX1" fmla="*/ 9354 w 10076"/>
                <a:gd name="connsiteY1" fmla="*/ 6843 h 10000"/>
                <a:gd name="connsiteX2" fmla="*/ 9069 w 10076"/>
                <a:gd name="connsiteY2" fmla="*/ 6843 h 10000"/>
                <a:gd name="connsiteX3" fmla="*/ 8762 w 10076"/>
                <a:gd name="connsiteY3" fmla="*/ 6628 h 10000"/>
                <a:gd name="connsiteX4" fmla="*/ 8542 w 10076"/>
                <a:gd name="connsiteY4" fmla="*/ 6843 h 10000"/>
                <a:gd name="connsiteX5" fmla="*/ 8589 w 10076"/>
                <a:gd name="connsiteY5" fmla="*/ 7365 h 10000"/>
                <a:gd name="connsiteX6" fmla="*/ 9069 w 10076"/>
                <a:gd name="connsiteY6" fmla="*/ 7630 h 10000"/>
                <a:gd name="connsiteX7" fmla="*/ 9320 w 10076"/>
                <a:gd name="connsiteY7" fmla="*/ 7568 h 10000"/>
                <a:gd name="connsiteX8" fmla="*/ 9849 w 10076"/>
                <a:gd name="connsiteY8" fmla="*/ 8150 h 10000"/>
                <a:gd name="connsiteX9" fmla="*/ 9103 w 10076"/>
                <a:gd name="connsiteY9" fmla="*/ 8365 h 10000"/>
                <a:gd name="connsiteX10" fmla="*/ 9018 w 10076"/>
                <a:gd name="connsiteY10" fmla="*/ 8783 h 10000"/>
                <a:gd name="connsiteX11" fmla="*/ 9407 w 10076"/>
                <a:gd name="connsiteY11" fmla="*/ 9062 h 10000"/>
                <a:gd name="connsiteX12" fmla="*/ 9407 w 10076"/>
                <a:gd name="connsiteY12" fmla="*/ 9367 h 10000"/>
                <a:gd name="connsiteX13" fmla="*/ 10000 w 10076"/>
                <a:gd name="connsiteY13" fmla="*/ 9797 h 10000"/>
                <a:gd name="connsiteX14" fmla="*/ 9632 w 10076"/>
                <a:gd name="connsiteY14" fmla="*/ 10000 h 10000"/>
                <a:gd name="connsiteX15" fmla="*/ 9069 w 10076"/>
                <a:gd name="connsiteY15" fmla="*/ 9697 h 10000"/>
                <a:gd name="connsiteX16" fmla="*/ 8286 w 10076"/>
                <a:gd name="connsiteY16" fmla="*/ 9392 h 10000"/>
                <a:gd name="connsiteX17" fmla="*/ 7953 w 10076"/>
                <a:gd name="connsiteY17" fmla="*/ 9494 h 10000"/>
                <a:gd name="connsiteX18" fmla="*/ 7385 w 10076"/>
                <a:gd name="connsiteY18" fmla="*/ 9238 h 10000"/>
                <a:gd name="connsiteX19" fmla="*/ 6203 w 10076"/>
                <a:gd name="connsiteY19" fmla="*/ 9188 h 10000"/>
                <a:gd name="connsiteX20" fmla="*/ 4784 w 10076"/>
                <a:gd name="connsiteY20" fmla="*/ 8543 h 10000"/>
                <a:gd name="connsiteX21" fmla="*/ 5174 w 10076"/>
                <a:gd name="connsiteY21" fmla="*/ 8431 h 10000"/>
                <a:gd name="connsiteX22" fmla="*/ 5442 w 10076"/>
                <a:gd name="connsiteY22" fmla="*/ 8150 h 10000"/>
                <a:gd name="connsiteX23" fmla="*/ 5143 w 10076"/>
                <a:gd name="connsiteY23" fmla="*/ 8023 h 10000"/>
                <a:gd name="connsiteX24" fmla="*/ 5779 w 10076"/>
                <a:gd name="connsiteY24" fmla="*/ 7845 h 10000"/>
                <a:gd name="connsiteX25" fmla="*/ 5342 w 10076"/>
                <a:gd name="connsiteY25" fmla="*/ 7782 h 10000"/>
                <a:gd name="connsiteX26" fmla="*/ 5425 w 10076"/>
                <a:gd name="connsiteY26" fmla="*/ 7655 h 10000"/>
                <a:gd name="connsiteX27" fmla="*/ 5684 w 10076"/>
                <a:gd name="connsiteY27" fmla="*/ 7680 h 10000"/>
                <a:gd name="connsiteX28" fmla="*/ 5991 w 10076"/>
                <a:gd name="connsiteY28" fmla="*/ 7568 h 10000"/>
                <a:gd name="connsiteX29" fmla="*/ 5840 w 10076"/>
                <a:gd name="connsiteY29" fmla="*/ 7377 h 10000"/>
                <a:gd name="connsiteX30" fmla="*/ 5905 w 10076"/>
                <a:gd name="connsiteY30" fmla="*/ 6931 h 10000"/>
                <a:gd name="connsiteX31" fmla="*/ 5247 w 10076"/>
                <a:gd name="connsiteY31" fmla="*/ 6855 h 10000"/>
                <a:gd name="connsiteX32" fmla="*/ 4692 w 10076"/>
                <a:gd name="connsiteY32" fmla="*/ 6665 h 10000"/>
                <a:gd name="connsiteX33" fmla="*/ 3965 w 10076"/>
                <a:gd name="connsiteY33" fmla="*/ 6652 h 10000"/>
                <a:gd name="connsiteX34" fmla="*/ 3858 w 10076"/>
                <a:gd name="connsiteY34" fmla="*/ 6425 h 10000"/>
                <a:gd name="connsiteX35" fmla="*/ 3376 w 10076"/>
                <a:gd name="connsiteY35" fmla="*/ 6247 h 10000"/>
                <a:gd name="connsiteX36" fmla="*/ 3476 w 10076"/>
                <a:gd name="connsiteY36" fmla="*/ 6095 h 10000"/>
                <a:gd name="connsiteX37" fmla="*/ 3173 w 10076"/>
                <a:gd name="connsiteY37" fmla="*/ 5944 h 10000"/>
                <a:gd name="connsiteX38" fmla="*/ 2581 w 10076"/>
                <a:gd name="connsiteY38" fmla="*/ 5944 h 10000"/>
                <a:gd name="connsiteX39" fmla="*/ 2408 w 10076"/>
                <a:gd name="connsiteY39" fmla="*/ 6057 h 10000"/>
                <a:gd name="connsiteX40" fmla="*/ 2264 w 10076"/>
                <a:gd name="connsiteY40" fmla="*/ 6008 h 10000"/>
                <a:gd name="connsiteX41" fmla="*/ 2138 w 10076"/>
                <a:gd name="connsiteY41" fmla="*/ 5626 h 10000"/>
                <a:gd name="connsiteX42" fmla="*/ 2376 w 10076"/>
                <a:gd name="connsiteY42" fmla="*/ 5664 h 10000"/>
                <a:gd name="connsiteX43" fmla="*/ 2637 w 10076"/>
                <a:gd name="connsiteY43" fmla="*/ 5513 h 10000"/>
                <a:gd name="connsiteX44" fmla="*/ 2264 w 10076"/>
                <a:gd name="connsiteY44" fmla="*/ 5373 h 10000"/>
                <a:gd name="connsiteX45" fmla="*/ 1784 w 10076"/>
                <a:gd name="connsiteY45" fmla="*/ 5107 h 10000"/>
                <a:gd name="connsiteX46" fmla="*/ 1879 w 10076"/>
                <a:gd name="connsiteY46" fmla="*/ 4866 h 10000"/>
                <a:gd name="connsiteX47" fmla="*/ 1541 w 10076"/>
                <a:gd name="connsiteY47" fmla="*/ 4716 h 10000"/>
                <a:gd name="connsiteX48" fmla="*/ 1268 w 10076"/>
                <a:gd name="connsiteY48" fmla="*/ 4753 h 10000"/>
                <a:gd name="connsiteX49" fmla="*/ 1134 w 10076"/>
                <a:gd name="connsiteY49" fmla="*/ 4600 h 10000"/>
                <a:gd name="connsiteX50" fmla="*/ 926 w 10076"/>
                <a:gd name="connsiteY50" fmla="*/ 4651 h 10000"/>
                <a:gd name="connsiteX51" fmla="*/ 653 w 10076"/>
                <a:gd name="connsiteY51" fmla="*/ 4600 h 10000"/>
                <a:gd name="connsiteX52" fmla="*/ 385 w 10076"/>
                <a:gd name="connsiteY52" fmla="*/ 4081 h 10000"/>
                <a:gd name="connsiteX53" fmla="*/ 485 w 10076"/>
                <a:gd name="connsiteY53" fmla="*/ 3928 h 10000"/>
                <a:gd name="connsiteX54" fmla="*/ 225 w 10076"/>
                <a:gd name="connsiteY54" fmla="*/ 3725 h 10000"/>
                <a:gd name="connsiteX55" fmla="*/ 368 w 10076"/>
                <a:gd name="connsiteY55" fmla="*/ 3435 h 10000"/>
                <a:gd name="connsiteX56" fmla="*/ 1190 w 10076"/>
                <a:gd name="connsiteY56" fmla="*/ 3258 h 10000"/>
                <a:gd name="connsiteX57" fmla="*/ 731 w 10076"/>
                <a:gd name="connsiteY57" fmla="*/ 3129 h 10000"/>
                <a:gd name="connsiteX58" fmla="*/ 472 w 10076"/>
                <a:gd name="connsiteY58" fmla="*/ 2978 h 10000"/>
                <a:gd name="connsiteX59" fmla="*/ 1155 w 10076"/>
                <a:gd name="connsiteY59" fmla="*/ 2523 h 10000"/>
                <a:gd name="connsiteX60" fmla="*/ 1421 w 10076"/>
                <a:gd name="connsiteY60" fmla="*/ 2218 h 10000"/>
                <a:gd name="connsiteX61" fmla="*/ 858 w 10076"/>
                <a:gd name="connsiteY61" fmla="*/ 2001 h 10000"/>
                <a:gd name="connsiteX62" fmla="*/ 1074 w 10076"/>
                <a:gd name="connsiteY62" fmla="*/ 1825 h 10000"/>
                <a:gd name="connsiteX63" fmla="*/ 632 w 10076"/>
                <a:gd name="connsiteY63" fmla="*/ 1585 h 10000"/>
                <a:gd name="connsiteX64" fmla="*/ 632 w 10076"/>
                <a:gd name="connsiteY64" fmla="*/ 1369 h 10000"/>
                <a:gd name="connsiteX65" fmla="*/ 341 w 10076"/>
                <a:gd name="connsiteY65" fmla="*/ 939 h 10000"/>
                <a:gd name="connsiteX66" fmla="*/ 558 w 10076"/>
                <a:gd name="connsiteY66" fmla="*/ 670 h 10000"/>
                <a:gd name="connsiteX67" fmla="*/ 212 w 10076"/>
                <a:gd name="connsiteY67" fmla="*/ 542 h 10000"/>
                <a:gd name="connsiteX68" fmla="*/ 0 w 10076"/>
                <a:gd name="connsiteY68" fmla="*/ 393 h 10000"/>
                <a:gd name="connsiteX69" fmla="*/ 307 w 10076"/>
                <a:gd name="connsiteY69" fmla="*/ 113 h 10000"/>
                <a:gd name="connsiteX70" fmla="*/ 671 w 10076"/>
                <a:gd name="connsiteY70" fmla="*/ 64 h 10000"/>
                <a:gd name="connsiteX71" fmla="*/ 1104 w 10076"/>
                <a:gd name="connsiteY71" fmla="*/ 0 h 10000"/>
                <a:gd name="connsiteX72" fmla="*/ 1750 w 10076"/>
                <a:gd name="connsiteY72" fmla="*/ 113 h 10000"/>
                <a:gd name="connsiteX73" fmla="*/ 2715 w 10076"/>
                <a:gd name="connsiteY73" fmla="*/ 240 h 10000"/>
                <a:gd name="connsiteX74" fmla="*/ 3576 w 10076"/>
                <a:gd name="connsiteY74" fmla="*/ 453 h 10000"/>
                <a:gd name="connsiteX75" fmla="*/ 4273 w 10076"/>
                <a:gd name="connsiteY75" fmla="*/ 632 h 10000"/>
                <a:gd name="connsiteX76" fmla="*/ 4104 w 10076"/>
                <a:gd name="connsiteY76" fmla="*/ 1128 h 10000"/>
                <a:gd name="connsiteX77" fmla="*/ 2040 w 10076"/>
                <a:gd name="connsiteY77" fmla="*/ 1002 h 10000"/>
                <a:gd name="connsiteX78" fmla="*/ 1385 w 10076"/>
                <a:gd name="connsiteY78" fmla="*/ 850 h 10000"/>
                <a:gd name="connsiteX79" fmla="*/ 1623 w 10076"/>
                <a:gd name="connsiteY79" fmla="*/ 939 h 10000"/>
                <a:gd name="connsiteX80" fmla="*/ 1867 w 10076"/>
                <a:gd name="connsiteY80" fmla="*/ 1152 h 10000"/>
                <a:gd name="connsiteX81" fmla="*/ 2264 w 10076"/>
                <a:gd name="connsiteY81" fmla="*/ 1306 h 10000"/>
                <a:gd name="connsiteX82" fmla="*/ 2355 w 10076"/>
                <a:gd name="connsiteY82" fmla="*/ 1634 h 10000"/>
                <a:gd name="connsiteX83" fmla="*/ 2871 w 10076"/>
                <a:gd name="connsiteY83" fmla="*/ 1787 h 10000"/>
                <a:gd name="connsiteX84" fmla="*/ 3295 w 10076"/>
                <a:gd name="connsiteY84" fmla="*/ 1938 h 10000"/>
                <a:gd name="connsiteX85" fmla="*/ 3420 w 10076"/>
                <a:gd name="connsiteY85" fmla="*/ 1977 h 10000"/>
                <a:gd name="connsiteX86" fmla="*/ 3680 w 10076"/>
                <a:gd name="connsiteY86" fmla="*/ 1938 h 10000"/>
                <a:gd name="connsiteX87" fmla="*/ 3576 w 10076"/>
                <a:gd name="connsiteY87" fmla="*/ 1850 h 10000"/>
                <a:gd name="connsiteX88" fmla="*/ 3078 w 10076"/>
                <a:gd name="connsiteY88" fmla="*/ 1634 h 10000"/>
                <a:gd name="connsiteX89" fmla="*/ 4533 w 10076"/>
                <a:gd name="connsiteY89" fmla="*/ 1825 h 10000"/>
                <a:gd name="connsiteX90" fmla="*/ 4575 w 10076"/>
                <a:gd name="connsiteY90" fmla="*/ 1734 h 10000"/>
                <a:gd name="connsiteX91" fmla="*/ 4438 w 10076"/>
                <a:gd name="connsiteY91" fmla="*/ 1671 h 10000"/>
                <a:gd name="connsiteX92" fmla="*/ 4182 w 10076"/>
                <a:gd name="connsiteY92" fmla="*/ 1394 h 10000"/>
                <a:gd name="connsiteX93" fmla="*/ 4909 w 10076"/>
                <a:gd name="connsiteY93" fmla="*/ 1128 h 10000"/>
                <a:gd name="connsiteX94" fmla="*/ 5481 w 10076"/>
                <a:gd name="connsiteY94" fmla="*/ 1306 h 10000"/>
                <a:gd name="connsiteX95" fmla="*/ 5645 w 10076"/>
                <a:gd name="connsiteY95" fmla="*/ 1065 h 10000"/>
                <a:gd name="connsiteX96" fmla="*/ 5377 w 10076"/>
                <a:gd name="connsiteY96" fmla="*/ 977 h 10000"/>
                <a:gd name="connsiteX97" fmla="*/ 5281 w 10076"/>
                <a:gd name="connsiteY97" fmla="*/ 518 h 10000"/>
                <a:gd name="connsiteX98" fmla="*/ 5174 w 10076"/>
                <a:gd name="connsiteY98" fmla="*/ 453 h 10000"/>
                <a:gd name="connsiteX99" fmla="*/ 5852 w 10076"/>
                <a:gd name="connsiteY99" fmla="*/ 480 h 10000"/>
                <a:gd name="connsiteX100" fmla="*/ 6147 w 10076"/>
                <a:gd name="connsiteY100" fmla="*/ 670 h 10000"/>
                <a:gd name="connsiteX101" fmla="*/ 5779 w 10076"/>
                <a:gd name="connsiteY101" fmla="*/ 823 h 10000"/>
                <a:gd name="connsiteX102" fmla="*/ 6412 w 10076"/>
                <a:gd name="connsiteY102" fmla="*/ 1026 h 10000"/>
                <a:gd name="connsiteX103" fmla="*/ 6931 w 10076"/>
                <a:gd name="connsiteY103" fmla="*/ 823 h 10000"/>
                <a:gd name="connsiteX104" fmla="*/ 7575 w 10076"/>
                <a:gd name="connsiteY104" fmla="*/ 542 h 10000"/>
                <a:gd name="connsiteX105" fmla="*/ 10076 w 10076"/>
                <a:gd name="connsiteY105" fmla="*/ 4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0076" h="10000">
                  <a:moveTo>
                    <a:pt x="10047" y="6428"/>
                  </a:moveTo>
                  <a:cubicBezTo>
                    <a:pt x="10125" y="6528"/>
                    <a:pt x="9276" y="6743"/>
                    <a:pt x="9354" y="6843"/>
                  </a:cubicBezTo>
                  <a:lnTo>
                    <a:pt x="9069" y="6843"/>
                  </a:lnTo>
                  <a:cubicBezTo>
                    <a:pt x="8969" y="6771"/>
                    <a:pt x="8866" y="6699"/>
                    <a:pt x="8762" y="6628"/>
                  </a:cubicBezTo>
                  <a:cubicBezTo>
                    <a:pt x="8696" y="6699"/>
                    <a:pt x="8632" y="6771"/>
                    <a:pt x="8542" y="6843"/>
                  </a:cubicBezTo>
                  <a:cubicBezTo>
                    <a:pt x="8559" y="7017"/>
                    <a:pt x="8576" y="7192"/>
                    <a:pt x="8589" y="7365"/>
                  </a:cubicBezTo>
                  <a:cubicBezTo>
                    <a:pt x="8745" y="7453"/>
                    <a:pt x="8913" y="7540"/>
                    <a:pt x="9069" y="7630"/>
                  </a:cubicBezTo>
                  <a:cubicBezTo>
                    <a:pt x="9142" y="7609"/>
                    <a:pt x="9234" y="7589"/>
                    <a:pt x="9320" y="7568"/>
                  </a:cubicBezTo>
                  <a:cubicBezTo>
                    <a:pt x="9493" y="7762"/>
                    <a:pt x="9676" y="7955"/>
                    <a:pt x="9849" y="8150"/>
                  </a:cubicBezTo>
                  <a:lnTo>
                    <a:pt x="9103" y="8365"/>
                  </a:lnTo>
                  <a:cubicBezTo>
                    <a:pt x="9074" y="8506"/>
                    <a:pt x="9039" y="8645"/>
                    <a:pt x="9018" y="8783"/>
                  </a:cubicBezTo>
                  <a:cubicBezTo>
                    <a:pt x="9139" y="8877"/>
                    <a:pt x="9281" y="8967"/>
                    <a:pt x="9407" y="9062"/>
                  </a:cubicBezTo>
                  <a:lnTo>
                    <a:pt x="9407" y="9367"/>
                  </a:lnTo>
                  <a:lnTo>
                    <a:pt x="10000" y="9797"/>
                  </a:lnTo>
                  <a:lnTo>
                    <a:pt x="9632" y="10000"/>
                  </a:lnTo>
                  <a:cubicBezTo>
                    <a:pt x="9442" y="9900"/>
                    <a:pt x="9256" y="9797"/>
                    <a:pt x="9069" y="9697"/>
                  </a:cubicBezTo>
                  <a:cubicBezTo>
                    <a:pt x="8806" y="9595"/>
                    <a:pt x="8533" y="9494"/>
                    <a:pt x="8286" y="9392"/>
                  </a:cubicBezTo>
                  <a:cubicBezTo>
                    <a:pt x="8174" y="9426"/>
                    <a:pt x="8057" y="9459"/>
                    <a:pt x="7953" y="9494"/>
                  </a:cubicBezTo>
                  <a:cubicBezTo>
                    <a:pt x="7762" y="9410"/>
                    <a:pt x="7580" y="9323"/>
                    <a:pt x="7385" y="9238"/>
                  </a:cubicBezTo>
                  <a:lnTo>
                    <a:pt x="6203" y="9188"/>
                  </a:lnTo>
                  <a:lnTo>
                    <a:pt x="4784" y="8543"/>
                  </a:lnTo>
                  <a:lnTo>
                    <a:pt x="5174" y="8431"/>
                  </a:lnTo>
                  <a:cubicBezTo>
                    <a:pt x="5247" y="8335"/>
                    <a:pt x="5342" y="8243"/>
                    <a:pt x="5442" y="8150"/>
                  </a:cubicBezTo>
                  <a:cubicBezTo>
                    <a:pt x="5330" y="8107"/>
                    <a:pt x="5230" y="8065"/>
                    <a:pt x="5143" y="8023"/>
                  </a:cubicBezTo>
                  <a:lnTo>
                    <a:pt x="5779" y="7845"/>
                  </a:lnTo>
                  <a:lnTo>
                    <a:pt x="5342" y="7782"/>
                  </a:lnTo>
                  <a:cubicBezTo>
                    <a:pt x="5359" y="7739"/>
                    <a:pt x="5389" y="7697"/>
                    <a:pt x="5425" y="7655"/>
                  </a:cubicBezTo>
                  <a:cubicBezTo>
                    <a:pt x="5503" y="7665"/>
                    <a:pt x="5593" y="7672"/>
                    <a:pt x="5684" y="7680"/>
                  </a:cubicBezTo>
                  <a:cubicBezTo>
                    <a:pt x="5788" y="7641"/>
                    <a:pt x="5879" y="7605"/>
                    <a:pt x="5991" y="7568"/>
                  </a:cubicBezTo>
                  <a:cubicBezTo>
                    <a:pt x="5949" y="7503"/>
                    <a:pt x="5883" y="7441"/>
                    <a:pt x="5840" y="7377"/>
                  </a:cubicBezTo>
                  <a:cubicBezTo>
                    <a:pt x="5852" y="7230"/>
                    <a:pt x="5874" y="7081"/>
                    <a:pt x="5905" y="6931"/>
                  </a:cubicBezTo>
                  <a:lnTo>
                    <a:pt x="5247" y="6855"/>
                  </a:lnTo>
                  <a:cubicBezTo>
                    <a:pt x="5082" y="6792"/>
                    <a:pt x="4887" y="6729"/>
                    <a:pt x="4692" y="6665"/>
                  </a:cubicBezTo>
                  <a:lnTo>
                    <a:pt x="3965" y="6652"/>
                  </a:lnTo>
                  <a:cubicBezTo>
                    <a:pt x="3931" y="6576"/>
                    <a:pt x="3892" y="6502"/>
                    <a:pt x="3858" y="6425"/>
                  </a:cubicBezTo>
                  <a:lnTo>
                    <a:pt x="3376" y="6247"/>
                  </a:lnTo>
                  <a:cubicBezTo>
                    <a:pt x="3407" y="6196"/>
                    <a:pt x="3446" y="6147"/>
                    <a:pt x="3476" y="6095"/>
                  </a:cubicBezTo>
                  <a:cubicBezTo>
                    <a:pt x="3381" y="6046"/>
                    <a:pt x="3273" y="5994"/>
                    <a:pt x="3173" y="5944"/>
                  </a:cubicBezTo>
                  <a:lnTo>
                    <a:pt x="2581" y="5944"/>
                  </a:lnTo>
                  <a:cubicBezTo>
                    <a:pt x="2528" y="5982"/>
                    <a:pt x="2472" y="6020"/>
                    <a:pt x="2408" y="6057"/>
                  </a:cubicBezTo>
                  <a:cubicBezTo>
                    <a:pt x="2359" y="6041"/>
                    <a:pt x="2308" y="6025"/>
                    <a:pt x="2264" y="6008"/>
                  </a:cubicBezTo>
                  <a:cubicBezTo>
                    <a:pt x="2225" y="5882"/>
                    <a:pt x="2174" y="5753"/>
                    <a:pt x="2138" y="5626"/>
                  </a:cubicBezTo>
                  <a:lnTo>
                    <a:pt x="2376" y="5664"/>
                  </a:lnTo>
                  <a:cubicBezTo>
                    <a:pt x="2459" y="5613"/>
                    <a:pt x="2550" y="5564"/>
                    <a:pt x="2637" y="5513"/>
                  </a:cubicBezTo>
                  <a:lnTo>
                    <a:pt x="2264" y="5373"/>
                  </a:lnTo>
                  <a:lnTo>
                    <a:pt x="1784" y="5107"/>
                  </a:lnTo>
                  <a:cubicBezTo>
                    <a:pt x="1809" y="5028"/>
                    <a:pt x="1848" y="4946"/>
                    <a:pt x="1879" y="4866"/>
                  </a:cubicBezTo>
                  <a:cubicBezTo>
                    <a:pt x="1779" y="4817"/>
                    <a:pt x="1672" y="4765"/>
                    <a:pt x="1541" y="4716"/>
                  </a:cubicBezTo>
                  <a:cubicBezTo>
                    <a:pt x="1467" y="4727"/>
                    <a:pt x="1385" y="4740"/>
                    <a:pt x="1268" y="4753"/>
                  </a:cubicBezTo>
                  <a:cubicBezTo>
                    <a:pt x="1233" y="4703"/>
                    <a:pt x="1187" y="4651"/>
                    <a:pt x="1134" y="4600"/>
                  </a:cubicBezTo>
                  <a:cubicBezTo>
                    <a:pt x="1074" y="4618"/>
                    <a:pt x="996" y="4633"/>
                    <a:pt x="926" y="4651"/>
                  </a:cubicBezTo>
                  <a:cubicBezTo>
                    <a:pt x="836" y="4633"/>
                    <a:pt x="745" y="4618"/>
                    <a:pt x="653" y="4600"/>
                  </a:cubicBezTo>
                  <a:cubicBezTo>
                    <a:pt x="580" y="4425"/>
                    <a:pt x="485" y="4254"/>
                    <a:pt x="385" y="4081"/>
                  </a:cubicBezTo>
                  <a:cubicBezTo>
                    <a:pt x="407" y="4030"/>
                    <a:pt x="463" y="3980"/>
                    <a:pt x="485" y="3928"/>
                  </a:cubicBezTo>
                  <a:cubicBezTo>
                    <a:pt x="395" y="3861"/>
                    <a:pt x="312" y="3793"/>
                    <a:pt x="225" y="3725"/>
                  </a:cubicBezTo>
                  <a:cubicBezTo>
                    <a:pt x="278" y="3629"/>
                    <a:pt x="329" y="3533"/>
                    <a:pt x="368" y="3435"/>
                  </a:cubicBezTo>
                  <a:lnTo>
                    <a:pt x="1190" y="3258"/>
                  </a:lnTo>
                  <a:cubicBezTo>
                    <a:pt x="1048" y="3212"/>
                    <a:pt x="883" y="3171"/>
                    <a:pt x="731" y="3129"/>
                  </a:cubicBezTo>
                  <a:cubicBezTo>
                    <a:pt x="632" y="3078"/>
                    <a:pt x="558" y="3029"/>
                    <a:pt x="472" y="2978"/>
                  </a:cubicBezTo>
                  <a:cubicBezTo>
                    <a:pt x="692" y="2826"/>
                    <a:pt x="931" y="2675"/>
                    <a:pt x="1155" y="2523"/>
                  </a:cubicBezTo>
                  <a:cubicBezTo>
                    <a:pt x="1238" y="2421"/>
                    <a:pt x="1338" y="2320"/>
                    <a:pt x="1421" y="2218"/>
                  </a:cubicBezTo>
                  <a:cubicBezTo>
                    <a:pt x="1216" y="2147"/>
                    <a:pt x="1048" y="2075"/>
                    <a:pt x="858" y="2001"/>
                  </a:cubicBezTo>
                  <a:cubicBezTo>
                    <a:pt x="926" y="1944"/>
                    <a:pt x="1004" y="1883"/>
                    <a:pt x="1074" y="1825"/>
                  </a:cubicBezTo>
                  <a:lnTo>
                    <a:pt x="632" y="1585"/>
                  </a:lnTo>
                  <a:lnTo>
                    <a:pt x="632" y="1369"/>
                  </a:lnTo>
                  <a:cubicBezTo>
                    <a:pt x="536" y="1224"/>
                    <a:pt x="446" y="1082"/>
                    <a:pt x="341" y="939"/>
                  </a:cubicBezTo>
                  <a:cubicBezTo>
                    <a:pt x="402" y="850"/>
                    <a:pt x="485" y="758"/>
                    <a:pt x="558" y="670"/>
                  </a:cubicBezTo>
                  <a:cubicBezTo>
                    <a:pt x="429" y="628"/>
                    <a:pt x="329" y="583"/>
                    <a:pt x="212" y="542"/>
                  </a:cubicBezTo>
                  <a:cubicBezTo>
                    <a:pt x="126" y="493"/>
                    <a:pt x="56" y="442"/>
                    <a:pt x="0" y="393"/>
                  </a:cubicBezTo>
                  <a:cubicBezTo>
                    <a:pt x="95" y="298"/>
                    <a:pt x="203" y="206"/>
                    <a:pt x="307" y="113"/>
                  </a:cubicBezTo>
                  <a:cubicBezTo>
                    <a:pt x="416" y="96"/>
                    <a:pt x="558" y="80"/>
                    <a:pt x="671" y="64"/>
                  </a:cubicBezTo>
                  <a:lnTo>
                    <a:pt x="1104" y="0"/>
                  </a:lnTo>
                  <a:lnTo>
                    <a:pt x="1750" y="113"/>
                  </a:lnTo>
                  <a:lnTo>
                    <a:pt x="2715" y="240"/>
                  </a:lnTo>
                  <a:lnTo>
                    <a:pt x="3576" y="453"/>
                  </a:lnTo>
                  <a:lnTo>
                    <a:pt x="4273" y="632"/>
                  </a:lnTo>
                  <a:cubicBezTo>
                    <a:pt x="4645" y="823"/>
                    <a:pt x="4438" y="1026"/>
                    <a:pt x="4104" y="1128"/>
                  </a:cubicBezTo>
                  <a:cubicBezTo>
                    <a:pt x="3395" y="1103"/>
                    <a:pt x="2740" y="1052"/>
                    <a:pt x="2040" y="1002"/>
                  </a:cubicBezTo>
                  <a:cubicBezTo>
                    <a:pt x="1809" y="950"/>
                    <a:pt x="1611" y="887"/>
                    <a:pt x="1385" y="850"/>
                  </a:cubicBezTo>
                  <a:cubicBezTo>
                    <a:pt x="1446" y="887"/>
                    <a:pt x="1541" y="887"/>
                    <a:pt x="1623" y="939"/>
                  </a:cubicBezTo>
                  <a:cubicBezTo>
                    <a:pt x="1750" y="1026"/>
                    <a:pt x="1667" y="1115"/>
                    <a:pt x="1867" y="1152"/>
                  </a:cubicBezTo>
                  <a:cubicBezTo>
                    <a:pt x="2008" y="1217"/>
                    <a:pt x="2104" y="1279"/>
                    <a:pt x="2264" y="1306"/>
                  </a:cubicBezTo>
                  <a:cubicBezTo>
                    <a:pt x="2408" y="1458"/>
                    <a:pt x="2191" y="1471"/>
                    <a:pt x="2355" y="1634"/>
                  </a:cubicBezTo>
                  <a:cubicBezTo>
                    <a:pt x="2425" y="1723"/>
                    <a:pt x="2740" y="1760"/>
                    <a:pt x="2871" y="1787"/>
                  </a:cubicBezTo>
                  <a:cubicBezTo>
                    <a:pt x="3078" y="1899"/>
                    <a:pt x="2927" y="1837"/>
                    <a:pt x="3295" y="1938"/>
                  </a:cubicBezTo>
                  <a:cubicBezTo>
                    <a:pt x="3329" y="1952"/>
                    <a:pt x="3420" y="1977"/>
                    <a:pt x="3420" y="1977"/>
                  </a:cubicBezTo>
                  <a:cubicBezTo>
                    <a:pt x="3512" y="1964"/>
                    <a:pt x="3624" y="1990"/>
                    <a:pt x="3680" y="1938"/>
                  </a:cubicBezTo>
                  <a:cubicBezTo>
                    <a:pt x="3714" y="1914"/>
                    <a:pt x="3624" y="1874"/>
                    <a:pt x="3576" y="1850"/>
                  </a:cubicBezTo>
                  <a:cubicBezTo>
                    <a:pt x="3407" y="1760"/>
                    <a:pt x="3251" y="1760"/>
                    <a:pt x="3078" y="1634"/>
                  </a:cubicBezTo>
                  <a:cubicBezTo>
                    <a:pt x="3407" y="1406"/>
                    <a:pt x="4148" y="1711"/>
                    <a:pt x="4533" y="1825"/>
                  </a:cubicBezTo>
                  <a:cubicBezTo>
                    <a:pt x="4545" y="1799"/>
                    <a:pt x="4594" y="1760"/>
                    <a:pt x="4575" y="1734"/>
                  </a:cubicBezTo>
                  <a:cubicBezTo>
                    <a:pt x="4563" y="1697"/>
                    <a:pt x="4472" y="1697"/>
                    <a:pt x="4438" y="1671"/>
                  </a:cubicBezTo>
                  <a:cubicBezTo>
                    <a:pt x="4333" y="1585"/>
                    <a:pt x="4273" y="1482"/>
                    <a:pt x="4182" y="1394"/>
                  </a:cubicBezTo>
                  <a:cubicBezTo>
                    <a:pt x="4346" y="1229"/>
                    <a:pt x="4645" y="1178"/>
                    <a:pt x="4909" y="1128"/>
                  </a:cubicBezTo>
                  <a:cubicBezTo>
                    <a:pt x="5233" y="1152"/>
                    <a:pt x="5281" y="1140"/>
                    <a:pt x="5481" y="1306"/>
                  </a:cubicBezTo>
                  <a:cubicBezTo>
                    <a:pt x="5593" y="1279"/>
                    <a:pt x="5793" y="1178"/>
                    <a:pt x="5645" y="1065"/>
                  </a:cubicBezTo>
                  <a:cubicBezTo>
                    <a:pt x="5576" y="1014"/>
                    <a:pt x="5481" y="1014"/>
                    <a:pt x="5377" y="977"/>
                  </a:cubicBezTo>
                  <a:cubicBezTo>
                    <a:pt x="5311" y="823"/>
                    <a:pt x="5359" y="670"/>
                    <a:pt x="5281" y="518"/>
                  </a:cubicBezTo>
                  <a:cubicBezTo>
                    <a:pt x="5269" y="480"/>
                    <a:pt x="5130" y="453"/>
                    <a:pt x="5174" y="453"/>
                  </a:cubicBezTo>
                  <a:cubicBezTo>
                    <a:pt x="5394" y="442"/>
                    <a:pt x="5628" y="466"/>
                    <a:pt x="5852" y="480"/>
                  </a:cubicBezTo>
                  <a:cubicBezTo>
                    <a:pt x="6044" y="530"/>
                    <a:pt x="6091" y="530"/>
                    <a:pt x="6147" y="670"/>
                  </a:cubicBezTo>
                  <a:cubicBezTo>
                    <a:pt x="5957" y="708"/>
                    <a:pt x="5874" y="696"/>
                    <a:pt x="5779" y="823"/>
                  </a:cubicBezTo>
                  <a:cubicBezTo>
                    <a:pt x="5991" y="913"/>
                    <a:pt x="6161" y="977"/>
                    <a:pt x="6412" y="1026"/>
                  </a:cubicBezTo>
                  <a:cubicBezTo>
                    <a:pt x="6610" y="989"/>
                    <a:pt x="6736" y="887"/>
                    <a:pt x="6931" y="823"/>
                  </a:cubicBezTo>
                  <a:cubicBezTo>
                    <a:pt x="7087" y="696"/>
                    <a:pt x="7324" y="580"/>
                    <a:pt x="7575" y="542"/>
                  </a:cubicBezTo>
                  <a:cubicBezTo>
                    <a:pt x="7775" y="442"/>
                    <a:pt x="9834" y="438"/>
                    <a:pt x="10076" y="412"/>
                  </a:cubicBezTo>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17" name="Freeform 151"/>
            <p:cNvSpPr>
              <a:spLocks/>
            </p:cNvSpPr>
            <p:nvPr/>
          </p:nvSpPr>
          <p:spPr bwMode="auto">
            <a:xfrm>
              <a:off x="4945894" y="2841621"/>
              <a:ext cx="22225" cy="15875"/>
            </a:xfrm>
            <a:custGeom>
              <a:avLst/>
              <a:gdLst>
                <a:gd name="T0" fmla="*/ 0 w 20"/>
                <a:gd name="T1" fmla="*/ 9 h 15"/>
                <a:gd name="T2" fmla="*/ 5 w 20"/>
                <a:gd name="T3" fmla="*/ 0 h 15"/>
                <a:gd name="T4" fmla="*/ 20 w 20"/>
                <a:gd name="T5" fmla="*/ 0 h 15"/>
                <a:gd name="T6" fmla="*/ 12 w 20"/>
                <a:gd name="T7" fmla="*/ 15 h 15"/>
                <a:gd name="T8" fmla="*/ 0 w 20"/>
                <a:gd name="T9" fmla="*/ 9 h 15"/>
              </a:gdLst>
              <a:ahLst/>
              <a:cxnLst>
                <a:cxn ang="0">
                  <a:pos x="T0" y="T1"/>
                </a:cxn>
                <a:cxn ang="0">
                  <a:pos x="T2" y="T3"/>
                </a:cxn>
                <a:cxn ang="0">
                  <a:pos x="T4" y="T5"/>
                </a:cxn>
                <a:cxn ang="0">
                  <a:pos x="T6" y="T7"/>
                </a:cxn>
                <a:cxn ang="0">
                  <a:pos x="T8" y="T9"/>
                </a:cxn>
              </a:cxnLst>
              <a:rect l="0" t="0" r="r" b="b"/>
              <a:pathLst>
                <a:path w="20" h="15">
                  <a:moveTo>
                    <a:pt x="0" y="9"/>
                  </a:moveTo>
                  <a:lnTo>
                    <a:pt x="5" y="0"/>
                  </a:lnTo>
                  <a:lnTo>
                    <a:pt x="20" y="0"/>
                  </a:lnTo>
                  <a:lnTo>
                    <a:pt x="12" y="15"/>
                  </a:lnTo>
                  <a:lnTo>
                    <a:pt x="0" y="9"/>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18" name="Freeform 154"/>
            <p:cNvSpPr>
              <a:spLocks/>
            </p:cNvSpPr>
            <p:nvPr/>
          </p:nvSpPr>
          <p:spPr bwMode="auto">
            <a:xfrm>
              <a:off x="4949070" y="2686045"/>
              <a:ext cx="219076" cy="227012"/>
            </a:xfrm>
            <a:custGeom>
              <a:avLst/>
              <a:gdLst>
                <a:gd name="T0" fmla="*/ 29 w 207"/>
                <a:gd name="T1" fmla="*/ 45 h 216"/>
                <a:gd name="T2" fmla="*/ 35 w 207"/>
                <a:gd name="T3" fmla="*/ 33 h 216"/>
                <a:gd name="T4" fmla="*/ 48 w 207"/>
                <a:gd name="T5" fmla="*/ 31 h 216"/>
                <a:gd name="T6" fmla="*/ 59 w 207"/>
                <a:gd name="T7" fmla="*/ 46 h 216"/>
                <a:gd name="T8" fmla="*/ 63 w 207"/>
                <a:gd name="T9" fmla="*/ 31 h 216"/>
                <a:gd name="T10" fmla="*/ 75 w 207"/>
                <a:gd name="T11" fmla="*/ 31 h 216"/>
                <a:gd name="T12" fmla="*/ 69 w 207"/>
                <a:gd name="T13" fmla="*/ 21 h 216"/>
                <a:gd name="T14" fmla="*/ 68 w 207"/>
                <a:gd name="T15" fmla="*/ 9 h 216"/>
                <a:gd name="T16" fmla="*/ 59 w 207"/>
                <a:gd name="T17" fmla="*/ 0 h 216"/>
                <a:gd name="T18" fmla="*/ 72 w 207"/>
                <a:gd name="T19" fmla="*/ 0 h 216"/>
                <a:gd name="T20" fmla="*/ 81 w 207"/>
                <a:gd name="T21" fmla="*/ 4 h 216"/>
                <a:gd name="T22" fmla="*/ 93 w 207"/>
                <a:gd name="T23" fmla="*/ 3 h 216"/>
                <a:gd name="T24" fmla="*/ 93 w 207"/>
                <a:gd name="T25" fmla="*/ 13 h 216"/>
                <a:gd name="T26" fmla="*/ 107 w 207"/>
                <a:gd name="T27" fmla="*/ 16 h 216"/>
                <a:gd name="T28" fmla="*/ 120 w 207"/>
                <a:gd name="T29" fmla="*/ 15 h 216"/>
                <a:gd name="T30" fmla="*/ 113 w 207"/>
                <a:gd name="T31" fmla="*/ 27 h 216"/>
                <a:gd name="T32" fmla="*/ 123 w 207"/>
                <a:gd name="T33" fmla="*/ 31 h 216"/>
                <a:gd name="T34" fmla="*/ 141 w 207"/>
                <a:gd name="T35" fmla="*/ 19 h 216"/>
                <a:gd name="T36" fmla="*/ 152 w 207"/>
                <a:gd name="T37" fmla="*/ 13 h 216"/>
                <a:gd name="T38" fmla="*/ 170 w 207"/>
                <a:gd name="T39" fmla="*/ 10 h 216"/>
                <a:gd name="T40" fmla="*/ 180 w 207"/>
                <a:gd name="T41" fmla="*/ 25 h 216"/>
                <a:gd name="T42" fmla="*/ 192 w 207"/>
                <a:gd name="T43" fmla="*/ 45 h 216"/>
                <a:gd name="T44" fmla="*/ 188 w 207"/>
                <a:gd name="T45" fmla="*/ 58 h 216"/>
                <a:gd name="T46" fmla="*/ 198 w 207"/>
                <a:gd name="T47" fmla="*/ 70 h 216"/>
                <a:gd name="T48" fmla="*/ 198 w 207"/>
                <a:gd name="T49" fmla="*/ 90 h 216"/>
                <a:gd name="T50" fmla="*/ 207 w 207"/>
                <a:gd name="T51" fmla="*/ 103 h 216"/>
                <a:gd name="T52" fmla="*/ 207 w 207"/>
                <a:gd name="T53" fmla="*/ 115 h 216"/>
                <a:gd name="T54" fmla="*/ 194 w 207"/>
                <a:gd name="T55" fmla="*/ 111 h 216"/>
                <a:gd name="T56" fmla="*/ 162 w 207"/>
                <a:gd name="T57" fmla="*/ 129 h 216"/>
                <a:gd name="T58" fmla="*/ 141 w 207"/>
                <a:gd name="T59" fmla="*/ 130 h 216"/>
                <a:gd name="T60" fmla="*/ 152 w 207"/>
                <a:gd name="T61" fmla="*/ 151 h 216"/>
                <a:gd name="T62" fmla="*/ 168 w 207"/>
                <a:gd name="T63" fmla="*/ 166 h 216"/>
                <a:gd name="T64" fmla="*/ 180 w 207"/>
                <a:gd name="T65" fmla="*/ 177 h 216"/>
                <a:gd name="T66" fmla="*/ 167 w 207"/>
                <a:gd name="T67" fmla="*/ 186 h 216"/>
                <a:gd name="T68" fmla="*/ 158 w 207"/>
                <a:gd name="T69" fmla="*/ 193 h 216"/>
                <a:gd name="T70" fmla="*/ 164 w 207"/>
                <a:gd name="T71" fmla="*/ 211 h 216"/>
                <a:gd name="T72" fmla="*/ 149 w 207"/>
                <a:gd name="T73" fmla="*/ 205 h 216"/>
                <a:gd name="T74" fmla="*/ 117 w 207"/>
                <a:gd name="T75" fmla="*/ 213 h 216"/>
                <a:gd name="T76" fmla="*/ 105 w 207"/>
                <a:gd name="T77" fmla="*/ 205 h 216"/>
                <a:gd name="T78" fmla="*/ 98 w 207"/>
                <a:gd name="T79" fmla="*/ 216 h 216"/>
                <a:gd name="T80" fmla="*/ 90 w 207"/>
                <a:gd name="T81" fmla="*/ 208 h 216"/>
                <a:gd name="T82" fmla="*/ 75 w 207"/>
                <a:gd name="T83" fmla="*/ 208 h 216"/>
                <a:gd name="T84" fmla="*/ 42 w 207"/>
                <a:gd name="T85" fmla="*/ 210 h 216"/>
                <a:gd name="T86" fmla="*/ 42 w 207"/>
                <a:gd name="T87" fmla="*/ 195 h 216"/>
                <a:gd name="T88" fmla="*/ 54 w 207"/>
                <a:gd name="T89" fmla="*/ 169 h 216"/>
                <a:gd name="T90" fmla="*/ 20 w 207"/>
                <a:gd name="T91" fmla="*/ 168 h 216"/>
                <a:gd name="T92" fmla="*/ 9 w 207"/>
                <a:gd name="T93" fmla="*/ 160 h 216"/>
                <a:gd name="T94" fmla="*/ 17 w 207"/>
                <a:gd name="T95" fmla="*/ 145 h 216"/>
                <a:gd name="T96" fmla="*/ 6 w 207"/>
                <a:gd name="T97" fmla="*/ 145 h 216"/>
                <a:gd name="T98" fmla="*/ 9 w 207"/>
                <a:gd name="T99" fmla="*/ 132 h 216"/>
                <a:gd name="T100" fmla="*/ 0 w 207"/>
                <a:gd name="T101" fmla="*/ 111 h 216"/>
                <a:gd name="T102" fmla="*/ 9 w 207"/>
                <a:gd name="T103" fmla="*/ 103 h 216"/>
                <a:gd name="T104" fmla="*/ 2 w 207"/>
                <a:gd name="T105" fmla="*/ 90 h 216"/>
                <a:gd name="T106" fmla="*/ 6 w 207"/>
                <a:gd name="T107" fmla="*/ 81 h 216"/>
                <a:gd name="T108" fmla="*/ 20 w 207"/>
                <a:gd name="T109" fmla="*/ 90 h 216"/>
                <a:gd name="T110" fmla="*/ 30 w 207"/>
                <a:gd name="T111" fmla="*/ 75 h 216"/>
                <a:gd name="T112" fmla="*/ 21 w 207"/>
                <a:gd name="T113" fmla="*/ 70 h 216"/>
                <a:gd name="T114" fmla="*/ 35 w 207"/>
                <a:gd name="T115" fmla="*/ 61 h 216"/>
                <a:gd name="T116" fmla="*/ 29 w 207"/>
                <a:gd name="T117" fmla="*/ 4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7" h="216">
                  <a:moveTo>
                    <a:pt x="29" y="45"/>
                  </a:moveTo>
                  <a:lnTo>
                    <a:pt x="35" y="33"/>
                  </a:lnTo>
                  <a:lnTo>
                    <a:pt x="48" y="31"/>
                  </a:lnTo>
                  <a:lnTo>
                    <a:pt x="59" y="46"/>
                  </a:lnTo>
                  <a:lnTo>
                    <a:pt x="63" y="31"/>
                  </a:lnTo>
                  <a:lnTo>
                    <a:pt x="75" y="31"/>
                  </a:lnTo>
                  <a:lnTo>
                    <a:pt x="69" y="21"/>
                  </a:lnTo>
                  <a:lnTo>
                    <a:pt x="68" y="9"/>
                  </a:lnTo>
                  <a:lnTo>
                    <a:pt x="59" y="0"/>
                  </a:lnTo>
                  <a:lnTo>
                    <a:pt x="72" y="0"/>
                  </a:lnTo>
                  <a:lnTo>
                    <a:pt x="81" y="4"/>
                  </a:lnTo>
                  <a:lnTo>
                    <a:pt x="93" y="3"/>
                  </a:lnTo>
                  <a:lnTo>
                    <a:pt x="93" y="13"/>
                  </a:lnTo>
                  <a:lnTo>
                    <a:pt x="107" y="16"/>
                  </a:lnTo>
                  <a:lnTo>
                    <a:pt x="120" y="15"/>
                  </a:lnTo>
                  <a:lnTo>
                    <a:pt x="113" y="27"/>
                  </a:lnTo>
                  <a:lnTo>
                    <a:pt x="123" y="31"/>
                  </a:lnTo>
                  <a:lnTo>
                    <a:pt x="141" y="19"/>
                  </a:lnTo>
                  <a:lnTo>
                    <a:pt x="152" y="13"/>
                  </a:lnTo>
                  <a:lnTo>
                    <a:pt x="170" y="10"/>
                  </a:lnTo>
                  <a:lnTo>
                    <a:pt x="180" y="25"/>
                  </a:lnTo>
                  <a:lnTo>
                    <a:pt x="192" y="45"/>
                  </a:lnTo>
                  <a:lnTo>
                    <a:pt x="188" y="58"/>
                  </a:lnTo>
                  <a:lnTo>
                    <a:pt x="198" y="70"/>
                  </a:lnTo>
                  <a:lnTo>
                    <a:pt x="198" y="90"/>
                  </a:lnTo>
                  <a:lnTo>
                    <a:pt x="207" y="103"/>
                  </a:lnTo>
                  <a:lnTo>
                    <a:pt x="207" y="115"/>
                  </a:lnTo>
                  <a:lnTo>
                    <a:pt x="194" y="111"/>
                  </a:lnTo>
                  <a:lnTo>
                    <a:pt x="162" y="129"/>
                  </a:lnTo>
                  <a:lnTo>
                    <a:pt x="141" y="130"/>
                  </a:lnTo>
                  <a:lnTo>
                    <a:pt x="152" y="151"/>
                  </a:lnTo>
                  <a:lnTo>
                    <a:pt x="168" y="166"/>
                  </a:lnTo>
                  <a:lnTo>
                    <a:pt x="180" y="177"/>
                  </a:lnTo>
                  <a:lnTo>
                    <a:pt x="167" y="186"/>
                  </a:lnTo>
                  <a:lnTo>
                    <a:pt x="158" y="193"/>
                  </a:lnTo>
                  <a:lnTo>
                    <a:pt x="164" y="211"/>
                  </a:lnTo>
                  <a:lnTo>
                    <a:pt x="149" y="205"/>
                  </a:lnTo>
                  <a:lnTo>
                    <a:pt x="117" y="213"/>
                  </a:lnTo>
                  <a:lnTo>
                    <a:pt x="105" y="205"/>
                  </a:lnTo>
                  <a:lnTo>
                    <a:pt x="98" y="216"/>
                  </a:lnTo>
                  <a:lnTo>
                    <a:pt x="90" y="208"/>
                  </a:lnTo>
                  <a:lnTo>
                    <a:pt x="75" y="208"/>
                  </a:lnTo>
                  <a:lnTo>
                    <a:pt x="42" y="210"/>
                  </a:lnTo>
                  <a:lnTo>
                    <a:pt x="42" y="195"/>
                  </a:lnTo>
                  <a:lnTo>
                    <a:pt x="54" y="169"/>
                  </a:lnTo>
                  <a:lnTo>
                    <a:pt x="20" y="168"/>
                  </a:lnTo>
                  <a:lnTo>
                    <a:pt x="9" y="160"/>
                  </a:lnTo>
                  <a:lnTo>
                    <a:pt x="17" y="145"/>
                  </a:lnTo>
                  <a:lnTo>
                    <a:pt x="6" y="145"/>
                  </a:lnTo>
                  <a:lnTo>
                    <a:pt x="9" y="132"/>
                  </a:lnTo>
                  <a:lnTo>
                    <a:pt x="0" y="111"/>
                  </a:lnTo>
                  <a:lnTo>
                    <a:pt x="9" y="103"/>
                  </a:lnTo>
                  <a:lnTo>
                    <a:pt x="2" y="90"/>
                  </a:lnTo>
                  <a:lnTo>
                    <a:pt x="6" y="81"/>
                  </a:lnTo>
                  <a:lnTo>
                    <a:pt x="20" y="90"/>
                  </a:lnTo>
                  <a:lnTo>
                    <a:pt x="30" y="75"/>
                  </a:lnTo>
                  <a:lnTo>
                    <a:pt x="21" y="70"/>
                  </a:lnTo>
                  <a:lnTo>
                    <a:pt x="35" y="61"/>
                  </a:lnTo>
                  <a:lnTo>
                    <a:pt x="29" y="45"/>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19" name="Freeform 155"/>
            <p:cNvSpPr>
              <a:spLocks/>
            </p:cNvSpPr>
            <p:nvPr/>
          </p:nvSpPr>
          <p:spPr bwMode="auto">
            <a:xfrm>
              <a:off x="5003046" y="2605084"/>
              <a:ext cx="58739" cy="85724"/>
            </a:xfrm>
            <a:custGeom>
              <a:avLst/>
              <a:gdLst>
                <a:gd name="T0" fmla="*/ 8 w 56"/>
                <a:gd name="T1" fmla="*/ 79 h 82"/>
                <a:gd name="T2" fmla="*/ 9 w 56"/>
                <a:gd name="T3" fmla="*/ 69 h 82"/>
                <a:gd name="T4" fmla="*/ 0 w 56"/>
                <a:gd name="T5" fmla="*/ 61 h 82"/>
                <a:gd name="T6" fmla="*/ 2 w 56"/>
                <a:gd name="T7" fmla="*/ 43 h 82"/>
                <a:gd name="T8" fmla="*/ 6 w 56"/>
                <a:gd name="T9" fmla="*/ 27 h 82"/>
                <a:gd name="T10" fmla="*/ 20 w 56"/>
                <a:gd name="T11" fmla="*/ 15 h 82"/>
                <a:gd name="T12" fmla="*/ 33 w 56"/>
                <a:gd name="T13" fmla="*/ 15 h 82"/>
                <a:gd name="T14" fmla="*/ 50 w 56"/>
                <a:gd name="T15" fmla="*/ 0 h 82"/>
                <a:gd name="T16" fmla="*/ 56 w 56"/>
                <a:gd name="T17" fmla="*/ 19 h 82"/>
                <a:gd name="T18" fmla="*/ 50 w 56"/>
                <a:gd name="T19" fmla="*/ 33 h 82"/>
                <a:gd name="T20" fmla="*/ 51 w 56"/>
                <a:gd name="T21" fmla="*/ 49 h 82"/>
                <a:gd name="T22" fmla="*/ 39 w 56"/>
                <a:gd name="T23" fmla="*/ 58 h 82"/>
                <a:gd name="T24" fmla="*/ 36 w 56"/>
                <a:gd name="T25" fmla="*/ 69 h 82"/>
                <a:gd name="T26" fmla="*/ 41 w 56"/>
                <a:gd name="T27" fmla="*/ 82 h 82"/>
                <a:gd name="T28" fmla="*/ 27 w 56"/>
                <a:gd name="T29" fmla="*/ 82 h 82"/>
                <a:gd name="T30" fmla="*/ 8 w 56"/>
                <a:gd name="T31"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82">
                  <a:moveTo>
                    <a:pt x="8" y="79"/>
                  </a:moveTo>
                  <a:lnTo>
                    <a:pt x="9" y="69"/>
                  </a:lnTo>
                  <a:lnTo>
                    <a:pt x="0" y="61"/>
                  </a:lnTo>
                  <a:lnTo>
                    <a:pt x="2" y="43"/>
                  </a:lnTo>
                  <a:lnTo>
                    <a:pt x="6" y="27"/>
                  </a:lnTo>
                  <a:lnTo>
                    <a:pt x="20" y="15"/>
                  </a:lnTo>
                  <a:lnTo>
                    <a:pt x="33" y="15"/>
                  </a:lnTo>
                  <a:lnTo>
                    <a:pt x="50" y="0"/>
                  </a:lnTo>
                  <a:lnTo>
                    <a:pt x="56" y="19"/>
                  </a:lnTo>
                  <a:lnTo>
                    <a:pt x="50" y="33"/>
                  </a:lnTo>
                  <a:lnTo>
                    <a:pt x="51" y="49"/>
                  </a:lnTo>
                  <a:lnTo>
                    <a:pt x="39" y="58"/>
                  </a:lnTo>
                  <a:lnTo>
                    <a:pt x="36" y="69"/>
                  </a:lnTo>
                  <a:lnTo>
                    <a:pt x="41" y="82"/>
                  </a:lnTo>
                  <a:lnTo>
                    <a:pt x="27" y="82"/>
                  </a:lnTo>
                  <a:lnTo>
                    <a:pt x="8" y="79"/>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0" name="Freeform 156"/>
            <p:cNvSpPr>
              <a:spLocks/>
            </p:cNvSpPr>
            <p:nvPr/>
          </p:nvSpPr>
          <p:spPr bwMode="auto">
            <a:xfrm>
              <a:off x="5068131" y="2662234"/>
              <a:ext cx="44450" cy="34925"/>
            </a:xfrm>
            <a:custGeom>
              <a:avLst/>
              <a:gdLst>
                <a:gd name="T0" fmla="*/ 4 w 41"/>
                <a:gd name="T1" fmla="*/ 3 h 33"/>
                <a:gd name="T2" fmla="*/ 28 w 41"/>
                <a:gd name="T3" fmla="*/ 2 h 33"/>
                <a:gd name="T4" fmla="*/ 13 w 41"/>
                <a:gd name="T5" fmla="*/ 33 h 33"/>
                <a:gd name="T6" fmla="*/ 13 w 41"/>
                <a:gd name="T7" fmla="*/ 20 h 33"/>
                <a:gd name="T8" fmla="*/ 12 w 41"/>
                <a:gd name="T9" fmla="*/ 12 h 33"/>
                <a:gd name="T10" fmla="*/ 7 w 41"/>
                <a:gd name="T11" fmla="*/ 11 h 33"/>
                <a:gd name="T12" fmla="*/ 4 w 41"/>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 y="3"/>
                  </a:moveTo>
                  <a:cubicBezTo>
                    <a:pt x="16" y="1"/>
                    <a:pt x="12" y="0"/>
                    <a:pt x="28" y="2"/>
                  </a:cubicBezTo>
                  <a:cubicBezTo>
                    <a:pt x="41" y="19"/>
                    <a:pt x="31" y="31"/>
                    <a:pt x="13" y="33"/>
                  </a:cubicBezTo>
                  <a:cubicBezTo>
                    <a:pt x="0" y="31"/>
                    <a:pt x="8" y="26"/>
                    <a:pt x="13" y="20"/>
                  </a:cubicBezTo>
                  <a:cubicBezTo>
                    <a:pt x="13" y="17"/>
                    <a:pt x="13" y="14"/>
                    <a:pt x="12" y="12"/>
                  </a:cubicBezTo>
                  <a:cubicBezTo>
                    <a:pt x="11" y="11"/>
                    <a:pt x="8" y="12"/>
                    <a:pt x="7" y="11"/>
                  </a:cubicBezTo>
                  <a:cubicBezTo>
                    <a:pt x="5" y="9"/>
                    <a:pt x="6" y="5"/>
                    <a:pt x="4" y="3"/>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1" name="Freeform 157"/>
            <p:cNvSpPr>
              <a:spLocks/>
            </p:cNvSpPr>
            <p:nvPr/>
          </p:nvSpPr>
          <p:spPr bwMode="auto">
            <a:xfrm>
              <a:off x="5098295" y="2803520"/>
              <a:ext cx="160338" cy="73025"/>
            </a:xfrm>
            <a:custGeom>
              <a:avLst/>
              <a:gdLst>
                <a:gd name="T0" fmla="*/ 66 w 153"/>
                <a:gd name="T1" fmla="*/ 1 h 69"/>
                <a:gd name="T2" fmla="*/ 86 w 153"/>
                <a:gd name="T3" fmla="*/ 7 h 69"/>
                <a:gd name="T4" fmla="*/ 101 w 153"/>
                <a:gd name="T5" fmla="*/ 16 h 69"/>
                <a:gd name="T6" fmla="*/ 113 w 153"/>
                <a:gd name="T7" fmla="*/ 24 h 69"/>
                <a:gd name="T8" fmla="*/ 125 w 153"/>
                <a:gd name="T9" fmla="*/ 19 h 69"/>
                <a:gd name="T10" fmla="*/ 153 w 153"/>
                <a:gd name="T11" fmla="*/ 37 h 69"/>
                <a:gd name="T12" fmla="*/ 129 w 153"/>
                <a:gd name="T13" fmla="*/ 61 h 69"/>
                <a:gd name="T14" fmla="*/ 105 w 153"/>
                <a:gd name="T15" fmla="*/ 66 h 69"/>
                <a:gd name="T16" fmla="*/ 75 w 153"/>
                <a:gd name="T17" fmla="*/ 60 h 69"/>
                <a:gd name="T18" fmla="*/ 57 w 153"/>
                <a:gd name="T19" fmla="*/ 69 h 69"/>
                <a:gd name="T20" fmla="*/ 36 w 153"/>
                <a:gd name="T21" fmla="*/ 64 h 69"/>
                <a:gd name="T22" fmla="*/ 11 w 153"/>
                <a:gd name="T23" fmla="*/ 42 h 69"/>
                <a:gd name="T24" fmla="*/ 0 w 153"/>
                <a:gd name="T25" fmla="*/ 18 h 69"/>
                <a:gd name="T26" fmla="*/ 18 w 153"/>
                <a:gd name="T27" fmla="*/ 18 h 69"/>
                <a:gd name="T28" fmla="*/ 51 w 153"/>
                <a:gd name="T29" fmla="*/ 0 h 69"/>
                <a:gd name="T30" fmla="*/ 66 w 153"/>
                <a:gd name="T31"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69">
                  <a:moveTo>
                    <a:pt x="66" y="1"/>
                  </a:moveTo>
                  <a:lnTo>
                    <a:pt x="86" y="7"/>
                  </a:lnTo>
                  <a:lnTo>
                    <a:pt x="101" y="16"/>
                  </a:lnTo>
                  <a:lnTo>
                    <a:pt x="113" y="24"/>
                  </a:lnTo>
                  <a:lnTo>
                    <a:pt x="125" y="19"/>
                  </a:lnTo>
                  <a:lnTo>
                    <a:pt x="153" y="37"/>
                  </a:lnTo>
                  <a:lnTo>
                    <a:pt x="129" y="61"/>
                  </a:lnTo>
                  <a:lnTo>
                    <a:pt x="105" y="66"/>
                  </a:lnTo>
                  <a:lnTo>
                    <a:pt x="75" y="60"/>
                  </a:lnTo>
                  <a:lnTo>
                    <a:pt x="57" y="69"/>
                  </a:lnTo>
                  <a:lnTo>
                    <a:pt x="36" y="64"/>
                  </a:lnTo>
                  <a:lnTo>
                    <a:pt x="11" y="42"/>
                  </a:lnTo>
                  <a:lnTo>
                    <a:pt x="0" y="18"/>
                  </a:lnTo>
                  <a:lnTo>
                    <a:pt x="18" y="18"/>
                  </a:lnTo>
                  <a:lnTo>
                    <a:pt x="51" y="0"/>
                  </a:lnTo>
                  <a:lnTo>
                    <a:pt x="66" y="1"/>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2" name="Freeform 158"/>
            <p:cNvSpPr>
              <a:spLocks/>
            </p:cNvSpPr>
            <p:nvPr/>
          </p:nvSpPr>
          <p:spPr bwMode="auto">
            <a:xfrm>
              <a:off x="4945894" y="2905120"/>
              <a:ext cx="114300" cy="55562"/>
            </a:xfrm>
            <a:custGeom>
              <a:avLst/>
              <a:gdLst>
                <a:gd name="T0" fmla="*/ 33 w 108"/>
                <a:gd name="T1" fmla="*/ 3 h 54"/>
                <a:gd name="T2" fmla="*/ 47 w 108"/>
                <a:gd name="T3" fmla="*/ 3 h 54"/>
                <a:gd name="T4" fmla="*/ 92 w 108"/>
                <a:gd name="T5" fmla="*/ 0 h 54"/>
                <a:gd name="T6" fmla="*/ 87 w 108"/>
                <a:gd name="T7" fmla="*/ 18 h 54"/>
                <a:gd name="T8" fmla="*/ 108 w 108"/>
                <a:gd name="T9" fmla="*/ 24 h 54"/>
                <a:gd name="T10" fmla="*/ 99 w 108"/>
                <a:gd name="T11" fmla="*/ 40 h 54"/>
                <a:gd name="T12" fmla="*/ 83 w 108"/>
                <a:gd name="T13" fmla="*/ 36 h 54"/>
                <a:gd name="T14" fmla="*/ 71 w 108"/>
                <a:gd name="T15" fmla="*/ 54 h 54"/>
                <a:gd name="T16" fmla="*/ 57 w 108"/>
                <a:gd name="T17" fmla="*/ 34 h 54"/>
                <a:gd name="T18" fmla="*/ 47 w 108"/>
                <a:gd name="T19" fmla="*/ 49 h 54"/>
                <a:gd name="T20" fmla="*/ 24 w 108"/>
                <a:gd name="T21" fmla="*/ 51 h 54"/>
                <a:gd name="T22" fmla="*/ 23 w 108"/>
                <a:gd name="T23" fmla="*/ 36 h 54"/>
                <a:gd name="T24" fmla="*/ 0 w 108"/>
                <a:gd name="T25" fmla="*/ 45 h 54"/>
                <a:gd name="T26" fmla="*/ 8 w 108"/>
                <a:gd name="T27" fmla="*/ 30 h 54"/>
                <a:gd name="T28" fmla="*/ 33 w 108"/>
                <a:gd name="T29" fmla="*/ 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54">
                  <a:moveTo>
                    <a:pt x="33" y="3"/>
                  </a:moveTo>
                  <a:lnTo>
                    <a:pt x="47" y="3"/>
                  </a:lnTo>
                  <a:lnTo>
                    <a:pt x="92" y="0"/>
                  </a:lnTo>
                  <a:lnTo>
                    <a:pt x="87" y="18"/>
                  </a:lnTo>
                  <a:lnTo>
                    <a:pt x="108" y="24"/>
                  </a:lnTo>
                  <a:lnTo>
                    <a:pt x="99" y="40"/>
                  </a:lnTo>
                  <a:lnTo>
                    <a:pt x="83" y="36"/>
                  </a:lnTo>
                  <a:lnTo>
                    <a:pt x="71" y="54"/>
                  </a:lnTo>
                  <a:lnTo>
                    <a:pt x="57" y="34"/>
                  </a:lnTo>
                  <a:lnTo>
                    <a:pt x="47" y="49"/>
                  </a:lnTo>
                  <a:lnTo>
                    <a:pt x="24" y="51"/>
                  </a:lnTo>
                  <a:lnTo>
                    <a:pt x="23" y="36"/>
                  </a:lnTo>
                  <a:lnTo>
                    <a:pt x="0" y="45"/>
                  </a:lnTo>
                  <a:lnTo>
                    <a:pt x="8" y="30"/>
                  </a:lnTo>
                  <a:lnTo>
                    <a:pt x="33" y="3"/>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3" name="Freeform 159"/>
            <p:cNvSpPr>
              <a:spLocks/>
            </p:cNvSpPr>
            <p:nvPr/>
          </p:nvSpPr>
          <p:spPr bwMode="auto">
            <a:xfrm>
              <a:off x="5037969" y="2867021"/>
              <a:ext cx="185739" cy="76200"/>
            </a:xfrm>
            <a:custGeom>
              <a:avLst/>
              <a:gdLst>
                <a:gd name="T0" fmla="*/ 162 w 176"/>
                <a:gd name="T1" fmla="*/ 6 h 73"/>
                <a:gd name="T2" fmla="*/ 132 w 176"/>
                <a:gd name="T3" fmla="*/ 0 h 73"/>
                <a:gd name="T4" fmla="*/ 111 w 176"/>
                <a:gd name="T5" fmla="*/ 10 h 73"/>
                <a:gd name="T6" fmla="*/ 96 w 176"/>
                <a:gd name="T7" fmla="*/ 4 h 73"/>
                <a:gd name="T8" fmla="*/ 74 w 176"/>
                <a:gd name="T9" fmla="*/ 21 h 73"/>
                <a:gd name="T10" fmla="*/ 78 w 176"/>
                <a:gd name="T11" fmla="*/ 40 h 73"/>
                <a:gd name="T12" fmla="*/ 66 w 176"/>
                <a:gd name="T13" fmla="*/ 33 h 73"/>
                <a:gd name="T14" fmla="*/ 30 w 176"/>
                <a:gd name="T15" fmla="*/ 40 h 73"/>
                <a:gd name="T16" fmla="*/ 21 w 176"/>
                <a:gd name="T17" fmla="*/ 33 h 73"/>
                <a:gd name="T18" fmla="*/ 12 w 176"/>
                <a:gd name="T19" fmla="*/ 45 h 73"/>
                <a:gd name="T20" fmla="*/ 6 w 176"/>
                <a:gd name="T21" fmla="*/ 36 h 73"/>
                <a:gd name="T22" fmla="*/ 0 w 176"/>
                <a:gd name="T23" fmla="*/ 54 h 73"/>
                <a:gd name="T24" fmla="*/ 21 w 176"/>
                <a:gd name="T25" fmla="*/ 61 h 73"/>
                <a:gd name="T26" fmla="*/ 36 w 176"/>
                <a:gd name="T27" fmla="*/ 58 h 73"/>
                <a:gd name="T28" fmla="*/ 60 w 176"/>
                <a:gd name="T29" fmla="*/ 52 h 73"/>
                <a:gd name="T30" fmla="*/ 63 w 176"/>
                <a:gd name="T31" fmla="*/ 67 h 73"/>
                <a:gd name="T32" fmla="*/ 78 w 176"/>
                <a:gd name="T33" fmla="*/ 64 h 73"/>
                <a:gd name="T34" fmla="*/ 92 w 176"/>
                <a:gd name="T35" fmla="*/ 73 h 73"/>
                <a:gd name="T36" fmla="*/ 102 w 176"/>
                <a:gd name="T37" fmla="*/ 69 h 73"/>
                <a:gd name="T38" fmla="*/ 125 w 176"/>
                <a:gd name="T39" fmla="*/ 66 h 73"/>
                <a:gd name="T40" fmla="*/ 146 w 176"/>
                <a:gd name="T41" fmla="*/ 66 h 73"/>
                <a:gd name="T42" fmla="*/ 158 w 176"/>
                <a:gd name="T43" fmla="*/ 54 h 73"/>
                <a:gd name="T44" fmla="*/ 162 w 176"/>
                <a:gd name="T45" fmla="*/ 34 h 73"/>
                <a:gd name="T46" fmla="*/ 173 w 176"/>
                <a:gd name="T47" fmla="*/ 34 h 73"/>
                <a:gd name="T48" fmla="*/ 176 w 176"/>
                <a:gd name="T49" fmla="*/ 21 h 73"/>
                <a:gd name="T50" fmla="*/ 162 w 176"/>
                <a:gd name="T51"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 h="73">
                  <a:moveTo>
                    <a:pt x="162" y="6"/>
                  </a:moveTo>
                  <a:lnTo>
                    <a:pt x="132" y="0"/>
                  </a:lnTo>
                  <a:lnTo>
                    <a:pt x="111" y="10"/>
                  </a:lnTo>
                  <a:lnTo>
                    <a:pt x="96" y="4"/>
                  </a:lnTo>
                  <a:lnTo>
                    <a:pt x="74" y="21"/>
                  </a:lnTo>
                  <a:lnTo>
                    <a:pt x="78" y="40"/>
                  </a:lnTo>
                  <a:lnTo>
                    <a:pt x="66" y="33"/>
                  </a:lnTo>
                  <a:lnTo>
                    <a:pt x="30" y="40"/>
                  </a:lnTo>
                  <a:lnTo>
                    <a:pt x="21" y="33"/>
                  </a:lnTo>
                  <a:lnTo>
                    <a:pt x="12" y="45"/>
                  </a:lnTo>
                  <a:lnTo>
                    <a:pt x="6" y="36"/>
                  </a:lnTo>
                  <a:lnTo>
                    <a:pt x="0" y="54"/>
                  </a:lnTo>
                  <a:lnTo>
                    <a:pt x="21" y="61"/>
                  </a:lnTo>
                  <a:lnTo>
                    <a:pt x="36" y="58"/>
                  </a:lnTo>
                  <a:lnTo>
                    <a:pt x="60" y="52"/>
                  </a:lnTo>
                  <a:lnTo>
                    <a:pt x="63" y="67"/>
                  </a:lnTo>
                  <a:lnTo>
                    <a:pt x="78" y="64"/>
                  </a:lnTo>
                  <a:lnTo>
                    <a:pt x="92" y="73"/>
                  </a:lnTo>
                  <a:lnTo>
                    <a:pt x="102" y="69"/>
                  </a:lnTo>
                  <a:lnTo>
                    <a:pt x="125" y="66"/>
                  </a:lnTo>
                  <a:lnTo>
                    <a:pt x="146" y="66"/>
                  </a:lnTo>
                  <a:lnTo>
                    <a:pt x="158" y="54"/>
                  </a:lnTo>
                  <a:lnTo>
                    <a:pt x="162" y="34"/>
                  </a:lnTo>
                  <a:lnTo>
                    <a:pt x="173" y="34"/>
                  </a:lnTo>
                  <a:lnTo>
                    <a:pt x="176" y="21"/>
                  </a:lnTo>
                  <a:lnTo>
                    <a:pt x="162" y="6"/>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4" name="Freeform 165"/>
            <p:cNvSpPr>
              <a:spLocks/>
            </p:cNvSpPr>
            <p:nvPr/>
          </p:nvSpPr>
          <p:spPr bwMode="auto">
            <a:xfrm>
              <a:off x="5136395" y="2927344"/>
              <a:ext cx="71438" cy="42863"/>
            </a:xfrm>
            <a:custGeom>
              <a:avLst/>
              <a:gdLst>
                <a:gd name="T0" fmla="*/ 60 w 68"/>
                <a:gd name="T1" fmla="*/ 0 h 41"/>
                <a:gd name="T2" fmla="*/ 51 w 68"/>
                <a:gd name="T3" fmla="*/ 8 h 41"/>
                <a:gd name="T4" fmla="*/ 23 w 68"/>
                <a:gd name="T5" fmla="*/ 9 h 41"/>
                <a:gd name="T6" fmla="*/ 3 w 68"/>
                <a:gd name="T7" fmla="*/ 12 h 41"/>
                <a:gd name="T8" fmla="*/ 0 w 68"/>
                <a:gd name="T9" fmla="*/ 26 h 41"/>
                <a:gd name="T10" fmla="*/ 8 w 68"/>
                <a:gd name="T11" fmla="*/ 39 h 41"/>
                <a:gd name="T12" fmla="*/ 24 w 68"/>
                <a:gd name="T13" fmla="*/ 35 h 41"/>
                <a:gd name="T14" fmla="*/ 41 w 68"/>
                <a:gd name="T15" fmla="*/ 41 h 41"/>
                <a:gd name="T16" fmla="*/ 41 w 68"/>
                <a:gd name="T17" fmla="*/ 30 h 41"/>
                <a:gd name="T18" fmla="*/ 51 w 68"/>
                <a:gd name="T19" fmla="*/ 30 h 41"/>
                <a:gd name="T20" fmla="*/ 68 w 68"/>
                <a:gd name="T21" fmla="*/ 6 h 41"/>
                <a:gd name="T22" fmla="*/ 60 w 68"/>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41">
                  <a:moveTo>
                    <a:pt x="60" y="0"/>
                  </a:moveTo>
                  <a:lnTo>
                    <a:pt x="51" y="8"/>
                  </a:lnTo>
                  <a:lnTo>
                    <a:pt x="23" y="9"/>
                  </a:lnTo>
                  <a:lnTo>
                    <a:pt x="3" y="12"/>
                  </a:lnTo>
                  <a:lnTo>
                    <a:pt x="0" y="26"/>
                  </a:lnTo>
                  <a:lnTo>
                    <a:pt x="8" y="39"/>
                  </a:lnTo>
                  <a:lnTo>
                    <a:pt x="24" y="35"/>
                  </a:lnTo>
                  <a:lnTo>
                    <a:pt x="41" y="41"/>
                  </a:lnTo>
                  <a:lnTo>
                    <a:pt x="41" y="30"/>
                  </a:lnTo>
                  <a:lnTo>
                    <a:pt x="51" y="30"/>
                  </a:lnTo>
                  <a:lnTo>
                    <a:pt x="68" y="6"/>
                  </a:lnTo>
                  <a:lnTo>
                    <a:pt x="60" y="0"/>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5" name="Freeform 166"/>
            <p:cNvSpPr>
              <a:spLocks/>
            </p:cNvSpPr>
            <p:nvPr/>
          </p:nvSpPr>
          <p:spPr bwMode="auto">
            <a:xfrm>
              <a:off x="5144331" y="2933694"/>
              <a:ext cx="130175" cy="104775"/>
            </a:xfrm>
            <a:custGeom>
              <a:avLst/>
              <a:gdLst>
                <a:gd name="T0" fmla="*/ 45 w 123"/>
                <a:gd name="T1" fmla="*/ 54 h 99"/>
                <a:gd name="T2" fmla="*/ 66 w 123"/>
                <a:gd name="T3" fmla="*/ 80 h 99"/>
                <a:gd name="T4" fmla="*/ 67 w 123"/>
                <a:gd name="T5" fmla="*/ 99 h 99"/>
                <a:gd name="T6" fmla="*/ 48 w 123"/>
                <a:gd name="T7" fmla="*/ 89 h 99"/>
                <a:gd name="T8" fmla="*/ 28 w 123"/>
                <a:gd name="T9" fmla="*/ 68 h 99"/>
                <a:gd name="T10" fmla="*/ 10 w 123"/>
                <a:gd name="T11" fmla="*/ 53 h 99"/>
                <a:gd name="T12" fmla="*/ 0 w 123"/>
                <a:gd name="T13" fmla="*/ 33 h 99"/>
                <a:gd name="T14" fmla="*/ 16 w 123"/>
                <a:gd name="T15" fmla="*/ 29 h 99"/>
                <a:gd name="T16" fmla="*/ 33 w 123"/>
                <a:gd name="T17" fmla="*/ 35 h 99"/>
                <a:gd name="T18" fmla="*/ 33 w 123"/>
                <a:gd name="T19" fmla="*/ 24 h 99"/>
                <a:gd name="T20" fmla="*/ 43 w 123"/>
                <a:gd name="T21" fmla="*/ 24 h 99"/>
                <a:gd name="T22" fmla="*/ 60 w 123"/>
                <a:gd name="T23" fmla="*/ 0 h 99"/>
                <a:gd name="T24" fmla="*/ 75 w 123"/>
                <a:gd name="T25" fmla="*/ 18 h 99"/>
                <a:gd name="T26" fmla="*/ 91 w 123"/>
                <a:gd name="T27" fmla="*/ 29 h 99"/>
                <a:gd name="T28" fmla="*/ 115 w 123"/>
                <a:gd name="T29" fmla="*/ 26 h 99"/>
                <a:gd name="T30" fmla="*/ 123 w 123"/>
                <a:gd name="T31" fmla="*/ 53 h 99"/>
                <a:gd name="T32" fmla="*/ 94 w 123"/>
                <a:gd name="T33" fmla="*/ 47 h 99"/>
                <a:gd name="T34" fmla="*/ 69 w 123"/>
                <a:gd name="T35" fmla="*/ 41 h 99"/>
                <a:gd name="T36" fmla="*/ 58 w 123"/>
                <a:gd name="T37" fmla="*/ 47 h 99"/>
                <a:gd name="T38" fmla="*/ 43 w 123"/>
                <a:gd name="T39" fmla="*/ 44 h 99"/>
                <a:gd name="T40" fmla="*/ 45 w 123"/>
                <a:gd name="T41" fmla="*/ 5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9">
                  <a:moveTo>
                    <a:pt x="45" y="54"/>
                  </a:moveTo>
                  <a:lnTo>
                    <a:pt x="66" y="80"/>
                  </a:lnTo>
                  <a:lnTo>
                    <a:pt x="67" y="99"/>
                  </a:lnTo>
                  <a:lnTo>
                    <a:pt x="48" y="89"/>
                  </a:lnTo>
                  <a:lnTo>
                    <a:pt x="28" y="68"/>
                  </a:lnTo>
                  <a:lnTo>
                    <a:pt x="10" y="53"/>
                  </a:lnTo>
                  <a:lnTo>
                    <a:pt x="0" y="33"/>
                  </a:lnTo>
                  <a:lnTo>
                    <a:pt x="16" y="29"/>
                  </a:lnTo>
                  <a:lnTo>
                    <a:pt x="33" y="35"/>
                  </a:lnTo>
                  <a:lnTo>
                    <a:pt x="33" y="24"/>
                  </a:lnTo>
                  <a:lnTo>
                    <a:pt x="43" y="24"/>
                  </a:lnTo>
                  <a:lnTo>
                    <a:pt x="60" y="0"/>
                  </a:lnTo>
                  <a:lnTo>
                    <a:pt x="75" y="18"/>
                  </a:lnTo>
                  <a:lnTo>
                    <a:pt x="91" y="29"/>
                  </a:lnTo>
                  <a:lnTo>
                    <a:pt x="115" y="26"/>
                  </a:lnTo>
                  <a:lnTo>
                    <a:pt x="123" y="53"/>
                  </a:lnTo>
                  <a:lnTo>
                    <a:pt x="94" y="47"/>
                  </a:lnTo>
                  <a:lnTo>
                    <a:pt x="69" y="41"/>
                  </a:lnTo>
                  <a:lnTo>
                    <a:pt x="58" y="47"/>
                  </a:lnTo>
                  <a:lnTo>
                    <a:pt x="43" y="44"/>
                  </a:lnTo>
                  <a:lnTo>
                    <a:pt x="45" y="54"/>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6" name="Freeform 167"/>
            <p:cNvSpPr>
              <a:spLocks/>
            </p:cNvSpPr>
            <p:nvPr/>
          </p:nvSpPr>
          <p:spPr bwMode="auto">
            <a:xfrm>
              <a:off x="5187194" y="2974970"/>
              <a:ext cx="96838" cy="85724"/>
            </a:xfrm>
            <a:custGeom>
              <a:avLst/>
              <a:gdLst>
                <a:gd name="T0" fmla="*/ 27 w 93"/>
                <a:gd name="T1" fmla="*/ 59 h 81"/>
                <a:gd name="T2" fmla="*/ 72 w 93"/>
                <a:gd name="T3" fmla="*/ 81 h 81"/>
                <a:gd name="T4" fmla="*/ 72 w 93"/>
                <a:gd name="T5" fmla="*/ 62 h 81"/>
                <a:gd name="T6" fmla="*/ 93 w 93"/>
                <a:gd name="T7" fmla="*/ 50 h 81"/>
                <a:gd name="T8" fmla="*/ 89 w 93"/>
                <a:gd name="T9" fmla="*/ 41 h 81"/>
                <a:gd name="T10" fmla="*/ 83 w 93"/>
                <a:gd name="T11" fmla="*/ 26 h 81"/>
                <a:gd name="T12" fmla="*/ 83 w 93"/>
                <a:gd name="T13" fmla="*/ 12 h 81"/>
                <a:gd name="T14" fmla="*/ 51 w 93"/>
                <a:gd name="T15" fmla="*/ 8 h 81"/>
                <a:gd name="T16" fmla="*/ 27 w 93"/>
                <a:gd name="T17" fmla="*/ 0 h 81"/>
                <a:gd name="T18" fmla="*/ 18 w 93"/>
                <a:gd name="T19" fmla="*/ 8 h 81"/>
                <a:gd name="T20" fmla="*/ 0 w 93"/>
                <a:gd name="T21" fmla="*/ 8 h 81"/>
                <a:gd name="T22" fmla="*/ 26 w 93"/>
                <a:gd name="T23" fmla="*/ 42 h 81"/>
                <a:gd name="T24" fmla="*/ 27 w 93"/>
                <a:gd name="T25" fmla="*/ 5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81">
                  <a:moveTo>
                    <a:pt x="27" y="59"/>
                  </a:moveTo>
                  <a:lnTo>
                    <a:pt x="72" y="81"/>
                  </a:lnTo>
                  <a:lnTo>
                    <a:pt x="72" y="62"/>
                  </a:lnTo>
                  <a:lnTo>
                    <a:pt x="93" y="50"/>
                  </a:lnTo>
                  <a:lnTo>
                    <a:pt x="89" y="41"/>
                  </a:lnTo>
                  <a:lnTo>
                    <a:pt x="83" y="26"/>
                  </a:lnTo>
                  <a:lnTo>
                    <a:pt x="83" y="12"/>
                  </a:lnTo>
                  <a:lnTo>
                    <a:pt x="51" y="8"/>
                  </a:lnTo>
                  <a:lnTo>
                    <a:pt x="27" y="0"/>
                  </a:lnTo>
                  <a:lnTo>
                    <a:pt x="18" y="8"/>
                  </a:lnTo>
                  <a:lnTo>
                    <a:pt x="0" y="8"/>
                  </a:lnTo>
                  <a:lnTo>
                    <a:pt x="26" y="42"/>
                  </a:lnTo>
                  <a:lnTo>
                    <a:pt x="27" y="59"/>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7" name="Freeform 168"/>
            <p:cNvSpPr>
              <a:spLocks/>
            </p:cNvSpPr>
            <p:nvPr/>
          </p:nvSpPr>
          <p:spPr bwMode="auto">
            <a:xfrm>
              <a:off x="5264982" y="2946395"/>
              <a:ext cx="103188" cy="142875"/>
            </a:xfrm>
            <a:custGeom>
              <a:avLst/>
              <a:gdLst>
                <a:gd name="T0" fmla="*/ 0 w 65"/>
                <a:gd name="T1" fmla="*/ 8 h 90"/>
                <a:gd name="T2" fmla="*/ 13 w 65"/>
                <a:gd name="T3" fmla="*/ 0 h 90"/>
                <a:gd name="T4" fmla="*/ 30 w 65"/>
                <a:gd name="T5" fmla="*/ 8 h 90"/>
                <a:gd name="T6" fmla="*/ 31 w 65"/>
                <a:gd name="T7" fmla="*/ 17 h 90"/>
                <a:gd name="T8" fmla="*/ 42 w 65"/>
                <a:gd name="T9" fmla="*/ 17 h 90"/>
                <a:gd name="T10" fmla="*/ 45 w 65"/>
                <a:gd name="T11" fmla="*/ 31 h 90"/>
                <a:gd name="T12" fmla="*/ 61 w 65"/>
                <a:gd name="T13" fmla="*/ 33 h 90"/>
                <a:gd name="T14" fmla="*/ 62 w 65"/>
                <a:gd name="T15" fmla="*/ 42 h 90"/>
                <a:gd name="T16" fmla="*/ 56 w 65"/>
                <a:gd name="T17" fmla="*/ 46 h 90"/>
                <a:gd name="T18" fmla="*/ 59 w 65"/>
                <a:gd name="T19" fmla="*/ 56 h 90"/>
                <a:gd name="T20" fmla="*/ 65 w 65"/>
                <a:gd name="T21" fmla="*/ 60 h 90"/>
                <a:gd name="T22" fmla="*/ 57 w 65"/>
                <a:gd name="T23" fmla="*/ 68 h 90"/>
                <a:gd name="T24" fmla="*/ 59 w 65"/>
                <a:gd name="T25" fmla="*/ 79 h 90"/>
                <a:gd name="T26" fmla="*/ 46 w 65"/>
                <a:gd name="T27" fmla="*/ 77 h 90"/>
                <a:gd name="T28" fmla="*/ 35 w 65"/>
                <a:gd name="T29" fmla="*/ 83 h 90"/>
                <a:gd name="T30" fmla="*/ 30 w 65"/>
                <a:gd name="T31" fmla="*/ 90 h 90"/>
                <a:gd name="T32" fmla="*/ 30 w 65"/>
                <a:gd name="T33" fmla="*/ 79 h 90"/>
                <a:gd name="T34" fmla="*/ 20 w 65"/>
                <a:gd name="T35" fmla="*/ 72 h 90"/>
                <a:gd name="T36" fmla="*/ 12 w 65"/>
                <a:gd name="T37" fmla="*/ 51 h 90"/>
                <a:gd name="T38" fmla="*/ 8 w 65"/>
                <a:gd name="T39" fmla="*/ 44 h 90"/>
                <a:gd name="T40" fmla="*/ 5 w 65"/>
                <a:gd name="T41" fmla="*/ 34 h 90"/>
                <a:gd name="T42" fmla="*/ 5 w 65"/>
                <a:gd name="T43" fmla="*/ 25 h 90"/>
                <a:gd name="T44" fmla="*/ 0 w 65"/>
                <a:gd name="T45"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90">
                  <a:moveTo>
                    <a:pt x="0" y="8"/>
                  </a:moveTo>
                  <a:lnTo>
                    <a:pt x="13" y="0"/>
                  </a:lnTo>
                  <a:lnTo>
                    <a:pt x="30" y="8"/>
                  </a:lnTo>
                  <a:lnTo>
                    <a:pt x="31" y="17"/>
                  </a:lnTo>
                  <a:lnTo>
                    <a:pt x="42" y="17"/>
                  </a:lnTo>
                  <a:lnTo>
                    <a:pt x="45" y="31"/>
                  </a:lnTo>
                  <a:lnTo>
                    <a:pt x="61" y="33"/>
                  </a:lnTo>
                  <a:lnTo>
                    <a:pt x="62" y="42"/>
                  </a:lnTo>
                  <a:lnTo>
                    <a:pt x="56" y="46"/>
                  </a:lnTo>
                  <a:lnTo>
                    <a:pt x="59" y="56"/>
                  </a:lnTo>
                  <a:lnTo>
                    <a:pt x="65" y="60"/>
                  </a:lnTo>
                  <a:lnTo>
                    <a:pt x="57" y="68"/>
                  </a:lnTo>
                  <a:lnTo>
                    <a:pt x="59" y="79"/>
                  </a:lnTo>
                  <a:lnTo>
                    <a:pt x="46" y="77"/>
                  </a:lnTo>
                  <a:lnTo>
                    <a:pt x="35" y="83"/>
                  </a:lnTo>
                  <a:lnTo>
                    <a:pt x="30" y="90"/>
                  </a:lnTo>
                  <a:lnTo>
                    <a:pt x="30" y="79"/>
                  </a:lnTo>
                  <a:lnTo>
                    <a:pt x="20" y="72"/>
                  </a:lnTo>
                  <a:lnTo>
                    <a:pt x="12" y="51"/>
                  </a:lnTo>
                  <a:lnTo>
                    <a:pt x="8" y="44"/>
                  </a:lnTo>
                  <a:lnTo>
                    <a:pt x="5" y="34"/>
                  </a:lnTo>
                  <a:lnTo>
                    <a:pt x="5" y="25"/>
                  </a:lnTo>
                  <a:lnTo>
                    <a:pt x="0" y="8"/>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8" name="Freeform 169"/>
            <p:cNvSpPr>
              <a:spLocks/>
            </p:cNvSpPr>
            <p:nvPr/>
          </p:nvSpPr>
          <p:spPr bwMode="auto">
            <a:xfrm>
              <a:off x="5277682" y="3060695"/>
              <a:ext cx="49213" cy="90487"/>
            </a:xfrm>
            <a:custGeom>
              <a:avLst/>
              <a:gdLst>
                <a:gd name="T0" fmla="*/ 0 w 47"/>
                <a:gd name="T1" fmla="*/ 11 h 86"/>
                <a:gd name="T2" fmla="*/ 17 w 47"/>
                <a:gd name="T3" fmla="*/ 0 h 86"/>
                <a:gd name="T4" fmla="*/ 32 w 47"/>
                <a:gd name="T5" fmla="*/ 9 h 86"/>
                <a:gd name="T6" fmla="*/ 33 w 47"/>
                <a:gd name="T7" fmla="*/ 26 h 86"/>
                <a:gd name="T8" fmla="*/ 32 w 47"/>
                <a:gd name="T9" fmla="*/ 42 h 86"/>
                <a:gd name="T10" fmla="*/ 47 w 47"/>
                <a:gd name="T11" fmla="*/ 56 h 86"/>
                <a:gd name="T12" fmla="*/ 27 w 47"/>
                <a:gd name="T13" fmla="*/ 86 h 86"/>
                <a:gd name="T14" fmla="*/ 17 w 47"/>
                <a:gd name="T15" fmla="*/ 74 h 86"/>
                <a:gd name="T16" fmla="*/ 5 w 47"/>
                <a:gd name="T17" fmla="*/ 66 h 86"/>
                <a:gd name="T18" fmla="*/ 6 w 47"/>
                <a:gd name="T19" fmla="*/ 48 h 86"/>
                <a:gd name="T20" fmla="*/ 8 w 47"/>
                <a:gd name="T21" fmla="*/ 35 h 86"/>
                <a:gd name="T22" fmla="*/ 9 w 47"/>
                <a:gd name="T23" fmla="*/ 23 h 86"/>
                <a:gd name="T24" fmla="*/ 0 w 47"/>
                <a:gd name="T25" fmla="*/ 1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86">
                  <a:moveTo>
                    <a:pt x="0" y="11"/>
                  </a:moveTo>
                  <a:lnTo>
                    <a:pt x="17" y="0"/>
                  </a:lnTo>
                  <a:lnTo>
                    <a:pt x="32" y="9"/>
                  </a:lnTo>
                  <a:lnTo>
                    <a:pt x="33" y="26"/>
                  </a:lnTo>
                  <a:lnTo>
                    <a:pt x="32" y="42"/>
                  </a:lnTo>
                  <a:lnTo>
                    <a:pt x="47" y="56"/>
                  </a:lnTo>
                  <a:lnTo>
                    <a:pt x="27" y="86"/>
                  </a:lnTo>
                  <a:lnTo>
                    <a:pt x="17" y="74"/>
                  </a:lnTo>
                  <a:lnTo>
                    <a:pt x="5" y="66"/>
                  </a:lnTo>
                  <a:lnTo>
                    <a:pt x="6" y="48"/>
                  </a:lnTo>
                  <a:lnTo>
                    <a:pt x="8" y="35"/>
                  </a:lnTo>
                  <a:lnTo>
                    <a:pt x="9" y="23"/>
                  </a:lnTo>
                  <a:lnTo>
                    <a:pt x="0" y="11"/>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29" name="Freeform 170"/>
            <p:cNvSpPr>
              <a:spLocks/>
            </p:cNvSpPr>
            <p:nvPr/>
          </p:nvSpPr>
          <p:spPr bwMode="auto">
            <a:xfrm>
              <a:off x="5312607" y="3067045"/>
              <a:ext cx="60325" cy="49212"/>
            </a:xfrm>
            <a:custGeom>
              <a:avLst/>
              <a:gdLst>
                <a:gd name="T0" fmla="*/ 0 w 57"/>
                <a:gd name="T1" fmla="*/ 18 h 48"/>
                <a:gd name="T2" fmla="*/ 12 w 57"/>
                <a:gd name="T3" fmla="*/ 8 h 48"/>
                <a:gd name="T4" fmla="*/ 24 w 57"/>
                <a:gd name="T5" fmla="*/ 0 h 48"/>
                <a:gd name="T6" fmla="*/ 44 w 57"/>
                <a:gd name="T7" fmla="*/ 5 h 48"/>
                <a:gd name="T8" fmla="*/ 57 w 57"/>
                <a:gd name="T9" fmla="*/ 14 h 48"/>
                <a:gd name="T10" fmla="*/ 54 w 57"/>
                <a:gd name="T11" fmla="*/ 32 h 48"/>
                <a:gd name="T12" fmla="*/ 36 w 57"/>
                <a:gd name="T13" fmla="*/ 35 h 48"/>
                <a:gd name="T14" fmla="*/ 14 w 57"/>
                <a:gd name="T15" fmla="*/ 48 h 48"/>
                <a:gd name="T16" fmla="*/ 0 w 57"/>
                <a:gd name="T17" fmla="*/ 36 h 48"/>
                <a:gd name="T18" fmla="*/ 0 w 57"/>
                <a:gd name="T19"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8">
                  <a:moveTo>
                    <a:pt x="0" y="18"/>
                  </a:moveTo>
                  <a:lnTo>
                    <a:pt x="12" y="8"/>
                  </a:lnTo>
                  <a:lnTo>
                    <a:pt x="24" y="0"/>
                  </a:lnTo>
                  <a:lnTo>
                    <a:pt x="44" y="5"/>
                  </a:lnTo>
                  <a:lnTo>
                    <a:pt x="57" y="14"/>
                  </a:lnTo>
                  <a:lnTo>
                    <a:pt x="54" y="32"/>
                  </a:lnTo>
                  <a:lnTo>
                    <a:pt x="36" y="35"/>
                  </a:lnTo>
                  <a:lnTo>
                    <a:pt x="14" y="48"/>
                  </a:lnTo>
                  <a:lnTo>
                    <a:pt x="0" y="36"/>
                  </a:lnTo>
                  <a:lnTo>
                    <a:pt x="0" y="18"/>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0" name="Freeform 171"/>
            <p:cNvSpPr>
              <a:spLocks/>
            </p:cNvSpPr>
            <p:nvPr/>
          </p:nvSpPr>
          <p:spPr bwMode="auto">
            <a:xfrm>
              <a:off x="5306257" y="3084508"/>
              <a:ext cx="160338" cy="174625"/>
            </a:xfrm>
            <a:custGeom>
              <a:avLst/>
              <a:gdLst>
                <a:gd name="T0" fmla="*/ 0 w 152"/>
                <a:gd name="T1" fmla="*/ 63 h 166"/>
                <a:gd name="T2" fmla="*/ 21 w 152"/>
                <a:gd name="T3" fmla="*/ 30 h 166"/>
                <a:gd name="T4" fmla="*/ 42 w 152"/>
                <a:gd name="T5" fmla="*/ 16 h 166"/>
                <a:gd name="T6" fmla="*/ 59 w 152"/>
                <a:gd name="T7" fmla="*/ 13 h 166"/>
                <a:gd name="T8" fmla="*/ 74 w 152"/>
                <a:gd name="T9" fmla="*/ 10 h 166"/>
                <a:gd name="T10" fmla="*/ 87 w 152"/>
                <a:gd name="T11" fmla="*/ 6 h 166"/>
                <a:gd name="T12" fmla="*/ 102 w 152"/>
                <a:gd name="T13" fmla="*/ 6 h 166"/>
                <a:gd name="T14" fmla="*/ 120 w 152"/>
                <a:gd name="T15" fmla="*/ 15 h 166"/>
                <a:gd name="T16" fmla="*/ 137 w 152"/>
                <a:gd name="T17" fmla="*/ 12 h 166"/>
                <a:gd name="T18" fmla="*/ 138 w 152"/>
                <a:gd name="T19" fmla="*/ 1 h 166"/>
                <a:gd name="T20" fmla="*/ 150 w 152"/>
                <a:gd name="T21" fmla="*/ 0 h 166"/>
                <a:gd name="T22" fmla="*/ 152 w 152"/>
                <a:gd name="T23" fmla="*/ 10 h 166"/>
                <a:gd name="T24" fmla="*/ 144 w 152"/>
                <a:gd name="T25" fmla="*/ 30 h 166"/>
                <a:gd name="T26" fmla="*/ 129 w 152"/>
                <a:gd name="T27" fmla="*/ 24 h 166"/>
                <a:gd name="T28" fmla="*/ 87 w 152"/>
                <a:gd name="T29" fmla="*/ 28 h 166"/>
                <a:gd name="T30" fmla="*/ 95 w 152"/>
                <a:gd name="T31" fmla="*/ 39 h 166"/>
                <a:gd name="T32" fmla="*/ 96 w 152"/>
                <a:gd name="T33" fmla="*/ 52 h 166"/>
                <a:gd name="T34" fmla="*/ 78 w 152"/>
                <a:gd name="T35" fmla="*/ 40 h 166"/>
                <a:gd name="T36" fmla="*/ 63 w 152"/>
                <a:gd name="T37" fmla="*/ 42 h 166"/>
                <a:gd name="T38" fmla="*/ 53 w 152"/>
                <a:gd name="T39" fmla="*/ 43 h 166"/>
                <a:gd name="T40" fmla="*/ 65 w 152"/>
                <a:gd name="T41" fmla="*/ 58 h 166"/>
                <a:gd name="T42" fmla="*/ 74 w 152"/>
                <a:gd name="T43" fmla="*/ 70 h 166"/>
                <a:gd name="T44" fmla="*/ 89 w 152"/>
                <a:gd name="T45" fmla="*/ 91 h 166"/>
                <a:gd name="T46" fmla="*/ 98 w 152"/>
                <a:gd name="T47" fmla="*/ 94 h 166"/>
                <a:gd name="T48" fmla="*/ 107 w 152"/>
                <a:gd name="T49" fmla="*/ 105 h 166"/>
                <a:gd name="T50" fmla="*/ 123 w 152"/>
                <a:gd name="T51" fmla="*/ 117 h 166"/>
                <a:gd name="T52" fmla="*/ 111 w 152"/>
                <a:gd name="T53" fmla="*/ 120 h 166"/>
                <a:gd name="T54" fmla="*/ 95 w 152"/>
                <a:gd name="T55" fmla="*/ 105 h 166"/>
                <a:gd name="T56" fmla="*/ 96 w 152"/>
                <a:gd name="T57" fmla="*/ 118 h 166"/>
                <a:gd name="T58" fmla="*/ 93 w 152"/>
                <a:gd name="T59" fmla="*/ 123 h 166"/>
                <a:gd name="T60" fmla="*/ 86 w 152"/>
                <a:gd name="T61" fmla="*/ 117 h 166"/>
                <a:gd name="T62" fmla="*/ 59 w 152"/>
                <a:gd name="T63" fmla="*/ 97 h 166"/>
                <a:gd name="T64" fmla="*/ 56 w 152"/>
                <a:gd name="T65" fmla="*/ 106 h 166"/>
                <a:gd name="T66" fmla="*/ 74 w 152"/>
                <a:gd name="T67" fmla="*/ 117 h 166"/>
                <a:gd name="T68" fmla="*/ 80 w 152"/>
                <a:gd name="T69" fmla="*/ 130 h 166"/>
                <a:gd name="T70" fmla="*/ 66 w 152"/>
                <a:gd name="T71" fmla="*/ 130 h 166"/>
                <a:gd name="T72" fmla="*/ 77 w 152"/>
                <a:gd name="T73" fmla="*/ 148 h 166"/>
                <a:gd name="T74" fmla="*/ 75 w 152"/>
                <a:gd name="T75" fmla="*/ 166 h 166"/>
                <a:gd name="T76" fmla="*/ 66 w 152"/>
                <a:gd name="T77" fmla="*/ 147 h 166"/>
                <a:gd name="T78" fmla="*/ 56 w 152"/>
                <a:gd name="T79" fmla="*/ 160 h 166"/>
                <a:gd name="T80" fmla="*/ 48 w 152"/>
                <a:gd name="T81" fmla="*/ 144 h 166"/>
                <a:gd name="T82" fmla="*/ 36 w 152"/>
                <a:gd name="T83" fmla="*/ 150 h 166"/>
                <a:gd name="T84" fmla="*/ 38 w 152"/>
                <a:gd name="T85" fmla="*/ 133 h 166"/>
                <a:gd name="T86" fmla="*/ 24 w 152"/>
                <a:gd name="T87" fmla="*/ 135 h 166"/>
                <a:gd name="T88" fmla="*/ 21 w 152"/>
                <a:gd name="T89" fmla="*/ 117 h 166"/>
                <a:gd name="T90" fmla="*/ 39 w 152"/>
                <a:gd name="T91" fmla="*/ 108 h 166"/>
                <a:gd name="T92" fmla="*/ 26 w 152"/>
                <a:gd name="T93" fmla="*/ 102 h 166"/>
                <a:gd name="T94" fmla="*/ 23 w 152"/>
                <a:gd name="T95" fmla="*/ 97 h 166"/>
                <a:gd name="T96" fmla="*/ 5 w 152"/>
                <a:gd name="T97" fmla="*/ 90 h 166"/>
                <a:gd name="T98" fmla="*/ 12 w 152"/>
                <a:gd name="T99" fmla="*/ 82 h 166"/>
                <a:gd name="T100" fmla="*/ 0 w 152"/>
                <a:gd name="T101" fmla="*/ 6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2" h="166">
                  <a:moveTo>
                    <a:pt x="0" y="63"/>
                  </a:moveTo>
                  <a:lnTo>
                    <a:pt x="21" y="30"/>
                  </a:lnTo>
                  <a:lnTo>
                    <a:pt x="42" y="16"/>
                  </a:lnTo>
                  <a:lnTo>
                    <a:pt x="59" y="13"/>
                  </a:lnTo>
                  <a:lnTo>
                    <a:pt x="74" y="10"/>
                  </a:lnTo>
                  <a:lnTo>
                    <a:pt x="87" y="6"/>
                  </a:lnTo>
                  <a:lnTo>
                    <a:pt x="102" y="6"/>
                  </a:lnTo>
                  <a:lnTo>
                    <a:pt x="120" y="15"/>
                  </a:lnTo>
                  <a:lnTo>
                    <a:pt x="137" y="12"/>
                  </a:lnTo>
                  <a:lnTo>
                    <a:pt x="138" y="1"/>
                  </a:lnTo>
                  <a:lnTo>
                    <a:pt x="150" y="0"/>
                  </a:lnTo>
                  <a:lnTo>
                    <a:pt x="152" y="10"/>
                  </a:lnTo>
                  <a:lnTo>
                    <a:pt x="144" y="30"/>
                  </a:lnTo>
                  <a:cubicBezTo>
                    <a:pt x="139" y="26"/>
                    <a:pt x="135" y="25"/>
                    <a:pt x="129" y="24"/>
                  </a:cubicBezTo>
                  <a:cubicBezTo>
                    <a:pt x="115" y="25"/>
                    <a:pt x="101" y="26"/>
                    <a:pt x="87" y="28"/>
                  </a:cubicBezTo>
                  <a:cubicBezTo>
                    <a:pt x="78" y="32"/>
                    <a:pt x="90" y="37"/>
                    <a:pt x="95" y="39"/>
                  </a:cubicBezTo>
                  <a:cubicBezTo>
                    <a:pt x="99" y="44"/>
                    <a:pt x="100" y="46"/>
                    <a:pt x="96" y="52"/>
                  </a:cubicBezTo>
                  <a:cubicBezTo>
                    <a:pt x="89" y="49"/>
                    <a:pt x="85" y="43"/>
                    <a:pt x="78" y="40"/>
                  </a:cubicBezTo>
                  <a:cubicBezTo>
                    <a:pt x="72" y="43"/>
                    <a:pt x="69" y="43"/>
                    <a:pt x="63" y="42"/>
                  </a:cubicBezTo>
                  <a:cubicBezTo>
                    <a:pt x="61" y="33"/>
                    <a:pt x="57" y="38"/>
                    <a:pt x="53" y="43"/>
                  </a:cubicBezTo>
                  <a:cubicBezTo>
                    <a:pt x="54" y="53"/>
                    <a:pt x="55" y="56"/>
                    <a:pt x="65" y="58"/>
                  </a:cubicBezTo>
                  <a:cubicBezTo>
                    <a:pt x="70" y="61"/>
                    <a:pt x="71" y="65"/>
                    <a:pt x="74" y="70"/>
                  </a:cubicBezTo>
                  <a:cubicBezTo>
                    <a:pt x="67" y="86"/>
                    <a:pt x="72" y="90"/>
                    <a:pt x="89" y="91"/>
                  </a:cubicBezTo>
                  <a:cubicBezTo>
                    <a:pt x="92" y="92"/>
                    <a:pt x="96" y="92"/>
                    <a:pt x="98" y="94"/>
                  </a:cubicBezTo>
                  <a:cubicBezTo>
                    <a:pt x="104" y="100"/>
                    <a:pt x="96" y="101"/>
                    <a:pt x="107" y="105"/>
                  </a:cubicBezTo>
                  <a:cubicBezTo>
                    <a:pt x="113" y="109"/>
                    <a:pt x="117" y="113"/>
                    <a:pt x="123" y="117"/>
                  </a:cubicBezTo>
                  <a:cubicBezTo>
                    <a:pt x="121" y="127"/>
                    <a:pt x="119" y="122"/>
                    <a:pt x="111" y="120"/>
                  </a:cubicBezTo>
                  <a:cubicBezTo>
                    <a:pt x="107" y="114"/>
                    <a:pt x="101" y="109"/>
                    <a:pt x="95" y="105"/>
                  </a:cubicBezTo>
                  <a:cubicBezTo>
                    <a:pt x="91" y="111"/>
                    <a:pt x="92" y="113"/>
                    <a:pt x="96" y="118"/>
                  </a:cubicBezTo>
                  <a:cubicBezTo>
                    <a:pt x="95" y="120"/>
                    <a:pt x="95" y="122"/>
                    <a:pt x="93" y="123"/>
                  </a:cubicBezTo>
                  <a:cubicBezTo>
                    <a:pt x="90" y="124"/>
                    <a:pt x="87" y="118"/>
                    <a:pt x="86" y="117"/>
                  </a:cubicBezTo>
                  <a:cubicBezTo>
                    <a:pt x="78" y="108"/>
                    <a:pt x="70" y="101"/>
                    <a:pt x="59" y="97"/>
                  </a:cubicBezTo>
                  <a:cubicBezTo>
                    <a:pt x="47" y="99"/>
                    <a:pt x="43" y="104"/>
                    <a:pt x="56" y="106"/>
                  </a:cubicBezTo>
                  <a:cubicBezTo>
                    <a:pt x="62" y="109"/>
                    <a:pt x="68" y="113"/>
                    <a:pt x="74" y="117"/>
                  </a:cubicBezTo>
                  <a:cubicBezTo>
                    <a:pt x="77" y="121"/>
                    <a:pt x="78" y="125"/>
                    <a:pt x="80" y="130"/>
                  </a:cubicBezTo>
                  <a:cubicBezTo>
                    <a:pt x="73" y="133"/>
                    <a:pt x="73" y="129"/>
                    <a:pt x="66" y="130"/>
                  </a:cubicBezTo>
                  <a:cubicBezTo>
                    <a:pt x="70" y="136"/>
                    <a:pt x="73" y="142"/>
                    <a:pt x="77" y="148"/>
                  </a:cubicBezTo>
                  <a:cubicBezTo>
                    <a:pt x="78" y="155"/>
                    <a:pt x="78" y="160"/>
                    <a:pt x="75" y="166"/>
                  </a:cubicBezTo>
                  <a:cubicBezTo>
                    <a:pt x="63" y="164"/>
                    <a:pt x="70" y="156"/>
                    <a:pt x="66" y="147"/>
                  </a:cubicBezTo>
                  <a:cubicBezTo>
                    <a:pt x="60" y="153"/>
                    <a:pt x="65" y="164"/>
                    <a:pt x="56" y="160"/>
                  </a:cubicBezTo>
                  <a:cubicBezTo>
                    <a:pt x="54" y="152"/>
                    <a:pt x="56" y="146"/>
                    <a:pt x="48" y="144"/>
                  </a:cubicBezTo>
                  <a:cubicBezTo>
                    <a:pt x="43" y="148"/>
                    <a:pt x="43" y="151"/>
                    <a:pt x="36" y="150"/>
                  </a:cubicBezTo>
                  <a:cubicBezTo>
                    <a:pt x="35" y="143"/>
                    <a:pt x="36" y="139"/>
                    <a:pt x="38" y="133"/>
                  </a:cubicBezTo>
                  <a:cubicBezTo>
                    <a:pt x="34" y="121"/>
                    <a:pt x="29" y="127"/>
                    <a:pt x="24" y="135"/>
                  </a:cubicBezTo>
                  <a:cubicBezTo>
                    <a:pt x="4" y="132"/>
                    <a:pt x="0" y="120"/>
                    <a:pt x="21" y="117"/>
                  </a:cubicBezTo>
                  <a:cubicBezTo>
                    <a:pt x="29" y="114"/>
                    <a:pt x="30" y="109"/>
                    <a:pt x="39" y="108"/>
                  </a:cubicBezTo>
                  <a:cubicBezTo>
                    <a:pt x="37" y="97"/>
                    <a:pt x="41" y="108"/>
                    <a:pt x="26" y="102"/>
                  </a:cubicBezTo>
                  <a:cubicBezTo>
                    <a:pt x="24" y="101"/>
                    <a:pt x="24" y="98"/>
                    <a:pt x="23" y="97"/>
                  </a:cubicBezTo>
                  <a:cubicBezTo>
                    <a:pt x="18" y="92"/>
                    <a:pt x="12" y="91"/>
                    <a:pt x="5" y="90"/>
                  </a:cubicBezTo>
                  <a:cubicBezTo>
                    <a:pt x="7" y="87"/>
                    <a:pt x="11" y="85"/>
                    <a:pt x="12" y="82"/>
                  </a:cubicBezTo>
                  <a:cubicBezTo>
                    <a:pt x="15" y="70"/>
                    <a:pt x="5" y="70"/>
                    <a:pt x="0" y="63"/>
                  </a:cubicBez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1" name="Freeform 173"/>
            <p:cNvSpPr>
              <a:spLocks/>
            </p:cNvSpPr>
            <p:nvPr/>
          </p:nvSpPr>
          <p:spPr bwMode="auto">
            <a:xfrm>
              <a:off x="5144331" y="2689219"/>
              <a:ext cx="239714" cy="177800"/>
            </a:xfrm>
            <a:custGeom>
              <a:avLst/>
              <a:gdLst>
                <a:gd name="T0" fmla="*/ 0 w 228"/>
                <a:gd name="T1" fmla="*/ 27 h 168"/>
                <a:gd name="T2" fmla="*/ 42 w 228"/>
                <a:gd name="T3" fmla="*/ 16 h 168"/>
                <a:gd name="T4" fmla="*/ 48 w 228"/>
                <a:gd name="T5" fmla="*/ 7 h 168"/>
                <a:gd name="T6" fmla="*/ 75 w 228"/>
                <a:gd name="T7" fmla="*/ 0 h 168"/>
                <a:gd name="T8" fmla="*/ 99 w 228"/>
                <a:gd name="T9" fmla="*/ 1 h 168"/>
                <a:gd name="T10" fmla="*/ 109 w 228"/>
                <a:gd name="T11" fmla="*/ 15 h 168"/>
                <a:gd name="T12" fmla="*/ 124 w 228"/>
                <a:gd name="T13" fmla="*/ 6 h 168"/>
                <a:gd name="T14" fmla="*/ 139 w 228"/>
                <a:gd name="T15" fmla="*/ 13 h 168"/>
                <a:gd name="T16" fmla="*/ 186 w 228"/>
                <a:gd name="T17" fmla="*/ 15 h 168"/>
                <a:gd name="T18" fmla="*/ 205 w 228"/>
                <a:gd name="T19" fmla="*/ 18 h 168"/>
                <a:gd name="T20" fmla="*/ 216 w 228"/>
                <a:gd name="T21" fmla="*/ 55 h 168"/>
                <a:gd name="T22" fmla="*/ 204 w 228"/>
                <a:gd name="T23" fmla="*/ 70 h 168"/>
                <a:gd name="T24" fmla="*/ 213 w 228"/>
                <a:gd name="T25" fmla="*/ 78 h 168"/>
                <a:gd name="T26" fmla="*/ 213 w 228"/>
                <a:gd name="T27" fmla="*/ 94 h 168"/>
                <a:gd name="T28" fmla="*/ 228 w 228"/>
                <a:gd name="T29" fmla="*/ 118 h 168"/>
                <a:gd name="T30" fmla="*/ 214 w 228"/>
                <a:gd name="T31" fmla="*/ 133 h 168"/>
                <a:gd name="T32" fmla="*/ 196 w 228"/>
                <a:gd name="T33" fmla="*/ 147 h 168"/>
                <a:gd name="T34" fmla="*/ 202 w 228"/>
                <a:gd name="T35" fmla="*/ 163 h 168"/>
                <a:gd name="T36" fmla="*/ 193 w 228"/>
                <a:gd name="T37" fmla="*/ 168 h 168"/>
                <a:gd name="T38" fmla="*/ 180 w 228"/>
                <a:gd name="T39" fmla="*/ 154 h 168"/>
                <a:gd name="T40" fmla="*/ 145 w 228"/>
                <a:gd name="T41" fmla="*/ 154 h 168"/>
                <a:gd name="T42" fmla="*/ 138 w 228"/>
                <a:gd name="T43" fmla="*/ 162 h 168"/>
                <a:gd name="T44" fmla="*/ 126 w 228"/>
                <a:gd name="T45" fmla="*/ 145 h 168"/>
                <a:gd name="T46" fmla="*/ 108 w 228"/>
                <a:gd name="T47" fmla="*/ 145 h 168"/>
                <a:gd name="T48" fmla="*/ 82 w 228"/>
                <a:gd name="T49" fmla="*/ 127 h 168"/>
                <a:gd name="T50" fmla="*/ 69 w 228"/>
                <a:gd name="T51" fmla="*/ 132 h 168"/>
                <a:gd name="T52" fmla="*/ 46 w 228"/>
                <a:gd name="T53" fmla="*/ 117 h 168"/>
                <a:gd name="T54" fmla="*/ 21 w 228"/>
                <a:gd name="T55" fmla="*/ 109 h 168"/>
                <a:gd name="T56" fmla="*/ 22 w 228"/>
                <a:gd name="T57" fmla="*/ 97 h 168"/>
                <a:gd name="T58" fmla="*/ 13 w 228"/>
                <a:gd name="T59" fmla="*/ 85 h 168"/>
                <a:gd name="T60" fmla="*/ 12 w 228"/>
                <a:gd name="T61" fmla="*/ 63 h 168"/>
                <a:gd name="T62" fmla="*/ 4 w 228"/>
                <a:gd name="T63" fmla="*/ 55 h 168"/>
                <a:gd name="T64" fmla="*/ 7 w 228"/>
                <a:gd name="T65" fmla="*/ 39 h 168"/>
                <a:gd name="T66" fmla="*/ 0 w 228"/>
                <a:gd name="T67"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8" h="168">
                  <a:moveTo>
                    <a:pt x="0" y="27"/>
                  </a:moveTo>
                  <a:lnTo>
                    <a:pt x="42" y="16"/>
                  </a:lnTo>
                  <a:lnTo>
                    <a:pt x="48" y="7"/>
                  </a:lnTo>
                  <a:lnTo>
                    <a:pt x="75" y="0"/>
                  </a:lnTo>
                  <a:lnTo>
                    <a:pt x="99" y="1"/>
                  </a:lnTo>
                  <a:lnTo>
                    <a:pt x="109" y="15"/>
                  </a:lnTo>
                  <a:lnTo>
                    <a:pt x="124" y="6"/>
                  </a:lnTo>
                  <a:lnTo>
                    <a:pt x="139" y="13"/>
                  </a:lnTo>
                  <a:lnTo>
                    <a:pt x="186" y="15"/>
                  </a:lnTo>
                  <a:lnTo>
                    <a:pt x="205" y="18"/>
                  </a:lnTo>
                  <a:lnTo>
                    <a:pt x="216" y="55"/>
                  </a:lnTo>
                  <a:lnTo>
                    <a:pt x="204" y="70"/>
                  </a:lnTo>
                  <a:lnTo>
                    <a:pt x="213" y="78"/>
                  </a:lnTo>
                  <a:lnTo>
                    <a:pt x="213" y="94"/>
                  </a:lnTo>
                  <a:lnTo>
                    <a:pt x="228" y="118"/>
                  </a:lnTo>
                  <a:lnTo>
                    <a:pt x="214" y="133"/>
                  </a:lnTo>
                  <a:lnTo>
                    <a:pt x="196" y="147"/>
                  </a:lnTo>
                  <a:lnTo>
                    <a:pt x="202" y="163"/>
                  </a:lnTo>
                  <a:lnTo>
                    <a:pt x="193" y="168"/>
                  </a:lnTo>
                  <a:lnTo>
                    <a:pt x="180" y="154"/>
                  </a:lnTo>
                  <a:lnTo>
                    <a:pt x="145" y="154"/>
                  </a:lnTo>
                  <a:lnTo>
                    <a:pt x="138" y="162"/>
                  </a:lnTo>
                  <a:lnTo>
                    <a:pt x="126" y="145"/>
                  </a:lnTo>
                  <a:lnTo>
                    <a:pt x="108" y="145"/>
                  </a:lnTo>
                  <a:lnTo>
                    <a:pt x="82" y="127"/>
                  </a:lnTo>
                  <a:lnTo>
                    <a:pt x="69" y="132"/>
                  </a:lnTo>
                  <a:lnTo>
                    <a:pt x="46" y="117"/>
                  </a:lnTo>
                  <a:lnTo>
                    <a:pt x="21" y="109"/>
                  </a:lnTo>
                  <a:lnTo>
                    <a:pt x="22" y="97"/>
                  </a:lnTo>
                  <a:lnTo>
                    <a:pt x="13" y="85"/>
                  </a:lnTo>
                  <a:lnTo>
                    <a:pt x="12" y="63"/>
                  </a:lnTo>
                  <a:lnTo>
                    <a:pt x="4" y="55"/>
                  </a:lnTo>
                  <a:lnTo>
                    <a:pt x="7" y="39"/>
                  </a:lnTo>
                  <a:lnTo>
                    <a:pt x="0" y="27"/>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2" name="Freeform 174"/>
            <p:cNvSpPr>
              <a:spLocks/>
            </p:cNvSpPr>
            <p:nvPr/>
          </p:nvSpPr>
          <p:spPr bwMode="auto">
            <a:xfrm>
              <a:off x="5209420" y="2841620"/>
              <a:ext cx="139699" cy="60326"/>
            </a:xfrm>
            <a:custGeom>
              <a:avLst/>
              <a:gdLst>
                <a:gd name="T0" fmla="*/ 0 w 134"/>
                <a:gd name="T1" fmla="*/ 30 h 57"/>
                <a:gd name="T2" fmla="*/ 24 w 134"/>
                <a:gd name="T3" fmla="*/ 25 h 57"/>
                <a:gd name="T4" fmla="*/ 47 w 134"/>
                <a:gd name="T5" fmla="*/ 0 h 57"/>
                <a:gd name="T6" fmla="*/ 66 w 134"/>
                <a:gd name="T7" fmla="*/ 0 h 57"/>
                <a:gd name="T8" fmla="*/ 78 w 134"/>
                <a:gd name="T9" fmla="*/ 15 h 57"/>
                <a:gd name="T10" fmla="*/ 87 w 134"/>
                <a:gd name="T11" fmla="*/ 10 h 57"/>
                <a:gd name="T12" fmla="*/ 122 w 134"/>
                <a:gd name="T13" fmla="*/ 9 h 57"/>
                <a:gd name="T14" fmla="*/ 134 w 134"/>
                <a:gd name="T15" fmla="*/ 21 h 57"/>
                <a:gd name="T16" fmla="*/ 128 w 134"/>
                <a:gd name="T17" fmla="*/ 36 h 57"/>
                <a:gd name="T18" fmla="*/ 108 w 134"/>
                <a:gd name="T19" fmla="*/ 36 h 57"/>
                <a:gd name="T20" fmla="*/ 89 w 134"/>
                <a:gd name="T21" fmla="*/ 34 h 57"/>
                <a:gd name="T22" fmla="*/ 74 w 134"/>
                <a:gd name="T23" fmla="*/ 45 h 57"/>
                <a:gd name="T24" fmla="*/ 48 w 134"/>
                <a:gd name="T25" fmla="*/ 46 h 57"/>
                <a:gd name="T26" fmla="*/ 51 w 134"/>
                <a:gd name="T27" fmla="*/ 57 h 57"/>
                <a:gd name="T28" fmla="*/ 27 w 134"/>
                <a:gd name="T29" fmla="*/ 57 h 57"/>
                <a:gd name="T30" fmla="*/ 11 w 134"/>
                <a:gd name="T31" fmla="*/ 43 h 57"/>
                <a:gd name="T32" fmla="*/ 0 w 134"/>
                <a:gd name="T33"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57">
                  <a:moveTo>
                    <a:pt x="0" y="30"/>
                  </a:moveTo>
                  <a:lnTo>
                    <a:pt x="24" y="25"/>
                  </a:lnTo>
                  <a:lnTo>
                    <a:pt x="47" y="0"/>
                  </a:lnTo>
                  <a:lnTo>
                    <a:pt x="66" y="0"/>
                  </a:lnTo>
                  <a:lnTo>
                    <a:pt x="78" y="15"/>
                  </a:lnTo>
                  <a:lnTo>
                    <a:pt x="87" y="10"/>
                  </a:lnTo>
                  <a:lnTo>
                    <a:pt x="122" y="9"/>
                  </a:lnTo>
                  <a:lnTo>
                    <a:pt x="134" y="21"/>
                  </a:lnTo>
                  <a:lnTo>
                    <a:pt x="128" y="36"/>
                  </a:lnTo>
                  <a:lnTo>
                    <a:pt x="108" y="36"/>
                  </a:lnTo>
                  <a:lnTo>
                    <a:pt x="89" y="34"/>
                  </a:lnTo>
                  <a:lnTo>
                    <a:pt x="74" y="45"/>
                  </a:lnTo>
                  <a:lnTo>
                    <a:pt x="48" y="46"/>
                  </a:lnTo>
                  <a:lnTo>
                    <a:pt x="51" y="57"/>
                  </a:lnTo>
                  <a:lnTo>
                    <a:pt x="27" y="57"/>
                  </a:lnTo>
                  <a:lnTo>
                    <a:pt x="11" y="43"/>
                  </a:lnTo>
                  <a:lnTo>
                    <a:pt x="0" y="30"/>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3" name="Freeform 175"/>
            <p:cNvSpPr>
              <a:spLocks/>
            </p:cNvSpPr>
            <p:nvPr/>
          </p:nvSpPr>
          <p:spPr bwMode="auto">
            <a:xfrm>
              <a:off x="5204655" y="2876545"/>
              <a:ext cx="158750" cy="87312"/>
            </a:xfrm>
            <a:custGeom>
              <a:avLst/>
              <a:gdLst>
                <a:gd name="T0" fmla="*/ 132 w 151"/>
                <a:gd name="T1" fmla="*/ 0 h 83"/>
                <a:gd name="T2" fmla="*/ 112 w 151"/>
                <a:gd name="T3" fmla="*/ 2 h 83"/>
                <a:gd name="T4" fmla="*/ 91 w 151"/>
                <a:gd name="T5" fmla="*/ 0 h 83"/>
                <a:gd name="T6" fmla="*/ 78 w 151"/>
                <a:gd name="T7" fmla="*/ 11 h 83"/>
                <a:gd name="T8" fmla="*/ 51 w 151"/>
                <a:gd name="T9" fmla="*/ 11 h 83"/>
                <a:gd name="T10" fmla="*/ 55 w 151"/>
                <a:gd name="T11" fmla="*/ 23 h 83"/>
                <a:gd name="T12" fmla="*/ 30 w 151"/>
                <a:gd name="T13" fmla="*/ 21 h 83"/>
                <a:gd name="T14" fmla="*/ 13 w 151"/>
                <a:gd name="T15" fmla="*/ 8 h 83"/>
                <a:gd name="T16" fmla="*/ 15 w 151"/>
                <a:gd name="T17" fmla="*/ 24 h 83"/>
                <a:gd name="T18" fmla="*/ 3 w 151"/>
                <a:gd name="T19" fmla="*/ 24 h 83"/>
                <a:gd name="T20" fmla="*/ 0 w 151"/>
                <a:gd name="T21" fmla="*/ 48 h 83"/>
                <a:gd name="T22" fmla="*/ 6 w 151"/>
                <a:gd name="T23" fmla="*/ 59 h 83"/>
                <a:gd name="T24" fmla="*/ 16 w 151"/>
                <a:gd name="T25" fmla="*/ 71 h 83"/>
                <a:gd name="T26" fmla="*/ 31 w 151"/>
                <a:gd name="T27" fmla="*/ 83 h 83"/>
                <a:gd name="T28" fmla="*/ 55 w 151"/>
                <a:gd name="T29" fmla="*/ 81 h 83"/>
                <a:gd name="T30" fmla="*/ 76 w 151"/>
                <a:gd name="T31" fmla="*/ 65 h 83"/>
                <a:gd name="T32" fmla="*/ 87 w 151"/>
                <a:gd name="T33" fmla="*/ 71 h 83"/>
                <a:gd name="T34" fmla="*/ 109 w 151"/>
                <a:gd name="T35" fmla="*/ 63 h 83"/>
                <a:gd name="T36" fmla="*/ 120 w 151"/>
                <a:gd name="T37" fmla="*/ 47 h 83"/>
                <a:gd name="T38" fmla="*/ 132 w 151"/>
                <a:gd name="T39" fmla="*/ 27 h 83"/>
                <a:gd name="T40" fmla="*/ 151 w 151"/>
                <a:gd name="T41" fmla="*/ 15 h 83"/>
                <a:gd name="T42" fmla="*/ 139 w 151"/>
                <a:gd name="T43" fmla="*/ 11 h 83"/>
                <a:gd name="T44" fmla="*/ 132 w 151"/>
                <a:gd name="T4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83">
                  <a:moveTo>
                    <a:pt x="132" y="0"/>
                  </a:moveTo>
                  <a:lnTo>
                    <a:pt x="112" y="2"/>
                  </a:lnTo>
                  <a:lnTo>
                    <a:pt x="91" y="0"/>
                  </a:lnTo>
                  <a:lnTo>
                    <a:pt x="78" y="11"/>
                  </a:lnTo>
                  <a:lnTo>
                    <a:pt x="51" y="11"/>
                  </a:lnTo>
                  <a:lnTo>
                    <a:pt x="55" y="23"/>
                  </a:lnTo>
                  <a:lnTo>
                    <a:pt x="30" y="21"/>
                  </a:lnTo>
                  <a:lnTo>
                    <a:pt x="13" y="8"/>
                  </a:lnTo>
                  <a:lnTo>
                    <a:pt x="15" y="24"/>
                  </a:lnTo>
                  <a:lnTo>
                    <a:pt x="3" y="24"/>
                  </a:lnTo>
                  <a:lnTo>
                    <a:pt x="0" y="48"/>
                  </a:lnTo>
                  <a:lnTo>
                    <a:pt x="6" y="59"/>
                  </a:lnTo>
                  <a:lnTo>
                    <a:pt x="16" y="71"/>
                  </a:lnTo>
                  <a:lnTo>
                    <a:pt x="31" y="83"/>
                  </a:lnTo>
                  <a:lnTo>
                    <a:pt x="55" y="81"/>
                  </a:lnTo>
                  <a:lnTo>
                    <a:pt x="76" y="65"/>
                  </a:lnTo>
                  <a:lnTo>
                    <a:pt x="87" y="71"/>
                  </a:lnTo>
                  <a:lnTo>
                    <a:pt x="109" y="63"/>
                  </a:lnTo>
                  <a:lnTo>
                    <a:pt x="120" y="47"/>
                  </a:lnTo>
                  <a:lnTo>
                    <a:pt x="132" y="27"/>
                  </a:lnTo>
                  <a:lnTo>
                    <a:pt x="151" y="15"/>
                  </a:lnTo>
                  <a:lnTo>
                    <a:pt x="139" y="11"/>
                  </a:lnTo>
                  <a:lnTo>
                    <a:pt x="132" y="0"/>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4" name="Freeform 176"/>
            <p:cNvSpPr>
              <a:spLocks/>
            </p:cNvSpPr>
            <p:nvPr/>
          </p:nvSpPr>
          <p:spPr bwMode="auto">
            <a:xfrm>
              <a:off x="5355470" y="3006720"/>
              <a:ext cx="152400" cy="93662"/>
            </a:xfrm>
            <a:custGeom>
              <a:avLst/>
              <a:gdLst>
                <a:gd name="T0" fmla="*/ 103 w 144"/>
                <a:gd name="T1" fmla="*/ 74 h 89"/>
                <a:gd name="T2" fmla="*/ 117 w 144"/>
                <a:gd name="T3" fmla="*/ 63 h 89"/>
                <a:gd name="T4" fmla="*/ 135 w 144"/>
                <a:gd name="T5" fmla="*/ 72 h 89"/>
                <a:gd name="T6" fmla="*/ 132 w 144"/>
                <a:gd name="T7" fmla="*/ 60 h 89"/>
                <a:gd name="T8" fmla="*/ 124 w 144"/>
                <a:gd name="T9" fmla="*/ 51 h 89"/>
                <a:gd name="T10" fmla="*/ 133 w 144"/>
                <a:gd name="T11" fmla="*/ 47 h 89"/>
                <a:gd name="T12" fmla="*/ 132 w 144"/>
                <a:gd name="T13" fmla="*/ 35 h 89"/>
                <a:gd name="T14" fmla="*/ 144 w 144"/>
                <a:gd name="T15" fmla="*/ 20 h 89"/>
                <a:gd name="T16" fmla="*/ 118 w 144"/>
                <a:gd name="T17" fmla="*/ 9 h 89"/>
                <a:gd name="T18" fmla="*/ 105 w 144"/>
                <a:gd name="T19" fmla="*/ 3 h 89"/>
                <a:gd name="T20" fmla="*/ 88 w 144"/>
                <a:gd name="T21" fmla="*/ 9 h 89"/>
                <a:gd name="T22" fmla="*/ 75 w 144"/>
                <a:gd name="T23" fmla="*/ 21 h 89"/>
                <a:gd name="T24" fmla="*/ 60 w 144"/>
                <a:gd name="T25" fmla="*/ 17 h 89"/>
                <a:gd name="T26" fmla="*/ 39 w 144"/>
                <a:gd name="T27" fmla="*/ 18 h 89"/>
                <a:gd name="T28" fmla="*/ 27 w 144"/>
                <a:gd name="T29" fmla="*/ 12 h 89"/>
                <a:gd name="T30" fmla="*/ 13 w 144"/>
                <a:gd name="T31" fmla="*/ 14 h 89"/>
                <a:gd name="T32" fmla="*/ 7 w 144"/>
                <a:gd name="T33" fmla="*/ 0 h 89"/>
                <a:gd name="T34" fmla="*/ 0 w 144"/>
                <a:gd name="T35" fmla="*/ 12 h 89"/>
                <a:gd name="T36" fmla="*/ 1 w 144"/>
                <a:gd name="T37" fmla="*/ 24 h 89"/>
                <a:gd name="T38" fmla="*/ 12 w 144"/>
                <a:gd name="T39" fmla="*/ 32 h 89"/>
                <a:gd name="T40" fmla="*/ 0 w 144"/>
                <a:gd name="T41" fmla="*/ 45 h 89"/>
                <a:gd name="T42" fmla="*/ 1 w 144"/>
                <a:gd name="T43" fmla="*/ 62 h 89"/>
                <a:gd name="T44" fmla="*/ 16 w 144"/>
                <a:gd name="T45" fmla="*/ 69 h 89"/>
                <a:gd name="T46" fmla="*/ 12 w 144"/>
                <a:gd name="T47" fmla="*/ 87 h 89"/>
                <a:gd name="T48" fmla="*/ 28 w 144"/>
                <a:gd name="T49" fmla="*/ 84 h 89"/>
                <a:gd name="T50" fmla="*/ 40 w 144"/>
                <a:gd name="T51" fmla="*/ 80 h 89"/>
                <a:gd name="T52" fmla="*/ 52 w 144"/>
                <a:gd name="T53" fmla="*/ 78 h 89"/>
                <a:gd name="T54" fmla="*/ 72 w 144"/>
                <a:gd name="T55" fmla="*/ 89 h 89"/>
                <a:gd name="T56" fmla="*/ 90 w 144"/>
                <a:gd name="T57" fmla="*/ 84 h 89"/>
                <a:gd name="T58" fmla="*/ 90 w 144"/>
                <a:gd name="T59" fmla="*/ 72 h 89"/>
                <a:gd name="T60" fmla="*/ 103 w 144"/>
                <a:gd name="T61" fmla="*/ 7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89">
                  <a:moveTo>
                    <a:pt x="103" y="74"/>
                  </a:moveTo>
                  <a:lnTo>
                    <a:pt x="117" y="63"/>
                  </a:lnTo>
                  <a:lnTo>
                    <a:pt x="135" y="72"/>
                  </a:lnTo>
                  <a:lnTo>
                    <a:pt x="132" y="60"/>
                  </a:lnTo>
                  <a:lnTo>
                    <a:pt x="124" y="51"/>
                  </a:lnTo>
                  <a:lnTo>
                    <a:pt x="133" y="47"/>
                  </a:lnTo>
                  <a:lnTo>
                    <a:pt x="132" y="35"/>
                  </a:lnTo>
                  <a:lnTo>
                    <a:pt x="144" y="20"/>
                  </a:lnTo>
                  <a:lnTo>
                    <a:pt x="118" y="9"/>
                  </a:lnTo>
                  <a:lnTo>
                    <a:pt x="105" y="3"/>
                  </a:lnTo>
                  <a:lnTo>
                    <a:pt x="88" y="9"/>
                  </a:lnTo>
                  <a:lnTo>
                    <a:pt x="75" y="21"/>
                  </a:lnTo>
                  <a:lnTo>
                    <a:pt x="60" y="17"/>
                  </a:lnTo>
                  <a:lnTo>
                    <a:pt x="39" y="18"/>
                  </a:lnTo>
                  <a:lnTo>
                    <a:pt x="27" y="12"/>
                  </a:lnTo>
                  <a:lnTo>
                    <a:pt x="13" y="14"/>
                  </a:lnTo>
                  <a:lnTo>
                    <a:pt x="7" y="0"/>
                  </a:lnTo>
                  <a:lnTo>
                    <a:pt x="0" y="12"/>
                  </a:lnTo>
                  <a:lnTo>
                    <a:pt x="1" y="24"/>
                  </a:lnTo>
                  <a:lnTo>
                    <a:pt x="12" y="32"/>
                  </a:lnTo>
                  <a:lnTo>
                    <a:pt x="0" y="45"/>
                  </a:lnTo>
                  <a:lnTo>
                    <a:pt x="1" y="62"/>
                  </a:lnTo>
                  <a:lnTo>
                    <a:pt x="16" y="69"/>
                  </a:lnTo>
                  <a:lnTo>
                    <a:pt x="12" y="87"/>
                  </a:lnTo>
                  <a:lnTo>
                    <a:pt x="28" y="84"/>
                  </a:lnTo>
                  <a:lnTo>
                    <a:pt x="40" y="80"/>
                  </a:lnTo>
                  <a:lnTo>
                    <a:pt x="52" y="78"/>
                  </a:lnTo>
                  <a:lnTo>
                    <a:pt x="72" y="89"/>
                  </a:lnTo>
                  <a:lnTo>
                    <a:pt x="90" y="84"/>
                  </a:lnTo>
                  <a:lnTo>
                    <a:pt x="90" y="72"/>
                  </a:lnTo>
                  <a:lnTo>
                    <a:pt x="103" y="74"/>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5" name="Freeform 177"/>
            <p:cNvSpPr>
              <a:spLocks/>
            </p:cNvSpPr>
            <p:nvPr/>
          </p:nvSpPr>
          <p:spPr bwMode="auto">
            <a:xfrm>
              <a:off x="5296732" y="2882895"/>
              <a:ext cx="239714" cy="146050"/>
            </a:xfrm>
            <a:custGeom>
              <a:avLst/>
              <a:gdLst>
                <a:gd name="T0" fmla="*/ 63 w 227"/>
                <a:gd name="T1" fmla="*/ 8 h 138"/>
                <a:gd name="T2" fmla="*/ 42 w 227"/>
                <a:gd name="T3" fmla="*/ 23 h 138"/>
                <a:gd name="T4" fmla="*/ 21 w 227"/>
                <a:gd name="T5" fmla="*/ 57 h 138"/>
                <a:gd name="T6" fmla="*/ 0 w 227"/>
                <a:gd name="T7" fmla="*/ 65 h 138"/>
                <a:gd name="T8" fmla="*/ 15 w 227"/>
                <a:gd name="T9" fmla="*/ 72 h 138"/>
                <a:gd name="T10" fmla="*/ 15 w 227"/>
                <a:gd name="T11" fmla="*/ 86 h 138"/>
                <a:gd name="T12" fmla="*/ 32 w 227"/>
                <a:gd name="T13" fmla="*/ 86 h 138"/>
                <a:gd name="T14" fmla="*/ 38 w 227"/>
                <a:gd name="T15" fmla="*/ 107 h 138"/>
                <a:gd name="T16" fmla="*/ 60 w 227"/>
                <a:gd name="T17" fmla="*/ 108 h 138"/>
                <a:gd name="T18" fmla="*/ 62 w 227"/>
                <a:gd name="T19" fmla="*/ 119 h 138"/>
                <a:gd name="T20" fmla="*/ 69 w 227"/>
                <a:gd name="T21" fmla="*/ 129 h 138"/>
                <a:gd name="T22" fmla="*/ 81 w 227"/>
                <a:gd name="T23" fmla="*/ 128 h 138"/>
                <a:gd name="T24" fmla="*/ 93 w 227"/>
                <a:gd name="T25" fmla="*/ 135 h 138"/>
                <a:gd name="T26" fmla="*/ 116 w 227"/>
                <a:gd name="T27" fmla="*/ 132 h 138"/>
                <a:gd name="T28" fmla="*/ 131 w 227"/>
                <a:gd name="T29" fmla="*/ 138 h 138"/>
                <a:gd name="T30" fmla="*/ 141 w 227"/>
                <a:gd name="T31" fmla="*/ 128 h 138"/>
                <a:gd name="T32" fmla="*/ 159 w 227"/>
                <a:gd name="T33" fmla="*/ 120 h 138"/>
                <a:gd name="T34" fmla="*/ 200 w 227"/>
                <a:gd name="T35" fmla="*/ 137 h 138"/>
                <a:gd name="T36" fmla="*/ 204 w 227"/>
                <a:gd name="T37" fmla="*/ 123 h 138"/>
                <a:gd name="T38" fmla="*/ 203 w 227"/>
                <a:gd name="T39" fmla="*/ 107 h 138"/>
                <a:gd name="T40" fmla="*/ 219 w 227"/>
                <a:gd name="T41" fmla="*/ 101 h 138"/>
                <a:gd name="T42" fmla="*/ 227 w 227"/>
                <a:gd name="T43" fmla="*/ 90 h 138"/>
                <a:gd name="T44" fmla="*/ 215 w 227"/>
                <a:gd name="T45" fmla="*/ 81 h 138"/>
                <a:gd name="T46" fmla="*/ 198 w 227"/>
                <a:gd name="T47" fmla="*/ 90 h 138"/>
                <a:gd name="T48" fmla="*/ 186 w 227"/>
                <a:gd name="T49" fmla="*/ 83 h 138"/>
                <a:gd name="T50" fmla="*/ 185 w 227"/>
                <a:gd name="T51" fmla="*/ 66 h 138"/>
                <a:gd name="T52" fmla="*/ 188 w 227"/>
                <a:gd name="T53" fmla="*/ 51 h 138"/>
                <a:gd name="T54" fmla="*/ 174 w 227"/>
                <a:gd name="T55" fmla="*/ 35 h 138"/>
                <a:gd name="T56" fmla="*/ 161 w 227"/>
                <a:gd name="T57" fmla="*/ 17 h 138"/>
                <a:gd name="T58" fmla="*/ 149 w 227"/>
                <a:gd name="T59" fmla="*/ 0 h 138"/>
                <a:gd name="T60" fmla="*/ 128 w 227"/>
                <a:gd name="T61" fmla="*/ 12 h 138"/>
                <a:gd name="T62" fmla="*/ 105 w 227"/>
                <a:gd name="T63" fmla="*/ 17 h 138"/>
                <a:gd name="T64" fmla="*/ 96 w 227"/>
                <a:gd name="T65" fmla="*/ 8 h 138"/>
                <a:gd name="T66" fmla="*/ 63 w 227"/>
                <a:gd name="T67" fmla="*/ 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138">
                  <a:moveTo>
                    <a:pt x="63" y="8"/>
                  </a:moveTo>
                  <a:lnTo>
                    <a:pt x="42" y="23"/>
                  </a:lnTo>
                  <a:lnTo>
                    <a:pt x="21" y="57"/>
                  </a:lnTo>
                  <a:lnTo>
                    <a:pt x="0" y="65"/>
                  </a:lnTo>
                  <a:lnTo>
                    <a:pt x="15" y="72"/>
                  </a:lnTo>
                  <a:lnTo>
                    <a:pt x="15" y="86"/>
                  </a:lnTo>
                  <a:lnTo>
                    <a:pt x="32" y="86"/>
                  </a:lnTo>
                  <a:lnTo>
                    <a:pt x="38" y="107"/>
                  </a:lnTo>
                  <a:lnTo>
                    <a:pt x="60" y="108"/>
                  </a:lnTo>
                  <a:lnTo>
                    <a:pt x="62" y="119"/>
                  </a:lnTo>
                  <a:lnTo>
                    <a:pt x="69" y="129"/>
                  </a:lnTo>
                  <a:lnTo>
                    <a:pt x="81" y="128"/>
                  </a:lnTo>
                  <a:lnTo>
                    <a:pt x="93" y="135"/>
                  </a:lnTo>
                  <a:lnTo>
                    <a:pt x="116" y="132"/>
                  </a:lnTo>
                  <a:lnTo>
                    <a:pt x="131" y="138"/>
                  </a:lnTo>
                  <a:lnTo>
                    <a:pt x="141" y="128"/>
                  </a:lnTo>
                  <a:lnTo>
                    <a:pt x="159" y="120"/>
                  </a:lnTo>
                  <a:lnTo>
                    <a:pt x="200" y="137"/>
                  </a:lnTo>
                  <a:lnTo>
                    <a:pt x="204" y="123"/>
                  </a:lnTo>
                  <a:lnTo>
                    <a:pt x="203" y="107"/>
                  </a:lnTo>
                  <a:lnTo>
                    <a:pt x="219" y="101"/>
                  </a:lnTo>
                  <a:lnTo>
                    <a:pt x="227" y="90"/>
                  </a:lnTo>
                  <a:lnTo>
                    <a:pt x="215" y="81"/>
                  </a:lnTo>
                  <a:lnTo>
                    <a:pt x="198" y="90"/>
                  </a:lnTo>
                  <a:lnTo>
                    <a:pt x="186" y="83"/>
                  </a:lnTo>
                  <a:lnTo>
                    <a:pt x="185" y="66"/>
                  </a:lnTo>
                  <a:lnTo>
                    <a:pt x="188" y="51"/>
                  </a:lnTo>
                  <a:lnTo>
                    <a:pt x="174" y="35"/>
                  </a:lnTo>
                  <a:lnTo>
                    <a:pt x="161" y="17"/>
                  </a:lnTo>
                  <a:lnTo>
                    <a:pt x="149" y="0"/>
                  </a:lnTo>
                  <a:lnTo>
                    <a:pt x="128" y="12"/>
                  </a:lnTo>
                  <a:lnTo>
                    <a:pt x="105" y="17"/>
                  </a:lnTo>
                  <a:lnTo>
                    <a:pt x="96" y="8"/>
                  </a:lnTo>
                  <a:lnTo>
                    <a:pt x="63" y="8"/>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6" name="Freeform 178"/>
            <p:cNvSpPr>
              <a:spLocks/>
            </p:cNvSpPr>
            <p:nvPr/>
          </p:nvSpPr>
          <p:spPr bwMode="auto">
            <a:xfrm>
              <a:off x="5274507" y="2671757"/>
              <a:ext cx="66676" cy="33337"/>
            </a:xfrm>
            <a:custGeom>
              <a:avLst/>
              <a:gdLst>
                <a:gd name="T0" fmla="*/ 0 w 63"/>
                <a:gd name="T1" fmla="*/ 21 h 32"/>
                <a:gd name="T2" fmla="*/ 2 w 63"/>
                <a:gd name="T3" fmla="*/ 11 h 32"/>
                <a:gd name="T4" fmla="*/ 27 w 63"/>
                <a:gd name="T5" fmla="*/ 14 h 32"/>
                <a:gd name="T6" fmla="*/ 30 w 63"/>
                <a:gd name="T7" fmla="*/ 0 h 32"/>
                <a:gd name="T8" fmla="*/ 47 w 63"/>
                <a:gd name="T9" fmla="*/ 8 h 32"/>
                <a:gd name="T10" fmla="*/ 63 w 63"/>
                <a:gd name="T11" fmla="*/ 14 h 32"/>
                <a:gd name="T12" fmla="*/ 62 w 63"/>
                <a:gd name="T13" fmla="*/ 32 h 32"/>
                <a:gd name="T14" fmla="*/ 12 w 63"/>
                <a:gd name="T15" fmla="*/ 30 h 32"/>
                <a:gd name="T16" fmla="*/ 0 w 63"/>
                <a:gd name="T1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2">
                  <a:moveTo>
                    <a:pt x="0" y="21"/>
                  </a:moveTo>
                  <a:lnTo>
                    <a:pt x="2" y="11"/>
                  </a:lnTo>
                  <a:lnTo>
                    <a:pt x="27" y="14"/>
                  </a:lnTo>
                  <a:lnTo>
                    <a:pt x="30" y="0"/>
                  </a:lnTo>
                  <a:lnTo>
                    <a:pt x="47" y="8"/>
                  </a:lnTo>
                  <a:lnTo>
                    <a:pt x="63" y="14"/>
                  </a:lnTo>
                  <a:lnTo>
                    <a:pt x="62" y="32"/>
                  </a:lnTo>
                  <a:lnTo>
                    <a:pt x="12" y="30"/>
                  </a:lnTo>
                  <a:lnTo>
                    <a:pt x="0" y="21"/>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7" name="Freeform 179"/>
            <p:cNvSpPr>
              <a:spLocks/>
            </p:cNvSpPr>
            <p:nvPr/>
          </p:nvSpPr>
          <p:spPr bwMode="auto">
            <a:xfrm>
              <a:off x="5303083" y="2640007"/>
              <a:ext cx="133350" cy="77787"/>
            </a:xfrm>
            <a:custGeom>
              <a:avLst/>
              <a:gdLst>
                <a:gd name="T0" fmla="*/ 6 w 127"/>
                <a:gd name="T1" fmla="*/ 32 h 74"/>
                <a:gd name="T2" fmla="*/ 0 w 127"/>
                <a:gd name="T3" fmla="*/ 14 h 74"/>
                <a:gd name="T4" fmla="*/ 12 w 127"/>
                <a:gd name="T5" fmla="*/ 5 h 74"/>
                <a:gd name="T6" fmla="*/ 34 w 127"/>
                <a:gd name="T7" fmla="*/ 5 h 74"/>
                <a:gd name="T8" fmla="*/ 66 w 127"/>
                <a:gd name="T9" fmla="*/ 8 h 74"/>
                <a:gd name="T10" fmla="*/ 79 w 127"/>
                <a:gd name="T11" fmla="*/ 0 h 74"/>
                <a:gd name="T12" fmla="*/ 85 w 127"/>
                <a:gd name="T13" fmla="*/ 9 h 74"/>
                <a:gd name="T14" fmla="*/ 100 w 127"/>
                <a:gd name="T15" fmla="*/ 9 h 74"/>
                <a:gd name="T16" fmla="*/ 120 w 127"/>
                <a:gd name="T17" fmla="*/ 27 h 74"/>
                <a:gd name="T18" fmla="*/ 127 w 127"/>
                <a:gd name="T19" fmla="*/ 35 h 74"/>
                <a:gd name="T20" fmla="*/ 97 w 127"/>
                <a:gd name="T21" fmla="*/ 50 h 74"/>
                <a:gd name="T22" fmla="*/ 108 w 127"/>
                <a:gd name="T23" fmla="*/ 65 h 74"/>
                <a:gd name="T24" fmla="*/ 87 w 127"/>
                <a:gd name="T25" fmla="*/ 66 h 74"/>
                <a:gd name="T26" fmla="*/ 78 w 127"/>
                <a:gd name="T27" fmla="*/ 74 h 74"/>
                <a:gd name="T28" fmla="*/ 55 w 127"/>
                <a:gd name="T29" fmla="*/ 74 h 74"/>
                <a:gd name="T30" fmla="*/ 54 w 127"/>
                <a:gd name="T31" fmla="*/ 63 h 74"/>
                <a:gd name="T32" fmla="*/ 36 w 127"/>
                <a:gd name="T33" fmla="*/ 62 h 74"/>
                <a:gd name="T34" fmla="*/ 36 w 127"/>
                <a:gd name="T35" fmla="*/ 44 h 74"/>
                <a:gd name="T36" fmla="*/ 6 w 127"/>
                <a:gd name="T3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74">
                  <a:moveTo>
                    <a:pt x="6" y="32"/>
                  </a:moveTo>
                  <a:lnTo>
                    <a:pt x="0" y="14"/>
                  </a:lnTo>
                  <a:lnTo>
                    <a:pt x="12" y="5"/>
                  </a:lnTo>
                  <a:lnTo>
                    <a:pt x="34" y="5"/>
                  </a:lnTo>
                  <a:lnTo>
                    <a:pt x="66" y="8"/>
                  </a:lnTo>
                  <a:lnTo>
                    <a:pt x="79" y="0"/>
                  </a:lnTo>
                  <a:lnTo>
                    <a:pt x="85" y="9"/>
                  </a:lnTo>
                  <a:lnTo>
                    <a:pt x="100" y="9"/>
                  </a:lnTo>
                  <a:lnTo>
                    <a:pt x="120" y="27"/>
                  </a:lnTo>
                  <a:lnTo>
                    <a:pt x="127" y="35"/>
                  </a:lnTo>
                  <a:lnTo>
                    <a:pt x="97" y="50"/>
                  </a:lnTo>
                  <a:lnTo>
                    <a:pt x="108" y="65"/>
                  </a:lnTo>
                  <a:lnTo>
                    <a:pt x="87" y="66"/>
                  </a:lnTo>
                  <a:lnTo>
                    <a:pt x="78" y="74"/>
                  </a:lnTo>
                  <a:lnTo>
                    <a:pt x="55" y="74"/>
                  </a:lnTo>
                  <a:lnTo>
                    <a:pt x="54" y="63"/>
                  </a:lnTo>
                  <a:lnTo>
                    <a:pt x="36" y="62"/>
                  </a:lnTo>
                  <a:lnTo>
                    <a:pt x="36" y="44"/>
                  </a:lnTo>
                  <a:lnTo>
                    <a:pt x="6" y="32"/>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8" name="Freeform 180"/>
            <p:cNvSpPr>
              <a:spLocks/>
            </p:cNvSpPr>
            <p:nvPr/>
          </p:nvSpPr>
          <p:spPr bwMode="auto">
            <a:xfrm>
              <a:off x="5296732" y="2595558"/>
              <a:ext cx="166688" cy="71437"/>
            </a:xfrm>
            <a:custGeom>
              <a:avLst/>
              <a:gdLst>
                <a:gd name="T0" fmla="*/ 123 w 158"/>
                <a:gd name="T1" fmla="*/ 69 h 69"/>
                <a:gd name="T2" fmla="*/ 105 w 158"/>
                <a:gd name="T3" fmla="*/ 51 h 69"/>
                <a:gd name="T4" fmla="*/ 89 w 158"/>
                <a:gd name="T5" fmla="*/ 52 h 69"/>
                <a:gd name="T6" fmla="*/ 84 w 158"/>
                <a:gd name="T7" fmla="*/ 42 h 69"/>
                <a:gd name="T8" fmla="*/ 71 w 158"/>
                <a:gd name="T9" fmla="*/ 51 h 69"/>
                <a:gd name="T10" fmla="*/ 38 w 158"/>
                <a:gd name="T11" fmla="*/ 48 h 69"/>
                <a:gd name="T12" fmla="*/ 15 w 158"/>
                <a:gd name="T13" fmla="*/ 46 h 69"/>
                <a:gd name="T14" fmla="*/ 3 w 158"/>
                <a:gd name="T15" fmla="*/ 57 h 69"/>
                <a:gd name="T16" fmla="*/ 0 w 158"/>
                <a:gd name="T17" fmla="*/ 34 h 69"/>
                <a:gd name="T18" fmla="*/ 9 w 158"/>
                <a:gd name="T19" fmla="*/ 27 h 69"/>
                <a:gd name="T20" fmla="*/ 11 w 158"/>
                <a:gd name="T21" fmla="*/ 13 h 69"/>
                <a:gd name="T22" fmla="*/ 32 w 158"/>
                <a:gd name="T23" fmla="*/ 10 h 69"/>
                <a:gd name="T24" fmla="*/ 48 w 158"/>
                <a:gd name="T25" fmla="*/ 18 h 69"/>
                <a:gd name="T26" fmla="*/ 54 w 158"/>
                <a:gd name="T27" fmla="*/ 27 h 69"/>
                <a:gd name="T28" fmla="*/ 71 w 158"/>
                <a:gd name="T29" fmla="*/ 27 h 69"/>
                <a:gd name="T30" fmla="*/ 69 w 158"/>
                <a:gd name="T31" fmla="*/ 10 h 69"/>
                <a:gd name="T32" fmla="*/ 90 w 158"/>
                <a:gd name="T33" fmla="*/ 0 h 69"/>
                <a:gd name="T34" fmla="*/ 111 w 158"/>
                <a:gd name="T35" fmla="*/ 9 h 69"/>
                <a:gd name="T36" fmla="*/ 120 w 158"/>
                <a:gd name="T37" fmla="*/ 16 h 69"/>
                <a:gd name="T38" fmla="*/ 140 w 158"/>
                <a:gd name="T39" fmla="*/ 13 h 69"/>
                <a:gd name="T40" fmla="*/ 158 w 158"/>
                <a:gd name="T41" fmla="*/ 52 h 69"/>
                <a:gd name="T42" fmla="*/ 144 w 158"/>
                <a:gd name="T43" fmla="*/ 63 h 69"/>
                <a:gd name="T44" fmla="*/ 123 w 158"/>
                <a:gd name="T4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69">
                  <a:moveTo>
                    <a:pt x="123" y="69"/>
                  </a:moveTo>
                  <a:lnTo>
                    <a:pt x="105" y="51"/>
                  </a:lnTo>
                  <a:lnTo>
                    <a:pt x="89" y="52"/>
                  </a:lnTo>
                  <a:lnTo>
                    <a:pt x="84" y="42"/>
                  </a:lnTo>
                  <a:lnTo>
                    <a:pt x="71" y="51"/>
                  </a:lnTo>
                  <a:lnTo>
                    <a:pt x="38" y="48"/>
                  </a:lnTo>
                  <a:lnTo>
                    <a:pt x="15" y="46"/>
                  </a:lnTo>
                  <a:lnTo>
                    <a:pt x="3" y="57"/>
                  </a:lnTo>
                  <a:lnTo>
                    <a:pt x="0" y="34"/>
                  </a:lnTo>
                  <a:lnTo>
                    <a:pt x="9" y="27"/>
                  </a:lnTo>
                  <a:lnTo>
                    <a:pt x="11" y="13"/>
                  </a:lnTo>
                  <a:lnTo>
                    <a:pt x="32" y="10"/>
                  </a:lnTo>
                  <a:lnTo>
                    <a:pt x="48" y="18"/>
                  </a:lnTo>
                  <a:lnTo>
                    <a:pt x="54" y="27"/>
                  </a:lnTo>
                  <a:lnTo>
                    <a:pt x="71" y="27"/>
                  </a:lnTo>
                  <a:lnTo>
                    <a:pt x="69" y="10"/>
                  </a:lnTo>
                  <a:lnTo>
                    <a:pt x="90" y="0"/>
                  </a:lnTo>
                  <a:lnTo>
                    <a:pt x="111" y="9"/>
                  </a:lnTo>
                  <a:lnTo>
                    <a:pt x="120" y="16"/>
                  </a:lnTo>
                  <a:lnTo>
                    <a:pt x="140" y="13"/>
                  </a:lnTo>
                  <a:lnTo>
                    <a:pt x="158" y="52"/>
                  </a:lnTo>
                  <a:lnTo>
                    <a:pt x="144" y="63"/>
                  </a:lnTo>
                  <a:lnTo>
                    <a:pt x="123" y="69"/>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39" name="Freeform 181"/>
            <p:cNvSpPr>
              <a:spLocks/>
            </p:cNvSpPr>
            <p:nvPr/>
          </p:nvSpPr>
          <p:spPr bwMode="auto">
            <a:xfrm>
              <a:off x="5312607" y="2551109"/>
              <a:ext cx="138113" cy="60326"/>
            </a:xfrm>
            <a:custGeom>
              <a:avLst/>
              <a:gdLst>
                <a:gd name="T0" fmla="*/ 56 w 131"/>
                <a:gd name="T1" fmla="*/ 48 h 56"/>
                <a:gd name="T2" fmla="*/ 57 w 131"/>
                <a:gd name="T3" fmla="*/ 32 h 56"/>
                <a:gd name="T4" fmla="*/ 42 w 131"/>
                <a:gd name="T5" fmla="*/ 32 h 56"/>
                <a:gd name="T6" fmla="*/ 17 w 131"/>
                <a:gd name="T7" fmla="*/ 36 h 56"/>
                <a:gd name="T8" fmla="*/ 5 w 131"/>
                <a:gd name="T9" fmla="*/ 42 h 56"/>
                <a:gd name="T10" fmla="*/ 0 w 131"/>
                <a:gd name="T11" fmla="*/ 30 h 56"/>
                <a:gd name="T12" fmla="*/ 32 w 131"/>
                <a:gd name="T13" fmla="*/ 11 h 56"/>
                <a:gd name="T14" fmla="*/ 57 w 131"/>
                <a:gd name="T15" fmla="*/ 0 h 56"/>
                <a:gd name="T16" fmla="*/ 84 w 131"/>
                <a:gd name="T17" fmla="*/ 2 h 56"/>
                <a:gd name="T18" fmla="*/ 110 w 131"/>
                <a:gd name="T19" fmla="*/ 5 h 56"/>
                <a:gd name="T20" fmla="*/ 128 w 131"/>
                <a:gd name="T21" fmla="*/ 5 h 56"/>
                <a:gd name="T22" fmla="*/ 119 w 131"/>
                <a:gd name="T23" fmla="*/ 23 h 56"/>
                <a:gd name="T24" fmla="*/ 131 w 131"/>
                <a:gd name="T25" fmla="*/ 44 h 56"/>
                <a:gd name="T26" fmla="*/ 126 w 131"/>
                <a:gd name="T27" fmla="*/ 53 h 56"/>
                <a:gd name="T28" fmla="*/ 104 w 131"/>
                <a:gd name="T29" fmla="*/ 56 h 56"/>
                <a:gd name="T30" fmla="*/ 90 w 131"/>
                <a:gd name="T31" fmla="*/ 47 h 56"/>
                <a:gd name="T32" fmla="*/ 74 w 131"/>
                <a:gd name="T33" fmla="*/ 41 h 56"/>
                <a:gd name="T34" fmla="*/ 56 w 131"/>
                <a:gd name="T3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56">
                  <a:moveTo>
                    <a:pt x="56" y="48"/>
                  </a:moveTo>
                  <a:lnTo>
                    <a:pt x="57" y="32"/>
                  </a:lnTo>
                  <a:lnTo>
                    <a:pt x="42" y="32"/>
                  </a:lnTo>
                  <a:lnTo>
                    <a:pt x="17" y="36"/>
                  </a:lnTo>
                  <a:lnTo>
                    <a:pt x="5" y="42"/>
                  </a:lnTo>
                  <a:lnTo>
                    <a:pt x="0" y="30"/>
                  </a:lnTo>
                  <a:lnTo>
                    <a:pt x="32" y="11"/>
                  </a:lnTo>
                  <a:lnTo>
                    <a:pt x="57" y="0"/>
                  </a:lnTo>
                  <a:lnTo>
                    <a:pt x="84" y="2"/>
                  </a:lnTo>
                  <a:lnTo>
                    <a:pt x="110" y="5"/>
                  </a:lnTo>
                  <a:lnTo>
                    <a:pt x="128" y="5"/>
                  </a:lnTo>
                  <a:lnTo>
                    <a:pt x="119" y="23"/>
                  </a:lnTo>
                  <a:lnTo>
                    <a:pt x="131" y="44"/>
                  </a:lnTo>
                  <a:lnTo>
                    <a:pt x="126" y="53"/>
                  </a:lnTo>
                  <a:lnTo>
                    <a:pt x="104" y="56"/>
                  </a:lnTo>
                  <a:lnTo>
                    <a:pt x="90" y="47"/>
                  </a:lnTo>
                  <a:lnTo>
                    <a:pt x="74" y="41"/>
                  </a:lnTo>
                  <a:lnTo>
                    <a:pt x="56" y="48"/>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40" name="Freeform 182"/>
            <p:cNvSpPr>
              <a:spLocks/>
            </p:cNvSpPr>
            <p:nvPr/>
          </p:nvSpPr>
          <p:spPr bwMode="auto">
            <a:xfrm>
              <a:off x="5358645" y="2649532"/>
              <a:ext cx="219076" cy="147637"/>
            </a:xfrm>
            <a:custGeom>
              <a:avLst/>
              <a:gdLst>
                <a:gd name="T0" fmla="*/ 97 w 208"/>
                <a:gd name="T1" fmla="*/ 0 h 140"/>
                <a:gd name="T2" fmla="*/ 112 w 208"/>
                <a:gd name="T3" fmla="*/ 6 h 140"/>
                <a:gd name="T4" fmla="*/ 124 w 208"/>
                <a:gd name="T5" fmla="*/ 3 h 140"/>
                <a:gd name="T6" fmla="*/ 130 w 208"/>
                <a:gd name="T7" fmla="*/ 14 h 140"/>
                <a:gd name="T8" fmla="*/ 151 w 208"/>
                <a:gd name="T9" fmla="*/ 11 h 140"/>
                <a:gd name="T10" fmla="*/ 160 w 208"/>
                <a:gd name="T11" fmla="*/ 23 h 140"/>
                <a:gd name="T12" fmla="*/ 163 w 208"/>
                <a:gd name="T13" fmla="*/ 39 h 140"/>
                <a:gd name="T14" fmla="*/ 186 w 208"/>
                <a:gd name="T15" fmla="*/ 65 h 140"/>
                <a:gd name="T16" fmla="*/ 208 w 208"/>
                <a:gd name="T17" fmla="*/ 75 h 140"/>
                <a:gd name="T18" fmla="*/ 196 w 208"/>
                <a:gd name="T19" fmla="*/ 87 h 140"/>
                <a:gd name="T20" fmla="*/ 181 w 208"/>
                <a:gd name="T21" fmla="*/ 83 h 140"/>
                <a:gd name="T22" fmla="*/ 187 w 208"/>
                <a:gd name="T23" fmla="*/ 114 h 140"/>
                <a:gd name="T24" fmla="*/ 171 w 208"/>
                <a:gd name="T25" fmla="*/ 117 h 140"/>
                <a:gd name="T26" fmla="*/ 166 w 208"/>
                <a:gd name="T27" fmla="*/ 140 h 140"/>
                <a:gd name="T28" fmla="*/ 147 w 208"/>
                <a:gd name="T29" fmla="*/ 135 h 140"/>
                <a:gd name="T30" fmla="*/ 85 w 208"/>
                <a:gd name="T31" fmla="*/ 129 h 140"/>
                <a:gd name="T32" fmla="*/ 64 w 208"/>
                <a:gd name="T33" fmla="*/ 119 h 140"/>
                <a:gd name="T34" fmla="*/ 28 w 208"/>
                <a:gd name="T35" fmla="*/ 123 h 140"/>
                <a:gd name="T36" fmla="*/ 7 w 208"/>
                <a:gd name="T37" fmla="*/ 131 h 140"/>
                <a:gd name="T38" fmla="*/ 10 w 208"/>
                <a:gd name="T39" fmla="*/ 116 h 140"/>
                <a:gd name="T40" fmla="*/ 0 w 208"/>
                <a:gd name="T41" fmla="*/ 108 h 140"/>
                <a:gd name="T42" fmla="*/ 13 w 208"/>
                <a:gd name="T43" fmla="*/ 90 h 140"/>
                <a:gd name="T44" fmla="*/ 4 w 208"/>
                <a:gd name="T45" fmla="*/ 65 h 140"/>
                <a:gd name="T46" fmla="*/ 22 w 208"/>
                <a:gd name="T47" fmla="*/ 65 h 140"/>
                <a:gd name="T48" fmla="*/ 34 w 208"/>
                <a:gd name="T49" fmla="*/ 56 h 140"/>
                <a:gd name="T50" fmla="*/ 52 w 208"/>
                <a:gd name="T51" fmla="*/ 56 h 140"/>
                <a:gd name="T52" fmla="*/ 45 w 208"/>
                <a:gd name="T53" fmla="*/ 39 h 140"/>
                <a:gd name="T54" fmla="*/ 73 w 208"/>
                <a:gd name="T55" fmla="*/ 26 h 140"/>
                <a:gd name="T56" fmla="*/ 66 w 208"/>
                <a:gd name="T57" fmla="*/ 17 h 140"/>
                <a:gd name="T58" fmla="*/ 84 w 208"/>
                <a:gd name="T59" fmla="*/ 11 h 140"/>
                <a:gd name="T60" fmla="*/ 97 w 208"/>
                <a:gd name="T6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8" h="140">
                  <a:moveTo>
                    <a:pt x="97" y="0"/>
                  </a:moveTo>
                  <a:lnTo>
                    <a:pt x="112" y="6"/>
                  </a:lnTo>
                  <a:lnTo>
                    <a:pt x="124" y="3"/>
                  </a:lnTo>
                  <a:lnTo>
                    <a:pt x="130" y="14"/>
                  </a:lnTo>
                  <a:lnTo>
                    <a:pt x="151" y="11"/>
                  </a:lnTo>
                  <a:lnTo>
                    <a:pt x="160" y="23"/>
                  </a:lnTo>
                  <a:lnTo>
                    <a:pt x="163" y="39"/>
                  </a:lnTo>
                  <a:lnTo>
                    <a:pt x="186" y="65"/>
                  </a:lnTo>
                  <a:lnTo>
                    <a:pt x="208" y="75"/>
                  </a:lnTo>
                  <a:lnTo>
                    <a:pt x="196" y="87"/>
                  </a:lnTo>
                  <a:lnTo>
                    <a:pt x="181" y="83"/>
                  </a:lnTo>
                  <a:lnTo>
                    <a:pt x="187" y="114"/>
                  </a:lnTo>
                  <a:lnTo>
                    <a:pt x="171" y="117"/>
                  </a:lnTo>
                  <a:lnTo>
                    <a:pt x="166" y="140"/>
                  </a:lnTo>
                  <a:lnTo>
                    <a:pt x="147" y="135"/>
                  </a:lnTo>
                  <a:lnTo>
                    <a:pt x="85" y="129"/>
                  </a:lnTo>
                  <a:lnTo>
                    <a:pt x="64" y="119"/>
                  </a:lnTo>
                  <a:lnTo>
                    <a:pt x="28" y="123"/>
                  </a:lnTo>
                  <a:lnTo>
                    <a:pt x="7" y="131"/>
                  </a:lnTo>
                  <a:lnTo>
                    <a:pt x="10" y="116"/>
                  </a:lnTo>
                  <a:lnTo>
                    <a:pt x="0" y="108"/>
                  </a:lnTo>
                  <a:lnTo>
                    <a:pt x="13" y="90"/>
                  </a:lnTo>
                  <a:lnTo>
                    <a:pt x="4" y="65"/>
                  </a:lnTo>
                  <a:lnTo>
                    <a:pt x="22" y="65"/>
                  </a:lnTo>
                  <a:lnTo>
                    <a:pt x="34" y="56"/>
                  </a:lnTo>
                  <a:lnTo>
                    <a:pt x="52" y="56"/>
                  </a:lnTo>
                  <a:lnTo>
                    <a:pt x="45" y="39"/>
                  </a:lnTo>
                  <a:lnTo>
                    <a:pt x="73" y="26"/>
                  </a:lnTo>
                  <a:lnTo>
                    <a:pt x="66" y="17"/>
                  </a:lnTo>
                  <a:lnTo>
                    <a:pt x="84" y="11"/>
                  </a:lnTo>
                  <a:lnTo>
                    <a:pt x="97" y="0"/>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41" name="Freeform 183"/>
            <p:cNvSpPr>
              <a:spLocks/>
            </p:cNvSpPr>
            <p:nvPr/>
          </p:nvSpPr>
          <p:spPr bwMode="auto">
            <a:xfrm>
              <a:off x="5453896" y="2879720"/>
              <a:ext cx="85725" cy="92074"/>
            </a:xfrm>
            <a:custGeom>
              <a:avLst/>
              <a:gdLst>
                <a:gd name="T0" fmla="*/ 0 w 82"/>
                <a:gd name="T1" fmla="*/ 6 h 88"/>
                <a:gd name="T2" fmla="*/ 16 w 82"/>
                <a:gd name="T3" fmla="*/ 0 h 88"/>
                <a:gd name="T4" fmla="*/ 34 w 82"/>
                <a:gd name="T5" fmla="*/ 7 h 88"/>
                <a:gd name="T6" fmla="*/ 51 w 82"/>
                <a:gd name="T7" fmla="*/ 10 h 88"/>
                <a:gd name="T8" fmla="*/ 61 w 82"/>
                <a:gd name="T9" fmla="*/ 30 h 88"/>
                <a:gd name="T10" fmla="*/ 82 w 82"/>
                <a:gd name="T11" fmla="*/ 55 h 88"/>
                <a:gd name="T12" fmla="*/ 76 w 82"/>
                <a:gd name="T13" fmla="*/ 63 h 88"/>
                <a:gd name="T14" fmla="*/ 54 w 82"/>
                <a:gd name="T15" fmla="*/ 57 h 88"/>
                <a:gd name="T16" fmla="*/ 58 w 82"/>
                <a:gd name="T17" fmla="*/ 72 h 88"/>
                <a:gd name="T18" fmla="*/ 37 w 82"/>
                <a:gd name="T19" fmla="*/ 88 h 88"/>
                <a:gd name="T20" fmla="*/ 34 w 82"/>
                <a:gd name="T21" fmla="*/ 69 h 88"/>
                <a:gd name="T22" fmla="*/ 39 w 82"/>
                <a:gd name="T23" fmla="*/ 52 h 88"/>
                <a:gd name="T24" fmla="*/ 19 w 82"/>
                <a:gd name="T25" fmla="*/ 34 h 88"/>
                <a:gd name="T26" fmla="*/ 0 w 82"/>
                <a:gd name="T2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88">
                  <a:moveTo>
                    <a:pt x="0" y="6"/>
                  </a:moveTo>
                  <a:lnTo>
                    <a:pt x="16" y="0"/>
                  </a:lnTo>
                  <a:lnTo>
                    <a:pt x="34" y="7"/>
                  </a:lnTo>
                  <a:lnTo>
                    <a:pt x="51" y="10"/>
                  </a:lnTo>
                  <a:lnTo>
                    <a:pt x="61" y="30"/>
                  </a:lnTo>
                  <a:lnTo>
                    <a:pt x="82" y="55"/>
                  </a:lnTo>
                  <a:lnTo>
                    <a:pt x="76" y="63"/>
                  </a:lnTo>
                  <a:lnTo>
                    <a:pt x="54" y="57"/>
                  </a:lnTo>
                  <a:lnTo>
                    <a:pt x="58" y="72"/>
                  </a:lnTo>
                  <a:lnTo>
                    <a:pt x="37" y="88"/>
                  </a:lnTo>
                  <a:lnTo>
                    <a:pt x="34" y="69"/>
                  </a:lnTo>
                  <a:lnTo>
                    <a:pt x="39" y="52"/>
                  </a:lnTo>
                  <a:lnTo>
                    <a:pt x="19" y="34"/>
                  </a:lnTo>
                  <a:lnTo>
                    <a:pt x="0" y="6"/>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42" name="Freeform 184"/>
            <p:cNvSpPr>
              <a:spLocks/>
            </p:cNvSpPr>
            <p:nvPr/>
          </p:nvSpPr>
          <p:spPr bwMode="auto">
            <a:xfrm>
              <a:off x="5341181" y="2763832"/>
              <a:ext cx="431801" cy="214311"/>
            </a:xfrm>
            <a:custGeom>
              <a:avLst/>
              <a:gdLst>
                <a:gd name="T0" fmla="*/ 174 w 411"/>
                <a:gd name="T1" fmla="*/ 195 h 204"/>
                <a:gd name="T2" fmla="*/ 155 w 411"/>
                <a:gd name="T3" fmla="*/ 204 h 204"/>
                <a:gd name="T4" fmla="*/ 146 w 411"/>
                <a:gd name="T5" fmla="*/ 195 h 204"/>
                <a:gd name="T6" fmla="*/ 164 w 411"/>
                <a:gd name="T7" fmla="*/ 183 h 204"/>
                <a:gd name="T8" fmla="*/ 162 w 411"/>
                <a:gd name="T9" fmla="*/ 165 h 204"/>
                <a:gd name="T10" fmla="*/ 182 w 411"/>
                <a:gd name="T11" fmla="*/ 171 h 204"/>
                <a:gd name="T12" fmla="*/ 185 w 411"/>
                <a:gd name="T13" fmla="*/ 159 h 204"/>
                <a:gd name="T14" fmla="*/ 168 w 411"/>
                <a:gd name="T15" fmla="*/ 141 h 204"/>
                <a:gd name="T16" fmla="*/ 158 w 411"/>
                <a:gd name="T17" fmla="*/ 117 h 204"/>
                <a:gd name="T18" fmla="*/ 143 w 411"/>
                <a:gd name="T19" fmla="*/ 119 h 204"/>
                <a:gd name="T20" fmla="*/ 125 w 411"/>
                <a:gd name="T21" fmla="*/ 110 h 204"/>
                <a:gd name="T22" fmla="*/ 107 w 411"/>
                <a:gd name="T23" fmla="*/ 114 h 204"/>
                <a:gd name="T24" fmla="*/ 87 w 411"/>
                <a:gd name="T25" fmla="*/ 125 h 204"/>
                <a:gd name="T26" fmla="*/ 62 w 411"/>
                <a:gd name="T27" fmla="*/ 131 h 204"/>
                <a:gd name="T28" fmla="*/ 53 w 411"/>
                <a:gd name="T29" fmla="*/ 120 h 204"/>
                <a:gd name="T30" fmla="*/ 15 w 411"/>
                <a:gd name="T31" fmla="*/ 120 h 204"/>
                <a:gd name="T32" fmla="*/ 0 w 411"/>
                <a:gd name="T33" fmla="*/ 110 h 204"/>
                <a:gd name="T34" fmla="*/ 8 w 411"/>
                <a:gd name="T35" fmla="*/ 95 h 204"/>
                <a:gd name="T36" fmla="*/ 18 w 411"/>
                <a:gd name="T37" fmla="*/ 92 h 204"/>
                <a:gd name="T38" fmla="*/ 9 w 411"/>
                <a:gd name="T39" fmla="*/ 78 h 204"/>
                <a:gd name="T40" fmla="*/ 24 w 411"/>
                <a:gd name="T41" fmla="*/ 66 h 204"/>
                <a:gd name="T42" fmla="*/ 42 w 411"/>
                <a:gd name="T43" fmla="*/ 47 h 204"/>
                <a:gd name="T44" fmla="*/ 26 w 411"/>
                <a:gd name="T45" fmla="*/ 23 h 204"/>
                <a:gd name="T46" fmla="*/ 45 w 411"/>
                <a:gd name="T47" fmla="*/ 12 h 204"/>
                <a:gd name="T48" fmla="*/ 81 w 411"/>
                <a:gd name="T49" fmla="*/ 12 h 204"/>
                <a:gd name="T50" fmla="*/ 105 w 411"/>
                <a:gd name="T51" fmla="*/ 23 h 204"/>
                <a:gd name="T52" fmla="*/ 158 w 411"/>
                <a:gd name="T53" fmla="*/ 26 h 204"/>
                <a:gd name="T54" fmla="*/ 183 w 411"/>
                <a:gd name="T55" fmla="*/ 32 h 204"/>
                <a:gd name="T56" fmla="*/ 188 w 411"/>
                <a:gd name="T57" fmla="*/ 9 h 204"/>
                <a:gd name="T58" fmla="*/ 201 w 411"/>
                <a:gd name="T59" fmla="*/ 5 h 204"/>
                <a:gd name="T60" fmla="*/ 212 w 411"/>
                <a:gd name="T61" fmla="*/ 9 h 204"/>
                <a:gd name="T62" fmla="*/ 224 w 411"/>
                <a:gd name="T63" fmla="*/ 0 h 204"/>
                <a:gd name="T64" fmla="*/ 255 w 411"/>
                <a:gd name="T65" fmla="*/ 0 h 204"/>
                <a:gd name="T66" fmla="*/ 270 w 411"/>
                <a:gd name="T67" fmla="*/ 11 h 204"/>
                <a:gd name="T68" fmla="*/ 266 w 411"/>
                <a:gd name="T69" fmla="*/ 24 h 204"/>
                <a:gd name="T70" fmla="*/ 291 w 411"/>
                <a:gd name="T71" fmla="*/ 35 h 204"/>
                <a:gd name="T72" fmla="*/ 299 w 411"/>
                <a:gd name="T73" fmla="*/ 56 h 204"/>
                <a:gd name="T74" fmla="*/ 339 w 411"/>
                <a:gd name="T75" fmla="*/ 56 h 204"/>
                <a:gd name="T76" fmla="*/ 371 w 411"/>
                <a:gd name="T77" fmla="*/ 71 h 204"/>
                <a:gd name="T78" fmla="*/ 408 w 411"/>
                <a:gd name="T79" fmla="*/ 78 h 204"/>
                <a:gd name="T80" fmla="*/ 405 w 411"/>
                <a:gd name="T81" fmla="*/ 111 h 204"/>
                <a:gd name="T82" fmla="*/ 411 w 411"/>
                <a:gd name="T83" fmla="*/ 125 h 204"/>
                <a:gd name="T84" fmla="*/ 402 w 411"/>
                <a:gd name="T85" fmla="*/ 134 h 204"/>
                <a:gd name="T86" fmla="*/ 381 w 411"/>
                <a:gd name="T87" fmla="*/ 134 h 204"/>
                <a:gd name="T88" fmla="*/ 377 w 411"/>
                <a:gd name="T89" fmla="*/ 147 h 204"/>
                <a:gd name="T90" fmla="*/ 300 w 411"/>
                <a:gd name="T91" fmla="*/ 180 h 204"/>
                <a:gd name="T92" fmla="*/ 272 w 411"/>
                <a:gd name="T93" fmla="*/ 176 h 204"/>
                <a:gd name="T94" fmla="*/ 231 w 411"/>
                <a:gd name="T95" fmla="*/ 179 h 204"/>
                <a:gd name="T96" fmla="*/ 245 w 411"/>
                <a:gd name="T97" fmla="*/ 161 h 204"/>
                <a:gd name="T98" fmla="*/ 213 w 411"/>
                <a:gd name="T99" fmla="*/ 161 h 204"/>
                <a:gd name="T100" fmla="*/ 201 w 411"/>
                <a:gd name="T101" fmla="*/ 185 h 204"/>
                <a:gd name="T102" fmla="*/ 174 w 411"/>
                <a:gd name="T103" fmla="*/ 19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1" h="204">
                  <a:moveTo>
                    <a:pt x="174" y="195"/>
                  </a:moveTo>
                  <a:lnTo>
                    <a:pt x="155" y="204"/>
                  </a:lnTo>
                  <a:lnTo>
                    <a:pt x="146" y="195"/>
                  </a:lnTo>
                  <a:lnTo>
                    <a:pt x="164" y="183"/>
                  </a:lnTo>
                  <a:lnTo>
                    <a:pt x="162" y="165"/>
                  </a:lnTo>
                  <a:lnTo>
                    <a:pt x="182" y="171"/>
                  </a:lnTo>
                  <a:lnTo>
                    <a:pt x="185" y="159"/>
                  </a:lnTo>
                  <a:lnTo>
                    <a:pt x="168" y="141"/>
                  </a:lnTo>
                  <a:lnTo>
                    <a:pt x="158" y="117"/>
                  </a:lnTo>
                  <a:lnTo>
                    <a:pt x="143" y="119"/>
                  </a:lnTo>
                  <a:lnTo>
                    <a:pt x="125" y="110"/>
                  </a:lnTo>
                  <a:lnTo>
                    <a:pt x="107" y="114"/>
                  </a:lnTo>
                  <a:lnTo>
                    <a:pt x="87" y="125"/>
                  </a:lnTo>
                  <a:lnTo>
                    <a:pt x="62" y="131"/>
                  </a:lnTo>
                  <a:lnTo>
                    <a:pt x="53" y="120"/>
                  </a:lnTo>
                  <a:lnTo>
                    <a:pt x="15" y="120"/>
                  </a:lnTo>
                  <a:lnTo>
                    <a:pt x="0" y="110"/>
                  </a:lnTo>
                  <a:lnTo>
                    <a:pt x="8" y="95"/>
                  </a:lnTo>
                  <a:lnTo>
                    <a:pt x="18" y="92"/>
                  </a:lnTo>
                  <a:lnTo>
                    <a:pt x="9" y="78"/>
                  </a:lnTo>
                  <a:lnTo>
                    <a:pt x="24" y="66"/>
                  </a:lnTo>
                  <a:lnTo>
                    <a:pt x="42" y="47"/>
                  </a:lnTo>
                  <a:lnTo>
                    <a:pt x="26" y="23"/>
                  </a:lnTo>
                  <a:lnTo>
                    <a:pt x="45" y="12"/>
                  </a:lnTo>
                  <a:lnTo>
                    <a:pt x="81" y="12"/>
                  </a:lnTo>
                  <a:lnTo>
                    <a:pt x="105" y="23"/>
                  </a:lnTo>
                  <a:lnTo>
                    <a:pt x="158" y="26"/>
                  </a:lnTo>
                  <a:lnTo>
                    <a:pt x="183" y="32"/>
                  </a:lnTo>
                  <a:lnTo>
                    <a:pt x="188" y="9"/>
                  </a:lnTo>
                  <a:lnTo>
                    <a:pt x="201" y="5"/>
                  </a:lnTo>
                  <a:lnTo>
                    <a:pt x="212" y="9"/>
                  </a:lnTo>
                  <a:lnTo>
                    <a:pt x="224" y="0"/>
                  </a:lnTo>
                  <a:lnTo>
                    <a:pt x="255" y="0"/>
                  </a:lnTo>
                  <a:lnTo>
                    <a:pt x="270" y="11"/>
                  </a:lnTo>
                  <a:lnTo>
                    <a:pt x="266" y="24"/>
                  </a:lnTo>
                  <a:lnTo>
                    <a:pt x="291" y="35"/>
                  </a:lnTo>
                  <a:lnTo>
                    <a:pt x="299" y="56"/>
                  </a:lnTo>
                  <a:lnTo>
                    <a:pt x="339" y="56"/>
                  </a:lnTo>
                  <a:lnTo>
                    <a:pt x="371" y="71"/>
                  </a:lnTo>
                  <a:lnTo>
                    <a:pt x="408" y="78"/>
                  </a:lnTo>
                  <a:lnTo>
                    <a:pt x="405" y="111"/>
                  </a:lnTo>
                  <a:lnTo>
                    <a:pt x="411" y="125"/>
                  </a:lnTo>
                  <a:lnTo>
                    <a:pt x="402" y="134"/>
                  </a:lnTo>
                  <a:lnTo>
                    <a:pt x="381" y="134"/>
                  </a:lnTo>
                  <a:lnTo>
                    <a:pt x="377" y="147"/>
                  </a:lnTo>
                  <a:lnTo>
                    <a:pt x="300" y="180"/>
                  </a:lnTo>
                  <a:lnTo>
                    <a:pt x="272" y="176"/>
                  </a:lnTo>
                  <a:lnTo>
                    <a:pt x="231" y="179"/>
                  </a:lnTo>
                  <a:lnTo>
                    <a:pt x="245" y="161"/>
                  </a:lnTo>
                  <a:lnTo>
                    <a:pt x="213" y="161"/>
                  </a:lnTo>
                  <a:lnTo>
                    <a:pt x="201" y="185"/>
                  </a:lnTo>
                  <a:lnTo>
                    <a:pt x="174" y="195"/>
                  </a:lnTo>
                  <a:close/>
                </a:path>
              </a:pathLst>
            </a:custGeom>
            <a:solidFill>
              <a:schemeClr val="accent2"/>
            </a:solid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43" name="Freeform 185"/>
            <p:cNvSpPr>
              <a:spLocks/>
            </p:cNvSpPr>
            <p:nvPr/>
          </p:nvSpPr>
          <p:spPr bwMode="auto">
            <a:xfrm>
              <a:off x="5603121" y="2949570"/>
              <a:ext cx="98424" cy="57150"/>
            </a:xfrm>
            <a:custGeom>
              <a:avLst/>
              <a:gdLst>
                <a:gd name="T0" fmla="*/ 89 w 94"/>
                <a:gd name="T1" fmla="*/ 21 h 54"/>
                <a:gd name="T2" fmla="*/ 63 w 94"/>
                <a:gd name="T3" fmla="*/ 23 h 54"/>
                <a:gd name="T4" fmla="*/ 42 w 94"/>
                <a:gd name="T5" fmla="*/ 8 h 54"/>
                <a:gd name="T6" fmla="*/ 0 w 94"/>
                <a:gd name="T7" fmla="*/ 24 h 54"/>
                <a:gd name="T8" fmla="*/ 23 w 94"/>
                <a:gd name="T9" fmla="*/ 38 h 54"/>
                <a:gd name="T10" fmla="*/ 38 w 94"/>
                <a:gd name="T11" fmla="*/ 51 h 54"/>
                <a:gd name="T12" fmla="*/ 56 w 94"/>
                <a:gd name="T13" fmla="*/ 41 h 54"/>
                <a:gd name="T14" fmla="*/ 90 w 94"/>
                <a:gd name="T15" fmla="*/ 33 h 54"/>
                <a:gd name="T16" fmla="*/ 89 w 94"/>
                <a:gd name="T1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4">
                  <a:moveTo>
                    <a:pt x="89" y="21"/>
                  </a:moveTo>
                  <a:cubicBezTo>
                    <a:pt x="69" y="25"/>
                    <a:pt x="78" y="25"/>
                    <a:pt x="63" y="23"/>
                  </a:cubicBezTo>
                  <a:cubicBezTo>
                    <a:pt x="57" y="14"/>
                    <a:pt x="53" y="10"/>
                    <a:pt x="42" y="8"/>
                  </a:cubicBezTo>
                  <a:cubicBezTo>
                    <a:pt x="26" y="0"/>
                    <a:pt x="9" y="12"/>
                    <a:pt x="0" y="24"/>
                  </a:cubicBezTo>
                  <a:cubicBezTo>
                    <a:pt x="10" y="30"/>
                    <a:pt x="18" y="26"/>
                    <a:pt x="23" y="38"/>
                  </a:cubicBezTo>
                  <a:cubicBezTo>
                    <a:pt x="24" y="52"/>
                    <a:pt x="24" y="54"/>
                    <a:pt x="38" y="51"/>
                  </a:cubicBezTo>
                  <a:cubicBezTo>
                    <a:pt x="44" y="47"/>
                    <a:pt x="49" y="42"/>
                    <a:pt x="56" y="41"/>
                  </a:cubicBezTo>
                  <a:cubicBezTo>
                    <a:pt x="66" y="33"/>
                    <a:pt x="78" y="34"/>
                    <a:pt x="90" y="33"/>
                  </a:cubicBezTo>
                  <a:cubicBezTo>
                    <a:pt x="94" y="28"/>
                    <a:pt x="94" y="26"/>
                    <a:pt x="89" y="21"/>
                  </a:cubicBezTo>
                  <a:close/>
                </a:path>
              </a:pathLst>
            </a:custGeom>
            <a:solidFill>
              <a:schemeClr val="accent2"/>
            </a:solid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44" name="Freeform 216"/>
            <p:cNvSpPr>
              <a:spLocks/>
            </p:cNvSpPr>
            <p:nvPr/>
          </p:nvSpPr>
          <p:spPr bwMode="auto">
            <a:xfrm>
              <a:off x="5788859" y="3033707"/>
              <a:ext cx="182563" cy="73025"/>
            </a:xfrm>
            <a:custGeom>
              <a:avLst/>
              <a:gdLst>
                <a:gd name="T0" fmla="*/ 0 w 174"/>
                <a:gd name="T1" fmla="*/ 0 h 69"/>
                <a:gd name="T2" fmla="*/ 67 w 174"/>
                <a:gd name="T3" fmla="*/ 1 h 69"/>
                <a:gd name="T4" fmla="*/ 99 w 174"/>
                <a:gd name="T5" fmla="*/ 22 h 69"/>
                <a:gd name="T6" fmla="*/ 115 w 174"/>
                <a:gd name="T7" fmla="*/ 15 h 69"/>
                <a:gd name="T8" fmla="*/ 163 w 174"/>
                <a:gd name="T9" fmla="*/ 39 h 69"/>
                <a:gd name="T10" fmla="*/ 159 w 174"/>
                <a:gd name="T11" fmla="*/ 49 h 69"/>
                <a:gd name="T12" fmla="*/ 174 w 174"/>
                <a:gd name="T13" fmla="*/ 66 h 69"/>
                <a:gd name="T14" fmla="*/ 142 w 174"/>
                <a:gd name="T15" fmla="*/ 58 h 69"/>
                <a:gd name="T16" fmla="*/ 126 w 174"/>
                <a:gd name="T17" fmla="*/ 66 h 69"/>
                <a:gd name="T18" fmla="*/ 97 w 174"/>
                <a:gd name="T19" fmla="*/ 69 h 69"/>
                <a:gd name="T20" fmla="*/ 81 w 174"/>
                <a:gd name="T21" fmla="*/ 57 h 69"/>
                <a:gd name="T22" fmla="*/ 49 w 174"/>
                <a:gd name="T23" fmla="*/ 54 h 69"/>
                <a:gd name="T24" fmla="*/ 49 w 174"/>
                <a:gd name="T25" fmla="*/ 34 h 69"/>
                <a:gd name="T26" fmla="*/ 33 w 174"/>
                <a:gd name="T27" fmla="*/ 18 h 69"/>
                <a:gd name="T28" fmla="*/ 0 w 174"/>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 h="69">
                  <a:moveTo>
                    <a:pt x="0" y="0"/>
                  </a:moveTo>
                  <a:lnTo>
                    <a:pt x="67" y="1"/>
                  </a:lnTo>
                  <a:lnTo>
                    <a:pt x="99" y="22"/>
                  </a:lnTo>
                  <a:lnTo>
                    <a:pt x="115" y="15"/>
                  </a:lnTo>
                  <a:lnTo>
                    <a:pt x="163" y="39"/>
                  </a:lnTo>
                  <a:lnTo>
                    <a:pt x="159" y="49"/>
                  </a:lnTo>
                  <a:lnTo>
                    <a:pt x="174" y="66"/>
                  </a:lnTo>
                  <a:lnTo>
                    <a:pt x="142" y="58"/>
                  </a:lnTo>
                  <a:lnTo>
                    <a:pt x="126" y="66"/>
                  </a:lnTo>
                  <a:lnTo>
                    <a:pt x="97" y="69"/>
                  </a:lnTo>
                  <a:lnTo>
                    <a:pt x="81" y="57"/>
                  </a:lnTo>
                  <a:lnTo>
                    <a:pt x="49" y="54"/>
                  </a:lnTo>
                  <a:lnTo>
                    <a:pt x="49" y="34"/>
                  </a:lnTo>
                  <a:lnTo>
                    <a:pt x="33" y="18"/>
                  </a:lnTo>
                  <a:lnTo>
                    <a:pt x="0" y="0"/>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45" name="Freeform 223"/>
            <p:cNvSpPr>
              <a:spLocks/>
            </p:cNvSpPr>
            <p:nvPr/>
          </p:nvSpPr>
          <p:spPr bwMode="auto">
            <a:xfrm>
              <a:off x="5895221" y="3095618"/>
              <a:ext cx="85725" cy="77787"/>
            </a:xfrm>
            <a:custGeom>
              <a:avLst/>
              <a:gdLst>
                <a:gd name="T0" fmla="*/ 0 w 81"/>
                <a:gd name="T1" fmla="*/ 11 h 75"/>
                <a:gd name="T2" fmla="*/ 19 w 81"/>
                <a:gd name="T3" fmla="*/ 9 h 75"/>
                <a:gd name="T4" fmla="*/ 36 w 81"/>
                <a:gd name="T5" fmla="*/ 0 h 75"/>
                <a:gd name="T6" fmla="*/ 45 w 81"/>
                <a:gd name="T7" fmla="*/ 12 h 75"/>
                <a:gd name="T8" fmla="*/ 43 w 81"/>
                <a:gd name="T9" fmla="*/ 27 h 75"/>
                <a:gd name="T10" fmla="*/ 60 w 81"/>
                <a:gd name="T11" fmla="*/ 35 h 75"/>
                <a:gd name="T12" fmla="*/ 52 w 81"/>
                <a:gd name="T13" fmla="*/ 44 h 75"/>
                <a:gd name="T14" fmla="*/ 67 w 81"/>
                <a:gd name="T15" fmla="*/ 50 h 75"/>
                <a:gd name="T16" fmla="*/ 81 w 81"/>
                <a:gd name="T17" fmla="*/ 72 h 75"/>
                <a:gd name="T18" fmla="*/ 66 w 81"/>
                <a:gd name="T19" fmla="*/ 75 h 75"/>
                <a:gd name="T20" fmla="*/ 58 w 81"/>
                <a:gd name="T21" fmla="*/ 56 h 75"/>
                <a:gd name="T22" fmla="*/ 43 w 81"/>
                <a:gd name="T23" fmla="*/ 53 h 75"/>
                <a:gd name="T24" fmla="*/ 28 w 81"/>
                <a:gd name="T25" fmla="*/ 45 h 75"/>
                <a:gd name="T26" fmla="*/ 19 w 81"/>
                <a:gd name="T27" fmla="*/ 53 h 75"/>
                <a:gd name="T28" fmla="*/ 6 w 81"/>
                <a:gd name="T29" fmla="*/ 38 h 75"/>
                <a:gd name="T30" fmla="*/ 0 w 81"/>
                <a:gd name="T31"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5">
                  <a:moveTo>
                    <a:pt x="0" y="11"/>
                  </a:moveTo>
                  <a:lnTo>
                    <a:pt x="19" y="9"/>
                  </a:lnTo>
                  <a:lnTo>
                    <a:pt x="36" y="0"/>
                  </a:lnTo>
                  <a:lnTo>
                    <a:pt x="45" y="12"/>
                  </a:lnTo>
                  <a:lnTo>
                    <a:pt x="43" y="27"/>
                  </a:lnTo>
                  <a:lnTo>
                    <a:pt x="60" y="35"/>
                  </a:lnTo>
                  <a:lnTo>
                    <a:pt x="52" y="44"/>
                  </a:lnTo>
                  <a:lnTo>
                    <a:pt x="67" y="50"/>
                  </a:lnTo>
                  <a:lnTo>
                    <a:pt x="81" y="72"/>
                  </a:lnTo>
                  <a:lnTo>
                    <a:pt x="66" y="75"/>
                  </a:lnTo>
                  <a:lnTo>
                    <a:pt x="58" y="56"/>
                  </a:lnTo>
                  <a:lnTo>
                    <a:pt x="43" y="53"/>
                  </a:lnTo>
                  <a:lnTo>
                    <a:pt x="28" y="45"/>
                  </a:lnTo>
                  <a:lnTo>
                    <a:pt x="19" y="53"/>
                  </a:lnTo>
                  <a:lnTo>
                    <a:pt x="6" y="38"/>
                  </a:lnTo>
                  <a:lnTo>
                    <a:pt x="0" y="11"/>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sp>
          <p:nvSpPr>
            <p:cNvPr id="46" name="Freeform 313"/>
            <p:cNvSpPr>
              <a:spLocks/>
            </p:cNvSpPr>
            <p:nvPr/>
          </p:nvSpPr>
          <p:spPr bwMode="auto">
            <a:xfrm>
              <a:off x="5258588" y="3027339"/>
              <a:ext cx="38100" cy="46037"/>
            </a:xfrm>
            <a:custGeom>
              <a:avLst/>
              <a:gdLst>
                <a:gd name="T0" fmla="*/ 24 w 24"/>
                <a:gd name="T1" fmla="*/ 21 h 29"/>
                <a:gd name="T2" fmla="*/ 11 w 24"/>
                <a:gd name="T3" fmla="*/ 29 h 29"/>
                <a:gd name="T4" fmla="*/ 0 w 24"/>
                <a:gd name="T5" fmla="*/ 20 h 29"/>
                <a:gd name="T6" fmla="*/ 2 w 24"/>
                <a:gd name="T7" fmla="*/ 7 h 29"/>
                <a:gd name="T8" fmla="*/ 16 w 24"/>
                <a:gd name="T9" fmla="*/ 0 h 29"/>
                <a:gd name="T10" fmla="*/ 24 w 24"/>
                <a:gd name="T11" fmla="*/ 21 h 29"/>
              </a:gdLst>
              <a:ahLst/>
              <a:cxnLst>
                <a:cxn ang="0">
                  <a:pos x="T0" y="T1"/>
                </a:cxn>
                <a:cxn ang="0">
                  <a:pos x="T2" y="T3"/>
                </a:cxn>
                <a:cxn ang="0">
                  <a:pos x="T4" y="T5"/>
                </a:cxn>
                <a:cxn ang="0">
                  <a:pos x="T6" y="T7"/>
                </a:cxn>
                <a:cxn ang="0">
                  <a:pos x="T8" y="T9"/>
                </a:cxn>
                <a:cxn ang="0">
                  <a:pos x="T10" y="T11"/>
                </a:cxn>
              </a:cxnLst>
              <a:rect l="0" t="0" r="r" b="b"/>
              <a:pathLst>
                <a:path w="24" h="29">
                  <a:moveTo>
                    <a:pt x="24" y="21"/>
                  </a:moveTo>
                  <a:lnTo>
                    <a:pt x="11" y="29"/>
                  </a:lnTo>
                  <a:lnTo>
                    <a:pt x="0" y="20"/>
                  </a:lnTo>
                  <a:lnTo>
                    <a:pt x="2" y="7"/>
                  </a:lnTo>
                  <a:lnTo>
                    <a:pt x="16" y="0"/>
                  </a:lnTo>
                  <a:lnTo>
                    <a:pt x="24" y="21"/>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a typeface="ＭＳ Ｐゴシック" pitchFamily="34" charset="-128"/>
              </a:endParaRPr>
            </a:p>
          </p:txBody>
        </p:sp>
      </p:grpSp>
      <p:graphicFrame>
        <p:nvGraphicFramePr>
          <p:cNvPr id="52" name="Tabelle 11"/>
          <p:cNvGraphicFramePr>
            <a:graphicFrameLocks noGrp="1"/>
          </p:cNvGraphicFramePr>
          <p:nvPr>
            <p:extLst>
              <p:ext uri="{D42A27DB-BD31-4B8C-83A1-F6EECF244321}">
                <p14:modId xmlns:p14="http://schemas.microsoft.com/office/powerpoint/2010/main" val="1779963058"/>
              </p:ext>
            </p:extLst>
          </p:nvPr>
        </p:nvGraphicFramePr>
        <p:xfrm>
          <a:off x="457200" y="1411200"/>
          <a:ext cx="8423208" cy="4864840"/>
        </p:xfrm>
        <a:graphic>
          <a:graphicData uri="http://schemas.openxmlformats.org/drawingml/2006/table">
            <a:tbl>
              <a:tblPr firstRow="1" bandRow="1">
                <a:tableStyleId>{5C22544A-7EE6-4342-B048-85BDC9FD1C3A}</a:tableStyleId>
              </a:tblPr>
              <a:tblGrid>
                <a:gridCol w="1980000">
                  <a:extLst>
                    <a:ext uri="{9D8B030D-6E8A-4147-A177-3AD203B41FA5}">
                      <a16:colId xmlns:a16="http://schemas.microsoft.com/office/drawing/2014/main" val="20000"/>
                    </a:ext>
                  </a:extLst>
                </a:gridCol>
                <a:gridCol w="3278624">
                  <a:extLst>
                    <a:ext uri="{9D8B030D-6E8A-4147-A177-3AD203B41FA5}">
                      <a16:colId xmlns:a16="http://schemas.microsoft.com/office/drawing/2014/main" val="20001"/>
                    </a:ext>
                  </a:extLst>
                </a:gridCol>
                <a:gridCol w="1256584">
                  <a:extLst>
                    <a:ext uri="{9D8B030D-6E8A-4147-A177-3AD203B41FA5}">
                      <a16:colId xmlns:a16="http://schemas.microsoft.com/office/drawing/2014/main" val="4030032142"/>
                    </a:ext>
                  </a:extLst>
                </a:gridCol>
                <a:gridCol w="1908000">
                  <a:extLst>
                    <a:ext uri="{9D8B030D-6E8A-4147-A177-3AD203B41FA5}">
                      <a16:colId xmlns:a16="http://schemas.microsoft.com/office/drawing/2014/main" val="2368292180"/>
                    </a:ext>
                  </a:extLst>
                </a:gridCol>
              </a:tblGrid>
              <a:tr h="189546">
                <a:tc>
                  <a:txBody>
                    <a:bodyPr/>
                    <a:lstStyle/>
                    <a:p>
                      <a:pPr marL="0" indent="0" rtl="0">
                        <a:spcAft>
                          <a:spcPts val="1000"/>
                        </a:spcAft>
                        <a:buNone/>
                      </a:pPr>
                      <a:r>
                        <a:rPr lang="en-US" sz="1400" b="0" i="0" kern="1200" baseline="0" noProof="0" dirty="0">
                          <a:solidFill>
                            <a:schemeClr val="tx1"/>
                          </a:solidFill>
                          <a:latin typeface="+mn-lt"/>
                          <a:ea typeface="ＭＳ Ｐゴシック" pitchFamily="-107" charset="-128"/>
                          <a:cs typeface="ＭＳ Ｐゴシック" pitchFamily="-107" charset="-128"/>
                        </a:rPr>
                        <a:t>Global FDI into Ukraine</a:t>
                      </a:r>
                    </a:p>
                  </a:txBody>
                  <a:tcPr marL="108000" marR="72000" marT="72000" marB="72000">
                    <a:lnL w="12700" cmpd="sng">
                      <a:noFill/>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285750" indent="-285750" rtl="0">
                        <a:buFont typeface="Arial" panose="020B0604020202020204" pitchFamily="34" charset="0"/>
                        <a:buChar char="•"/>
                      </a:pPr>
                      <a:r>
                        <a:rPr lang="en-US" sz="1400" b="0" i="0" kern="1200" baseline="0" noProof="0" dirty="0">
                          <a:solidFill>
                            <a:schemeClr val="tx1"/>
                          </a:solidFill>
                          <a:latin typeface="+mn-lt"/>
                          <a:ea typeface="ＭＳ Ｐゴシック" pitchFamily="-107" charset="-128"/>
                          <a:cs typeface="ＭＳ Ｐゴシック" pitchFamily="-107" charset="-128"/>
                        </a:rPr>
                        <a:t>EUR 8bn (2021)</a:t>
                      </a:r>
                    </a:p>
                    <a:p>
                      <a:pPr marL="285750" indent="-285750" rtl="0">
                        <a:buFont typeface="Arial" panose="020B0604020202020204" pitchFamily="34" charset="0"/>
                        <a:buChar char="•"/>
                      </a:pPr>
                      <a:r>
                        <a:rPr lang="en-US" sz="1400" b="0" i="0" kern="1200" baseline="0" noProof="0" dirty="0">
                          <a:solidFill>
                            <a:schemeClr val="tx1"/>
                          </a:solidFill>
                          <a:latin typeface="+mn-lt"/>
                          <a:ea typeface="ＭＳ Ｐゴシック" pitchFamily="-107" charset="-128"/>
                          <a:cs typeface="ＭＳ Ｐゴシック" pitchFamily="-107" charset="-128"/>
                        </a:rPr>
                        <a:t>EUR 0.2bn (2022)</a:t>
                      </a:r>
                    </a:p>
                    <a:p>
                      <a:pPr marL="285750" indent="-285750" rtl="0">
                        <a:buFont typeface="Arial" panose="020B0604020202020204" pitchFamily="34" charset="0"/>
                        <a:buChar char="•"/>
                      </a:pPr>
                      <a:r>
                        <a:rPr lang="en-US" sz="1400" b="1" i="0" kern="1200" baseline="0" noProof="0" dirty="0">
                          <a:solidFill>
                            <a:schemeClr val="tx1"/>
                          </a:solidFill>
                          <a:latin typeface="+mn-lt"/>
                          <a:ea typeface="ＭＳ Ｐゴシック" pitchFamily="-107" charset="-128"/>
                          <a:cs typeface="ＭＳ Ｐゴシック" pitchFamily="-107" charset="-128"/>
                        </a:rPr>
                        <a:t>EUR 1.1bn  (1Q2023)</a:t>
                      </a:r>
                    </a:p>
                  </a:txBody>
                  <a:tcPr marL="72000" marR="72000" marT="72000" marB="72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2">
                  <a:txBody>
                    <a:bodyPr/>
                    <a:lstStyle/>
                    <a:p>
                      <a:pPr rtl="0"/>
                      <a:endParaRPr lang="en-US" sz="1400" b="0" i="0" kern="1200" baseline="0" noProof="0" dirty="0">
                        <a:solidFill>
                          <a:schemeClr val="tx1"/>
                        </a:solidFill>
                        <a:latin typeface="+mn-lt"/>
                        <a:ea typeface="ＭＳ Ｐゴシック" pitchFamily="-107" charset="-128"/>
                        <a:cs typeface="ＭＳ Ｐゴシック" pitchFamily="-107" charset="-128"/>
                      </a:endParaRP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3361043025"/>
                  </a:ext>
                </a:extLst>
              </a:tr>
              <a:tr h="192226">
                <a:tc>
                  <a:txBody>
                    <a:bodyPr/>
                    <a:lstStyle/>
                    <a:p>
                      <a:pPr marL="0" indent="0" rtl="0">
                        <a:spcAft>
                          <a:spcPts val="1000"/>
                        </a:spcAft>
                        <a:buNone/>
                      </a:pPr>
                      <a:r>
                        <a:rPr lang="en-US" sz="1400" b="0" baseline="0" noProof="0" dirty="0">
                          <a:solidFill>
                            <a:schemeClr val="tx1"/>
                          </a:solidFill>
                          <a:ea typeface="ＭＳ Ｐゴシック" pitchFamily="-107" charset="-128"/>
                          <a:cs typeface="ＭＳ Ｐゴシック" pitchFamily="-107" charset="-128"/>
                        </a:rPr>
                        <a:t>GDP development</a:t>
                      </a:r>
                    </a:p>
                  </a:txBody>
                  <a:tcPr marL="108000" marR="72000" marT="72000" marB="72000">
                    <a:lnL w="12700" cmpd="sng">
                      <a:noFill/>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indent="0" algn="l" defTabSz="914400" rtl="0" eaLnBrk="1" latinLnBrk="0" hangingPunct="1">
                        <a:spcAft>
                          <a:spcPts val="1000"/>
                        </a:spcAft>
                        <a:buNone/>
                      </a:pPr>
                      <a:r>
                        <a:rPr lang="en-US" sz="1400" b="0" i="0" kern="1200" baseline="0" noProof="0" dirty="0">
                          <a:solidFill>
                            <a:schemeClr val="tx1"/>
                          </a:solidFill>
                          <a:latin typeface="+mn-lt"/>
                          <a:ea typeface="ＭＳ Ｐゴシック" pitchFamily="-107" charset="-128"/>
                          <a:cs typeface="ＭＳ Ｐゴシック" pitchFamily="-107" charset="-128"/>
                        </a:rPr>
                        <a:t>Decline in 2022 lower than expected and a moderate increase projected for 2023 (2%)</a:t>
                      </a:r>
                    </a:p>
                  </a:txBody>
                  <a:tcPr marL="72000" marR="72000" marT="72000" marB="72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2">
                  <a:txBody>
                    <a:bodyPr/>
                    <a:lstStyle/>
                    <a:p>
                      <a:pPr marL="0" indent="0" algn="l" defTabSz="914400" rtl="0" eaLnBrk="1" latinLnBrk="0" hangingPunct="1">
                        <a:spcAft>
                          <a:spcPts val="1000"/>
                        </a:spcAft>
                        <a:buNone/>
                      </a:pPr>
                      <a:endParaRPr lang="en-US" sz="1400" b="0" i="0" kern="1200" baseline="0" noProof="0" dirty="0">
                        <a:solidFill>
                          <a:schemeClr val="tx1"/>
                        </a:solidFill>
                        <a:latin typeface="+mn-lt"/>
                        <a:ea typeface="ＭＳ Ｐゴシック" pitchFamily="-107" charset="-128"/>
                        <a:cs typeface="ＭＳ Ｐゴシック" pitchFamily="-107" charset="-128"/>
                      </a:endParaRP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3456994401"/>
                  </a:ext>
                </a:extLst>
              </a:tr>
              <a:tr h="192226">
                <a:tc>
                  <a:txBody>
                    <a:bodyPr/>
                    <a:lstStyle/>
                    <a:p>
                      <a:pPr marL="0" indent="0" rtl="0">
                        <a:spcAft>
                          <a:spcPts val="1000"/>
                        </a:spcAft>
                        <a:buNone/>
                      </a:pPr>
                      <a:r>
                        <a:rPr lang="en-US" sz="1400" b="0" baseline="0" noProof="0" dirty="0">
                          <a:solidFill>
                            <a:schemeClr val="tx1"/>
                          </a:solidFill>
                          <a:ea typeface="ＭＳ Ｐゴシック" pitchFamily="-107" charset="-128"/>
                          <a:cs typeface="ＭＳ Ｐゴシック" pitchFamily="-107" charset="-128"/>
                        </a:rPr>
                        <a:t>Economic recovery / Outlook</a:t>
                      </a:r>
                    </a:p>
                  </a:txBody>
                  <a:tcPr marL="108000" marR="72000" marT="72000" marB="72000">
                    <a:lnL w="12700" cmpd="sng">
                      <a:noFill/>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baseline="0" noProof="0" dirty="0">
                          <a:solidFill>
                            <a:schemeClr val="tx1"/>
                          </a:solidFill>
                          <a:latin typeface="+mn-lt"/>
                          <a:ea typeface="ＭＳ Ｐゴシック" pitchFamily="-107" charset="-128"/>
                          <a:cs typeface="ＭＳ Ｐゴシック" pitchFamily="-107" charset="-128"/>
                        </a:rPr>
                        <a:t>International donors secure continuous financial aid </a:t>
                      </a:r>
                    </a:p>
                    <a:p>
                      <a:pPr marL="285750" indent="-285750" algn="l" defTabSz="914400" rtl="0" eaLnBrk="1" latinLnBrk="0" hangingPunct="1">
                        <a:spcAft>
                          <a:spcPts val="0"/>
                        </a:spcAft>
                        <a:buFont typeface="Arial" panose="020B0604020202020204" pitchFamily="34" charset="0"/>
                        <a:buChar char="•"/>
                      </a:pPr>
                      <a:r>
                        <a:rPr lang="en-US" sz="1400" b="0" i="0" kern="1200" baseline="0" noProof="0" dirty="0">
                          <a:solidFill>
                            <a:schemeClr val="tx1"/>
                          </a:solidFill>
                          <a:latin typeface="+mn-lt"/>
                          <a:ea typeface="ＭＳ Ｐゴシック" pitchFamily="-107" charset="-128"/>
                          <a:cs typeface="ＭＳ Ｐゴシック" pitchFamily="-107" charset="-128"/>
                        </a:rPr>
                        <a:t>Growing demand of business loans</a:t>
                      </a:r>
                    </a:p>
                    <a:p>
                      <a:pPr marL="285750" indent="-285750" algn="l" defTabSz="914400" rtl="0" eaLnBrk="1" latinLnBrk="0" hangingPunct="1">
                        <a:spcAft>
                          <a:spcPts val="0"/>
                        </a:spcAft>
                        <a:buFont typeface="Arial" panose="020B0604020202020204" pitchFamily="34" charset="0"/>
                        <a:buChar char="•"/>
                      </a:pPr>
                      <a:r>
                        <a:rPr lang="en-US" sz="1400" b="0" i="0" kern="1200" baseline="0" noProof="0" dirty="0">
                          <a:solidFill>
                            <a:schemeClr val="tx1"/>
                          </a:solidFill>
                          <a:latin typeface="+mn-lt"/>
                          <a:ea typeface="ＭＳ Ｐゴシック" pitchFamily="-107" charset="-128"/>
                          <a:cs typeface="ＭＳ Ｐゴシック" pitchFamily="-107" charset="-128"/>
                        </a:rPr>
                        <a:t>Investment guarantees granted for long-term loans, full coverage</a:t>
                      </a:r>
                    </a:p>
                    <a:p>
                      <a:pPr marL="285750" indent="-285750" algn="l" defTabSz="914400" rtl="0" eaLnBrk="1" latinLnBrk="0" hangingPunct="1">
                        <a:spcAft>
                          <a:spcPts val="0"/>
                        </a:spcAft>
                        <a:buFont typeface="Arial" panose="020B0604020202020204" pitchFamily="34" charset="0"/>
                        <a:buChar char="•"/>
                      </a:pPr>
                      <a:r>
                        <a:rPr lang="en-US" sz="1400" b="0" i="0" kern="1200" baseline="0" noProof="0" dirty="0">
                          <a:solidFill>
                            <a:schemeClr val="tx1"/>
                          </a:solidFill>
                          <a:latin typeface="+mn-lt"/>
                          <a:ea typeface="ＭＳ Ｐゴシック" pitchFamily="-107" charset="-128"/>
                          <a:cs typeface="ＭＳ Ｐゴシック" pitchFamily="-107" charset="-128"/>
                        </a:rPr>
                        <a:t>Available workforce as unemployment rate doubled</a:t>
                      </a:r>
                    </a:p>
                  </a:txBody>
                  <a:tcPr marL="72000" marR="72000" marT="72000" marB="72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2">
                  <a:txBody>
                    <a:bodyPr/>
                    <a:lstStyle/>
                    <a:p>
                      <a:pPr marL="0" indent="0" algn="l" defTabSz="914400" rtl="0" eaLnBrk="1" latinLnBrk="0" hangingPunct="1">
                        <a:spcAft>
                          <a:spcPts val="1000"/>
                        </a:spcAft>
                        <a:buNone/>
                      </a:pPr>
                      <a:endParaRPr lang="en-US" sz="1400" b="0" i="0" kern="1200" baseline="0" noProof="0" dirty="0">
                        <a:solidFill>
                          <a:schemeClr val="tx1"/>
                        </a:solidFill>
                        <a:latin typeface="+mn-lt"/>
                        <a:ea typeface="ＭＳ Ｐゴシック" pitchFamily="-107" charset="-128"/>
                        <a:cs typeface="ＭＳ Ｐゴシック" pitchFamily="-107" charset="-128"/>
                      </a:endParaRP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4147988214"/>
                  </a:ext>
                </a:extLst>
              </a:tr>
              <a:tr h="701626">
                <a:tc>
                  <a:txBody>
                    <a:bodyPr/>
                    <a:lstStyle/>
                    <a:p>
                      <a:pPr marL="0" indent="0" algn="l" defTabSz="914400" rtl="0" eaLnBrk="1" latinLnBrk="0" hangingPunct="1">
                        <a:lnSpc>
                          <a:spcPct val="100000"/>
                        </a:lnSpc>
                        <a:spcAft>
                          <a:spcPts val="1000"/>
                        </a:spcAft>
                        <a:buNone/>
                      </a:pPr>
                      <a:r>
                        <a:rPr lang="en-US" sz="1400" b="0" kern="1200" baseline="0" noProof="0" dirty="0">
                          <a:solidFill>
                            <a:schemeClr val="tx1"/>
                          </a:solidFill>
                          <a:latin typeface="+mn-lt"/>
                          <a:ea typeface="ＭＳ Ｐゴシック" pitchFamily="-107" charset="-128"/>
                          <a:cs typeface="ＭＳ Ｐゴシック" pitchFamily="-107" charset="-128"/>
                        </a:rPr>
                        <a:t>German business</a:t>
                      </a:r>
                    </a:p>
                  </a:txBody>
                  <a:tcPr marL="108000" marR="72000" marT="72000" marB="72000">
                    <a:lnL w="12700" cmpd="sng">
                      <a:noFill/>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285750" indent="-285750" algn="l" defTabSz="914400" rtl="0" eaLnBrk="1" latinLnBrk="0" hangingPunct="1">
                        <a:lnSpc>
                          <a:spcPct val="100000"/>
                        </a:lnSpc>
                        <a:spcAft>
                          <a:spcPts val="1000"/>
                        </a:spcAft>
                        <a:buFont typeface="Arial" panose="020B0604020202020204" pitchFamily="34" charset="0"/>
                        <a:buChar char="•"/>
                      </a:pPr>
                      <a:r>
                        <a:rPr lang="en-US" sz="1400" b="0" i="0" kern="1200" baseline="0" noProof="0" dirty="0">
                          <a:solidFill>
                            <a:schemeClr val="tx1"/>
                          </a:solidFill>
                          <a:latin typeface="+mn-lt"/>
                          <a:ea typeface="ＭＳ Ｐゴシック" pitchFamily="-107" charset="-128"/>
                          <a:cs typeface="ＭＳ Ｐゴシック" pitchFamily="-107" charset="-128"/>
                        </a:rPr>
                        <a:t>More than 200 German investors are active in Ukraine maintaining roughly 35k jobs (2023)</a:t>
                      </a:r>
                    </a:p>
                    <a:p>
                      <a:pPr marL="285750" indent="-285750" algn="l" defTabSz="914400" rtl="0" eaLnBrk="1" latinLnBrk="0" hangingPunct="1">
                        <a:lnSpc>
                          <a:spcPct val="100000"/>
                        </a:lnSpc>
                        <a:spcAft>
                          <a:spcPts val="1000"/>
                        </a:spcAft>
                        <a:buFont typeface="Arial" panose="020B0604020202020204" pitchFamily="34" charset="0"/>
                        <a:buChar char="•"/>
                      </a:pPr>
                      <a:r>
                        <a:rPr lang="en-US" sz="1400" b="0" i="0" kern="1200" baseline="0" noProof="0" dirty="0">
                          <a:solidFill>
                            <a:schemeClr val="tx1"/>
                          </a:solidFill>
                          <a:latin typeface="+mn-lt"/>
                          <a:ea typeface="ＭＳ Ｐゴシック" pitchFamily="-107" charset="-128"/>
                          <a:cs typeface="ＭＳ Ｐゴシック" pitchFamily="-107" charset="-128"/>
                        </a:rPr>
                        <a:t>EUR 4.1bn German FDI portfolio in Ukraine (stock in 2021)</a:t>
                      </a:r>
                    </a:p>
                  </a:txBody>
                  <a:tcPr marL="72000" marR="72000" marT="72000" marB="3600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2">
                  <a:txBody>
                    <a:bodyPr/>
                    <a:lstStyle/>
                    <a:p>
                      <a:pPr marL="0" indent="0" algn="l" defTabSz="914400" rtl="0" eaLnBrk="1" latinLnBrk="0" hangingPunct="1">
                        <a:lnSpc>
                          <a:spcPct val="100000"/>
                        </a:lnSpc>
                        <a:spcAft>
                          <a:spcPts val="1000"/>
                        </a:spcAft>
                        <a:buNone/>
                      </a:pPr>
                      <a:endParaRPr lang="en-US" sz="1400" b="0" i="0" kern="1200" baseline="0" noProof="0" dirty="0">
                        <a:solidFill>
                          <a:schemeClr val="tx1"/>
                        </a:solidFill>
                        <a:latin typeface="+mn-lt"/>
                        <a:ea typeface="ＭＳ Ｐゴシック" pitchFamily="-107" charset="-128"/>
                        <a:cs typeface="ＭＳ Ｐゴシック" pitchFamily="-107" charset="-128"/>
                      </a:endParaRPr>
                    </a:p>
                  </a:txBody>
                  <a:tcPr marL="72000" marR="3600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610774457"/>
                  </a:ext>
                </a:extLst>
              </a:tr>
              <a:tr h="0">
                <a:tc>
                  <a:txBody>
                    <a:bodyPr/>
                    <a:lstStyle/>
                    <a:p>
                      <a:pPr marL="0" indent="0" algn="l" defTabSz="914400" rtl="0" eaLnBrk="1" latinLnBrk="0" hangingPunct="1">
                        <a:lnSpc>
                          <a:spcPct val="100000"/>
                        </a:lnSpc>
                        <a:spcAft>
                          <a:spcPts val="1000"/>
                        </a:spcAft>
                        <a:buNone/>
                      </a:pPr>
                      <a:r>
                        <a:rPr lang="en-US" sz="1400" b="0" kern="1200" baseline="0" noProof="0" dirty="0">
                          <a:solidFill>
                            <a:schemeClr val="tx1"/>
                          </a:solidFill>
                          <a:latin typeface="+mn-lt"/>
                          <a:ea typeface="ＭＳ Ｐゴシック" pitchFamily="-107" charset="-128"/>
                          <a:cs typeface="ＭＳ Ｐゴシック" pitchFamily="-107" charset="-128"/>
                        </a:rPr>
                        <a:t>Our Pipeline</a:t>
                      </a:r>
                    </a:p>
                  </a:txBody>
                  <a:tcPr marL="108000" marR="72000" marT="72000" marB="72000">
                    <a:lnL w="12700" cmpd="sng">
                      <a:noFill/>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b="0" i="0" kern="1200" baseline="0" noProof="0" dirty="0">
                          <a:solidFill>
                            <a:schemeClr val="tx1"/>
                          </a:solidFill>
                          <a:latin typeface="+mn-lt"/>
                          <a:ea typeface="ＭＳ Ｐゴシック" pitchFamily="-107" charset="-128"/>
                          <a:cs typeface="ＭＳ Ｐゴシック" pitchFamily="-107" charset="-128"/>
                        </a:rPr>
                        <a:t>5-10 German companies</a:t>
                      </a:r>
                    </a:p>
                  </a:txBody>
                  <a:tcPr marL="72000" marR="72000" marT="72000" marB="7200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de-DE"/>
                    </a:p>
                  </a:txBody>
                  <a:tcPr/>
                </a:tc>
                <a:tc>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endParaRPr lang="en-US" sz="1400" b="0" i="0" kern="1200" baseline="0" noProof="0" dirty="0">
                        <a:solidFill>
                          <a:schemeClr val="tx1"/>
                        </a:solidFill>
                        <a:latin typeface="+mn-lt"/>
                        <a:ea typeface="ＭＳ Ｐゴシック" pitchFamily="-107" charset="-128"/>
                        <a:cs typeface="ＭＳ Ｐゴシック" pitchFamily="-107" charset="-128"/>
                      </a:endParaRPr>
                    </a:p>
                  </a:txBody>
                  <a:tcPr marL="72000" marR="7200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64598448"/>
                  </a:ext>
                </a:extLst>
              </a:tr>
            </a:tbl>
          </a:graphicData>
        </a:graphic>
      </p:graphicFrame>
      <p:sp>
        <p:nvSpPr>
          <p:cNvPr id="4" name="Foliennummernplatzhalter 3"/>
          <p:cNvSpPr>
            <a:spLocks noGrp="1"/>
          </p:cNvSpPr>
          <p:nvPr>
            <p:ph type="sldNum" sz="quarter" idx="12"/>
          </p:nvPr>
        </p:nvSpPr>
        <p:spPr/>
        <p:txBody>
          <a:bodyPr/>
          <a:lstStyle/>
          <a:p>
            <a:fld id="{5678FFC5-4430-43BC-9807-D0C6EB405569}" type="slidenum">
              <a:rPr lang="de-DE" smtClean="0"/>
              <a:t>7</a:t>
            </a:fld>
            <a:endParaRPr lang="de-DE" dirty="0"/>
          </a:p>
        </p:txBody>
      </p:sp>
    </p:spTree>
    <p:extLst>
      <p:ext uri="{BB962C8B-B14F-4D97-AF65-F5344CB8AC3E}">
        <p14:creationId xmlns:p14="http://schemas.microsoft.com/office/powerpoint/2010/main" val="855575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87015121"/>
              </p:ext>
            </p:extLst>
          </p:nvPr>
        </p:nvGraphicFramePr>
        <p:xfrm>
          <a:off x="1589" y="644503"/>
          <a:ext cx="1587" cy="1289"/>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p:cNvPicPr/>
                      <p:nvPr/>
                    </p:nvPicPr>
                    <p:blipFill>
                      <a:blip r:embed="rId6"/>
                      <a:stretch>
                        <a:fillRect/>
                      </a:stretch>
                    </p:blipFill>
                    <p:spPr>
                      <a:xfrm>
                        <a:off x="1589" y="644503"/>
                        <a:ext cx="1587" cy="1289"/>
                      </a:xfrm>
                      <a:prstGeom prst="rect">
                        <a:avLst/>
                      </a:prstGeom>
                    </p:spPr>
                  </p:pic>
                </p:oleObj>
              </mc:Fallback>
            </mc:AlternateContent>
          </a:graphicData>
        </a:graphic>
      </p:graphicFrame>
      <p:sp>
        <p:nvSpPr>
          <p:cNvPr id="5" name="Rectangle 4" hidden="1"/>
          <p:cNvSpPr/>
          <p:nvPr>
            <p:custDataLst>
              <p:tags r:id="rId2"/>
            </p:custDataLst>
          </p:nvPr>
        </p:nvSpPr>
        <p:spPr>
          <a:xfrm>
            <a:off x="0" y="643212"/>
            <a:ext cx="146582" cy="146582"/>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prstTxWarp prst="textNoShape">
              <a:avLst/>
            </a:prstTxWarp>
            <a:noAutofit/>
          </a:bodyPr>
          <a:lstStyle/>
          <a:p>
            <a:pPr eaLnBrk="0" hangingPunct="0">
              <a:lnSpc>
                <a:spcPct val="150000"/>
              </a:lnSpc>
              <a:spcBef>
                <a:spcPts val="554"/>
              </a:spcBef>
              <a:buSzPct val="90000"/>
            </a:pPr>
            <a:endParaRPr lang="en-GB" sz="2400" dirty="0">
              <a:solidFill>
                <a:schemeClr val="bg1"/>
              </a:solidFill>
              <a:latin typeface="Arial" panose="020B0604020202020204" pitchFamily="34" charset="0"/>
              <a:ea typeface="+mj-ea"/>
              <a:cs typeface="+mj-cs"/>
              <a:sym typeface="Arial" panose="020B0604020202020204" pitchFamily="34" charset="0"/>
            </a:endParaRPr>
          </a:p>
        </p:txBody>
      </p:sp>
      <p:sp>
        <p:nvSpPr>
          <p:cNvPr id="6" name="Textplatzhalter 5"/>
          <p:cNvSpPr>
            <a:spLocks noGrp="1"/>
          </p:cNvSpPr>
          <p:nvPr>
            <p:ph type="body" sz="quarter" idx="14"/>
          </p:nvPr>
        </p:nvSpPr>
        <p:spPr/>
        <p:txBody>
          <a:bodyPr/>
          <a:lstStyle/>
          <a:p>
            <a:pPr eaLnBrk="0" hangingPunct="0"/>
            <a:r>
              <a:rPr lang="en-GB" dirty="0"/>
              <a:t>Construction of a production facility for building materials in Ukraine</a:t>
            </a:r>
          </a:p>
        </p:txBody>
      </p:sp>
      <p:sp>
        <p:nvSpPr>
          <p:cNvPr id="46083" name="Rectangle 2"/>
          <p:cNvSpPr>
            <a:spLocks noGrp="1" noChangeArrowheads="1"/>
          </p:cNvSpPr>
          <p:nvPr>
            <p:ph type="title"/>
          </p:nvPr>
        </p:nvSpPr>
        <p:spPr/>
        <p:txBody>
          <a:bodyPr vert="horz"/>
          <a:lstStyle/>
          <a:p>
            <a:r>
              <a:rPr lang="en-GB" altLang="de-DE" dirty="0"/>
              <a:t>First success story in Ukraine</a:t>
            </a:r>
          </a:p>
        </p:txBody>
      </p:sp>
      <p:sp>
        <p:nvSpPr>
          <p:cNvPr id="3" name="Rectangle 2"/>
          <p:cNvSpPr/>
          <p:nvPr/>
        </p:nvSpPr>
        <p:spPr>
          <a:xfrm>
            <a:off x="458082" y="1412774"/>
            <a:ext cx="5070982" cy="47525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158334" indent="-158334">
              <a:lnSpc>
                <a:spcPct val="120000"/>
              </a:lnSpc>
              <a:spcBef>
                <a:spcPts val="554"/>
              </a:spcBef>
              <a:buSzPct val="90000"/>
              <a:buFont typeface="Arial" panose="020B0604020202020204" pitchFamily="34" charset="0"/>
              <a:buChar char="›"/>
            </a:pPr>
            <a:r>
              <a:rPr lang="en-US" sz="1200" b="1" dirty="0">
                <a:solidFill>
                  <a:schemeClr val="tx1"/>
                </a:solidFill>
              </a:rPr>
              <a:t>The Client</a:t>
            </a:r>
          </a:p>
          <a:p>
            <a:pPr marL="560624" lvl="1" indent="-158334">
              <a:lnSpc>
                <a:spcPct val="120000"/>
              </a:lnSpc>
              <a:spcBef>
                <a:spcPts val="554"/>
              </a:spcBef>
              <a:buSzPct val="90000"/>
              <a:buFont typeface="Arial" panose="020B0604020202020204" pitchFamily="34" charset="0"/>
              <a:buChar char="›"/>
            </a:pPr>
            <a:r>
              <a:rPr lang="en-US" sz="1200" kern="0" dirty="0">
                <a:solidFill>
                  <a:srgbClr val="000000"/>
                </a:solidFill>
              </a:rPr>
              <a:t>The German group is a manufacturer of high-quality building materials, incl. Mortar, plaster and thermal insulation systems. </a:t>
            </a:r>
          </a:p>
          <a:p>
            <a:pPr marL="560624" lvl="1" indent="-158334">
              <a:lnSpc>
                <a:spcPct val="120000"/>
              </a:lnSpc>
              <a:buSzPct val="90000"/>
              <a:buFont typeface="Arial" panose="020B0604020202020204" pitchFamily="34" charset="0"/>
              <a:buChar char="›"/>
            </a:pPr>
            <a:r>
              <a:rPr lang="en-US" sz="1200" kern="0" dirty="0">
                <a:solidFill>
                  <a:srgbClr val="000000"/>
                </a:solidFill>
              </a:rPr>
              <a:t>The group has been active in Ukraine through its subsidiary since 2007.</a:t>
            </a:r>
          </a:p>
          <a:p>
            <a:pPr marL="179388" lvl="1" indent="-157163" algn="thaiDist">
              <a:lnSpc>
                <a:spcPct val="120000"/>
              </a:lnSpc>
              <a:spcBef>
                <a:spcPts val="554"/>
              </a:spcBef>
              <a:buSzPct val="90000"/>
              <a:buFont typeface="Arial" panose="020B0604020202020204" pitchFamily="34" charset="0"/>
              <a:buChar char="›"/>
            </a:pPr>
            <a:r>
              <a:rPr lang="en-US" sz="1200" b="1" dirty="0">
                <a:solidFill>
                  <a:schemeClr val="tx1"/>
                </a:solidFill>
              </a:rPr>
              <a:t>The Investment</a:t>
            </a:r>
          </a:p>
          <a:p>
            <a:pPr marL="560624" lvl="1" indent="-158334">
              <a:lnSpc>
                <a:spcPct val="120000"/>
              </a:lnSpc>
              <a:spcBef>
                <a:spcPts val="554"/>
              </a:spcBef>
              <a:buSzPct val="90000"/>
              <a:buFont typeface="Arial" panose="020B0604020202020204" pitchFamily="34" charset="0"/>
              <a:buChar char="›"/>
            </a:pPr>
            <a:r>
              <a:rPr lang="en-US" sz="1200" kern="0" dirty="0">
                <a:solidFill>
                  <a:srgbClr val="000000"/>
                </a:solidFill>
              </a:rPr>
              <a:t>Construction of a new, additional production facility for building materials in </a:t>
            </a:r>
            <a:r>
              <a:rPr lang="en-US" sz="1200" kern="0" dirty="0" err="1">
                <a:solidFill>
                  <a:srgbClr val="000000"/>
                </a:solidFill>
              </a:rPr>
              <a:t>Lviv</a:t>
            </a:r>
            <a:r>
              <a:rPr lang="en-US" sz="1200" kern="0" dirty="0">
                <a:solidFill>
                  <a:srgbClr val="000000"/>
                </a:solidFill>
              </a:rPr>
              <a:t> to expand local production capacities.</a:t>
            </a:r>
          </a:p>
          <a:p>
            <a:pPr marL="560624" lvl="1" indent="-158334">
              <a:lnSpc>
                <a:spcPct val="120000"/>
              </a:lnSpc>
              <a:buSzPct val="90000"/>
              <a:buFont typeface="Arial" panose="020B0604020202020204" pitchFamily="34" charset="0"/>
              <a:buChar char="›"/>
            </a:pPr>
            <a:r>
              <a:rPr lang="en-US" sz="1200" kern="0" dirty="0">
                <a:solidFill>
                  <a:srgbClr val="000000"/>
                </a:solidFill>
              </a:rPr>
              <a:t>Linking various BMZ and BMWK instruments: in addition to financing from Connect4Impact, the company receives an investment guarantee from the German government to cover war risks as well as conversion and transfer risks.</a:t>
            </a:r>
          </a:p>
          <a:p>
            <a:pPr marL="179388" lvl="1" indent="-157163">
              <a:lnSpc>
                <a:spcPct val="120000"/>
              </a:lnSpc>
              <a:spcBef>
                <a:spcPts val="554"/>
              </a:spcBef>
              <a:buSzPct val="90000"/>
              <a:buFont typeface="Arial" panose="020B0604020202020204" pitchFamily="34" charset="0"/>
              <a:buChar char="›"/>
            </a:pPr>
            <a:r>
              <a:rPr lang="en-US" sz="1200" b="1" dirty="0">
                <a:solidFill>
                  <a:schemeClr val="tx1"/>
                </a:solidFill>
              </a:rPr>
              <a:t>Developmental Impact</a:t>
            </a:r>
          </a:p>
          <a:p>
            <a:pPr marL="560624" lvl="1" indent="-158334">
              <a:lnSpc>
                <a:spcPct val="120000"/>
              </a:lnSpc>
              <a:spcBef>
                <a:spcPts val="554"/>
              </a:spcBef>
              <a:buSzPct val="90000"/>
              <a:buFont typeface="Arial" panose="020B0604020202020204" pitchFamily="34" charset="0"/>
              <a:buChar char="›"/>
            </a:pPr>
            <a:r>
              <a:rPr lang="en-US" sz="1200" kern="0" dirty="0">
                <a:solidFill>
                  <a:srgbClr val="000000"/>
                </a:solidFill>
              </a:rPr>
              <a:t>The production of building materials is of significant importance for reconstruction in Ukraine.</a:t>
            </a:r>
          </a:p>
          <a:p>
            <a:pPr marL="560624" lvl="1" indent="-158334">
              <a:lnSpc>
                <a:spcPct val="120000"/>
              </a:lnSpc>
              <a:buSzPct val="90000"/>
              <a:buFont typeface="Arial" panose="020B0604020202020204" pitchFamily="34" charset="0"/>
              <a:buChar char="›"/>
            </a:pPr>
            <a:r>
              <a:rPr lang="en-US" sz="1200" kern="0" dirty="0">
                <a:solidFill>
                  <a:srgbClr val="000000"/>
                </a:solidFill>
              </a:rPr>
              <a:t>60 new, permanent jobs will be created.</a:t>
            </a:r>
          </a:p>
          <a:p>
            <a:pPr marL="560624" lvl="1" indent="-158334">
              <a:lnSpc>
                <a:spcPct val="120000"/>
              </a:lnSpc>
              <a:buSzPct val="90000"/>
              <a:buFont typeface="Arial" panose="020B0604020202020204" pitchFamily="34" charset="0"/>
              <a:buChar char="›"/>
            </a:pPr>
            <a:r>
              <a:rPr lang="en-US" sz="1200" kern="0" dirty="0">
                <a:solidFill>
                  <a:srgbClr val="000000"/>
                </a:solidFill>
              </a:rPr>
              <a:t>Offer of application-related training for end customers in Ukraine.</a:t>
            </a:r>
          </a:p>
        </p:txBody>
      </p:sp>
      <p:pic>
        <p:nvPicPr>
          <p:cNvPr id="12" name="Grafik 11"/>
          <p:cNvPicPr>
            <a:picLocks noChangeAspect="1"/>
          </p:cNvPicPr>
          <p:nvPr/>
        </p:nvPicPr>
        <p:blipFill rotWithShape="1">
          <a:blip r:embed="rId7"/>
          <a:srcRect l="14057" t="848" r="12572" b="954"/>
          <a:stretch/>
        </p:blipFill>
        <p:spPr>
          <a:xfrm>
            <a:off x="7401272" y="3752904"/>
            <a:ext cx="2338858" cy="2412400"/>
          </a:xfrm>
          <a:prstGeom prst="rect">
            <a:avLst/>
          </a:prstGeom>
        </p:spPr>
      </p:pic>
      <p:pic>
        <p:nvPicPr>
          <p:cNvPr id="13" name="Grafik 12"/>
          <p:cNvPicPr>
            <a:picLocks noChangeAspect="1"/>
          </p:cNvPicPr>
          <p:nvPr/>
        </p:nvPicPr>
        <p:blipFill>
          <a:blip r:embed="rId8"/>
          <a:stretch>
            <a:fillRect/>
          </a:stretch>
        </p:blipFill>
        <p:spPr>
          <a:xfrm>
            <a:off x="5601072" y="3752384"/>
            <a:ext cx="1728192" cy="2412919"/>
          </a:xfrm>
          <a:prstGeom prst="rect">
            <a:avLst/>
          </a:prstGeom>
        </p:spPr>
      </p:pic>
      <p:pic>
        <p:nvPicPr>
          <p:cNvPr id="15" name="Grafik 14"/>
          <p:cNvPicPr>
            <a:picLocks noChangeAspect="1"/>
          </p:cNvPicPr>
          <p:nvPr/>
        </p:nvPicPr>
        <p:blipFill>
          <a:blip r:embed="rId9"/>
          <a:stretch>
            <a:fillRect/>
          </a:stretch>
        </p:blipFill>
        <p:spPr>
          <a:xfrm>
            <a:off x="5601072" y="1412774"/>
            <a:ext cx="4139058" cy="2300266"/>
          </a:xfrm>
          <a:prstGeom prst="rect">
            <a:avLst/>
          </a:prstGeom>
        </p:spPr>
      </p:pic>
      <p:sp>
        <p:nvSpPr>
          <p:cNvPr id="14" name="Foliennummernplatzhalter 3"/>
          <p:cNvSpPr>
            <a:spLocks noGrp="1"/>
          </p:cNvSpPr>
          <p:nvPr>
            <p:ph type="sldNum" sz="quarter" idx="12"/>
          </p:nvPr>
        </p:nvSpPr>
        <p:spPr>
          <a:xfrm>
            <a:off x="9224964" y="6430863"/>
            <a:ext cx="336550" cy="252000"/>
          </a:xfrm>
        </p:spPr>
        <p:txBody>
          <a:bodyPr/>
          <a:lstStyle/>
          <a:p>
            <a:fld id="{5678FFC5-4430-43BC-9807-D0C6EB405569}" type="slidenum">
              <a:rPr lang="de-DE" smtClean="0">
                <a:solidFill>
                  <a:schemeClr val="tx1"/>
                </a:solidFill>
              </a:rPr>
              <a:t>8</a:t>
            </a:fld>
            <a:endParaRPr lang="de-DE" dirty="0">
              <a:solidFill>
                <a:schemeClr val="tx1"/>
              </a:solidFill>
            </a:endParaRPr>
          </a:p>
        </p:txBody>
      </p:sp>
      <p:pic>
        <p:nvPicPr>
          <p:cNvPr id="11" name="Grafik 10"/>
          <p:cNvPicPr>
            <a:picLocks noChangeAspect="1"/>
          </p:cNvPicPr>
          <p:nvPr/>
        </p:nvPicPr>
        <p:blipFill>
          <a:blip r:embed="rId10"/>
          <a:stretch>
            <a:fillRect/>
          </a:stretch>
        </p:blipFill>
        <p:spPr>
          <a:xfrm>
            <a:off x="8121352" y="6390945"/>
            <a:ext cx="1019028" cy="467055"/>
          </a:xfrm>
          <a:prstGeom prst="rect">
            <a:avLst/>
          </a:prstGeom>
        </p:spPr>
      </p:pic>
      <p:sp>
        <p:nvSpPr>
          <p:cNvPr id="16" name="Rechteck 15"/>
          <p:cNvSpPr/>
          <p:nvPr/>
        </p:nvSpPr>
        <p:spPr>
          <a:xfrm>
            <a:off x="8615881" y="6661420"/>
            <a:ext cx="432048"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l">
              <a:buSzPct val="110000"/>
            </a:pPr>
            <a:endParaRPr lang="de-DE" sz="1400" dirty="0" err="1"/>
          </a:p>
        </p:txBody>
      </p:sp>
    </p:spTree>
    <p:extLst>
      <p:ext uri="{BB962C8B-B14F-4D97-AF65-F5344CB8AC3E}">
        <p14:creationId xmlns:p14="http://schemas.microsoft.com/office/powerpoint/2010/main" val="3785486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4029242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21"/>
          </p:nvPr>
        </p:nvSpPr>
        <p:spPr/>
        <p:txBody>
          <a:bodyPr/>
          <a:lstStyle/>
          <a:p>
            <a:fld id="{5678FFC5-4430-43BC-9807-D0C6EB405569}" type="slidenum">
              <a:rPr lang="de-DE" smtClean="0"/>
              <a:pPr/>
              <a:t>9</a:t>
            </a:fld>
            <a:endParaRPr lang="de-DE" dirty="0"/>
          </a:p>
        </p:txBody>
      </p:sp>
      <p:grpSp>
        <p:nvGrpSpPr>
          <p:cNvPr id="12" name="Group 9"/>
          <p:cNvGrpSpPr/>
          <p:nvPr/>
        </p:nvGrpSpPr>
        <p:grpSpPr>
          <a:xfrm>
            <a:off x="4954060" y="2952907"/>
            <a:ext cx="4270904" cy="2024826"/>
            <a:chOff x="500100" y="4688689"/>
            <a:chExt cx="4270904" cy="2024826"/>
          </a:xfrm>
        </p:grpSpPr>
        <p:sp>
          <p:nvSpPr>
            <p:cNvPr id="13" name="Rectangle 2"/>
            <p:cNvSpPr txBox="1">
              <a:spLocks noChangeArrowheads="1"/>
            </p:cNvSpPr>
            <p:nvPr/>
          </p:nvSpPr>
          <p:spPr bwMode="gray">
            <a:xfrm>
              <a:off x="500100" y="4688689"/>
              <a:ext cx="4270904" cy="2024826"/>
            </a:xfrm>
            <a:prstGeom prst="rect">
              <a:avLst/>
            </a:prstGeom>
            <a:solidFill>
              <a:srgbClr val="D7D5D1"/>
            </a:solidFill>
            <a:ln w="31750" cmpd="thickThin">
              <a:noFill/>
              <a:miter lim="800000"/>
              <a:headEnd/>
              <a:tailEnd/>
            </a:ln>
          </p:spPr>
          <p:txBody>
            <a:bodyPr lIns="0" tIns="108000" rIns="36000" bIns="108000"/>
            <a:lstStyle>
              <a:lvl1pPr marL="1490663" eaLnBrk="0" hangingPunct="0">
                <a:tabLst>
                  <a:tab pos="628650" algn="l"/>
                  <a:tab pos="1973263" algn="l"/>
                  <a:tab pos="7889875" algn="r"/>
                </a:tabLst>
                <a:defRPr sz="1600">
                  <a:solidFill>
                    <a:schemeClr val="bg1"/>
                  </a:solidFill>
                  <a:latin typeface="Franklin Gothic Book" pitchFamily="-107" charset="0"/>
                  <a:ea typeface="ＭＳ Ｐゴシック" pitchFamily="-107" charset="-128"/>
                </a:defRPr>
              </a:lvl1pPr>
              <a:lvl2pPr marL="37931725" indent="-37474525" eaLnBrk="0" hangingPunct="0">
                <a:tabLst>
                  <a:tab pos="628650" algn="l"/>
                  <a:tab pos="1973263" algn="l"/>
                  <a:tab pos="7889875" algn="r"/>
                </a:tabLst>
                <a:defRPr sz="1600">
                  <a:solidFill>
                    <a:schemeClr val="bg1"/>
                  </a:solidFill>
                  <a:latin typeface="Franklin Gothic Book" pitchFamily="-107" charset="0"/>
                  <a:ea typeface="ＭＳ Ｐゴシック" pitchFamily="-107" charset="-128"/>
                </a:defRPr>
              </a:lvl2pPr>
              <a:lvl3pPr eaLnBrk="0" hangingPunct="0">
                <a:tabLst>
                  <a:tab pos="628650" algn="l"/>
                  <a:tab pos="1973263" algn="l"/>
                  <a:tab pos="7889875" algn="r"/>
                </a:tabLst>
                <a:defRPr sz="1600">
                  <a:solidFill>
                    <a:schemeClr val="bg1"/>
                  </a:solidFill>
                  <a:latin typeface="Franklin Gothic Book" pitchFamily="-107" charset="0"/>
                  <a:ea typeface="ＭＳ Ｐゴシック" pitchFamily="-107" charset="-128"/>
                </a:defRPr>
              </a:lvl3pPr>
              <a:lvl4pPr eaLnBrk="0" hangingPunct="0">
                <a:tabLst>
                  <a:tab pos="628650" algn="l"/>
                  <a:tab pos="1973263" algn="l"/>
                  <a:tab pos="7889875" algn="r"/>
                </a:tabLst>
                <a:defRPr sz="1600">
                  <a:solidFill>
                    <a:schemeClr val="bg1"/>
                  </a:solidFill>
                  <a:latin typeface="Franklin Gothic Book" pitchFamily="-107" charset="0"/>
                  <a:ea typeface="ＭＳ Ｐゴシック" pitchFamily="-107" charset="-128"/>
                </a:defRPr>
              </a:lvl4pPr>
              <a:lvl5pPr eaLnBrk="0" hangingPunct="0">
                <a:tabLst>
                  <a:tab pos="628650" algn="l"/>
                  <a:tab pos="1973263" algn="l"/>
                  <a:tab pos="7889875" algn="r"/>
                </a:tabLst>
                <a:defRPr sz="1600">
                  <a:solidFill>
                    <a:schemeClr val="bg1"/>
                  </a:solidFill>
                  <a:latin typeface="Franklin Gothic Book" pitchFamily="-107" charset="0"/>
                  <a:ea typeface="ＭＳ Ｐゴシック" pitchFamily="-107" charset="-128"/>
                </a:defRPr>
              </a:lvl5pPr>
              <a:lvl6pPr marL="457200" eaLnBrk="0" fontAlgn="base" hangingPunct="0">
                <a:spcBef>
                  <a:spcPct val="0"/>
                </a:spcBef>
                <a:spcAft>
                  <a:spcPct val="0"/>
                </a:spcAft>
                <a:tabLst>
                  <a:tab pos="628650" algn="l"/>
                  <a:tab pos="1973263" algn="l"/>
                  <a:tab pos="7889875" algn="r"/>
                </a:tabLst>
                <a:defRPr sz="1600">
                  <a:solidFill>
                    <a:schemeClr val="bg1"/>
                  </a:solidFill>
                  <a:latin typeface="Franklin Gothic Book" pitchFamily="-107" charset="0"/>
                  <a:ea typeface="ＭＳ Ｐゴシック" pitchFamily="-107" charset="-128"/>
                </a:defRPr>
              </a:lvl6pPr>
              <a:lvl7pPr marL="914400" eaLnBrk="0" fontAlgn="base" hangingPunct="0">
                <a:spcBef>
                  <a:spcPct val="0"/>
                </a:spcBef>
                <a:spcAft>
                  <a:spcPct val="0"/>
                </a:spcAft>
                <a:tabLst>
                  <a:tab pos="628650" algn="l"/>
                  <a:tab pos="1973263" algn="l"/>
                  <a:tab pos="7889875" algn="r"/>
                </a:tabLst>
                <a:defRPr sz="1600">
                  <a:solidFill>
                    <a:schemeClr val="bg1"/>
                  </a:solidFill>
                  <a:latin typeface="Franklin Gothic Book" pitchFamily="-107" charset="0"/>
                  <a:ea typeface="ＭＳ Ｐゴシック" pitchFamily="-107" charset="-128"/>
                </a:defRPr>
              </a:lvl7pPr>
              <a:lvl8pPr marL="1371600" eaLnBrk="0" fontAlgn="base" hangingPunct="0">
                <a:spcBef>
                  <a:spcPct val="0"/>
                </a:spcBef>
                <a:spcAft>
                  <a:spcPct val="0"/>
                </a:spcAft>
                <a:tabLst>
                  <a:tab pos="628650" algn="l"/>
                  <a:tab pos="1973263" algn="l"/>
                  <a:tab pos="7889875" algn="r"/>
                </a:tabLst>
                <a:defRPr sz="1600">
                  <a:solidFill>
                    <a:schemeClr val="bg1"/>
                  </a:solidFill>
                  <a:latin typeface="Franklin Gothic Book" pitchFamily="-107" charset="0"/>
                  <a:ea typeface="ＭＳ Ｐゴシック" pitchFamily="-107" charset="-128"/>
                </a:defRPr>
              </a:lvl8pPr>
              <a:lvl9pPr marL="1828800" eaLnBrk="0" fontAlgn="base" hangingPunct="0">
                <a:spcBef>
                  <a:spcPct val="0"/>
                </a:spcBef>
                <a:spcAft>
                  <a:spcPct val="0"/>
                </a:spcAft>
                <a:tabLst>
                  <a:tab pos="628650" algn="l"/>
                  <a:tab pos="1973263" algn="l"/>
                  <a:tab pos="7889875" algn="r"/>
                </a:tabLst>
                <a:defRPr sz="1600">
                  <a:solidFill>
                    <a:schemeClr val="bg1"/>
                  </a:solidFill>
                  <a:latin typeface="Franklin Gothic Book" pitchFamily="-107" charset="0"/>
                  <a:ea typeface="ＭＳ Ｐゴシック" pitchFamily="-107" charset="-128"/>
                </a:defRPr>
              </a:lvl9pPr>
            </a:lstStyle>
            <a:p>
              <a:pPr marL="1490663" marR="0" lvl="0" indent="0" defTabSz="914400" eaLnBrk="0" fontAlgn="base" latinLnBrk="0" hangingPunct="0">
                <a:lnSpc>
                  <a:spcPct val="100000"/>
                </a:lnSpc>
                <a:spcBef>
                  <a:spcPct val="0"/>
                </a:spcBef>
                <a:spcAft>
                  <a:spcPct val="0"/>
                </a:spcAft>
                <a:buClrTx/>
                <a:buSzTx/>
                <a:buFontTx/>
                <a:buNone/>
                <a:tabLst>
                  <a:tab pos="628650" algn="l"/>
                  <a:tab pos="1973263" algn="l"/>
                  <a:tab pos="7889875" algn="r"/>
                </a:tabLst>
                <a:defRPr/>
              </a:pPr>
              <a:endParaRPr kumimoji="0" lang="de-DE" altLang="de-DE" sz="1200" b="1" u="none" strike="noStrike" kern="0" cap="none" spc="0" normalizeH="0" baseline="0" noProof="0" dirty="0">
                <a:ln>
                  <a:noFill/>
                </a:ln>
                <a:solidFill>
                  <a:srgbClr val="0F1010"/>
                </a:solidFill>
                <a:effectLst/>
                <a:uLnTx/>
                <a:uFillTx/>
                <a:latin typeface="Arial" charset="0"/>
              </a:endParaRPr>
            </a:p>
            <a:p>
              <a:pPr marL="1490663" marR="0" lvl="0" indent="0" defTabSz="914400" eaLnBrk="0" fontAlgn="base" latinLnBrk="0" hangingPunct="0">
                <a:lnSpc>
                  <a:spcPct val="100000"/>
                </a:lnSpc>
                <a:spcBef>
                  <a:spcPct val="0"/>
                </a:spcBef>
                <a:spcAft>
                  <a:spcPct val="0"/>
                </a:spcAft>
                <a:buClrTx/>
                <a:buSzTx/>
                <a:buFontTx/>
                <a:buNone/>
                <a:tabLst>
                  <a:tab pos="628650" algn="l"/>
                  <a:tab pos="1973263" algn="l"/>
                  <a:tab pos="7889875" algn="r"/>
                </a:tabLst>
                <a:defRPr/>
              </a:pPr>
              <a:r>
                <a:rPr kumimoji="0" lang="de-DE" altLang="de-DE" sz="1200" b="1" u="none" strike="noStrike" kern="0" cap="none" spc="0" normalizeH="0" baseline="0" noProof="0" dirty="0">
                  <a:ln>
                    <a:noFill/>
                  </a:ln>
                  <a:solidFill>
                    <a:srgbClr val="0F1010"/>
                  </a:solidFill>
                  <a:effectLst/>
                  <a:uLnTx/>
                  <a:uFillTx/>
                  <a:latin typeface="Arial" charset="0"/>
                </a:rPr>
                <a:t>Klaus </a:t>
              </a:r>
              <a:r>
                <a:rPr kumimoji="0" lang="de-DE" altLang="de-DE" sz="1200" b="1" u="none" strike="noStrike" kern="0" cap="none" spc="0" normalizeH="0" baseline="0" noProof="0" dirty="0" err="1">
                  <a:ln>
                    <a:noFill/>
                  </a:ln>
                  <a:solidFill>
                    <a:srgbClr val="0F1010"/>
                  </a:solidFill>
                  <a:effectLst/>
                  <a:uLnTx/>
                  <a:uFillTx/>
                  <a:latin typeface="Arial" charset="0"/>
                </a:rPr>
                <a:t>Helsper</a:t>
              </a:r>
              <a:r>
                <a:rPr kumimoji="0" lang="de-DE" altLang="de-DE" sz="1200" b="1" u="none" strike="noStrike" kern="0" cap="none" spc="0" normalizeH="0" baseline="0" noProof="0" dirty="0">
                  <a:ln>
                    <a:noFill/>
                  </a:ln>
                  <a:solidFill>
                    <a:srgbClr val="0F1010"/>
                  </a:solidFill>
                  <a:effectLst/>
                  <a:uLnTx/>
                  <a:uFillTx/>
                  <a:latin typeface="Arial" charset="0"/>
                </a:rPr>
                <a:t> </a:t>
              </a:r>
            </a:p>
            <a:p>
              <a:pPr defTabSz="914400" fontAlgn="base">
                <a:spcBef>
                  <a:spcPct val="0"/>
                </a:spcBef>
                <a:spcAft>
                  <a:spcPct val="0"/>
                </a:spcAft>
                <a:defRPr/>
              </a:pPr>
              <a:r>
                <a:rPr lang="de-DE" altLang="de-DE" sz="1200" kern="0" dirty="0">
                  <a:solidFill>
                    <a:srgbClr val="0F1010"/>
                  </a:solidFill>
                  <a:latin typeface="Arial" charset="0"/>
                </a:rPr>
                <a:t>Head </a:t>
              </a:r>
              <a:r>
                <a:rPr lang="de-DE" altLang="de-DE" sz="1200" kern="0" dirty="0" err="1">
                  <a:solidFill>
                    <a:srgbClr val="0F1010"/>
                  </a:solidFill>
                  <a:latin typeface="Arial" charset="0"/>
                </a:rPr>
                <a:t>of</a:t>
              </a:r>
              <a:r>
                <a:rPr lang="de-DE" altLang="de-DE" sz="1200" kern="0" dirty="0">
                  <a:solidFill>
                    <a:srgbClr val="0F1010"/>
                  </a:solidFill>
                  <a:latin typeface="Arial" charset="0"/>
                </a:rPr>
                <a:t> Department</a:t>
              </a:r>
            </a:p>
            <a:p>
              <a:pPr defTabSz="914400" fontAlgn="base">
                <a:spcBef>
                  <a:spcPct val="0"/>
                </a:spcBef>
                <a:spcAft>
                  <a:spcPct val="0"/>
                </a:spcAft>
                <a:defRPr/>
              </a:pPr>
              <a:r>
                <a:rPr lang="de-DE" altLang="de-DE" sz="1200" kern="0" dirty="0">
                  <a:solidFill>
                    <a:srgbClr val="0F1010"/>
                  </a:solidFill>
                  <a:latin typeface="Arial" charset="0"/>
                </a:rPr>
                <a:t>Connect4Impact</a:t>
              </a:r>
            </a:p>
            <a:p>
              <a:pPr marL="1490663" marR="0" lvl="0" indent="0" defTabSz="914400" eaLnBrk="0" fontAlgn="base" latinLnBrk="0" hangingPunct="0">
                <a:lnSpc>
                  <a:spcPct val="100000"/>
                </a:lnSpc>
                <a:spcBef>
                  <a:spcPct val="0"/>
                </a:spcBef>
                <a:spcAft>
                  <a:spcPct val="0"/>
                </a:spcAft>
                <a:buClrTx/>
                <a:buSzTx/>
                <a:buFontTx/>
                <a:buNone/>
                <a:tabLst>
                  <a:tab pos="628650" algn="l"/>
                  <a:tab pos="1973263" algn="l"/>
                  <a:tab pos="7889875" algn="r"/>
                </a:tabLst>
                <a:defRPr/>
              </a:pPr>
              <a:endParaRPr kumimoji="0" lang="de-DE" altLang="de-DE" sz="1200" b="0" u="none" strike="noStrike" kern="0" cap="none" spc="0" normalizeH="0" baseline="0" noProof="0" dirty="0">
                <a:ln>
                  <a:noFill/>
                </a:ln>
                <a:solidFill>
                  <a:srgbClr val="0F1010"/>
                </a:solidFill>
                <a:effectLst/>
                <a:uLnTx/>
                <a:uFillTx/>
                <a:latin typeface="Arial" charset="0"/>
                <a:cs typeface="Arial" charset="0"/>
              </a:endParaRPr>
            </a:p>
            <a:p>
              <a:pPr lvl="0" defTabSz="914400" fontAlgn="base">
                <a:lnSpc>
                  <a:spcPct val="105000"/>
                </a:lnSpc>
                <a:spcBef>
                  <a:spcPct val="0"/>
                </a:spcBef>
                <a:spcAft>
                  <a:spcPct val="0"/>
                </a:spcAft>
                <a:defRPr/>
              </a:pPr>
              <a:r>
                <a:rPr lang="de-DE" altLang="de-DE" sz="1100" kern="0" dirty="0">
                  <a:solidFill>
                    <a:srgbClr val="0F1010"/>
                  </a:solidFill>
                  <a:latin typeface="Arial" charset="0"/>
                </a:rPr>
                <a:t>+49 221 4986 1783</a:t>
              </a:r>
            </a:p>
            <a:p>
              <a:pPr lvl="0" defTabSz="914400" fontAlgn="base">
                <a:lnSpc>
                  <a:spcPct val="105000"/>
                </a:lnSpc>
                <a:spcBef>
                  <a:spcPct val="0"/>
                </a:spcBef>
                <a:spcAft>
                  <a:spcPct val="0"/>
                </a:spcAft>
                <a:defRPr/>
              </a:pPr>
              <a:endParaRPr lang="de-DE" altLang="de-DE" sz="1100" kern="0" dirty="0">
                <a:solidFill>
                  <a:srgbClr val="0F1010"/>
                </a:solidFill>
                <a:latin typeface="Arial" charset="0"/>
              </a:endParaRPr>
            </a:p>
            <a:p>
              <a:pPr lvl="0" defTabSz="914400" fontAlgn="base">
                <a:lnSpc>
                  <a:spcPct val="105000"/>
                </a:lnSpc>
                <a:spcBef>
                  <a:spcPct val="0"/>
                </a:spcBef>
                <a:spcAft>
                  <a:spcPct val="0"/>
                </a:spcAft>
                <a:defRPr/>
              </a:pPr>
              <a:r>
                <a:rPr lang="de-DE" altLang="de-DE" sz="1100" kern="0" dirty="0">
                  <a:solidFill>
                    <a:srgbClr val="0F1010"/>
                  </a:solidFill>
                  <a:latin typeface="Arial" charset="0"/>
                </a:rPr>
                <a:t>klaus.helsper@deginvest.de</a:t>
              </a:r>
              <a:r>
                <a:rPr lang="de-DE" altLang="de-DE" sz="1200" kern="0" dirty="0">
                  <a:solidFill>
                    <a:srgbClr val="0F1010"/>
                  </a:solidFill>
                  <a:latin typeface="Arial" charset="0"/>
                </a:rPr>
                <a:t> </a:t>
              </a:r>
            </a:p>
          </p:txBody>
        </p:sp>
        <p:pic>
          <p:nvPicPr>
            <p:cNvPr id="14" name="Bild 12" descr="Bild_22.jpg"/>
            <p:cNvPicPr>
              <a:picLocks noChangeAspect="1"/>
            </p:cNvPicPr>
            <p:nvPr/>
          </p:nvPicPr>
          <p:blipFill rotWithShape="1">
            <a:blip r:embed="rId5">
              <a:extLst>
                <a:ext uri="{28A0092B-C50C-407E-A947-70E740481C1C}">
                  <a14:useLocalDpi xmlns:a14="http://schemas.microsoft.com/office/drawing/2010/main" val="0"/>
                </a:ext>
              </a:extLst>
            </a:blip>
            <a:srcRect r="5037"/>
            <a:stretch/>
          </p:blipFill>
          <p:spPr bwMode="auto">
            <a:xfrm>
              <a:off x="500101" y="4766548"/>
              <a:ext cx="1356555" cy="18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 name="Text Placeholder 7"/>
          <p:cNvSpPr>
            <a:spLocks noGrp="1"/>
          </p:cNvSpPr>
          <p:nvPr>
            <p:ph type="body" sz="quarter" idx="18"/>
          </p:nvPr>
        </p:nvSpPr>
        <p:spPr>
          <a:xfrm>
            <a:off x="1087200" y="2660400"/>
            <a:ext cx="8474313" cy="1256400"/>
          </a:xfrm>
        </p:spPr>
        <p:txBody>
          <a:bodyPr/>
          <a:lstStyle/>
          <a:p>
            <a:r>
              <a:rPr lang="de-DE" dirty="0" err="1"/>
              <a:t>Any</a:t>
            </a:r>
            <a:r>
              <a:rPr lang="de-DE" dirty="0"/>
              <a:t> </a:t>
            </a:r>
            <a:r>
              <a:rPr lang="de-DE" dirty="0" err="1"/>
              <a:t>questions</a:t>
            </a:r>
            <a:r>
              <a:rPr lang="de-DE" dirty="0"/>
              <a:t>?</a:t>
            </a:r>
          </a:p>
        </p:txBody>
      </p:sp>
      <p:sp>
        <p:nvSpPr>
          <p:cNvPr id="18" name="Title 6"/>
          <p:cNvSpPr>
            <a:spLocks noGrp="1"/>
          </p:cNvSpPr>
          <p:nvPr>
            <p:ph type="title"/>
          </p:nvPr>
        </p:nvSpPr>
        <p:spPr>
          <a:xfrm>
            <a:off x="1087200" y="2138400"/>
            <a:ext cx="8474313" cy="522000"/>
          </a:xfrm>
        </p:spPr>
        <p:txBody>
          <a:bodyPr vert="horz"/>
          <a:lstStyle/>
          <a:p>
            <a:r>
              <a:rPr lang="de-DE" dirty="0" err="1"/>
              <a:t>Thank</a:t>
            </a:r>
            <a:r>
              <a:rPr lang="de-DE" dirty="0"/>
              <a:t> </a:t>
            </a:r>
            <a:r>
              <a:rPr lang="de-DE" dirty="0" err="1"/>
              <a:t>you</a:t>
            </a:r>
            <a:r>
              <a:rPr lang="de-DE" dirty="0"/>
              <a:t> </a:t>
            </a:r>
            <a:r>
              <a:rPr lang="de-DE" dirty="0" err="1"/>
              <a:t>for</a:t>
            </a:r>
            <a:r>
              <a:rPr lang="de-DE" dirty="0"/>
              <a:t> </a:t>
            </a:r>
            <a:r>
              <a:rPr lang="de-DE" dirty="0" err="1"/>
              <a:t>your</a:t>
            </a:r>
            <a:r>
              <a:rPr lang="de-DE" dirty="0"/>
              <a:t> </a:t>
            </a:r>
            <a:r>
              <a:rPr lang="de-DE" dirty="0" err="1"/>
              <a:t>attention</a:t>
            </a:r>
            <a:endParaRPr lang="de-DE" dirty="0"/>
          </a:p>
        </p:txBody>
      </p:sp>
    </p:spTree>
    <p:extLst>
      <p:ext uri="{BB962C8B-B14F-4D97-AF65-F5344CB8AC3E}">
        <p14:creationId xmlns:p14="http://schemas.microsoft.com/office/powerpoint/2010/main" val="34441571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S2rboIbwViN.Hn_NYRu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MARTLIBRARYSHAPE" val="Ye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npS4aDr0f2qrv90hlRZ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npS4aDr0f2qrv90hlRZ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MPYHm_CEyVcjiyMXL_d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fW">
  <a:themeElements>
    <a:clrScheme name="Benutzerdefiniert 171">
      <a:dk1>
        <a:srgbClr val="000000"/>
      </a:dk1>
      <a:lt1>
        <a:srgbClr val="FFFFFF"/>
      </a:lt1>
      <a:dk2>
        <a:srgbClr val="F0EEE1"/>
      </a:dk2>
      <a:lt2>
        <a:srgbClr val="13556F"/>
      </a:lt2>
      <a:accent1>
        <a:srgbClr val="005A8C"/>
      </a:accent1>
      <a:accent2>
        <a:srgbClr val="A4B419"/>
      </a:accent2>
      <a:accent3>
        <a:srgbClr val="55A0C6"/>
      </a:accent3>
      <a:accent4>
        <a:srgbClr val="BDC0C2"/>
      </a:accent4>
      <a:accent5>
        <a:srgbClr val="5A6166"/>
      </a:accent5>
      <a:accent6>
        <a:srgbClr val="9CA0A3"/>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08000" rIns="144000" bIns="108000" rtlCol="0" anchor="ctr"/>
      <a:lstStyle>
        <a:defPPr algn="l">
          <a:buSzPct val="110000"/>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44000" tIns="108000" rIns="144000" bIns="108000" rtlCol="0">
        <a:spAutoFit/>
      </a:bodyPr>
      <a:lstStyle>
        <a:defPPr algn="l">
          <a:buSzPct val="110000"/>
          <a:defRPr sz="1400" dirty="0" err="1" smtClean="0"/>
        </a:defPPr>
      </a:lstStyle>
    </a:txDef>
  </a:objectDefaults>
  <a:extraClrSchemeLst/>
  <a:custClrLst>
    <a:custClr name="KfW Dunkelgrün 100%">
      <a:srgbClr val="507666"/>
    </a:custClr>
    <a:custClr name="KfW Dunkelgrün 40%">
      <a:srgbClr val="B9C8C2"/>
    </a:custClr>
    <a:custClr name="KfW Magenta 100%">
      <a:srgbClr val="9D0C6A"/>
    </a:custClr>
    <a:custClr name="KfW Magenta 20%">
      <a:srgbClr val="EBCEE1"/>
    </a:custClr>
    <a:custClr name="KfW Violett 100%">
      <a:srgbClr val="5B2C6F"/>
    </a:custClr>
    <a:custClr name="KfW Violett 20%">
      <a:srgbClr val="DED5E2"/>
    </a:custClr>
    <a:custClr name="KfW Rot">
      <a:srgbClr val="BB002A"/>
    </a:custClr>
  </a:custClrLst>
  <a:extLst>
    <a:ext uri="{05A4C25C-085E-4340-85A3-A5531E510DB2}">
      <thm15:themeFamily xmlns:thm15="http://schemas.microsoft.com/office/thememl/2012/main" name="Präsentation65" id="{5E1E9F98-3280-534C-8B3F-18992A9EC941}" vid="{6AFD6966-3100-8946-B3A8-A6243AA3F7C7}"/>
    </a:ext>
  </a:extLst>
</a:theme>
</file>

<file path=ppt/theme/theme2.xml><?xml version="1.0" encoding="utf-8"?>
<a:theme xmlns:a="http://schemas.openxmlformats.org/drawingml/2006/main" name="2_KfW">
  <a:themeElements>
    <a:clrScheme name="Benutzerdefiniert 171">
      <a:dk1>
        <a:srgbClr val="000000"/>
      </a:dk1>
      <a:lt1>
        <a:srgbClr val="FFFFFF"/>
      </a:lt1>
      <a:dk2>
        <a:srgbClr val="F0EEE1"/>
      </a:dk2>
      <a:lt2>
        <a:srgbClr val="13556F"/>
      </a:lt2>
      <a:accent1>
        <a:srgbClr val="005A8C"/>
      </a:accent1>
      <a:accent2>
        <a:srgbClr val="A4B419"/>
      </a:accent2>
      <a:accent3>
        <a:srgbClr val="55A0C6"/>
      </a:accent3>
      <a:accent4>
        <a:srgbClr val="BDC0C2"/>
      </a:accent4>
      <a:accent5>
        <a:srgbClr val="5A6166"/>
      </a:accent5>
      <a:accent6>
        <a:srgbClr val="9CA0A3"/>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08000" rIns="144000" bIns="108000" rtlCol="0" anchor="ctr"/>
      <a:lstStyle>
        <a:defPPr algn="l">
          <a:buSzPct val="110000"/>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44000" tIns="108000" rIns="144000" bIns="108000" rtlCol="0">
        <a:spAutoFit/>
      </a:bodyPr>
      <a:lstStyle>
        <a:defPPr algn="l">
          <a:buSzPct val="110000"/>
          <a:defRPr sz="1400" dirty="0" err="1" smtClean="0"/>
        </a:defPPr>
      </a:lstStyle>
    </a:txDef>
  </a:objectDefaults>
  <a:extraClrSchemeLst/>
  <a:custClrLst>
    <a:custClr name="KfW Dunkelgrün 100%">
      <a:srgbClr val="507666"/>
    </a:custClr>
    <a:custClr name="KfW Dunkelgrün 40%">
      <a:srgbClr val="B9C8C2"/>
    </a:custClr>
    <a:custClr name="KfW Magenta 100%">
      <a:srgbClr val="9D0C6A"/>
    </a:custClr>
    <a:custClr name="KfW Magenta 20%">
      <a:srgbClr val="EBCEE1"/>
    </a:custClr>
    <a:custClr name="KfW Violett 100%">
      <a:srgbClr val="5B2C6F"/>
    </a:custClr>
    <a:custClr name="KfW Violett 20%">
      <a:srgbClr val="DED5E2"/>
    </a:custClr>
    <a:custClr name="KfW Rot">
      <a:srgbClr val="BB002A"/>
    </a:custClr>
  </a:custClrLst>
  <a:extLst>
    <a:ext uri="{05A4C25C-085E-4340-85A3-A5531E510DB2}">
      <thm15:themeFamily xmlns:thm15="http://schemas.microsoft.com/office/thememl/2012/main" name="Präsentation65" id="{5E1E9F98-3280-534C-8B3F-18992A9EC941}" vid="{6AFD6966-3100-8946-B3A8-A6243AA3F7C7}"/>
    </a:ext>
  </a:extLst>
</a:theme>
</file>

<file path=ppt/theme/theme3.xml><?xml version="1.0" encoding="utf-8"?>
<a:theme xmlns:a="http://schemas.openxmlformats.org/drawingml/2006/main" name="Office">
  <a:themeElements>
    <a:clrScheme name="Benutzerdefiniert 157">
      <a:dk1>
        <a:srgbClr val="000000"/>
      </a:dk1>
      <a:lt1>
        <a:srgbClr val="FFFFFF"/>
      </a:lt1>
      <a:dk2>
        <a:srgbClr val="F0EEE1"/>
      </a:dk2>
      <a:lt2>
        <a:srgbClr val="13556F"/>
      </a:lt2>
      <a:accent1>
        <a:srgbClr val="005A8C"/>
      </a:accent1>
      <a:accent2>
        <a:srgbClr val="A4B419"/>
      </a:accent2>
      <a:accent3>
        <a:srgbClr val="55A0C6"/>
      </a:accent3>
      <a:accent4>
        <a:srgbClr val="BDC0C2"/>
      </a:accent4>
      <a:accent5>
        <a:srgbClr val="7B8185"/>
      </a:accent5>
      <a:accent6>
        <a:srgbClr val="9CA0A3"/>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Benutzerdefiniert 157">
      <a:dk1>
        <a:srgbClr val="000000"/>
      </a:dk1>
      <a:lt1>
        <a:srgbClr val="FFFFFF"/>
      </a:lt1>
      <a:dk2>
        <a:srgbClr val="F0EEE1"/>
      </a:dk2>
      <a:lt2>
        <a:srgbClr val="13556F"/>
      </a:lt2>
      <a:accent1>
        <a:srgbClr val="005A8C"/>
      </a:accent1>
      <a:accent2>
        <a:srgbClr val="A4B419"/>
      </a:accent2>
      <a:accent3>
        <a:srgbClr val="55A0C6"/>
      </a:accent3>
      <a:accent4>
        <a:srgbClr val="BDC0C2"/>
      </a:accent4>
      <a:accent5>
        <a:srgbClr val="7B8185"/>
      </a:accent5>
      <a:accent6>
        <a:srgbClr val="9CA0A3"/>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IconOverlay xmlns="http://schemas.microsoft.com/sharepoint/v4" xsi:nil="true"/>
    <SharedWithUsers xmlns="4288adee-eaf4-4871-859a-d666756a35ba">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1B04B194B3AB3540A016E8BC28E264E3" ma:contentTypeVersion="1" ma:contentTypeDescription="Ein neues Dokument erstellen." ma:contentTypeScope="" ma:versionID="16cea1970483ffa9d24086f4368dfb62">
  <xsd:schema xmlns:xsd="http://www.w3.org/2001/XMLSchema" xmlns:xs="http://www.w3.org/2001/XMLSchema" xmlns:p="http://schemas.microsoft.com/office/2006/metadata/properties" xmlns:ns1="http://schemas.microsoft.com/sharepoint/v3" xmlns:ns2="4288adee-eaf4-4871-859a-d666756a35ba" xmlns:ns3="http://schemas.microsoft.com/sharepoint/v4" targetNamespace="http://schemas.microsoft.com/office/2006/metadata/properties" ma:root="true" ma:fieldsID="40caa5ad68f40333d7a89a575094b070" ns1:_="" ns2:_="" ns3:_="">
    <xsd:import namespace="http://schemas.microsoft.com/sharepoint/v3"/>
    <xsd:import namespace="4288adee-eaf4-4871-859a-d666756a35ba"/>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2:SharedWithUsers"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88adee-eaf4-4871-859a-d666756a35ba"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9BF047-8A59-4D38-8F17-01E462F98A44}">
  <ds:schemaRefs>
    <ds:schemaRef ds:uri="http://purl.org/dc/dcmitype/"/>
    <ds:schemaRef ds:uri="http://schemas.microsoft.com/office/infopath/2007/PartnerControls"/>
    <ds:schemaRef ds:uri="http://purl.org/dc/elements/1.1/"/>
    <ds:schemaRef ds:uri="http://schemas.microsoft.com/office/2006/metadata/properties"/>
    <ds:schemaRef ds:uri="http://schemas.microsoft.com/sharepoint/v3"/>
    <ds:schemaRef ds:uri="4288adee-eaf4-4871-859a-d666756a35ba"/>
    <ds:schemaRef ds:uri="http://purl.org/dc/terms/"/>
    <ds:schemaRef ds:uri="http://schemas.openxmlformats.org/package/2006/metadata/core-properties"/>
    <ds:schemaRef ds:uri="http://schemas.microsoft.com/office/2006/documentManagement/types"/>
    <ds:schemaRef ds:uri="http://schemas.microsoft.com/sharepoint/v4"/>
    <ds:schemaRef ds:uri="http://www.w3.org/XML/1998/namespace"/>
  </ds:schemaRefs>
</ds:datastoreItem>
</file>

<file path=customXml/itemProps2.xml><?xml version="1.0" encoding="utf-8"?>
<ds:datastoreItem xmlns:ds="http://schemas.openxmlformats.org/officeDocument/2006/customXml" ds:itemID="{66BACBBE-3F35-4818-82AF-D3F0404374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88adee-eaf4-4871-859a-d666756a35ba"/>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D362B-8485-45E3-ADEB-EEB83060356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319</Words>
  <Application>Microsoft Office PowerPoint</Application>
  <PresentationFormat>Лист A4 (210x297 мм)</PresentationFormat>
  <Paragraphs>444</Paragraphs>
  <Slides>12</Slides>
  <Notes>7</Notes>
  <HiddenSlides>3</HiddenSlides>
  <MMClips>0</MMClips>
  <ScaleCrop>false</ScaleCrop>
  <HeadingPairs>
    <vt:vector size="4" baseType="variant">
      <vt:variant>
        <vt:lpstr>Тема</vt:lpstr>
      </vt:variant>
      <vt:variant>
        <vt:i4>2</vt:i4>
      </vt:variant>
      <vt:variant>
        <vt:lpstr>Заголовки слайдов</vt:lpstr>
      </vt:variant>
      <vt:variant>
        <vt:i4>12</vt:i4>
      </vt:variant>
    </vt:vector>
  </HeadingPairs>
  <TitlesOfParts>
    <vt:vector size="14" baseType="lpstr">
      <vt:lpstr>1_KfW</vt:lpstr>
      <vt:lpstr>2_KfW</vt:lpstr>
      <vt:lpstr>Connect4Impact ce Financing options for investments in Ukraine</vt:lpstr>
      <vt:lpstr>DEG - Deutsche Investitions- und Entwicklungsgesellschaft</vt:lpstr>
      <vt:lpstr>Part of a strong banking group</vt:lpstr>
      <vt:lpstr>DEG in developing and emerging markets</vt:lpstr>
      <vt:lpstr>Connect4Impact</vt:lpstr>
      <vt:lpstr>Connect4Impact</vt:lpstr>
      <vt:lpstr>Connect4Impact target country: Ukraine </vt:lpstr>
      <vt:lpstr>First success story in Ukraine</vt:lpstr>
      <vt:lpstr>Thank you for your attention</vt:lpstr>
      <vt:lpstr>DEG - Deutsche Investitions- und Entwicklungsgesellschaft</vt:lpstr>
      <vt:lpstr>Committed projects</vt:lpstr>
      <vt:lpstr>Connect4Imp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Benutzer</dc:creator>
  <cp:lastModifiedBy>Helsper, Klaus</cp:lastModifiedBy>
  <cp:revision>790</cp:revision>
  <cp:lastPrinted>2019-02-08T08:48:59Z</cp:lastPrinted>
  <dcterms:created xsi:type="dcterms:W3CDTF">2018-07-06T10:55:20Z</dcterms:created>
  <dcterms:modified xsi:type="dcterms:W3CDTF">2023-11-13T14:4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04B194B3AB3540A016E8BC28E264E3</vt:lpwstr>
  </property>
  <property fmtid="{D5CDD505-2E9C-101B-9397-08002B2CF9AE}" pid="3" name="xd_Signature">
    <vt:bool>false</vt:bool>
  </property>
  <property fmtid="{D5CDD505-2E9C-101B-9397-08002B2CF9AE}" pid="4" name="xd_ProgID">
    <vt:lpwstr/>
  </property>
  <property fmtid="{D5CDD505-2E9C-101B-9397-08002B2CF9AE}" pid="5" name="TemplateUrl">
    <vt:lpwstr/>
  </property>
</Properties>
</file>